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317" r:id="rId1"/>
  </p:sldMasterIdLst>
  <p:notesMasterIdLst>
    <p:notesMasterId r:id="rId14"/>
  </p:notesMasterIdLst>
  <p:handoutMasterIdLst>
    <p:handoutMasterId r:id="rId15"/>
  </p:handoutMasterIdLst>
  <p:sldIdLst>
    <p:sldId id="1356" r:id="rId2"/>
    <p:sldId id="4211" r:id="rId3"/>
    <p:sldId id="2919" r:id="rId4"/>
    <p:sldId id="2935" r:id="rId5"/>
    <p:sldId id="2918" r:id="rId6"/>
    <p:sldId id="2939" r:id="rId7"/>
    <p:sldId id="2937" r:id="rId8"/>
    <p:sldId id="4192" r:id="rId9"/>
    <p:sldId id="4220" r:id="rId10"/>
    <p:sldId id="276" r:id="rId11"/>
    <p:sldId id="284" r:id="rId12"/>
    <p:sldId id="4150" r:id="rId13"/>
  </p:sldIdLst>
  <p:sldSz cx="12192000" cy="6858000"/>
  <p:notesSz cx="6797675" cy="9926638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B55DF24B-25B7-46E8-B68A-23F589301D95}">
          <p14:sldIdLst>
            <p14:sldId id="1356"/>
            <p14:sldId id="4211"/>
            <p14:sldId id="2919"/>
            <p14:sldId id="2935"/>
            <p14:sldId id="2918"/>
            <p14:sldId id="2939"/>
            <p14:sldId id="2937"/>
            <p14:sldId id="4192"/>
            <p14:sldId id="4220"/>
            <p14:sldId id="276"/>
            <p14:sldId id="284"/>
            <p14:sldId id="4150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vithra Subramani" initials="PS" lastIdx="2" clrIdx="0">
    <p:extLst>
      <p:ext uri="{19B8F6BF-5375-455C-9EA6-DF929625EA0E}">
        <p15:presenceInfo xmlns:p15="http://schemas.microsoft.com/office/powerpoint/2012/main" userId="S::pavithra.subramani@rrd.com::b9d84df2-4869-41f4-93dc-07597978cc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3F5"/>
    <a:srgbClr val="D9DDE2"/>
    <a:srgbClr val="68818A"/>
    <a:srgbClr val="DADDE2"/>
    <a:srgbClr val="A5B6CB"/>
    <a:srgbClr val="31877B"/>
    <a:srgbClr val="8BB6DA"/>
    <a:srgbClr val="2C9FCC"/>
    <a:srgbClr val="35867B"/>
    <a:srgbClr val="8BB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98" autoAdjust="0"/>
    <p:restoredTop sz="96323" autoAdjust="0"/>
  </p:normalViewPr>
  <p:slideViewPr>
    <p:cSldViewPr snapToGrid="0">
      <p:cViewPr varScale="1">
        <p:scale>
          <a:sx n="74" d="100"/>
          <a:sy n="74" d="100"/>
        </p:scale>
        <p:origin x="144" y="6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80" d="100"/>
        <a:sy n="180" d="100"/>
      </p:scale>
      <p:origin x="0" y="-6533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36846810882081E-2"/>
          <c:y val="0.12750385036106898"/>
          <c:w val="0.93756315318911787"/>
          <c:h val="0.605541632332585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сводные!$E$114</c:f>
              <c:strCache>
                <c:ptCount val="1"/>
                <c:pt idx="0">
                  <c:v>Инвестиции по заключенным соглашениям</c:v>
                </c:pt>
              </c:strCache>
            </c:strRef>
          </c:tx>
          <c:spPr>
            <a:pattFill prst="dkDnDiag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263 293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0FE-47E7-9115-309CE7F6A0C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сводные!$G$113:$M$113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сводные!$G$121:$M$121</c:f>
              <c:numCache>
                <c:formatCode>#\ ##0.0</c:formatCode>
                <c:ptCount val="7"/>
                <c:pt idx="0">
                  <c:v>9242.8424019500017</c:v>
                </c:pt>
                <c:pt idx="1">
                  <c:v>18544.837573200002</c:v>
                </c:pt>
                <c:pt idx="2">
                  <c:v>39385.999911689993</c:v>
                </c:pt>
                <c:pt idx="3">
                  <c:v>92545.252972625007</c:v>
                </c:pt>
                <c:pt idx="4">
                  <c:v>134060.15130214998</c:v>
                </c:pt>
                <c:pt idx="5">
                  <c:v>186242.24026490006</c:v>
                </c:pt>
                <c:pt idx="6">
                  <c:v>23866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3-4B22-B73C-98479EE7A97F}"/>
            </c:ext>
          </c:extLst>
        </c:ser>
        <c:ser>
          <c:idx val="1"/>
          <c:order val="1"/>
          <c:tx>
            <c:strRef>
              <c:f>сводные!$E$121</c:f>
              <c:strCache>
                <c:ptCount val="1"/>
                <c:pt idx="0">
                  <c:v>Осуществленные инвестиции</c:v>
                </c:pt>
              </c:strCache>
            </c:strRef>
          </c:tx>
          <c:spPr>
            <a:solidFill>
              <a:srgbClr val="005FA0"/>
            </a:solidFill>
            <a:ln>
              <a:noFill/>
            </a:ln>
            <a:effectLst/>
          </c:spPr>
          <c:invertIfNegative val="0"/>
          <c:cat>
            <c:numRef>
              <c:f>сводные!$G$113:$M$113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сводные!$G$122:$M$122</c:f>
              <c:numCache>
                <c:formatCode>_-* #\ ##0\ _₽_-;\-* #\ ##0\ _₽_-;_-* "-"??\ _₽_-;_-@_-</c:formatCode>
                <c:ptCount val="7"/>
                <c:pt idx="0">
                  <c:v>152458.90515355</c:v>
                </c:pt>
                <c:pt idx="1">
                  <c:v>250553.45021446998</c:v>
                </c:pt>
                <c:pt idx="2">
                  <c:v>439139.66124938003</c:v>
                </c:pt>
                <c:pt idx="3">
                  <c:v>611276.30022577511</c:v>
                </c:pt>
                <c:pt idx="4">
                  <c:v>760149.15328496997</c:v>
                </c:pt>
                <c:pt idx="5">
                  <c:v>792964.53755226999</c:v>
                </c:pt>
                <c:pt idx="6">
                  <c:v>97368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E3-4B22-B73C-98479EE7A9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7"/>
        <c:overlap val="100"/>
        <c:axId val="37564928"/>
        <c:axId val="45577280"/>
      </c:barChart>
      <c:catAx>
        <c:axId val="37564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5577280"/>
        <c:crosses val="autoZero"/>
        <c:auto val="1"/>
        <c:lblAlgn val="ctr"/>
        <c:lblOffset val="100"/>
        <c:noMultiLvlLbl val="0"/>
      </c:catAx>
      <c:valAx>
        <c:axId val="45577280"/>
        <c:scaling>
          <c:orientation val="minMax"/>
        </c:scaling>
        <c:delete val="1"/>
        <c:axPos val="l"/>
        <c:numFmt formatCode="#,##0" sourceLinked="0"/>
        <c:majorTickMark val="none"/>
        <c:minorTickMark val="none"/>
        <c:tickLblPos val="nextTo"/>
        <c:crossAx val="37564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4/19/2023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7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28587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740502"/>
            <a:ext cx="6796102" cy="51861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620" y="3"/>
            <a:ext cx="2865041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68275" y="617538"/>
            <a:ext cx="7116763" cy="40036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620" y="9397875"/>
            <a:ext cx="2865041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97875"/>
            <a:ext cx="285592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3828" y="5067159"/>
            <a:ext cx="6272792" cy="405074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850670" y="0"/>
            <a:ext cx="2945453" cy="4982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4/19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8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462088" y="69850"/>
            <a:ext cx="9617076" cy="54102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219674" y="5584401"/>
            <a:ext cx="6120602" cy="6001285"/>
          </a:xfrm>
        </p:spPr>
        <p:txBody>
          <a:bodyPr/>
          <a:lstStyle/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При реализации инвестиционных проектов резиденты сталкиваются с рядом проблем. Среди основных выделены: Административный барьер препятствующий реализации проекта, ограничение доступа к финансовым ресурсам, ограничение использования трудовых ресурсов, получение/согласование документации. Рассмотрим каждую проблему подробнее: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1.	Административный барьер препятствующий реализации проекта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По истечению 3-х лет резиденты не могут осуществить капвложения в размере 5 млн.руб. по причине расположения ЗУ в зоне КУРТ, что является основанием для расторжения соглашения СПВ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Согласно Постановлению Правительства №1123 объем капитальных вложений не может быть менее 5 млн. руб. в срок, не превышающий 3 лет со дня включения ИП или ЮЛ в реестр резидентов СПВ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В виду внесения изменений в ПЗЗ г. Владивостока в 2018 г. большая часть земельных участков оказалась в зоне КУРТ, что не позволяет получить град. план или оформить в аренду ЗУ без разработки и утверждения проекта планировки территории (ППТ)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Разработка и согласование ППТ занимает длительное время, в результате чего резиденты не укладываются в 3-х летний срок по осуществлению минимальной суммы капвложений 5 млн. руб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Например, резидент ООО «Каштановая, 15» - согласование ППТ ведется с 2018 по настоящее время не утверждено; ООО «</a:t>
            </a:r>
            <a:r>
              <a:rPr lang="ru-RU" sz="1100" dirty="0" err="1">
                <a:latin typeface="Times" panose="02020603050405020304" pitchFamily="18" charset="0"/>
                <a:cs typeface="Times" panose="02020603050405020304" pitchFamily="18" charset="0"/>
              </a:rPr>
              <a:t>Примразвитие</a:t>
            </a:r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» - согласование ППТ ведется с 2018 по настоящее время не утверждено; ООО «Ориент-ДВ» - согласование ППТ ведется с 2019 по настоящее время не утверждено. 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На текущий момент нет четкой процедуры дальнейшей работы с такими резидентами. С одной стороны у КРДВ есть право не расторгать соглашение, с другой, нет возможности заключить дополнительное соглашение на корректировку сроков реализации и другие изменения в виду не исполнения обязательств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Консультация в рамках действующего законодательства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Участие АО «КРДВ» в суде 3-й стороной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Направление обращений в государственные органы по вопросам резидентов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Организация/участие в рабочих совещаниях при участии резидента и Управления муниципальной собственности города, Правительства Приморского края</a:t>
            </a: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2.	Ограничение доступа к финансовым ресурсам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При реализации проекта резиденты сталкиваются с отказами банков в предоставлении кредитования из-за отсутствия обеспечения/поручительства, высокими ставками по кредитам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Для решения вопросов резидентам оказываются такие меры поддержки как: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Предоставление консультации по программам финансирования для резидентов СПВ, 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Предоставление консультации по вопросам направления заявки в банк через личный кабинет, дальнейшее сопровождение заявки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Проведение встреч для выработки стратегии в работе с банками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Взаимодействие с АНО АПИ по вопросам поиска инвестора для финансирования проектов резидентов (официальная переписка, совместные встречи с резидентами).</a:t>
            </a: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3.	Ограничение использования трудовых ресурсов, въезда иностранных граждан на территорию РФ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В связи с закрытием границ в условиях коронавируса резиденты столкнулись с недостатком иностранных специалистов, отсутствием возможности провести пуско-наладочные работы на приобретенном импортном оборудовании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Для решения вопросов резидентам оказываются такие меры поддержки как: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На регулярной основе проводится работа по организации чартерных рейсов из Китая (сбор потребностей от резидентов, контроль оформления виз и разрешений на въезд через взаимодействие с МВР, взаимодействие с авиаперевозчиком и Росавиацией по обеспечению перелета)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Предоставление консультации по въезду иностранных специалистов на территорию РФ по визе ВКС (высококвалифицированный персонал)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Взаимодействие с органами власти по вопросам резидентов.</a:t>
            </a: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4.	Проблемы с документацией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Резиденты сталкиваются с вопросами длительного согласования проектов планировки территории, отказами в выдаче разрешения на строительство, получения технических условий.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Для решения вопросов резидентам оказываются такие меры поддержки как: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Консультация в рамках действующего законодательства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Участие АО «КРДВ» в суде 3-й стороной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Направление обращений в государственные органы по вопросам резидентов,</a:t>
            </a:r>
          </a:p>
          <a:p>
            <a:pPr algn="just"/>
            <a:r>
              <a:rPr lang="ru-RU" sz="1100" dirty="0">
                <a:latin typeface="Times" panose="02020603050405020304" pitchFamily="18" charset="0"/>
                <a:cs typeface="Times" panose="02020603050405020304" pitchFamily="18" charset="0"/>
              </a:rPr>
              <a:t>-	Организация/участие в рабочих совещаниях при участии резидента и Управления муниципальной собственности города, Правительства Приморского края</a:t>
            </a: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  <a:p>
            <a:pPr algn="just"/>
            <a:endParaRPr lang="ru-RU" sz="1100" dirty="0">
              <a:latin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10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C8A44-D4DB-4AF5-8BF0-320079A6748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109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2900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460500" y="174625"/>
            <a:ext cx="9613900" cy="54086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219674" y="5667929"/>
            <a:ext cx="6120602" cy="5825147"/>
          </a:xfrm>
        </p:spPr>
        <p:txBody>
          <a:bodyPr/>
          <a:lstStyle/>
          <a:p>
            <a:pPr algn="just"/>
            <a:r>
              <a:rPr lang="ru-RU" sz="1400" dirty="0">
                <a:latin typeface="Times" pitchFamily="2" charset="0"/>
              </a:rPr>
              <a:t>На текущий момент свои проекты реализовали 5 резидентов: ООО «Мерси Трейд», ООО «Приморский бекон», ООО «</a:t>
            </a:r>
            <a:r>
              <a:rPr lang="ru-RU" sz="1400" dirty="0" err="1">
                <a:latin typeface="Times" pitchFamily="2" charset="0"/>
              </a:rPr>
              <a:t>ХорольАгроХолдинг</a:t>
            </a:r>
            <a:r>
              <a:rPr lang="ru-RU" sz="1400" dirty="0">
                <a:latin typeface="Times" pitchFamily="2" charset="0"/>
              </a:rPr>
              <a:t>», ООО «</a:t>
            </a:r>
            <a:r>
              <a:rPr lang="ru-RU" sz="1400" dirty="0" err="1">
                <a:latin typeface="Times" pitchFamily="2" charset="0"/>
              </a:rPr>
              <a:t>Легендагро</a:t>
            </a:r>
            <a:r>
              <a:rPr lang="ru-RU" sz="1400" dirty="0">
                <a:latin typeface="Times" pitchFamily="2" charset="0"/>
              </a:rPr>
              <a:t> Приморье», ООО «</a:t>
            </a:r>
            <a:r>
              <a:rPr lang="ru-RU" sz="1400" dirty="0" err="1">
                <a:latin typeface="Times" pitchFamily="2" charset="0"/>
              </a:rPr>
              <a:t>Русагро</a:t>
            </a:r>
            <a:r>
              <a:rPr lang="ru-RU" sz="1400" dirty="0">
                <a:latin typeface="Times" pitchFamily="2" charset="0"/>
              </a:rPr>
              <a:t>-Приморье»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C8A44-D4DB-4AF5-8BF0-320079A6748B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542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460500" y="174625"/>
            <a:ext cx="9613900" cy="54086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sz="1200" b="1" dirty="0">
                <a:latin typeface="Times" pitchFamily="2" charset="0"/>
              </a:rPr>
              <a:t>Крупнейшие инвестиционные проекты, реализованные резидентами ТОР «Михайловский»:</a:t>
            </a:r>
          </a:p>
          <a:p>
            <a:pPr algn="just"/>
            <a:endParaRPr lang="ru-RU" sz="1200" dirty="0">
              <a:latin typeface="Times" pitchFamily="2" charset="0"/>
            </a:endParaRPr>
          </a:p>
          <a:p>
            <a:pPr algn="just"/>
            <a:r>
              <a:rPr lang="ru-RU" sz="1200" dirty="0">
                <a:latin typeface="Times" pitchFamily="2" charset="0"/>
              </a:rPr>
              <a:t>-ООО «РУСАГРО-ПРИМОРЬЕ» с проектом «строительство свиноводческих комплексов , комплекса по производству комбикормов, элеватора». Объём инвестиций – 31 685  млн рублей.</a:t>
            </a:r>
          </a:p>
          <a:p>
            <a:pPr algn="just"/>
            <a:r>
              <a:rPr lang="ru-RU" sz="1200" dirty="0">
                <a:latin typeface="Times" pitchFamily="2" charset="0"/>
              </a:rPr>
              <a:t>- ООО «МЕРСИ</a:t>
            </a:r>
            <a:r>
              <a:rPr lang="ru-RU" sz="1200" baseline="0" dirty="0">
                <a:latin typeface="Times" pitchFamily="2" charset="0"/>
              </a:rPr>
              <a:t> ТРЕЙД</a:t>
            </a:r>
            <a:r>
              <a:rPr lang="ru-RU" sz="1200" dirty="0">
                <a:latin typeface="Times" pitchFamily="2" charset="0"/>
              </a:rPr>
              <a:t>» - три </a:t>
            </a:r>
            <a:r>
              <a:rPr lang="ru-RU" sz="1200" dirty="0" err="1">
                <a:latin typeface="Times" pitchFamily="2" charset="0"/>
              </a:rPr>
              <a:t>свинокомплекса</a:t>
            </a:r>
            <a:r>
              <a:rPr lang="ru-RU" sz="1200" dirty="0">
                <a:latin typeface="Times" pitchFamily="2" charset="0"/>
              </a:rPr>
              <a:t> производительностью около 332 000 голов в год с комбикормовым заводом. Объём инвестиций 10 747  млн рубле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C8A44-D4DB-4AF5-8BF0-320079A6748B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086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460500" y="174625"/>
            <a:ext cx="9613900" cy="54086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sz="1200" b="1" dirty="0">
                <a:latin typeface="Times" pitchFamily="2" charset="0"/>
              </a:rPr>
              <a:t>Крупнейшие инвестиционные проекты, реализованные резидентами ТОР «Михайловский»:</a:t>
            </a:r>
          </a:p>
          <a:p>
            <a:pPr algn="just"/>
            <a:endParaRPr lang="ru-RU" sz="1200" dirty="0">
              <a:latin typeface="Times" pitchFamily="2" charset="0"/>
            </a:endParaRPr>
          </a:p>
          <a:p>
            <a:pPr algn="just"/>
            <a:r>
              <a:rPr lang="ru-RU" sz="1200" dirty="0">
                <a:latin typeface="Times" pitchFamily="2" charset="0"/>
              </a:rPr>
              <a:t>-ООО «РУСАГРО-ПРИМОРЬЕ» с проектом «строительство свиноводческих комплексов , комплекса по производству комбикормов, элеватора». Объём инвестиций – 31 685  млн рублей.</a:t>
            </a:r>
          </a:p>
          <a:p>
            <a:pPr algn="just"/>
            <a:r>
              <a:rPr lang="ru-RU" sz="1200" dirty="0">
                <a:latin typeface="Times" pitchFamily="2" charset="0"/>
              </a:rPr>
              <a:t>- ООО «МЕРСИ</a:t>
            </a:r>
            <a:r>
              <a:rPr lang="ru-RU" sz="1200" baseline="0" dirty="0">
                <a:latin typeface="Times" pitchFamily="2" charset="0"/>
              </a:rPr>
              <a:t> ТРЕЙД</a:t>
            </a:r>
            <a:r>
              <a:rPr lang="ru-RU" sz="1200" dirty="0">
                <a:latin typeface="Times" pitchFamily="2" charset="0"/>
              </a:rPr>
              <a:t>» - три </a:t>
            </a:r>
            <a:r>
              <a:rPr lang="ru-RU" sz="1200" dirty="0" err="1">
                <a:latin typeface="Times" pitchFamily="2" charset="0"/>
              </a:rPr>
              <a:t>свинокомплекса</a:t>
            </a:r>
            <a:r>
              <a:rPr lang="ru-RU" sz="1200" dirty="0">
                <a:latin typeface="Times" pitchFamily="2" charset="0"/>
              </a:rPr>
              <a:t> производительностью около 332 000 голов в год с комбикормовым заводом. Объём инвестиций 10 747  млн рубле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DC8A44-D4DB-4AF5-8BF0-320079A6748B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6765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0975" y="1447800"/>
            <a:ext cx="6953250" cy="39116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sz="1200" baseline="0" dirty="0">
                <a:latin typeface="Times" pitchFamily="2" charset="0"/>
              </a:rPr>
              <a:t>В соответствии с постановлением правительства Российской Федерации от 28 января 2016 г. </a:t>
            </a:r>
            <a:r>
              <a:rPr lang="ru-RU" sz="1200" baseline="0" dirty="0" err="1">
                <a:latin typeface="Times" pitchFamily="2" charset="0"/>
              </a:rPr>
              <a:t>N</a:t>
            </a:r>
            <a:r>
              <a:rPr lang="ru-RU" sz="1200" baseline="0" dirty="0">
                <a:latin typeface="Times" pitchFamily="2" charset="0"/>
              </a:rPr>
              <a:t> 43 создана территория опережающего социально-экономического развития "Большой Камень«. ТОР «Большой Камень» специализируется на судостроении и судоремонте, а также строительстве жилья, логистике и </a:t>
            </a:r>
            <a:r>
              <a:rPr lang="ru-RU" sz="1200" baseline="0" dirty="0" err="1">
                <a:latin typeface="Times" pitchFamily="2" charset="0"/>
              </a:rPr>
              <a:t>рыбопереработке</a:t>
            </a:r>
            <a:r>
              <a:rPr lang="ru-RU" sz="1200" baseline="0" dirty="0">
                <a:latin typeface="Times" pitchFamily="2" charset="0"/>
              </a:rPr>
              <a:t>. ТОР «Большой Камень» функционирует на территории городского округа Большой Камень Приморского края. Площадь ТОР – 8 124 га; Общая потребность резидентов в обеспечении земельными участками – 230,06 га; передано резидентам -207,08 га (94 участка).В границах ТОР «Большой Камень» зарегистрировано 19 соглашений с резидентами. Общая сумма инвестиций 262, 8 млрд руб. Осуществлено инвестиций на 138,09 млрд руб. Количество создаваемых рабочих мест 15 177. Создано 8 908 рабочих мест.</a:t>
            </a:r>
          </a:p>
          <a:p>
            <a:pPr algn="just"/>
            <a:endParaRPr lang="ru-RU" sz="1200" dirty="0">
              <a:latin typeface="Times" pitchFamily="2" charset="0"/>
            </a:endParaRPr>
          </a:p>
          <a:p>
            <a:pPr algn="just"/>
            <a:r>
              <a:rPr lang="ru-RU" sz="1200" b="1" dirty="0">
                <a:latin typeface="Times" pitchFamily="2" charset="0"/>
              </a:rPr>
              <a:t>Крупнейшие инвестиционные проекты:</a:t>
            </a:r>
          </a:p>
          <a:p>
            <a:pPr marL="0" lvl="0" indent="0" algn="just">
              <a:buFont typeface="Wingdings" panose="05000000000000000000" pitchFamily="2" charset="2"/>
              <a:buNone/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ОО «ССК Звезда» (строительство верфи крупнотоннажного судостроения, строительство жилья для сотрудников)</a:t>
            </a:r>
          </a:p>
          <a:p>
            <a:pPr marL="228600" algn="just">
              <a:spcBef>
                <a:spcPts val="500"/>
              </a:spcBef>
              <a:spcAft>
                <a:spcPts val="500"/>
              </a:spcAft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в.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2,5 млрд руб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/факт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17,2 млрд руб.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РМ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414/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акт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7529</a:t>
            </a:r>
            <a:endParaRPr lang="ru-RU" sz="1600" dirty="0"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algn="just">
              <a:spcBef>
                <a:spcPts val="500"/>
              </a:spcBef>
              <a:spcAft>
                <a:spcPts val="500"/>
              </a:spcAft>
              <a:buFont typeface="Wingdings" panose="05000000000000000000" pitchFamily="2" charset="2"/>
              <a:buNone/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О «ДВЗ «Звезда» (комплексная программа реконструкции для ремонта атомных подводных лодок 3 и 4 поколения)</a:t>
            </a:r>
          </a:p>
          <a:p>
            <a:pPr marL="228600" algn="just">
              <a:spcBef>
                <a:spcPts val="500"/>
              </a:spcBef>
              <a:spcAft>
                <a:spcPts val="500"/>
              </a:spcAft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в.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4,7 млрд руб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/факт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1,2 млрд руб.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РМ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054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/факт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0</a:t>
            </a:r>
            <a:endParaRPr lang="ru-RU" sz="1600" dirty="0"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algn="just">
              <a:buFont typeface="Wingdings" panose="05000000000000000000" pitchFamily="2" charset="2"/>
              <a:buNone/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О «РК Новый мир» (предприятие по переработке минтая)</a:t>
            </a:r>
          </a:p>
          <a:p>
            <a:pPr marL="228600" algn="just">
              <a:spcBef>
                <a:spcPts val="500"/>
              </a:spcBef>
              <a:spcAft>
                <a:spcPts val="500"/>
              </a:spcAft>
            </a:pP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в.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,7млрд руб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/факт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,9 млрд руб.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РМ план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88/</a:t>
            </a:r>
            <a:r>
              <a:rPr lang="ru-RU" sz="1600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акт </a:t>
            </a:r>
            <a:r>
              <a:rPr lang="ru-RU" sz="1600" b="1" dirty="0">
                <a:effectLst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44</a:t>
            </a:r>
            <a:endParaRPr lang="ru-RU" sz="1600" dirty="0"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1200" dirty="0">
              <a:latin typeface="Times" pitchFamily="2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29E356-CD40-4308-A995-D4C8C851AC5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2676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svg"/><Relationship Id="rId4" Type="http://schemas.openxmlformats.org/officeDocument/2006/relationships/image" Target="../media/image3.jpeg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391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470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67385-17EB-7947-944E-753152A1D75F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94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39233" y="621804"/>
            <a:ext cx="8965121" cy="874661"/>
          </a:xfrm>
        </p:spPr>
        <p:txBody>
          <a:bodyPr lIns="0" tIns="0" rIns="0" bIns="0" anchor="ctr">
            <a:normAutofit/>
          </a:bodyPr>
          <a:lstStyle>
            <a:lvl1pPr>
              <a:defRPr sz="3200"/>
            </a:lvl1pPr>
          </a:lstStyle>
          <a:p>
            <a:r>
              <a:rPr lang="ru-RU" dirty="0"/>
              <a:t>Титул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207486" y="6414827"/>
            <a:ext cx="1000413" cy="145113"/>
          </a:xfrm>
        </p:spPr>
        <p:txBody>
          <a:bodyPr/>
          <a:lstStyle/>
          <a:p>
            <a:fld id="{027807E6-D3CF-4CF3-B80D-17114A44CCDD}" type="slidenum">
              <a:rPr lang="ru-RU" smtClean="0"/>
              <a:t>‹#›</a:t>
            </a:fld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9233" y="2079287"/>
            <a:ext cx="10922696" cy="409767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39233" y="6159600"/>
            <a:ext cx="10922696" cy="378584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!. Сноска</a:t>
            </a:r>
            <a:br>
              <a:rPr lang="ru-RU" dirty="0"/>
            </a:br>
            <a:r>
              <a:rPr lang="ru-RU" dirty="0"/>
              <a:t>Источник:</a:t>
            </a:r>
          </a:p>
        </p:txBody>
      </p:sp>
      <p:sp>
        <p:nvSpPr>
          <p:cNvPr id="57" name="Объект 2"/>
          <p:cNvSpPr>
            <a:spLocks noGrp="1"/>
          </p:cNvSpPr>
          <p:nvPr>
            <p:ph idx="13" hasCustomPrompt="1"/>
          </p:nvPr>
        </p:nvSpPr>
        <p:spPr>
          <a:xfrm>
            <a:off x="639233" y="1496465"/>
            <a:ext cx="10922696" cy="576741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58" name="Рисунок 5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354" y="615723"/>
            <a:ext cx="1957575" cy="82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178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20605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7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5" y="620717"/>
            <a:ext cx="10933351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3C169AE0-C503-8F4C-B94A-846EA4367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3" y="6172440"/>
            <a:ext cx="10535343" cy="352186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27C1A5-D0A1-D34A-9FEC-521B718488EF}"/>
              </a:ext>
            </a:extLst>
          </p:cNvPr>
          <p:cNvSpPr txBox="1"/>
          <p:nvPr userDrawn="1"/>
        </p:nvSpPr>
        <p:spPr>
          <a:xfrm>
            <a:off x="11261728" y="6165860"/>
            <a:ext cx="301627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474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1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D341495-3393-A24F-BFF9-60FDF960EC55}"/>
              </a:ext>
            </a:extLst>
          </p:cNvPr>
          <p:cNvSpPr/>
          <p:nvPr userDrawn="1"/>
        </p:nvSpPr>
        <p:spPr>
          <a:xfrm>
            <a:off x="4367213" y="0"/>
            <a:ext cx="7824787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17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3449875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3451225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A4195C4-BED0-9C47-AD6B-E1FAB0922703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62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4A7171E-AF22-4F4E-BE48-9B82953D6855}"/>
              </a:ext>
            </a:extLst>
          </p:cNvPr>
          <p:cNvSpPr/>
          <p:nvPr userDrawn="1"/>
        </p:nvSpPr>
        <p:spPr>
          <a:xfrm flipH="1">
            <a:off x="0" y="0"/>
            <a:ext cx="4367213" cy="685800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51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3449875" cy="8636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7757" y="6165850"/>
            <a:ext cx="6612122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B2DBED-250B-6A4C-A9EC-90719EAD832C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97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Изображение выглядит как вода, внешний, небо, природа&#10;&#10;Автоматически созданное описание">
            <a:extLst>
              <a:ext uri="{FF2B5EF4-FFF2-40B4-BE49-F238E27FC236}">
                <a16:creationId xmlns:a16="http://schemas.microsoft.com/office/drawing/2014/main" id="{F63E4C07-BAE8-D94D-B6F9-C8C3582364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" y="1"/>
            <a:ext cx="12191208" cy="671028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F509F-E6EA-4FA3-8FC1-39412C56E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F509F-E6EA-4FA3-8FC1-39412C56E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3EFE5B-06A4-474E-AAEC-604C3440F8F6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1E42C3-9D12-4E64-A1EA-BF74DBA5018C}"/>
              </a:ext>
            </a:extLst>
          </p:cNvPr>
          <p:cNvSpPr/>
          <p:nvPr userDrawn="1"/>
        </p:nvSpPr>
        <p:spPr bwMode="black">
          <a:xfrm>
            <a:off x="628650" y="2351314"/>
            <a:ext cx="8127486" cy="381453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tx2">
                  <a:alpha val="7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F27B17B-5078-4695-A911-4DF359734B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68E20C0-79E5-40A9-AEE1-B36FC0CDE5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2830749"/>
            <a:ext cx="6868800" cy="219391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FB640AEC-26EB-41C3-9260-1DC9D6747D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E1ECBF3-EEF1-214A-BF0D-74E7B903EA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8650" y="623923"/>
            <a:ext cx="3800657" cy="885600"/>
          </a:xfrm>
          <a:prstGeom prst="rect">
            <a:avLst/>
          </a:prstGeom>
        </p:spPr>
      </p:pic>
      <p:pic>
        <p:nvPicPr>
          <p:cNvPr id="13" name="Рисунок 3">
            <a:extLst>
              <a:ext uri="{FF2B5EF4-FFF2-40B4-BE49-F238E27FC236}">
                <a16:creationId xmlns:a16="http://schemas.microsoft.com/office/drawing/2014/main" id="{048B644F-A105-B94C-A461-72CFD52D1C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7727" y="777761"/>
            <a:ext cx="3317971" cy="57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01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2EFA216-0AAD-2349-8FF7-7E25E2DBFA5C}"/>
              </a:ext>
            </a:extLst>
          </p:cNvPr>
          <p:cNvSpPr/>
          <p:nvPr userDrawn="1"/>
        </p:nvSpPr>
        <p:spPr>
          <a:xfrm flipH="1">
            <a:off x="0" y="4121150"/>
            <a:ext cx="12192000" cy="2736850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1958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470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C67385-17EB-7947-944E-753152A1D75F}"/>
              </a:ext>
            </a:extLst>
          </p:cNvPr>
          <p:cNvSpPr txBox="1"/>
          <p:nvPr userDrawn="1"/>
        </p:nvSpPr>
        <p:spPr>
          <a:xfrm>
            <a:off x="11261724" y="6165850"/>
            <a:ext cx="301626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77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5" descr="Изображение выглядит как вода, внешний, небо, природа&#10;&#10;Автоматически созданное описание">
            <a:extLst>
              <a:ext uri="{FF2B5EF4-FFF2-40B4-BE49-F238E27FC236}">
                <a16:creationId xmlns:a16="http://schemas.microsoft.com/office/drawing/2014/main" id="{AC0D6C20-2525-C34A-A98A-A275FC3D1B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" y="1"/>
            <a:ext cx="12191208" cy="6710288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F509F-E6EA-4FA3-8FC1-39412C56E1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F509F-E6EA-4FA3-8FC1-39412C56E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3EFE5B-06A4-474E-AAEC-604C3440F8F6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1E42C3-9D12-4E64-A1EA-BF74DBA5018C}"/>
              </a:ext>
            </a:extLst>
          </p:cNvPr>
          <p:cNvSpPr/>
          <p:nvPr userDrawn="1"/>
        </p:nvSpPr>
        <p:spPr bwMode="black">
          <a:xfrm>
            <a:off x="628650" y="2351314"/>
            <a:ext cx="8127486" cy="381453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tx2">
                  <a:alpha val="7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F27B17B-5078-4695-A911-4DF359734BA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68E20C0-79E5-40A9-AEE1-B36FC0CDE5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2830749"/>
            <a:ext cx="6868800" cy="219391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93000"/>
              </a:lnSpc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FB640AEC-26EB-41C3-9260-1DC9D6747DA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9DD6FD5-1C2E-3B41-B3A8-2CDAB63828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792" y="661631"/>
            <a:ext cx="3327207" cy="8856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395A1C1-E7C2-6542-A0E4-03EE7632032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11295" y="753973"/>
            <a:ext cx="282270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396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514_Full_Sample_Deck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17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95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1C92A0-5DC3-4F98-82B5-8CCC9DE14E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1C92A0-5DC3-4F98-82B5-8CCC9DE14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7650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s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AAF1A58-B704-594E-A2A7-52CB8A022253}"/>
              </a:ext>
            </a:extLst>
          </p:cNvPr>
          <p:cNvSpPr/>
          <p:nvPr userDrawn="1"/>
        </p:nvSpPr>
        <p:spPr>
          <a:xfrm>
            <a:off x="-1" y="1484314"/>
            <a:ext cx="12192001" cy="5373686"/>
          </a:xfrm>
          <a:prstGeom prst="rect">
            <a:avLst/>
          </a:prstGeom>
          <a:solidFill>
            <a:srgbClr val="F0F3F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91AB4C8-7598-4134-9725-619CE9C59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91AB4C8-7598-4134-9725-619CE9C59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A572A1C-A52E-AC49-AA97-4BE86DBFC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5C7011-D9E2-F840-B366-D04F8760846F}"/>
              </a:ext>
            </a:extLst>
          </p:cNvPr>
          <p:cNvSpPr txBox="1"/>
          <p:nvPr userDrawn="1"/>
        </p:nvSpPr>
        <p:spPr>
          <a:xfrm>
            <a:off x="2374900" y="3797300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9677FE01-B879-D742-AAB3-4C49A2BB21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6165850"/>
            <a:ext cx="10934700" cy="35877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ru-RU" sz="9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4D6AE1-B309-3B4E-B329-DD147FB1A052}"/>
              </a:ext>
            </a:extLst>
          </p:cNvPr>
          <p:cNvSpPr txBox="1"/>
          <p:nvPr userDrawn="1"/>
        </p:nvSpPr>
        <p:spPr>
          <a:xfrm>
            <a:off x="11182350" y="6165850"/>
            <a:ext cx="381000" cy="35877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2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2570">
          <p15:clr>
            <a:srgbClr val="FBAE40"/>
          </p15:clr>
        </p15:guide>
        <p15:guide id="3" pos="2751">
          <p15:clr>
            <a:srgbClr val="FBAE40"/>
          </p15:clr>
        </p15:guide>
        <p15:guide id="4" pos="4929">
          <p15:clr>
            <a:srgbClr val="FBAE40"/>
          </p15:clr>
        </p15:guide>
        <p15:guide id="5" pos="5110">
          <p15:clr>
            <a:srgbClr val="FBAE40"/>
          </p15:clr>
        </p15:guide>
        <p15:guide id="6" orient="horz" pos="132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77053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9771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23" r:id="rId2"/>
    <p:sldLayoutId id="2147485324" r:id="rId3"/>
    <p:sldLayoutId id="2147485319" r:id="rId4"/>
    <p:sldLayoutId id="2147485325" r:id="rId5"/>
    <p:sldLayoutId id="2147485320" r:id="rId6"/>
    <p:sldLayoutId id="2147485321" r:id="rId7"/>
    <p:sldLayoutId id="2147485322" r:id="rId8"/>
    <p:sldLayoutId id="2147485326" r:id="rId9"/>
    <p:sldLayoutId id="2147485327" r:id="rId10"/>
    <p:sldLayoutId id="2147485328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orient="horz" pos="391">
          <p15:clr>
            <a:srgbClr val="F26B43"/>
          </p15:clr>
        </p15:guide>
        <p15:guide id="6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png"/><Relationship Id="rId4" Type="http://schemas.openxmlformats.org/officeDocument/2006/relationships/image" Target="../media/image3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svg"/><Relationship Id="rId7" Type="http://schemas.openxmlformats.org/officeDocument/2006/relationships/image" Target="../media/image26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>
            <a:extLst>
              <a:ext uri="{FF2B5EF4-FFF2-40B4-BE49-F238E27FC236}">
                <a16:creationId xmlns:a16="http://schemas.microsoft.com/office/drawing/2014/main" id="{F1A4CCB7-89C2-EE41-A69D-C04E234878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018" y="6207842"/>
            <a:ext cx="6868800" cy="327148"/>
          </a:xfrm>
        </p:spPr>
        <p:txBody>
          <a:bodyPr lIns="0" tIns="0" rIns="0" bIns="0" anchor="ctr"/>
          <a:lstStyle/>
          <a:p>
            <a:r>
              <a:rPr lang="ru-RU" sz="1100" dirty="0">
                <a:solidFill>
                  <a:schemeClr val="tx1"/>
                </a:solidFill>
              </a:rPr>
              <a:t>Камень рыболов, апрель 2023</a:t>
            </a: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54EE8238-F3B8-014E-9456-FE70C67FD1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0" tIns="0" rIns="0" bIns="0" anchor="ctr">
            <a:noAutofit/>
          </a:bodyPr>
          <a:lstStyle/>
          <a:p>
            <a:r>
              <a:rPr lang="ru-RU" sz="3200" dirty="0"/>
              <a:t>Приморский край.</a:t>
            </a:r>
            <a:br>
              <a:rPr lang="ru-RU" sz="3200" dirty="0"/>
            </a:br>
            <a:r>
              <a:rPr lang="ru-RU" sz="3200" dirty="0"/>
              <a:t>Свободный порт Владивосток</a:t>
            </a:r>
            <a:endParaRPr lang="ru-RU" sz="32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C47393-2530-2C4F-B84D-57650705D94D}"/>
              </a:ext>
            </a:extLst>
          </p:cNvPr>
          <p:cNvSpPr txBox="1"/>
          <p:nvPr/>
        </p:nvSpPr>
        <p:spPr>
          <a:xfrm>
            <a:off x="2864195" y="1215541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544"/>
              </a:spcAft>
            </a:pPr>
            <a:endParaRPr lang="ru-RU" sz="1089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5692F42-081F-1EC2-7285-489DBDFDA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7876" y="6237073"/>
            <a:ext cx="2024124" cy="62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87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Карта использования товарного знака резидентами ТОР и СПВ </a:t>
            </a:r>
            <a:br>
              <a:rPr lang="ru-RU"/>
            </a:br>
            <a:br>
              <a:rPr lang="ru-RU"/>
            </a:br>
            <a:endParaRPr/>
          </a:p>
        </p:txBody>
      </p:sp>
      <p:sp>
        <p:nvSpPr>
          <p:cNvPr id="62" name="Прямоугольник 44"/>
          <p:cNvSpPr/>
          <p:nvPr/>
        </p:nvSpPr>
        <p:spPr bwMode="auto">
          <a:xfrm>
            <a:off x="1746663" y="1372377"/>
            <a:ext cx="9816686" cy="917397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3" name="Прямоугольник 46"/>
          <p:cNvSpPr/>
          <p:nvPr/>
        </p:nvSpPr>
        <p:spPr bwMode="auto">
          <a:xfrm>
            <a:off x="2053244" y="1527858"/>
            <a:ext cx="9410752" cy="61277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>
              <a:defRPr/>
            </a:pPr>
            <a:r>
              <a:rPr lang="ru-RU" sz="1200" b="1">
                <a:solidFill>
                  <a:srgbClr val="0E4A8E"/>
                </a:solidFill>
              </a:rPr>
              <a:t>Товарный знак – </a:t>
            </a:r>
            <a:r>
              <a:rPr lang="ru-RU" sz="1200"/>
              <a:t>современный дальневосточный бренд, который способствует продвижению деловой репутации, товаров и услуг резидентов на территории России и Азиатско-Тихоокеанского региона. ТЗ был разработан и зарегистрирован КРДВ в 2019 году по поручению Заместителя Председателя Правительства РФ – полномочного представителя Президента РФ в ДФО Ю.П. Трутнева при поддержке Министерства РФ по развитию Дальнего Востока и Арктики.</a:t>
            </a:r>
            <a:endParaRPr/>
          </a:p>
        </p:txBody>
      </p:sp>
      <p:sp>
        <p:nvSpPr>
          <p:cNvPr id="71" name="Прямоугольник 70"/>
          <p:cNvSpPr/>
          <p:nvPr/>
        </p:nvSpPr>
        <p:spPr bwMode="auto">
          <a:xfrm>
            <a:off x="627930" y="2840736"/>
            <a:ext cx="3650067" cy="23083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lvl="0">
              <a:defRPr/>
            </a:pPr>
            <a:r>
              <a:rPr lang="ru-RU" sz="1200" b="1"/>
              <a:t>Брендированные товары и услуги</a:t>
            </a:r>
            <a:endParaRPr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611382" y="1132240"/>
            <a:ext cx="1009599" cy="1427800"/>
          </a:xfrm>
          <a:prstGeom prst="rect">
            <a:avLst/>
          </a:prstGeom>
        </p:spPr>
      </p:pic>
      <p:sp>
        <p:nvSpPr>
          <p:cNvPr id="1180545395" name="Сквиркл"/>
          <p:cNvSpPr/>
          <p:nvPr/>
        </p:nvSpPr>
        <p:spPr bwMode="auto">
          <a:xfrm>
            <a:off x="4257807" y="2511390"/>
            <a:ext cx="7180173" cy="3902107"/>
          </a:xfrm>
          <a:prstGeom prst="roundRect">
            <a:avLst>
              <a:gd name="adj" fmla="val 4404"/>
            </a:avLst>
          </a:prstGeom>
          <a:solidFill>
            <a:srgbClr val="172241">
              <a:alpha val="55000"/>
            </a:srgbClr>
          </a:solidFill>
          <a:ln w="3175" cap="flat">
            <a:solidFill>
              <a:srgbClr val="FFFFFF">
                <a:alpha val="65000"/>
              </a:srgbClr>
            </a:solidFill>
            <a:prstDash val="solid"/>
            <a:miter lim="800000"/>
          </a:ln>
          <a:effectLst/>
        </p:spPr>
        <p:txBody>
          <a:bodyPr wrap="square" lIns="45717" tIns="45717" rIns="45717" bIns="45717" numCol="1" anchor="ctr">
            <a:noAutofit/>
          </a:bodyPr>
          <a:lstStyle/>
          <a:p>
            <a:pPr algn="ctr" defTabSz="933449">
              <a:lnSpc>
                <a:spcPct val="90000"/>
              </a:lnSpc>
              <a:spcBef>
                <a:spcPts val="1099"/>
              </a:spcBef>
              <a:defRPr/>
            </a:pPr>
            <a:endParaRPr sz="2100">
              <a:solidFill>
                <a:srgbClr val="FFFFFF"/>
              </a:solidFill>
              <a:latin typeface="Calibri"/>
              <a:ea typeface="Arial"/>
              <a:cs typeface="Calibri"/>
            </a:endParaRPr>
          </a:p>
        </p:txBody>
      </p:sp>
      <p:grpSp>
        <p:nvGrpSpPr>
          <p:cNvPr id="333885510" name="Группа 3"/>
          <p:cNvGrpSpPr/>
          <p:nvPr/>
        </p:nvGrpSpPr>
        <p:grpSpPr bwMode="auto">
          <a:xfrm>
            <a:off x="4575013" y="2605327"/>
            <a:ext cx="6656737" cy="3763735"/>
            <a:chOff x="695999" y="375825"/>
            <a:chExt cx="10800000" cy="6106345"/>
          </a:xfrm>
        </p:grpSpPr>
        <p:grpSp>
          <p:nvGrpSpPr>
            <p:cNvPr id="562751731" name="Группа 171"/>
            <p:cNvGrpSpPr/>
            <p:nvPr/>
          </p:nvGrpSpPr>
          <p:grpSpPr bwMode="auto">
            <a:xfrm>
              <a:off x="695999" y="2962980"/>
              <a:ext cx="7505372" cy="3519191"/>
              <a:chOff x="695999" y="2962980"/>
              <a:chExt cx="7505372" cy="3519191"/>
            </a:xfrm>
          </p:grpSpPr>
          <p:sp>
            <p:nvSpPr>
              <p:cNvPr id="512602011" name="Полилиния 172"/>
              <p:cNvSpPr/>
              <p:nvPr/>
            </p:nvSpPr>
            <p:spPr bwMode="auto">
              <a:xfrm>
                <a:off x="695999" y="4713235"/>
                <a:ext cx="318691" cy="341473"/>
              </a:xfrm>
              <a:custGeom>
                <a:avLst/>
                <a:gdLst>
                  <a:gd name="connsiteX0" fmla="*/ 357901 w 357901"/>
                  <a:gd name="connsiteY0" fmla="*/ 354999 h 383486"/>
                  <a:gd name="connsiteX1" fmla="*/ 340215 w 357901"/>
                  <a:gd name="connsiteY1" fmla="*/ 322632 h 383486"/>
                  <a:gd name="connsiteX2" fmla="*/ 303007 w 357901"/>
                  <a:gd name="connsiteY2" fmla="*/ 293434 h 383486"/>
                  <a:gd name="connsiteX3" fmla="*/ 260042 w 357901"/>
                  <a:gd name="connsiteY3" fmla="*/ 276167 h 383486"/>
                  <a:gd name="connsiteX4" fmla="*/ 242355 w 357901"/>
                  <a:gd name="connsiteY4" fmla="*/ 253142 h 383486"/>
                  <a:gd name="connsiteX5" fmla="*/ 231259 w 357901"/>
                  <a:gd name="connsiteY5" fmla="*/ 226531 h 383486"/>
                  <a:gd name="connsiteX6" fmla="*/ 252533 w 357901"/>
                  <a:gd name="connsiteY6" fmla="*/ 194164 h 383486"/>
                  <a:gd name="connsiteX7" fmla="*/ 255203 w 357901"/>
                  <a:gd name="connsiteY7" fmla="*/ 154289 h 383486"/>
                  <a:gd name="connsiteX8" fmla="*/ 229925 w 357901"/>
                  <a:gd name="connsiteY8" fmla="*/ 74122 h 383486"/>
                  <a:gd name="connsiteX9" fmla="*/ 157677 w 357901"/>
                  <a:gd name="connsiteY9" fmla="*/ 32495 h 383486"/>
                  <a:gd name="connsiteX10" fmla="*/ 61069 w 357901"/>
                  <a:gd name="connsiteY10" fmla="*/ 1046 h 383486"/>
                  <a:gd name="connsiteX11" fmla="*/ 20774 w 357901"/>
                  <a:gd name="connsiteY11" fmla="*/ 29826 h 383486"/>
                  <a:gd name="connsiteX12" fmla="*/ 62404 w 357901"/>
                  <a:gd name="connsiteY12" fmla="*/ 83465 h 383486"/>
                  <a:gd name="connsiteX13" fmla="*/ 37125 w 357901"/>
                  <a:gd name="connsiteY13" fmla="*/ 152537 h 383486"/>
                  <a:gd name="connsiteX14" fmla="*/ 5673 w 357901"/>
                  <a:gd name="connsiteY14" fmla="*/ 202172 h 383486"/>
                  <a:gd name="connsiteX15" fmla="*/ 3421 w 357901"/>
                  <a:gd name="connsiteY15" fmla="*/ 228283 h 383486"/>
                  <a:gd name="connsiteX16" fmla="*/ 39294 w 357901"/>
                  <a:gd name="connsiteY16" fmla="*/ 270827 h 383486"/>
                  <a:gd name="connsiteX17" fmla="*/ 118133 w 357901"/>
                  <a:gd name="connsiteY17" fmla="*/ 281422 h 383486"/>
                  <a:gd name="connsiteX18" fmla="*/ 219997 w 357901"/>
                  <a:gd name="connsiteY18" fmla="*/ 326135 h 383486"/>
                  <a:gd name="connsiteX19" fmla="*/ 313935 w 357901"/>
                  <a:gd name="connsiteY19" fmla="*/ 383278 h 383486"/>
                  <a:gd name="connsiteX20" fmla="*/ 321444 w 357901"/>
                  <a:gd name="connsiteY20" fmla="*/ 372183 h 383486"/>
                  <a:gd name="connsiteX21" fmla="*/ 357901 w 357901"/>
                  <a:gd name="connsiteY21" fmla="*/ 354999 h 38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901" h="383486" extrusionOk="0">
                    <a:moveTo>
                      <a:pt x="357901" y="354999"/>
                    </a:moveTo>
                    <a:cubicBezTo>
                      <a:pt x="357901" y="351495"/>
                      <a:pt x="340215" y="322632"/>
                      <a:pt x="340215" y="322632"/>
                    </a:cubicBezTo>
                    <a:lnTo>
                      <a:pt x="303007" y="293434"/>
                    </a:lnTo>
                    <a:lnTo>
                      <a:pt x="260042" y="276167"/>
                    </a:lnTo>
                    <a:lnTo>
                      <a:pt x="242355" y="253142"/>
                    </a:lnTo>
                    <a:cubicBezTo>
                      <a:pt x="242355" y="253142"/>
                      <a:pt x="223751" y="243382"/>
                      <a:pt x="231259" y="226531"/>
                    </a:cubicBezTo>
                    <a:cubicBezTo>
                      <a:pt x="238768" y="209263"/>
                      <a:pt x="252533" y="194164"/>
                      <a:pt x="252533" y="194164"/>
                    </a:cubicBezTo>
                    <a:cubicBezTo>
                      <a:pt x="252533" y="194164"/>
                      <a:pt x="266299" y="194164"/>
                      <a:pt x="255203" y="154289"/>
                    </a:cubicBezTo>
                    <a:cubicBezTo>
                      <a:pt x="244107" y="113997"/>
                      <a:pt x="247695" y="99815"/>
                      <a:pt x="229925" y="74122"/>
                    </a:cubicBezTo>
                    <a:cubicBezTo>
                      <a:pt x="212238" y="48012"/>
                      <a:pt x="189129" y="43590"/>
                      <a:pt x="157677" y="32495"/>
                    </a:cubicBezTo>
                    <a:cubicBezTo>
                      <a:pt x="126225" y="21400"/>
                      <a:pt x="97443" y="-5628"/>
                      <a:pt x="61069" y="1046"/>
                    </a:cubicBezTo>
                    <a:cubicBezTo>
                      <a:pt x="24778" y="7719"/>
                      <a:pt x="-19104" y="-11801"/>
                      <a:pt x="20774" y="29826"/>
                    </a:cubicBezTo>
                    <a:cubicBezTo>
                      <a:pt x="60652" y="71452"/>
                      <a:pt x="76586" y="38668"/>
                      <a:pt x="62404" y="83465"/>
                    </a:cubicBezTo>
                    <a:cubicBezTo>
                      <a:pt x="48221" y="128178"/>
                      <a:pt x="47303" y="132600"/>
                      <a:pt x="37125" y="152537"/>
                    </a:cubicBezTo>
                    <a:cubicBezTo>
                      <a:pt x="26530" y="172475"/>
                      <a:pt x="5673" y="202172"/>
                      <a:pt x="5673" y="202172"/>
                    </a:cubicBezTo>
                    <a:cubicBezTo>
                      <a:pt x="5673" y="202172"/>
                      <a:pt x="-5422" y="208846"/>
                      <a:pt x="3421" y="228283"/>
                    </a:cubicBezTo>
                    <a:cubicBezTo>
                      <a:pt x="12264" y="247804"/>
                      <a:pt x="-3253" y="262402"/>
                      <a:pt x="39294" y="270827"/>
                    </a:cubicBezTo>
                    <a:cubicBezTo>
                      <a:pt x="81842" y="279253"/>
                      <a:pt x="60985" y="261067"/>
                      <a:pt x="118133" y="281422"/>
                    </a:cubicBezTo>
                    <a:cubicBezTo>
                      <a:pt x="175280" y="301359"/>
                      <a:pt x="192549" y="297772"/>
                      <a:pt x="219997" y="326135"/>
                    </a:cubicBezTo>
                    <a:cubicBezTo>
                      <a:pt x="247444" y="354498"/>
                      <a:pt x="313018" y="386365"/>
                      <a:pt x="313935" y="383278"/>
                    </a:cubicBezTo>
                    <a:cubicBezTo>
                      <a:pt x="314853" y="380192"/>
                      <a:pt x="304175" y="376605"/>
                      <a:pt x="321444" y="372183"/>
                    </a:cubicBezTo>
                    <a:cubicBezTo>
                      <a:pt x="337545" y="367429"/>
                      <a:pt x="357901" y="354999"/>
                      <a:pt x="357901" y="35499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46842137" name="Полилиния 173"/>
              <p:cNvSpPr/>
              <p:nvPr/>
            </p:nvSpPr>
            <p:spPr bwMode="auto">
              <a:xfrm>
                <a:off x="1161408" y="5481362"/>
                <a:ext cx="200499" cy="190143"/>
              </a:xfrm>
              <a:custGeom>
                <a:avLst/>
                <a:gdLst>
                  <a:gd name="connsiteX0" fmla="*/ 129395 w 225168"/>
                  <a:gd name="connsiteY0" fmla="*/ 198021 h 213537"/>
                  <a:gd name="connsiteX1" fmla="*/ 113878 w 225168"/>
                  <a:gd name="connsiteY1" fmla="*/ 213538 h 213537"/>
                  <a:gd name="connsiteX2" fmla="*/ 104117 w 225168"/>
                  <a:gd name="connsiteY2" fmla="*/ 205529 h 213537"/>
                  <a:gd name="connsiteX3" fmla="*/ 85095 w 225168"/>
                  <a:gd name="connsiteY3" fmla="*/ 189596 h 213537"/>
                  <a:gd name="connsiteX4" fmla="*/ 53226 w 225168"/>
                  <a:gd name="connsiteY4" fmla="*/ 140878 h 213537"/>
                  <a:gd name="connsiteX5" fmla="*/ 40796 w 225168"/>
                  <a:gd name="connsiteY5" fmla="*/ 116519 h 213537"/>
                  <a:gd name="connsiteX6" fmla="*/ 0 w 225168"/>
                  <a:gd name="connsiteY6" fmla="*/ 48782 h 213537"/>
                  <a:gd name="connsiteX7" fmla="*/ 4004 w 225168"/>
                  <a:gd name="connsiteY7" fmla="*/ 44361 h 213537"/>
                  <a:gd name="connsiteX8" fmla="*/ 31952 w 225168"/>
                  <a:gd name="connsiteY8" fmla="*/ 20919 h 213537"/>
                  <a:gd name="connsiteX9" fmla="*/ 43048 w 225168"/>
                  <a:gd name="connsiteY9" fmla="*/ 17833 h 213537"/>
                  <a:gd name="connsiteX10" fmla="*/ 66074 w 225168"/>
                  <a:gd name="connsiteY10" fmla="*/ 8073 h 213537"/>
                  <a:gd name="connsiteX11" fmla="*/ 68327 w 225168"/>
                  <a:gd name="connsiteY11" fmla="*/ 5821 h 213537"/>
                  <a:gd name="connsiteX12" fmla="*/ 78087 w 225168"/>
                  <a:gd name="connsiteY12" fmla="*/ 481 h 213537"/>
                  <a:gd name="connsiteX13" fmla="*/ 78505 w 225168"/>
                  <a:gd name="connsiteY13" fmla="*/ 2734 h 213537"/>
                  <a:gd name="connsiteX14" fmla="*/ 82509 w 225168"/>
                  <a:gd name="connsiteY14" fmla="*/ 13829 h 213537"/>
                  <a:gd name="connsiteX15" fmla="*/ 89600 w 225168"/>
                  <a:gd name="connsiteY15" fmla="*/ 20919 h 213537"/>
                  <a:gd name="connsiteX16" fmla="*/ 94022 w 225168"/>
                  <a:gd name="connsiteY16" fmla="*/ 24924 h 213537"/>
                  <a:gd name="connsiteX17" fmla="*/ 98861 w 225168"/>
                  <a:gd name="connsiteY17" fmla="*/ 35518 h 213537"/>
                  <a:gd name="connsiteX18" fmla="*/ 111291 w 225168"/>
                  <a:gd name="connsiteY18" fmla="*/ 54121 h 213537"/>
                  <a:gd name="connsiteX19" fmla="*/ 150752 w 225168"/>
                  <a:gd name="connsiteY19" fmla="*/ 47447 h 213537"/>
                  <a:gd name="connsiteX20" fmla="*/ 166687 w 225168"/>
                  <a:gd name="connsiteY20" fmla="*/ 29762 h 213537"/>
                  <a:gd name="connsiteX21" fmla="*/ 172860 w 225168"/>
                  <a:gd name="connsiteY21" fmla="*/ 20002 h 213537"/>
                  <a:gd name="connsiteX22" fmla="*/ 181704 w 225168"/>
                  <a:gd name="connsiteY22" fmla="*/ 16915 h 213537"/>
                  <a:gd name="connsiteX23" fmla="*/ 193634 w 225168"/>
                  <a:gd name="connsiteY23" fmla="*/ 19168 h 213537"/>
                  <a:gd name="connsiteX24" fmla="*/ 195386 w 225168"/>
                  <a:gd name="connsiteY24" fmla="*/ 23589 h 213537"/>
                  <a:gd name="connsiteX25" fmla="*/ 195386 w 225168"/>
                  <a:gd name="connsiteY25" fmla="*/ 24006 h 213537"/>
                  <a:gd name="connsiteX26" fmla="*/ 195386 w 225168"/>
                  <a:gd name="connsiteY26" fmla="*/ 28844 h 213537"/>
                  <a:gd name="connsiteX27" fmla="*/ 196720 w 225168"/>
                  <a:gd name="connsiteY27" fmla="*/ 42609 h 213537"/>
                  <a:gd name="connsiteX28" fmla="*/ 209151 w 225168"/>
                  <a:gd name="connsiteY28" fmla="*/ 58542 h 213537"/>
                  <a:gd name="connsiteX29" fmla="*/ 217160 w 225168"/>
                  <a:gd name="connsiteY29" fmla="*/ 67885 h 213537"/>
                  <a:gd name="connsiteX30" fmla="*/ 218078 w 225168"/>
                  <a:gd name="connsiteY30" fmla="*/ 74559 h 213537"/>
                  <a:gd name="connsiteX31" fmla="*/ 219413 w 225168"/>
                  <a:gd name="connsiteY31" fmla="*/ 84319 h 213537"/>
                  <a:gd name="connsiteX32" fmla="*/ 222916 w 225168"/>
                  <a:gd name="connsiteY32" fmla="*/ 90492 h 213537"/>
                  <a:gd name="connsiteX33" fmla="*/ 225169 w 225168"/>
                  <a:gd name="connsiteY33" fmla="*/ 92244 h 213537"/>
                  <a:gd name="connsiteX34" fmla="*/ 220747 w 225168"/>
                  <a:gd name="connsiteY34" fmla="*/ 91827 h 213537"/>
                  <a:gd name="connsiteX35" fmla="*/ 203478 w 225168"/>
                  <a:gd name="connsiteY35" fmla="*/ 94079 h 213537"/>
                  <a:gd name="connsiteX36" fmla="*/ 191965 w 225168"/>
                  <a:gd name="connsiteY36" fmla="*/ 109596 h 213537"/>
                  <a:gd name="connsiteX37" fmla="*/ 196387 w 225168"/>
                  <a:gd name="connsiteY37" fmla="*/ 131285 h 213537"/>
                  <a:gd name="connsiteX38" fmla="*/ 203478 w 225168"/>
                  <a:gd name="connsiteY38" fmla="*/ 139710 h 213537"/>
                  <a:gd name="connsiteX39" fmla="*/ 207900 w 225168"/>
                  <a:gd name="connsiteY39" fmla="*/ 153475 h 213537"/>
                  <a:gd name="connsiteX40" fmla="*/ 206565 w 225168"/>
                  <a:gd name="connsiteY40" fmla="*/ 163652 h 213537"/>
                  <a:gd name="connsiteX41" fmla="*/ 205647 w 225168"/>
                  <a:gd name="connsiteY41" fmla="*/ 171660 h 213537"/>
                  <a:gd name="connsiteX42" fmla="*/ 196804 w 225168"/>
                  <a:gd name="connsiteY42" fmla="*/ 172077 h 213537"/>
                  <a:gd name="connsiteX43" fmla="*/ 164017 w 225168"/>
                  <a:gd name="connsiteY43" fmla="*/ 177416 h 213537"/>
                  <a:gd name="connsiteX44" fmla="*/ 129395 w 225168"/>
                  <a:gd name="connsiteY44" fmla="*/ 198021 h 21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25168" h="213537" extrusionOk="0">
                    <a:moveTo>
                      <a:pt x="129395" y="198021"/>
                    </a:moveTo>
                    <a:cubicBezTo>
                      <a:pt x="124056" y="202860"/>
                      <a:pt x="118800" y="208198"/>
                      <a:pt x="113878" y="213538"/>
                    </a:cubicBezTo>
                    <a:cubicBezTo>
                      <a:pt x="110791" y="210868"/>
                      <a:pt x="107203" y="208198"/>
                      <a:pt x="104117" y="205529"/>
                    </a:cubicBezTo>
                    <a:cubicBezTo>
                      <a:pt x="97943" y="200690"/>
                      <a:pt x="91686" y="195352"/>
                      <a:pt x="85095" y="189596"/>
                    </a:cubicBezTo>
                    <a:cubicBezTo>
                      <a:pt x="69995" y="176332"/>
                      <a:pt x="61652" y="159064"/>
                      <a:pt x="53226" y="140878"/>
                    </a:cubicBezTo>
                    <a:cubicBezTo>
                      <a:pt x="49222" y="132453"/>
                      <a:pt x="45217" y="124528"/>
                      <a:pt x="40796" y="116519"/>
                    </a:cubicBezTo>
                    <a:cubicBezTo>
                      <a:pt x="27030" y="93078"/>
                      <a:pt x="14183" y="70471"/>
                      <a:pt x="0" y="48782"/>
                    </a:cubicBezTo>
                    <a:cubicBezTo>
                      <a:pt x="1335" y="47447"/>
                      <a:pt x="2670" y="45695"/>
                      <a:pt x="4004" y="44361"/>
                    </a:cubicBezTo>
                    <a:cubicBezTo>
                      <a:pt x="12431" y="34601"/>
                      <a:pt x="20857" y="25758"/>
                      <a:pt x="31952" y="20919"/>
                    </a:cubicBezTo>
                    <a:cubicBezTo>
                      <a:pt x="35456" y="19585"/>
                      <a:pt x="39044" y="18667"/>
                      <a:pt x="43048" y="17833"/>
                    </a:cubicBezTo>
                    <a:cubicBezTo>
                      <a:pt x="50557" y="16498"/>
                      <a:pt x="58983" y="14746"/>
                      <a:pt x="66074" y="8073"/>
                    </a:cubicBezTo>
                    <a:lnTo>
                      <a:pt x="68327" y="5821"/>
                    </a:lnTo>
                    <a:cubicBezTo>
                      <a:pt x="73165" y="481"/>
                      <a:pt x="75001" y="-853"/>
                      <a:pt x="78087" y="481"/>
                    </a:cubicBezTo>
                    <a:cubicBezTo>
                      <a:pt x="78087" y="1399"/>
                      <a:pt x="78505" y="2233"/>
                      <a:pt x="78505" y="2734"/>
                    </a:cubicBezTo>
                    <a:cubicBezTo>
                      <a:pt x="78922" y="6238"/>
                      <a:pt x="79839" y="10742"/>
                      <a:pt x="82509" y="13829"/>
                    </a:cubicBezTo>
                    <a:cubicBezTo>
                      <a:pt x="84762" y="16498"/>
                      <a:pt x="86931" y="18667"/>
                      <a:pt x="89600" y="20919"/>
                    </a:cubicBezTo>
                    <a:cubicBezTo>
                      <a:pt x="90935" y="22254"/>
                      <a:pt x="92687" y="23589"/>
                      <a:pt x="94022" y="24924"/>
                    </a:cubicBezTo>
                    <a:cubicBezTo>
                      <a:pt x="96275" y="27176"/>
                      <a:pt x="97526" y="31597"/>
                      <a:pt x="98861" y="35518"/>
                    </a:cubicBezTo>
                    <a:cubicBezTo>
                      <a:pt x="101530" y="42192"/>
                      <a:pt x="104200" y="50116"/>
                      <a:pt x="111291" y="54121"/>
                    </a:cubicBezTo>
                    <a:cubicBezTo>
                      <a:pt x="119718" y="58542"/>
                      <a:pt x="132982" y="56790"/>
                      <a:pt x="150752" y="47447"/>
                    </a:cubicBezTo>
                    <a:cubicBezTo>
                      <a:pt x="161347" y="42108"/>
                      <a:pt x="164518" y="35018"/>
                      <a:pt x="166687" y="29762"/>
                    </a:cubicBezTo>
                    <a:cubicBezTo>
                      <a:pt x="168022" y="26259"/>
                      <a:pt x="169356" y="23088"/>
                      <a:pt x="172860" y="20002"/>
                    </a:cubicBezTo>
                    <a:cubicBezTo>
                      <a:pt x="174612" y="18250"/>
                      <a:pt x="178200" y="16915"/>
                      <a:pt x="181704" y="16915"/>
                    </a:cubicBezTo>
                    <a:cubicBezTo>
                      <a:pt x="186542" y="15998"/>
                      <a:pt x="191465" y="16915"/>
                      <a:pt x="193634" y="19168"/>
                    </a:cubicBezTo>
                    <a:cubicBezTo>
                      <a:pt x="194968" y="20502"/>
                      <a:pt x="194968" y="21837"/>
                      <a:pt x="195386" y="23589"/>
                    </a:cubicBezTo>
                    <a:cubicBezTo>
                      <a:pt x="195386" y="24006"/>
                      <a:pt x="195386" y="24006"/>
                      <a:pt x="195386" y="24006"/>
                    </a:cubicBezTo>
                    <a:cubicBezTo>
                      <a:pt x="195803" y="25341"/>
                      <a:pt x="195386" y="27093"/>
                      <a:pt x="195386" y="28844"/>
                    </a:cubicBezTo>
                    <a:cubicBezTo>
                      <a:pt x="194968" y="33266"/>
                      <a:pt x="194968" y="37687"/>
                      <a:pt x="196720" y="42609"/>
                    </a:cubicBezTo>
                    <a:cubicBezTo>
                      <a:pt x="199390" y="50617"/>
                      <a:pt x="204729" y="55039"/>
                      <a:pt x="209151" y="58542"/>
                    </a:cubicBezTo>
                    <a:cubicBezTo>
                      <a:pt x="212655" y="61629"/>
                      <a:pt x="215825" y="63881"/>
                      <a:pt x="217160" y="67885"/>
                    </a:cubicBezTo>
                    <a:cubicBezTo>
                      <a:pt x="218078" y="69637"/>
                      <a:pt x="218078" y="71889"/>
                      <a:pt x="218078" y="74559"/>
                    </a:cubicBezTo>
                    <a:cubicBezTo>
                      <a:pt x="218078" y="77228"/>
                      <a:pt x="218495" y="80732"/>
                      <a:pt x="219413" y="84319"/>
                    </a:cubicBezTo>
                    <a:cubicBezTo>
                      <a:pt x="220330" y="86989"/>
                      <a:pt x="221665" y="88740"/>
                      <a:pt x="222916" y="90492"/>
                    </a:cubicBezTo>
                    <a:cubicBezTo>
                      <a:pt x="223334" y="91410"/>
                      <a:pt x="224251" y="91827"/>
                      <a:pt x="225169" y="92244"/>
                    </a:cubicBezTo>
                    <a:cubicBezTo>
                      <a:pt x="224251" y="92661"/>
                      <a:pt x="222082" y="92244"/>
                      <a:pt x="220747" y="91827"/>
                    </a:cubicBezTo>
                    <a:cubicBezTo>
                      <a:pt x="215909" y="91410"/>
                      <a:pt x="209652" y="90492"/>
                      <a:pt x="203478" y="94079"/>
                    </a:cubicBezTo>
                    <a:cubicBezTo>
                      <a:pt x="197304" y="97583"/>
                      <a:pt x="193300" y="102922"/>
                      <a:pt x="191965" y="109596"/>
                    </a:cubicBezTo>
                    <a:cubicBezTo>
                      <a:pt x="190213" y="116686"/>
                      <a:pt x="191965" y="124695"/>
                      <a:pt x="196387" y="131285"/>
                    </a:cubicBezTo>
                    <a:cubicBezTo>
                      <a:pt x="199056" y="134788"/>
                      <a:pt x="201225" y="137458"/>
                      <a:pt x="203478" y="139710"/>
                    </a:cubicBezTo>
                    <a:cubicBezTo>
                      <a:pt x="207483" y="144132"/>
                      <a:pt x="208817" y="145049"/>
                      <a:pt x="207900" y="153475"/>
                    </a:cubicBezTo>
                    <a:lnTo>
                      <a:pt x="206565" y="163652"/>
                    </a:lnTo>
                    <a:cubicBezTo>
                      <a:pt x="206148" y="166321"/>
                      <a:pt x="205647" y="168991"/>
                      <a:pt x="205647" y="171660"/>
                    </a:cubicBezTo>
                    <a:cubicBezTo>
                      <a:pt x="202560" y="171660"/>
                      <a:pt x="199474" y="172077"/>
                      <a:pt x="196804" y="172077"/>
                    </a:cubicBezTo>
                    <a:cubicBezTo>
                      <a:pt x="186626" y="172995"/>
                      <a:pt x="175113" y="173829"/>
                      <a:pt x="164017" y="177416"/>
                    </a:cubicBezTo>
                    <a:cubicBezTo>
                      <a:pt x="149334" y="181170"/>
                      <a:pt x="136903" y="190931"/>
                      <a:pt x="129395" y="19802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5999636" name="Полилиния 174"/>
              <p:cNvSpPr/>
              <p:nvPr/>
            </p:nvSpPr>
            <p:spPr bwMode="auto">
              <a:xfrm>
                <a:off x="1125824" y="5230909"/>
                <a:ext cx="140789" cy="230643"/>
              </a:xfrm>
              <a:custGeom>
                <a:avLst/>
                <a:gdLst>
                  <a:gd name="connsiteX0" fmla="*/ 145413 w 158112"/>
                  <a:gd name="connsiteY0" fmla="*/ 91632 h 259021"/>
                  <a:gd name="connsiteX1" fmla="*/ 156926 w 158112"/>
                  <a:gd name="connsiteY1" fmla="*/ 138598 h 259021"/>
                  <a:gd name="connsiteX2" fmla="*/ 156008 w 158112"/>
                  <a:gd name="connsiteY2" fmla="*/ 152363 h 259021"/>
                  <a:gd name="connsiteX3" fmla="*/ 149334 w 158112"/>
                  <a:gd name="connsiteY3" fmla="*/ 195741 h 259021"/>
                  <a:gd name="connsiteX4" fmla="*/ 139156 w 158112"/>
                  <a:gd name="connsiteY4" fmla="*/ 211257 h 259021"/>
                  <a:gd name="connsiteX5" fmla="*/ 138238 w 158112"/>
                  <a:gd name="connsiteY5" fmla="*/ 204167 h 259021"/>
                  <a:gd name="connsiteX6" fmla="*/ 143077 w 158112"/>
                  <a:gd name="connsiteY6" fmla="*/ 190402 h 259021"/>
                  <a:gd name="connsiteX7" fmla="*/ 146164 w 158112"/>
                  <a:gd name="connsiteY7" fmla="*/ 159370 h 259021"/>
                  <a:gd name="connsiteX8" fmla="*/ 128894 w 158112"/>
                  <a:gd name="connsiteY8" fmla="*/ 149192 h 259021"/>
                  <a:gd name="connsiteX9" fmla="*/ 104117 w 158112"/>
                  <a:gd name="connsiteY9" fmla="*/ 175303 h 259021"/>
                  <a:gd name="connsiteX10" fmla="*/ 102782 w 158112"/>
                  <a:gd name="connsiteY10" fmla="*/ 177973 h 259021"/>
                  <a:gd name="connsiteX11" fmla="*/ 71330 w 158112"/>
                  <a:gd name="connsiteY11" fmla="*/ 213426 h 259021"/>
                  <a:gd name="connsiteX12" fmla="*/ 64656 w 158112"/>
                  <a:gd name="connsiteY12" fmla="*/ 217848 h 259021"/>
                  <a:gd name="connsiteX13" fmla="*/ 51808 w 158112"/>
                  <a:gd name="connsiteY13" fmla="*/ 228943 h 259021"/>
                  <a:gd name="connsiteX14" fmla="*/ 47386 w 158112"/>
                  <a:gd name="connsiteY14" fmla="*/ 241372 h 259021"/>
                  <a:gd name="connsiteX15" fmla="*/ 45134 w 158112"/>
                  <a:gd name="connsiteY15" fmla="*/ 248463 h 259021"/>
                  <a:gd name="connsiteX16" fmla="*/ 29199 w 158112"/>
                  <a:gd name="connsiteY16" fmla="*/ 258223 h 259021"/>
                  <a:gd name="connsiteX17" fmla="*/ 20356 w 158112"/>
                  <a:gd name="connsiteY17" fmla="*/ 255554 h 259021"/>
                  <a:gd name="connsiteX18" fmla="*/ 0 w 158112"/>
                  <a:gd name="connsiteY18" fmla="*/ 211257 h 259021"/>
                  <a:gd name="connsiteX19" fmla="*/ 4422 w 158112"/>
                  <a:gd name="connsiteY19" fmla="*/ 202832 h 259021"/>
                  <a:gd name="connsiteX20" fmla="*/ 7508 w 158112"/>
                  <a:gd name="connsiteY20" fmla="*/ 202415 h 259021"/>
                  <a:gd name="connsiteX21" fmla="*/ 18104 w 158112"/>
                  <a:gd name="connsiteY21" fmla="*/ 207253 h 259021"/>
                  <a:gd name="connsiteX22" fmla="*/ 49138 w 158112"/>
                  <a:gd name="connsiteY22" fmla="*/ 211674 h 259021"/>
                  <a:gd name="connsiteX23" fmla="*/ 73499 w 158112"/>
                  <a:gd name="connsiteY23" fmla="*/ 192154 h 259021"/>
                  <a:gd name="connsiteX24" fmla="*/ 66408 w 158112"/>
                  <a:gd name="connsiteY24" fmla="*/ 170048 h 259021"/>
                  <a:gd name="connsiteX25" fmla="*/ 61986 w 158112"/>
                  <a:gd name="connsiteY25" fmla="*/ 162957 h 259021"/>
                  <a:gd name="connsiteX26" fmla="*/ 67325 w 158112"/>
                  <a:gd name="connsiteY26" fmla="*/ 143437 h 259021"/>
                  <a:gd name="connsiteX27" fmla="*/ 89016 w 158112"/>
                  <a:gd name="connsiteY27" fmla="*/ 128337 h 259021"/>
                  <a:gd name="connsiteX28" fmla="*/ 111125 w 158112"/>
                  <a:gd name="connsiteY28" fmla="*/ 114573 h 259021"/>
                  <a:gd name="connsiteX29" fmla="*/ 119551 w 158112"/>
                  <a:gd name="connsiteY29" fmla="*/ 81789 h 259021"/>
                  <a:gd name="connsiteX30" fmla="*/ 95607 w 158112"/>
                  <a:gd name="connsiteY30" fmla="*/ 69359 h 259021"/>
                  <a:gd name="connsiteX31" fmla="*/ 87598 w 158112"/>
                  <a:gd name="connsiteY31" fmla="*/ 70277 h 259021"/>
                  <a:gd name="connsiteX32" fmla="*/ 63238 w 158112"/>
                  <a:gd name="connsiteY32" fmla="*/ 66773 h 259021"/>
                  <a:gd name="connsiteX33" fmla="*/ 56146 w 158112"/>
                  <a:gd name="connsiteY33" fmla="*/ 59682 h 259021"/>
                  <a:gd name="connsiteX34" fmla="*/ 48137 w 158112"/>
                  <a:gd name="connsiteY34" fmla="*/ 51257 h 259021"/>
                  <a:gd name="connsiteX35" fmla="*/ 43299 w 158112"/>
                  <a:gd name="connsiteY35" fmla="*/ 47253 h 259021"/>
                  <a:gd name="connsiteX36" fmla="*/ 16685 w 158112"/>
                  <a:gd name="connsiteY36" fmla="*/ 10965 h 259021"/>
                  <a:gd name="connsiteX37" fmla="*/ 19355 w 158112"/>
                  <a:gd name="connsiteY37" fmla="*/ 370 h 259021"/>
                  <a:gd name="connsiteX38" fmla="*/ 31786 w 158112"/>
                  <a:gd name="connsiteY38" fmla="*/ 7461 h 259021"/>
                  <a:gd name="connsiteX39" fmla="*/ 37542 w 158112"/>
                  <a:gd name="connsiteY39" fmla="*/ 18556 h 259021"/>
                  <a:gd name="connsiteX40" fmla="*/ 62820 w 158112"/>
                  <a:gd name="connsiteY40" fmla="*/ 40662 h 259021"/>
                  <a:gd name="connsiteX41" fmla="*/ 82759 w 158112"/>
                  <a:gd name="connsiteY41" fmla="*/ 39745 h 259021"/>
                  <a:gd name="connsiteX42" fmla="*/ 114211 w 158112"/>
                  <a:gd name="connsiteY42" fmla="*/ 47253 h 259021"/>
                  <a:gd name="connsiteX43" fmla="*/ 116881 w 158112"/>
                  <a:gd name="connsiteY43" fmla="*/ 56095 h 259021"/>
                  <a:gd name="connsiteX44" fmla="*/ 122220 w 158112"/>
                  <a:gd name="connsiteY44" fmla="*/ 71611 h 259021"/>
                  <a:gd name="connsiteX45" fmla="*/ 136820 w 158112"/>
                  <a:gd name="connsiteY45" fmla="*/ 84458 h 259021"/>
                  <a:gd name="connsiteX46" fmla="*/ 145413 w 158112"/>
                  <a:gd name="connsiteY46" fmla="*/ 91632 h 25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58112" h="259021" extrusionOk="0">
                    <a:moveTo>
                      <a:pt x="145413" y="91632"/>
                    </a:moveTo>
                    <a:cubicBezTo>
                      <a:pt x="159596" y="104479"/>
                      <a:pt x="159178" y="116909"/>
                      <a:pt x="156926" y="138598"/>
                    </a:cubicBezTo>
                    <a:cubicBezTo>
                      <a:pt x="156509" y="143437"/>
                      <a:pt x="156008" y="147941"/>
                      <a:pt x="156008" y="152363"/>
                    </a:cubicBezTo>
                    <a:cubicBezTo>
                      <a:pt x="155091" y="166961"/>
                      <a:pt x="153756" y="181143"/>
                      <a:pt x="149334" y="195741"/>
                    </a:cubicBezTo>
                    <a:cubicBezTo>
                      <a:pt x="147082" y="202832"/>
                      <a:pt x="142243" y="209506"/>
                      <a:pt x="139156" y="211257"/>
                    </a:cubicBezTo>
                    <a:cubicBezTo>
                      <a:pt x="138739" y="209923"/>
                      <a:pt x="138238" y="208171"/>
                      <a:pt x="138238" y="204167"/>
                    </a:cubicBezTo>
                    <a:cubicBezTo>
                      <a:pt x="137821" y="200663"/>
                      <a:pt x="140491" y="195324"/>
                      <a:pt x="143077" y="190402"/>
                    </a:cubicBezTo>
                    <a:cubicBezTo>
                      <a:pt x="147499" y="181059"/>
                      <a:pt x="152838" y="170048"/>
                      <a:pt x="146164" y="159370"/>
                    </a:cubicBezTo>
                    <a:cubicBezTo>
                      <a:pt x="141325" y="152279"/>
                      <a:pt x="135569" y="149192"/>
                      <a:pt x="128894" y="149192"/>
                    </a:cubicBezTo>
                    <a:cubicBezTo>
                      <a:pt x="116464" y="150110"/>
                      <a:pt x="108538" y="166044"/>
                      <a:pt x="104117" y="175303"/>
                    </a:cubicBezTo>
                    <a:lnTo>
                      <a:pt x="102782" y="177973"/>
                    </a:lnTo>
                    <a:cubicBezTo>
                      <a:pt x="96108" y="190402"/>
                      <a:pt x="80173" y="205418"/>
                      <a:pt x="71330" y="213426"/>
                    </a:cubicBezTo>
                    <a:cubicBezTo>
                      <a:pt x="69077" y="215178"/>
                      <a:pt x="66908" y="216513"/>
                      <a:pt x="64656" y="217848"/>
                    </a:cubicBezTo>
                    <a:cubicBezTo>
                      <a:pt x="60234" y="220934"/>
                      <a:pt x="54895" y="224021"/>
                      <a:pt x="51808" y="228943"/>
                    </a:cubicBezTo>
                    <a:cubicBezTo>
                      <a:pt x="49138" y="233364"/>
                      <a:pt x="48304" y="237368"/>
                      <a:pt x="47386" y="241372"/>
                    </a:cubicBezTo>
                    <a:cubicBezTo>
                      <a:pt x="46469" y="244459"/>
                      <a:pt x="46052" y="247545"/>
                      <a:pt x="45134" y="248463"/>
                    </a:cubicBezTo>
                    <a:cubicBezTo>
                      <a:pt x="42881" y="249798"/>
                      <a:pt x="30951" y="257306"/>
                      <a:pt x="29199" y="258223"/>
                    </a:cubicBezTo>
                    <a:cubicBezTo>
                      <a:pt x="23860" y="259558"/>
                      <a:pt x="23860" y="259558"/>
                      <a:pt x="20356" y="255554"/>
                    </a:cubicBezTo>
                    <a:cubicBezTo>
                      <a:pt x="12347" y="247128"/>
                      <a:pt x="0" y="220601"/>
                      <a:pt x="0" y="211257"/>
                    </a:cubicBezTo>
                    <a:cubicBezTo>
                      <a:pt x="0" y="208171"/>
                      <a:pt x="918" y="204167"/>
                      <a:pt x="4422" y="202832"/>
                    </a:cubicBezTo>
                    <a:cubicBezTo>
                      <a:pt x="5339" y="202415"/>
                      <a:pt x="6674" y="202415"/>
                      <a:pt x="7508" y="202415"/>
                    </a:cubicBezTo>
                    <a:cubicBezTo>
                      <a:pt x="10595" y="202415"/>
                      <a:pt x="14600" y="203749"/>
                      <a:pt x="18104" y="207253"/>
                    </a:cubicBezTo>
                    <a:cubicBezTo>
                      <a:pt x="25612" y="214344"/>
                      <a:pt x="39377" y="214344"/>
                      <a:pt x="49138" y="211674"/>
                    </a:cubicBezTo>
                    <a:cubicBezTo>
                      <a:pt x="61986" y="208171"/>
                      <a:pt x="71247" y="201080"/>
                      <a:pt x="73499" y="192154"/>
                    </a:cubicBezTo>
                    <a:cubicBezTo>
                      <a:pt x="76169" y="182394"/>
                      <a:pt x="70412" y="175303"/>
                      <a:pt x="66408" y="170048"/>
                    </a:cubicBezTo>
                    <a:cubicBezTo>
                      <a:pt x="64155" y="167378"/>
                      <a:pt x="62403" y="164709"/>
                      <a:pt x="61986" y="162957"/>
                    </a:cubicBezTo>
                    <a:cubicBezTo>
                      <a:pt x="61569" y="159871"/>
                      <a:pt x="65073" y="147441"/>
                      <a:pt x="67325" y="143437"/>
                    </a:cubicBezTo>
                    <a:cubicBezTo>
                      <a:pt x="71747" y="136346"/>
                      <a:pt x="80173" y="132342"/>
                      <a:pt x="89016" y="128337"/>
                    </a:cubicBezTo>
                    <a:cubicBezTo>
                      <a:pt x="97025" y="124834"/>
                      <a:pt x="104951" y="120830"/>
                      <a:pt x="111125" y="114573"/>
                    </a:cubicBezTo>
                    <a:cubicBezTo>
                      <a:pt x="120886" y="105230"/>
                      <a:pt x="123972" y="92884"/>
                      <a:pt x="119551" y="81789"/>
                    </a:cubicBezTo>
                    <a:cubicBezTo>
                      <a:pt x="113794" y="67607"/>
                      <a:pt x="103616" y="68525"/>
                      <a:pt x="95607" y="69359"/>
                    </a:cubicBezTo>
                    <a:lnTo>
                      <a:pt x="87598" y="70277"/>
                    </a:lnTo>
                    <a:cubicBezTo>
                      <a:pt x="77837" y="71194"/>
                      <a:pt x="70329" y="72029"/>
                      <a:pt x="63238" y="66773"/>
                    </a:cubicBezTo>
                    <a:cubicBezTo>
                      <a:pt x="60568" y="65021"/>
                      <a:pt x="58399" y="62352"/>
                      <a:pt x="56146" y="59682"/>
                    </a:cubicBezTo>
                    <a:cubicBezTo>
                      <a:pt x="53477" y="56596"/>
                      <a:pt x="51308" y="53509"/>
                      <a:pt x="48137" y="51257"/>
                    </a:cubicBezTo>
                    <a:lnTo>
                      <a:pt x="43299" y="47253"/>
                    </a:lnTo>
                    <a:cubicBezTo>
                      <a:pt x="30451" y="36658"/>
                      <a:pt x="19355" y="27315"/>
                      <a:pt x="16685" y="10965"/>
                    </a:cubicBezTo>
                    <a:cubicBezTo>
                      <a:pt x="15768" y="5626"/>
                      <a:pt x="16685" y="1205"/>
                      <a:pt x="19355" y="370"/>
                    </a:cubicBezTo>
                    <a:cubicBezTo>
                      <a:pt x="22025" y="-964"/>
                      <a:pt x="27781" y="1288"/>
                      <a:pt x="31786" y="7461"/>
                    </a:cubicBezTo>
                    <a:cubicBezTo>
                      <a:pt x="34455" y="10965"/>
                      <a:pt x="36207" y="14552"/>
                      <a:pt x="37542" y="18556"/>
                    </a:cubicBezTo>
                    <a:cubicBezTo>
                      <a:pt x="41046" y="27899"/>
                      <a:pt x="45968" y="38494"/>
                      <a:pt x="62820" y="40662"/>
                    </a:cubicBezTo>
                    <a:cubicBezTo>
                      <a:pt x="68994" y="41580"/>
                      <a:pt x="76085" y="40662"/>
                      <a:pt x="82759" y="39745"/>
                    </a:cubicBezTo>
                    <a:cubicBezTo>
                      <a:pt x="98694" y="38410"/>
                      <a:pt x="108872" y="37493"/>
                      <a:pt x="114211" y="47253"/>
                    </a:cubicBezTo>
                    <a:cubicBezTo>
                      <a:pt x="115546" y="49922"/>
                      <a:pt x="116464" y="52592"/>
                      <a:pt x="116881" y="56095"/>
                    </a:cubicBezTo>
                    <a:cubicBezTo>
                      <a:pt x="117799" y="60934"/>
                      <a:pt x="119134" y="66273"/>
                      <a:pt x="122220" y="71611"/>
                    </a:cubicBezTo>
                    <a:cubicBezTo>
                      <a:pt x="125724" y="76950"/>
                      <a:pt x="131981" y="81372"/>
                      <a:pt x="136820" y="84458"/>
                    </a:cubicBezTo>
                    <a:cubicBezTo>
                      <a:pt x="140574" y="87712"/>
                      <a:pt x="143244" y="89463"/>
                      <a:pt x="145413" y="9163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53914041" name="Полилиния 175"/>
              <p:cNvSpPr/>
              <p:nvPr/>
            </p:nvSpPr>
            <p:spPr bwMode="auto">
              <a:xfrm>
                <a:off x="985938" y="4983993"/>
                <a:ext cx="440181" cy="533634"/>
              </a:xfrm>
              <a:custGeom>
                <a:avLst/>
                <a:gdLst>
                  <a:gd name="connsiteX0" fmla="*/ 493472 w 494338"/>
                  <a:gd name="connsiteY0" fmla="*/ 282170 h 599290"/>
                  <a:gd name="connsiteX1" fmla="*/ 488634 w 494338"/>
                  <a:gd name="connsiteY1" fmla="*/ 278667 h 599290"/>
                  <a:gd name="connsiteX2" fmla="*/ 480208 w 494338"/>
                  <a:gd name="connsiteY2" fmla="*/ 271993 h 599290"/>
                  <a:gd name="connsiteX3" fmla="*/ 473116 w 494338"/>
                  <a:gd name="connsiteY3" fmla="*/ 263985 h 599290"/>
                  <a:gd name="connsiteX4" fmla="*/ 447421 w 494338"/>
                  <a:gd name="connsiteY4" fmla="*/ 212598 h 599290"/>
                  <a:gd name="connsiteX5" fmla="*/ 450925 w 494338"/>
                  <a:gd name="connsiteY5" fmla="*/ 201086 h 599290"/>
                  <a:gd name="connsiteX6" fmla="*/ 454429 w 494338"/>
                  <a:gd name="connsiteY6" fmla="*/ 189156 h 599290"/>
                  <a:gd name="connsiteX7" fmla="*/ 465024 w 494338"/>
                  <a:gd name="connsiteY7" fmla="*/ 162545 h 599290"/>
                  <a:gd name="connsiteX8" fmla="*/ 472532 w 494338"/>
                  <a:gd name="connsiteY8" fmla="*/ 147947 h 599290"/>
                  <a:gd name="connsiteX9" fmla="*/ 454846 w 494338"/>
                  <a:gd name="connsiteY9" fmla="*/ 129344 h 599290"/>
                  <a:gd name="connsiteX10" fmla="*/ 442415 w 494338"/>
                  <a:gd name="connsiteY10" fmla="*/ 117415 h 599290"/>
                  <a:gd name="connsiteX11" fmla="*/ 412715 w 494338"/>
                  <a:gd name="connsiteY11" fmla="*/ 101064 h 599290"/>
                  <a:gd name="connsiteX12" fmla="*/ 406041 w 494338"/>
                  <a:gd name="connsiteY12" fmla="*/ 103734 h 599290"/>
                  <a:gd name="connsiteX13" fmla="*/ 384350 w 494338"/>
                  <a:gd name="connsiteY13" fmla="*/ 104151 h 599290"/>
                  <a:gd name="connsiteX14" fmla="*/ 360907 w 494338"/>
                  <a:gd name="connsiteY14" fmla="*/ 73619 h 599290"/>
                  <a:gd name="connsiteX15" fmla="*/ 367998 w 494338"/>
                  <a:gd name="connsiteY15" fmla="*/ 59437 h 599290"/>
                  <a:gd name="connsiteX16" fmla="*/ 372420 w 494338"/>
                  <a:gd name="connsiteY16" fmla="*/ 51930 h 599290"/>
                  <a:gd name="connsiteX17" fmla="*/ 369750 w 494338"/>
                  <a:gd name="connsiteY17" fmla="*/ 31992 h 599290"/>
                  <a:gd name="connsiteX18" fmla="*/ 369750 w 494338"/>
                  <a:gd name="connsiteY18" fmla="*/ 31575 h 599290"/>
                  <a:gd name="connsiteX19" fmla="*/ 360907 w 494338"/>
                  <a:gd name="connsiteY19" fmla="*/ 25819 h 599290"/>
                  <a:gd name="connsiteX20" fmla="*/ 357820 w 494338"/>
                  <a:gd name="connsiteY20" fmla="*/ 24901 h 599290"/>
                  <a:gd name="connsiteX21" fmla="*/ 354317 w 494338"/>
                  <a:gd name="connsiteY21" fmla="*/ 24484 h 599290"/>
                  <a:gd name="connsiteX22" fmla="*/ 343721 w 494338"/>
                  <a:gd name="connsiteY22" fmla="*/ 47926 h 599290"/>
                  <a:gd name="connsiteX23" fmla="*/ 311852 w 494338"/>
                  <a:gd name="connsiteY23" fmla="*/ 19146 h 599290"/>
                  <a:gd name="connsiteX24" fmla="*/ 301257 w 494338"/>
                  <a:gd name="connsiteY24" fmla="*/ 15141 h 599290"/>
                  <a:gd name="connsiteX25" fmla="*/ 288826 w 494338"/>
                  <a:gd name="connsiteY25" fmla="*/ 7133 h 599290"/>
                  <a:gd name="connsiteX26" fmla="*/ 263131 w 494338"/>
                  <a:gd name="connsiteY26" fmla="*/ 6215 h 599290"/>
                  <a:gd name="connsiteX27" fmla="*/ 271557 w 494338"/>
                  <a:gd name="connsiteY27" fmla="*/ 68697 h 599290"/>
                  <a:gd name="connsiteX28" fmla="*/ 272475 w 494338"/>
                  <a:gd name="connsiteY28" fmla="*/ 101481 h 599290"/>
                  <a:gd name="connsiteX29" fmla="*/ 264966 w 494338"/>
                  <a:gd name="connsiteY29" fmla="*/ 112076 h 599290"/>
                  <a:gd name="connsiteX30" fmla="*/ 253036 w 494338"/>
                  <a:gd name="connsiteY30" fmla="*/ 95725 h 599290"/>
                  <a:gd name="connsiteX31" fmla="*/ 233097 w 494338"/>
                  <a:gd name="connsiteY31" fmla="*/ 97978 h 599290"/>
                  <a:gd name="connsiteX32" fmla="*/ 213158 w 494338"/>
                  <a:gd name="connsiteY32" fmla="*/ 82462 h 599290"/>
                  <a:gd name="connsiteX33" fmla="*/ 192302 w 494338"/>
                  <a:gd name="connsiteY33" fmla="*/ 99313 h 599290"/>
                  <a:gd name="connsiteX34" fmla="*/ 146250 w 494338"/>
                  <a:gd name="connsiteY34" fmla="*/ 102816 h 599290"/>
                  <a:gd name="connsiteX35" fmla="*/ 125393 w 494338"/>
                  <a:gd name="connsiteY35" fmla="*/ 152451 h 599290"/>
                  <a:gd name="connsiteX36" fmla="*/ 86850 w 494338"/>
                  <a:gd name="connsiteY36" fmla="*/ 121419 h 599290"/>
                  <a:gd name="connsiteX37" fmla="*/ 72250 w 494338"/>
                  <a:gd name="connsiteY37" fmla="*/ 99730 h 599290"/>
                  <a:gd name="connsiteX38" fmla="*/ 64742 w 494338"/>
                  <a:gd name="connsiteY38" fmla="*/ 72701 h 599290"/>
                  <a:gd name="connsiteX39" fmla="*/ 62990 w 494338"/>
                  <a:gd name="connsiteY39" fmla="*/ 70449 h 599290"/>
                  <a:gd name="connsiteX40" fmla="*/ 60737 w 494338"/>
                  <a:gd name="connsiteY40" fmla="*/ 68197 h 599290"/>
                  <a:gd name="connsiteX41" fmla="*/ 36377 w 494338"/>
                  <a:gd name="connsiteY41" fmla="*/ 63358 h 599290"/>
                  <a:gd name="connsiteX42" fmla="*/ 31038 w 494338"/>
                  <a:gd name="connsiteY42" fmla="*/ 70449 h 599290"/>
                  <a:gd name="connsiteX43" fmla="*/ 26199 w 494338"/>
                  <a:gd name="connsiteY43" fmla="*/ 76205 h 599290"/>
                  <a:gd name="connsiteX44" fmla="*/ 2255 w 494338"/>
                  <a:gd name="connsiteY44" fmla="*/ 78875 h 599290"/>
                  <a:gd name="connsiteX45" fmla="*/ 31455 w 494338"/>
                  <a:gd name="connsiteY45" fmla="*/ 132013 h 599290"/>
                  <a:gd name="connsiteX46" fmla="*/ 34541 w 494338"/>
                  <a:gd name="connsiteY46" fmla="*/ 136435 h 599290"/>
                  <a:gd name="connsiteX47" fmla="*/ 21694 w 494338"/>
                  <a:gd name="connsiteY47" fmla="*/ 203755 h 599290"/>
                  <a:gd name="connsiteX48" fmla="*/ 41633 w 494338"/>
                  <a:gd name="connsiteY48" fmla="*/ 228531 h 599290"/>
                  <a:gd name="connsiteX49" fmla="*/ 57150 w 494338"/>
                  <a:gd name="connsiteY49" fmla="*/ 262233 h 599290"/>
                  <a:gd name="connsiteX50" fmla="*/ 56232 w 494338"/>
                  <a:gd name="connsiteY50" fmla="*/ 302525 h 599290"/>
                  <a:gd name="connsiteX51" fmla="*/ 77923 w 494338"/>
                  <a:gd name="connsiteY51" fmla="*/ 335309 h 599290"/>
                  <a:gd name="connsiteX52" fmla="*/ 101366 w 494338"/>
                  <a:gd name="connsiteY52" fmla="*/ 414142 h 599290"/>
                  <a:gd name="connsiteX53" fmla="*/ 100949 w 494338"/>
                  <a:gd name="connsiteY53" fmla="*/ 439418 h 599290"/>
                  <a:gd name="connsiteX54" fmla="*/ 101867 w 494338"/>
                  <a:gd name="connsiteY54" fmla="*/ 483714 h 599290"/>
                  <a:gd name="connsiteX55" fmla="*/ 99614 w 494338"/>
                  <a:gd name="connsiteY55" fmla="*/ 558126 h 599290"/>
                  <a:gd name="connsiteX56" fmla="*/ 106706 w 494338"/>
                  <a:gd name="connsiteY56" fmla="*/ 574476 h 599290"/>
                  <a:gd name="connsiteX57" fmla="*/ 112879 w 494338"/>
                  <a:gd name="connsiteY57" fmla="*/ 569137 h 599290"/>
                  <a:gd name="connsiteX58" fmla="*/ 131483 w 494338"/>
                  <a:gd name="connsiteY58" fmla="*/ 556290 h 599290"/>
                  <a:gd name="connsiteX59" fmla="*/ 187296 w 494338"/>
                  <a:gd name="connsiteY59" fmla="*/ 590409 h 599290"/>
                  <a:gd name="connsiteX60" fmla="*/ 188631 w 494338"/>
                  <a:gd name="connsiteY60" fmla="*/ 592662 h 599290"/>
                  <a:gd name="connsiteX61" fmla="*/ 189549 w 494338"/>
                  <a:gd name="connsiteY61" fmla="*/ 593996 h 599290"/>
                  <a:gd name="connsiteX62" fmla="*/ 190883 w 494338"/>
                  <a:gd name="connsiteY62" fmla="*/ 592662 h 599290"/>
                  <a:gd name="connsiteX63" fmla="*/ 223670 w 494338"/>
                  <a:gd name="connsiteY63" fmla="*/ 565633 h 599290"/>
                  <a:gd name="connsiteX64" fmla="*/ 238270 w 494338"/>
                  <a:gd name="connsiteY64" fmla="*/ 561629 h 599290"/>
                  <a:gd name="connsiteX65" fmla="*/ 253787 w 494338"/>
                  <a:gd name="connsiteY65" fmla="*/ 555873 h 599290"/>
                  <a:gd name="connsiteX66" fmla="*/ 256040 w 494338"/>
                  <a:gd name="connsiteY66" fmla="*/ 553620 h 599290"/>
                  <a:gd name="connsiteX67" fmla="*/ 283070 w 494338"/>
                  <a:gd name="connsiteY67" fmla="*/ 545612 h 599290"/>
                  <a:gd name="connsiteX68" fmla="*/ 290161 w 494338"/>
                  <a:gd name="connsiteY68" fmla="*/ 557541 h 599290"/>
                  <a:gd name="connsiteX69" fmla="*/ 291496 w 494338"/>
                  <a:gd name="connsiteY69" fmla="*/ 562380 h 599290"/>
                  <a:gd name="connsiteX70" fmla="*/ 296835 w 494338"/>
                  <a:gd name="connsiteY70" fmla="*/ 567218 h 599290"/>
                  <a:gd name="connsiteX71" fmla="*/ 302592 w 494338"/>
                  <a:gd name="connsiteY71" fmla="*/ 572557 h 599290"/>
                  <a:gd name="connsiteX72" fmla="*/ 310601 w 494338"/>
                  <a:gd name="connsiteY72" fmla="*/ 588073 h 599290"/>
                  <a:gd name="connsiteX73" fmla="*/ 315940 w 494338"/>
                  <a:gd name="connsiteY73" fmla="*/ 598668 h 599290"/>
                  <a:gd name="connsiteX74" fmla="*/ 342553 w 494338"/>
                  <a:gd name="connsiteY74" fmla="*/ 591577 h 599290"/>
                  <a:gd name="connsiteX75" fmla="*/ 351397 w 494338"/>
                  <a:gd name="connsiteY75" fmla="*/ 580983 h 599290"/>
                  <a:gd name="connsiteX76" fmla="*/ 360240 w 494338"/>
                  <a:gd name="connsiteY76" fmla="*/ 566801 h 599290"/>
                  <a:gd name="connsiteX77" fmla="*/ 377092 w 494338"/>
                  <a:gd name="connsiteY77" fmla="*/ 559710 h 599290"/>
                  <a:gd name="connsiteX78" fmla="*/ 375757 w 494338"/>
                  <a:gd name="connsiteY78" fmla="*/ 553037 h 599290"/>
                  <a:gd name="connsiteX79" fmla="*/ 376174 w 494338"/>
                  <a:gd name="connsiteY79" fmla="*/ 537520 h 599290"/>
                  <a:gd name="connsiteX80" fmla="*/ 379261 w 494338"/>
                  <a:gd name="connsiteY80" fmla="*/ 521170 h 599290"/>
                  <a:gd name="connsiteX81" fmla="*/ 395613 w 494338"/>
                  <a:gd name="connsiteY81" fmla="*/ 506071 h 599290"/>
                  <a:gd name="connsiteX82" fmla="*/ 411130 w 494338"/>
                  <a:gd name="connsiteY82" fmla="*/ 500732 h 599290"/>
                  <a:gd name="connsiteX83" fmla="*/ 413800 w 494338"/>
                  <a:gd name="connsiteY83" fmla="*/ 499814 h 599290"/>
                  <a:gd name="connsiteX84" fmla="*/ 421809 w 494338"/>
                  <a:gd name="connsiteY84" fmla="*/ 496728 h 599290"/>
                  <a:gd name="connsiteX85" fmla="*/ 424061 w 494338"/>
                  <a:gd name="connsiteY85" fmla="*/ 493641 h 599290"/>
                  <a:gd name="connsiteX86" fmla="*/ 421809 w 494338"/>
                  <a:gd name="connsiteY86" fmla="*/ 490555 h 599290"/>
                  <a:gd name="connsiteX87" fmla="*/ 419139 w 494338"/>
                  <a:gd name="connsiteY87" fmla="*/ 487885 h 599290"/>
                  <a:gd name="connsiteX88" fmla="*/ 412465 w 494338"/>
                  <a:gd name="connsiteY88" fmla="*/ 479043 h 599290"/>
                  <a:gd name="connsiteX89" fmla="*/ 410713 w 494338"/>
                  <a:gd name="connsiteY89" fmla="*/ 459522 h 599290"/>
                  <a:gd name="connsiteX90" fmla="*/ 416052 w 494338"/>
                  <a:gd name="connsiteY90" fmla="*/ 451514 h 599290"/>
                  <a:gd name="connsiteX91" fmla="*/ 418722 w 494338"/>
                  <a:gd name="connsiteY91" fmla="*/ 448010 h 599290"/>
                  <a:gd name="connsiteX92" fmla="*/ 417804 w 494338"/>
                  <a:gd name="connsiteY92" fmla="*/ 440002 h 599290"/>
                  <a:gd name="connsiteX93" fmla="*/ 412048 w 494338"/>
                  <a:gd name="connsiteY93" fmla="*/ 436498 h 599290"/>
                  <a:gd name="connsiteX94" fmla="*/ 403205 w 494338"/>
                  <a:gd name="connsiteY94" fmla="*/ 430325 h 599290"/>
                  <a:gd name="connsiteX95" fmla="*/ 397865 w 494338"/>
                  <a:gd name="connsiteY95" fmla="*/ 409053 h 599290"/>
                  <a:gd name="connsiteX96" fmla="*/ 404957 w 494338"/>
                  <a:gd name="connsiteY96" fmla="*/ 396623 h 599290"/>
                  <a:gd name="connsiteX97" fmla="*/ 407209 w 494338"/>
                  <a:gd name="connsiteY97" fmla="*/ 393954 h 599290"/>
                  <a:gd name="connsiteX98" fmla="*/ 410296 w 494338"/>
                  <a:gd name="connsiteY98" fmla="*/ 386863 h 599290"/>
                  <a:gd name="connsiteX99" fmla="*/ 413383 w 494338"/>
                  <a:gd name="connsiteY99" fmla="*/ 358083 h 599290"/>
                  <a:gd name="connsiteX100" fmla="*/ 440830 w 494338"/>
                  <a:gd name="connsiteY100" fmla="*/ 341232 h 599290"/>
                  <a:gd name="connsiteX101" fmla="*/ 455430 w 494338"/>
                  <a:gd name="connsiteY101" fmla="*/ 352327 h 599290"/>
                  <a:gd name="connsiteX102" fmla="*/ 461603 w 494338"/>
                  <a:gd name="connsiteY102" fmla="*/ 359001 h 599290"/>
                  <a:gd name="connsiteX103" fmla="*/ 472699 w 494338"/>
                  <a:gd name="connsiteY103" fmla="*/ 357666 h 599290"/>
                  <a:gd name="connsiteX104" fmla="*/ 484212 w 494338"/>
                  <a:gd name="connsiteY104" fmla="*/ 346154 h 599290"/>
                  <a:gd name="connsiteX105" fmla="*/ 491720 w 494338"/>
                  <a:gd name="connsiteY105" fmla="*/ 339063 h 599290"/>
                  <a:gd name="connsiteX106" fmla="*/ 493055 w 494338"/>
                  <a:gd name="connsiteY106" fmla="*/ 320877 h 599290"/>
                  <a:gd name="connsiteX107" fmla="*/ 493472 w 494338"/>
                  <a:gd name="connsiteY107" fmla="*/ 302275 h 599290"/>
                  <a:gd name="connsiteX108" fmla="*/ 493890 w 494338"/>
                  <a:gd name="connsiteY108" fmla="*/ 293849 h 599290"/>
                  <a:gd name="connsiteX109" fmla="*/ 493472 w 494338"/>
                  <a:gd name="connsiteY109" fmla="*/ 282170 h 599290"/>
                  <a:gd name="connsiteX110" fmla="*/ 328204 w 494338"/>
                  <a:gd name="connsiteY110" fmla="*/ 417228 h 599290"/>
                  <a:gd name="connsiteX111" fmla="*/ 327286 w 494338"/>
                  <a:gd name="connsiteY111" fmla="*/ 430992 h 599290"/>
                  <a:gd name="connsiteX112" fmla="*/ 320195 w 494338"/>
                  <a:gd name="connsiteY112" fmla="*/ 477541 h 599290"/>
                  <a:gd name="connsiteX113" fmla="*/ 294082 w 494338"/>
                  <a:gd name="connsiteY113" fmla="*/ 503652 h 599290"/>
                  <a:gd name="connsiteX114" fmla="*/ 281235 w 494338"/>
                  <a:gd name="connsiteY114" fmla="*/ 482379 h 599290"/>
                  <a:gd name="connsiteX115" fmla="*/ 287408 w 494338"/>
                  <a:gd name="connsiteY115" fmla="*/ 462025 h 599290"/>
                  <a:gd name="connsiteX116" fmla="*/ 291413 w 494338"/>
                  <a:gd name="connsiteY116" fmla="*/ 445174 h 599290"/>
                  <a:gd name="connsiteX117" fmla="*/ 286991 w 494338"/>
                  <a:gd name="connsiteY117" fmla="*/ 441670 h 599290"/>
                  <a:gd name="connsiteX118" fmla="*/ 273726 w 494338"/>
                  <a:gd name="connsiteY118" fmla="*/ 459856 h 599290"/>
                  <a:gd name="connsiteX119" fmla="*/ 272391 w 494338"/>
                  <a:gd name="connsiteY119" fmla="*/ 462526 h 599290"/>
                  <a:gd name="connsiteX120" fmla="*/ 237853 w 494338"/>
                  <a:gd name="connsiteY120" fmla="*/ 501983 h 599290"/>
                  <a:gd name="connsiteX121" fmla="*/ 229844 w 494338"/>
                  <a:gd name="connsiteY121" fmla="*/ 508156 h 599290"/>
                  <a:gd name="connsiteX122" fmla="*/ 221000 w 494338"/>
                  <a:gd name="connsiteY122" fmla="*/ 515247 h 599290"/>
                  <a:gd name="connsiteX123" fmla="*/ 218748 w 494338"/>
                  <a:gd name="connsiteY123" fmla="*/ 522338 h 599290"/>
                  <a:gd name="connsiteX124" fmla="*/ 212574 w 494338"/>
                  <a:gd name="connsiteY124" fmla="*/ 536936 h 599290"/>
                  <a:gd name="connsiteX125" fmla="*/ 191300 w 494338"/>
                  <a:gd name="connsiteY125" fmla="*/ 549783 h 599290"/>
                  <a:gd name="connsiteX126" fmla="*/ 181540 w 494338"/>
                  <a:gd name="connsiteY126" fmla="*/ 551118 h 599290"/>
                  <a:gd name="connsiteX127" fmla="*/ 166940 w 494338"/>
                  <a:gd name="connsiteY127" fmla="*/ 543110 h 599290"/>
                  <a:gd name="connsiteX128" fmla="*/ 142996 w 494338"/>
                  <a:gd name="connsiteY128" fmla="*/ 489053 h 599290"/>
                  <a:gd name="connsiteX129" fmla="*/ 156261 w 494338"/>
                  <a:gd name="connsiteY129" fmla="*/ 467364 h 599290"/>
                  <a:gd name="connsiteX130" fmla="*/ 185461 w 494338"/>
                  <a:gd name="connsiteY130" fmla="*/ 475372 h 599290"/>
                  <a:gd name="connsiteX131" fmla="*/ 193470 w 494338"/>
                  <a:gd name="connsiteY131" fmla="*/ 477625 h 599290"/>
                  <a:gd name="connsiteX132" fmla="*/ 202313 w 494338"/>
                  <a:gd name="connsiteY132" fmla="*/ 476290 h 599290"/>
                  <a:gd name="connsiteX133" fmla="*/ 216495 w 494338"/>
                  <a:gd name="connsiteY133" fmla="*/ 466947 h 599290"/>
                  <a:gd name="connsiteX134" fmla="*/ 212074 w 494338"/>
                  <a:gd name="connsiteY134" fmla="*/ 457187 h 599290"/>
                  <a:gd name="connsiteX135" fmla="*/ 204982 w 494338"/>
                  <a:gd name="connsiteY135" fmla="*/ 443422 h 599290"/>
                  <a:gd name="connsiteX136" fmla="*/ 212491 w 494338"/>
                  <a:gd name="connsiteY136" fmla="*/ 414225 h 599290"/>
                  <a:gd name="connsiteX137" fmla="*/ 240439 w 494338"/>
                  <a:gd name="connsiteY137" fmla="*/ 393870 h 599290"/>
                  <a:gd name="connsiteX138" fmla="*/ 258626 w 494338"/>
                  <a:gd name="connsiteY138" fmla="*/ 383276 h 599290"/>
                  <a:gd name="connsiteX139" fmla="*/ 263465 w 494338"/>
                  <a:gd name="connsiteY139" fmla="*/ 366008 h 599290"/>
                  <a:gd name="connsiteX140" fmla="*/ 254121 w 494338"/>
                  <a:gd name="connsiteY140" fmla="*/ 362504 h 599290"/>
                  <a:gd name="connsiteX141" fmla="*/ 246112 w 494338"/>
                  <a:gd name="connsiteY141" fmla="*/ 363422 h 599290"/>
                  <a:gd name="connsiteX142" fmla="*/ 211573 w 494338"/>
                  <a:gd name="connsiteY142" fmla="*/ 357249 h 599290"/>
                  <a:gd name="connsiteX143" fmla="*/ 201812 w 494338"/>
                  <a:gd name="connsiteY143" fmla="*/ 347489 h 599290"/>
                  <a:gd name="connsiteX144" fmla="*/ 195639 w 494338"/>
                  <a:gd name="connsiteY144" fmla="*/ 340815 h 599290"/>
                  <a:gd name="connsiteX145" fmla="*/ 190800 w 494338"/>
                  <a:gd name="connsiteY145" fmla="*/ 336811 h 599290"/>
                  <a:gd name="connsiteX146" fmla="*/ 159348 w 494338"/>
                  <a:gd name="connsiteY146" fmla="*/ 292097 h 599290"/>
                  <a:gd name="connsiteX147" fmla="*/ 170444 w 494338"/>
                  <a:gd name="connsiteY147" fmla="*/ 265486 h 599290"/>
                  <a:gd name="connsiteX148" fmla="*/ 200144 w 494338"/>
                  <a:gd name="connsiteY148" fmla="*/ 277916 h 599290"/>
                  <a:gd name="connsiteX149" fmla="*/ 207235 w 494338"/>
                  <a:gd name="connsiteY149" fmla="*/ 291680 h 599290"/>
                  <a:gd name="connsiteX150" fmla="*/ 221418 w 494338"/>
                  <a:gd name="connsiteY150" fmla="*/ 304944 h 599290"/>
                  <a:gd name="connsiteX151" fmla="*/ 238270 w 494338"/>
                  <a:gd name="connsiteY151" fmla="*/ 304527 h 599290"/>
                  <a:gd name="connsiteX152" fmla="*/ 283487 w 494338"/>
                  <a:gd name="connsiteY152" fmla="*/ 318709 h 599290"/>
                  <a:gd name="connsiteX153" fmla="*/ 287909 w 494338"/>
                  <a:gd name="connsiteY153" fmla="*/ 332473 h 599290"/>
                  <a:gd name="connsiteX154" fmla="*/ 291413 w 494338"/>
                  <a:gd name="connsiteY154" fmla="*/ 342650 h 599290"/>
                  <a:gd name="connsiteX155" fmla="*/ 302008 w 494338"/>
                  <a:gd name="connsiteY155" fmla="*/ 351993 h 599290"/>
                  <a:gd name="connsiteX156" fmla="*/ 311352 w 494338"/>
                  <a:gd name="connsiteY156" fmla="*/ 359084 h 599290"/>
                  <a:gd name="connsiteX157" fmla="*/ 328204 w 494338"/>
                  <a:gd name="connsiteY157" fmla="*/ 417228 h 59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494338" h="599290" extrusionOk="0">
                    <a:moveTo>
                      <a:pt x="493472" y="282170"/>
                    </a:moveTo>
                    <a:cubicBezTo>
                      <a:pt x="493055" y="281253"/>
                      <a:pt x="490386" y="279501"/>
                      <a:pt x="488634" y="278667"/>
                    </a:cubicBezTo>
                    <a:cubicBezTo>
                      <a:pt x="485547" y="276414"/>
                      <a:pt x="482460" y="274662"/>
                      <a:pt x="480208" y="271993"/>
                    </a:cubicBezTo>
                    <a:cubicBezTo>
                      <a:pt x="477955" y="269741"/>
                      <a:pt x="475786" y="267155"/>
                      <a:pt x="473116" y="263985"/>
                    </a:cubicBezTo>
                    <a:cubicBezTo>
                      <a:pt x="460686" y="250220"/>
                      <a:pt x="443416" y="231200"/>
                      <a:pt x="447421" y="212598"/>
                    </a:cubicBezTo>
                    <a:cubicBezTo>
                      <a:pt x="448339" y="208594"/>
                      <a:pt x="449673" y="204589"/>
                      <a:pt x="450925" y="201086"/>
                    </a:cubicBezTo>
                    <a:cubicBezTo>
                      <a:pt x="452260" y="196664"/>
                      <a:pt x="454012" y="193077"/>
                      <a:pt x="454429" y="189156"/>
                    </a:cubicBezTo>
                    <a:cubicBezTo>
                      <a:pt x="456181" y="179396"/>
                      <a:pt x="457933" y="170971"/>
                      <a:pt x="465024" y="162545"/>
                    </a:cubicBezTo>
                    <a:cubicBezTo>
                      <a:pt x="470363" y="155872"/>
                      <a:pt x="473033" y="151451"/>
                      <a:pt x="472532" y="147947"/>
                    </a:cubicBezTo>
                    <a:cubicBezTo>
                      <a:pt x="472115" y="143108"/>
                      <a:pt x="464523" y="137352"/>
                      <a:pt x="454846" y="129344"/>
                    </a:cubicBezTo>
                    <a:cubicBezTo>
                      <a:pt x="450424" y="125840"/>
                      <a:pt x="446420" y="121336"/>
                      <a:pt x="442415" y="117415"/>
                    </a:cubicBezTo>
                    <a:cubicBezTo>
                      <a:pt x="431319" y="105486"/>
                      <a:pt x="423811" y="98812"/>
                      <a:pt x="412715" y="101064"/>
                    </a:cubicBezTo>
                    <a:cubicBezTo>
                      <a:pt x="410046" y="101982"/>
                      <a:pt x="407877" y="102816"/>
                      <a:pt x="406041" y="103734"/>
                    </a:cubicBezTo>
                    <a:cubicBezTo>
                      <a:pt x="399868" y="106821"/>
                      <a:pt x="394528" y="108572"/>
                      <a:pt x="384350" y="104151"/>
                    </a:cubicBezTo>
                    <a:cubicBezTo>
                      <a:pt x="367998" y="97477"/>
                      <a:pt x="359072" y="85965"/>
                      <a:pt x="360907" y="73619"/>
                    </a:cubicBezTo>
                    <a:cubicBezTo>
                      <a:pt x="361825" y="67446"/>
                      <a:pt x="365329" y="63025"/>
                      <a:pt x="367998" y="59437"/>
                    </a:cubicBezTo>
                    <a:cubicBezTo>
                      <a:pt x="370668" y="56351"/>
                      <a:pt x="372003" y="54599"/>
                      <a:pt x="372420" y="51930"/>
                    </a:cubicBezTo>
                    <a:cubicBezTo>
                      <a:pt x="373338" y="47091"/>
                      <a:pt x="371502" y="39083"/>
                      <a:pt x="369750" y="31992"/>
                    </a:cubicBezTo>
                    <a:lnTo>
                      <a:pt x="369750" y="31575"/>
                    </a:lnTo>
                    <a:cubicBezTo>
                      <a:pt x="366664" y="29323"/>
                      <a:pt x="363577" y="27154"/>
                      <a:pt x="360907" y="25819"/>
                    </a:cubicBezTo>
                    <a:cubicBezTo>
                      <a:pt x="359990" y="25402"/>
                      <a:pt x="358655" y="24901"/>
                      <a:pt x="357820" y="24901"/>
                    </a:cubicBezTo>
                    <a:cubicBezTo>
                      <a:pt x="356486" y="24484"/>
                      <a:pt x="355151" y="23984"/>
                      <a:pt x="354317" y="24484"/>
                    </a:cubicBezTo>
                    <a:cubicBezTo>
                      <a:pt x="337965" y="25819"/>
                      <a:pt x="348977" y="41753"/>
                      <a:pt x="343721" y="47926"/>
                    </a:cubicBezTo>
                    <a:cubicBezTo>
                      <a:pt x="332208" y="60772"/>
                      <a:pt x="321113" y="25819"/>
                      <a:pt x="311852" y="19146"/>
                    </a:cubicBezTo>
                    <a:cubicBezTo>
                      <a:pt x="307431" y="16059"/>
                      <a:pt x="305178" y="17394"/>
                      <a:pt x="301257" y="15141"/>
                    </a:cubicBezTo>
                    <a:cubicBezTo>
                      <a:pt x="296835" y="12889"/>
                      <a:pt x="292831" y="9802"/>
                      <a:pt x="288826" y="7133"/>
                    </a:cubicBezTo>
                    <a:cubicBezTo>
                      <a:pt x="277731" y="960"/>
                      <a:pt x="272892" y="-4796"/>
                      <a:pt x="263131" y="6215"/>
                    </a:cubicBezTo>
                    <a:cubicBezTo>
                      <a:pt x="246779" y="25736"/>
                      <a:pt x="270222" y="48760"/>
                      <a:pt x="271557" y="68697"/>
                    </a:cubicBezTo>
                    <a:cubicBezTo>
                      <a:pt x="271974" y="79792"/>
                      <a:pt x="271140" y="90387"/>
                      <a:pt x="272475" y="101481"/>
                    </a:cubicBezTo>
                    <a:cubicBezTo>
                      <a:pt x="273392" y="110324"/>
                      <a:pt x="276896" y="121836"/>
                      <a:pt x="264966" y="112076"/>
                    </a:cubicBezTo>
                    <a:cubicBezTo>
                      <a:pt x="259627" y="107238"/>
                      <a:pt x="261880" y="98311"/>
                      <a:pt x="253036" y="95725"/>
                    </a:cubicBezTo>
                    <a:cubicBezTo>
                      <a:pt x="247280" y="93473"/>
                      <a:pt x="238854" y="99730"/>
                      <a:pt x="233097" y="97978"/>
                    </a:cubicBezTo>
                    <a:cubicBezTo>
                      <a:pt x="224671" y="95308"/>
                      <a:pt x="223336" y="82044"/>
                      <a:pt x="213158" y="82462"/>
                    </a:cubicBezTo>
                    <a:cubicBezTo>
                      <a:pt x="204732" y="82879"/>
                      <a:pt x="199393" y="95308"/>
                      <a:pt x="192302" y="99313"/>
                    </a:cubicBezTo>
                    <a:cubicBezTo>
                      <a:pt x="177702" y="106403"/>
                      <a:pt x="159515" y="94474"/>
                      <a:pt x="146250" y="102816"/>
                    </a:cubicBezTo>
                    <a:cubicBezTo>
                      <a:pt x="129898" y="113411"/>
                      <a:pt x="140076" y="142691"/>
                      <a:pt x="125393" y="152451"/>
                    </a:cubicBezTo>
                    <a:cubicBezTo>
                      <a:pt x="111211" y="161294"/>
                      <a:pt x="95693" y="130762"/>
                      <a:pt x="86850" y="121419"/>
                    </a:cubicBezTo>
                    <a:cubicBezTo>
                      <a:pt x="80176" y="114745"/>
                      <a:pt x="75337" y="108572"/>
                      <a:pt x="72250" y="99730"/>
                    </a:cubicBezTo>
                    <a:cubicBezTo>
                      <a:pt x="69164" y="91304"/>
                      <a:pt x="69998" y="79792"/>
                      <a:pt x="64742" y="72701"/>
                    </a:cubicBezTo>
                    <a:cubicBezTo>
                      <a:pt x="64325" y="71784"/>
                      <a:pt x="63824" y="71367"/>
                      <a:pt x="62990" y="70449"/>
                    </a:cubicBezTo>
                    <a:lnTo>
                      <a:pt x="60737" y="68197"/>
                    </a:lnTo>
                    <a:cubicBezTo>
                      <a:pt x="53646" y="61523"/>
                      <a:pt x="41216" y="55350"/>
                      <a:pt x="36377" y="63358"/>
                    </a:cubicBezTo>
                    <a:cubicBezTo>
                      <a:pt x="32372" y="68697"/>
                      <a:pt x="33707" y="65610"/>
                      <a:pt x="31038" y="70449"/>
                    </a:cubicBezTo>
                    <a:cubicBezTo>
                      <a:pt x="30120" y="72201"/>
                      <a:pt x="31038" y="73535"/>
                      <a:pt x="26199" y="76205"/>
                    </a:cubicBezTo>
                    <a:cubicBezTo>
                      <a:pt x="19525" y="79709"/>
                      <a:pt x="10264" y="70866"/>
                      <a:pt x="2255" y="78875"/>
                    </a:cubicBezTo>
                    <a:cubicBezTo>
                      <a:pt x="-8340" y="89969"/>
                      <a:pt x="21277" y="119167"/>
                      <a:pt x="31455" y="132013"/>
                    </a:cubicBezTo>
                    <a:cubicBezTo>
                      <a:pt x="33207" y="133765"/>
                      <a:pt x="34124" y="135517"/>
                      <a:pt x="34541" y="136435"/>
                    </a:cubicBezTo>
                    <a:cubicBezTo>
                      <a:pt x="46471" y="162128"/>
                      <a:pt x="18190" y="179813"/>
                      <a:pt x="21694" y="203755"/>
                    </a:cubicBezTo>
                    <a:cubicBezTo>
                      <a:pt x="23446" y="215267"/>
                      <a:pt x="34959" y="220105"/>
                      <a:pt x="41633" y="228531"/>
                    </a:cubicBezTo>
                    <a:cubicBezTo>
                      <a:pt x="50059" y="238291"/>
                      <a:pt x="55398" y="249803"/>
                      <a:pt x="57150" y="262233"/>
                    </a:cubicBezTo>
                    <a:cubicBezTo>
                      <a:pt x="58485" y="275497"/>
                      <a:pt x="53146" y="289261"/>
                      <a:pt x="56232" y="302525"/>
                    </a:cubicBezTo>
                    <a:cubicBezTo>
                      <a:pt x="59319" y="316289"/>
                      <a:pt x="71750" y="322880"/>
                      <a:pt x="77923" y="335309"/>
                    </a:cubicBezTo>
                    <a:cubicBezTo>
                      <a:pt x="89436" y="355664"/>
                      <a:pt x="106288" y="390200"/>
                      <a:pt x="101366" y="414142"/>
                    </a:cubicBezTo>
                    <a:cubicBezTo>
                      <a:pt x="98697" y="427405"/>
                      <a:pt x="96528" y="425653"/>
                      <a:pt x="100949" y="439418"/>
                    </a:cubicBezTo>
                    <a:cubicBezTo>
                      <a:pt x="106288" y="454934"/>
                      <a:pt x="102284" y="467364"/>
                      <a:pt x="101867" y="483714"/>
                    </a:cubicBezTo>
                    <a:cubicBezTo>
                      <a:pt x="101450" y="507656"/>
                      <a:pt x="98363" y="533767"/>
                      <a:pt x="99614" y="558126"/>
                    </a:cubicBezTo>
                    <a:cubicBezTo>
                      <a:pt x="100032" y="565216"/>
                      <a:pt x="103118" y="570054"/>
                      <a:pt x="106706" y="574476"/>
                    </a:cubicBezTo>
                    <a:cubicBezTo>
                      <a:pt x="108958" y="573141"/>
                      <a:pt x="110710" y="570972"/>
                      <a:pt x="112879" y="569137"/>
                    </a:cubicBezTo>
                    <a:cubicBezTo>
                      <a:pt x="117718" y="564299"/>
                      <a:pt x="123474" y="558960"/>
                      <a:pt x="131483" y="556290"/>
                    </a:cubicBezTo>
                    <a:cubicBezTo>
                      <a:pt x="158514" y="546530"/>
                      <a:pt x="176701" y="573975"/>
                      <a:pt x="187296" y="590409"/>
                    </a:cubicBezTo>
                    <a:lnTo>
                      <a:pt x="188631" y="592662"/>
                    </a:lnTo>
                    <a:cubicBezTo>
                      <a:pt x="189048" y="593079"/>
                      <a:pt x="189048" y="593579"/>
                      <a:pt x="189549" y="593996"/>
                    </a:cubicBezTo>
                    <a:lnTo>
                      <a:pt x="190883" y="592662"/>
                    </a:lnTo>
                    <a:cubicBezTo>
                      <a:pt x="200227" y="582484"/>
                      <a:pt x="209488" y="571806"/>
                      <a:pt x="223670" y="565633"/>
                    </a:cubicBezTo>
                    <a:cubicBezTo>
                      <a:pt x="228509" y="563381"/>
                      <a:pt x="233431" y="562547"/>
                      <a:pt x="238270" y="561629"/>
                    </a:cubicBezTo>
                    <a:cubicBezTo>
                      <a:pt x="244443" y="560711"/>
                      <a:pt x="249783" y="559377"/>
                      <a:pt x="253787" y="555873"/>
                    </a:cubicBezTo>
                    <a:lnTo>
                      <a:pt x="256040" y="553620"/>
                    </a:lnTo>
                    <a:cubicBezTo>
                      <a:pt x="261796" y="547865"/>
                      <a:pt x="269805" y="539856"/>
                      <a:pt x="283070" y="545612"/>
                    </a:cubicBezTo>
                    <a:cubicBezTo>
                      <a:pt x="287909" y="547865"/>
                      <a:pt x="289244" y="553120"/>
                      <a:pt x="290161" y="557541"/>
                    </a:cubicBezTo>
                    <a:cubicBezTo>
                      <a:pt x="290578" y="559293"/>
                      <a:pt x="291079" y="561963"/>
                      <a:pt x="291496" y="562380"/>
                    </a:cubicBezTo>
                    <a:cubicBezTo>
                      <a:pt x="292831" y="564632"/>
                      <a:pt x="295000" y="565883"/>
                      <a:pt x="296835" y="567218"/>
                    </a:cubicBezTo>
                    <a:cubicBezTo>
                      <a:pt x="299088" y="568970"/>
                      <a:pt x="300840" y="570305"/>
                      <a:pt x="302592" y="572557"/>
                    </a:cubicBezTo>
                    <a:cubicBezTo>
                      <a:pt x="306596" y="576978"/>
                      <a:pt x="308765" y="582735"/>
                      <a:pt x="310601" y="588073"/>
                    </a:cubicBezTo>
                    <a:cubicBezTo>
                      <a:pt x="311936" y="592495"/>
                      <a:pt x="313688" y="597833"/>
                      <a:pt x="315940" y="598668"/>
                    </a:cubicBezTo>
                    <a:cubicBezTo>
                      <a:pt x="316858" y="599085"/>
                      <a:pt x="322614" y="601754"/>
                      <a:pt x="342553" y="591577"/>
                    </a:cubicBezTo>
                    <a:cubicBezTo>
                      <a:pt x="348310" y="588908"/>
                      <a:pt x="349645" y="585821"/>
                      <a:pt x="351397" y="580983"/>
                    </a:cubicBezTo>
                    <a:cubicBezTo>
                      <a:pt x="353149" y="576978"/>
                      <a:pt x="355401" y="572140"/>
                      <a:pt x="360240" y="566801"/>
                    </a:cubicBezTo>
                    <a:cubicBezTo>
                      <a:pt x="364244" y="563297"/>
                      <a:pt x="370418" y="560128"/>
                      <a:pt x="377092" y="559710"/>
                    </a:cubicBezTo>
                    <a:cubicBezTo>
                      <a:pt x="376675" y="557458"/>
                      <a:pt x="376174" y="555289"/>
                      <a:pt x="375757" y="553037"/>
                    </a:cubicBezTo>
                    <a:cubicBezTo>
                      <a:pt x="375340" y="547698"/>
                      <a:pt x="375340" y="542859"/>
                      <a:pt x="376174" y="537520"/>
                    </a:cubicBezTo>
                    <a:cubicBezTo>
                      <a:pt x="376591" y="532682"/>
                      <a:pt x="377092" y="526926"/>
                      <a:pt x="379261" y="521170"/>
                    </a:cubicBezTo>
                    <a:cubicBezTo>
                      <a:pt x="382348" y="514997"/>
                      <a:pt x="387687" y="509658"/>
                      <a:pt x="395613" y="506071"/>
                    </a:cubicBezTo>
                    <a:cubicBezTo>
                      <a:pt x="400452" y="503402"/>
                      <a:pt x="405791" y="502567"/>
                      <a:pt x="411130" y="500732"/>
                    </a:cubicBezTo>
                    <a:lnTo>
                      <a:pt x="413800" y="499814"/>
                    </a:lnTo>
                    <a:cubicBezTo>
                      <a:pt x="416887" y="498897"/>
                      <a:pt x="419973" y="498063"/>
                      <a:pt x="421809" y="496728"/>
                    </a:cubicBezTo>
                    <a:cubicBezTo>
                      <a:pt x="423144" y="495810"/>
                      <a:pt x="424061" y="494058"/>
                      <a:pt x="424061" y="493641"/>
                    </a:cubicBezTo>
                    <a:cubicBezTo>
                      <a:pt x="423644" y="492724"/>
                      <a:pt x="422727" y="490972"/>
                      <a:pt x="421809" y="490555"/>
                    </a:cubicBezTo>
                    <a:lnTo>
                      <a:pt x="419139" y="487885"/>
                    </a:lnTo>
                    <a:cubicBezTo>
                      <a:pt x="416887" y="484799"/>
                      <a:pt x="414300" y="482129"/>
                      <a:pt x="412465" y="479043"/>
                    </a:cubicBezTo>
                    <a:cubicBezTo>
                      <a:pt x="408961" y="472369"/>
                      <a:pt x="408043" y="465278"/>
                      <a:pt x="410713" y="459522"/>
                    </a:cubicBezTo>
                    <a:cubicBezTo>
                      <a:pt x="412048" y="456018"/>
                      <a:pt x="414217" y="453349"/>
                      <a:pt x="416052" y="451514"/>
                    </a:cubicBezTo>
                    <a:cubicBezTo>
                      <a:pt x="417387" y="450179"/>
                      <a:pt x="418305" y="449262"/>
                      <a:pt x="418722" y="448010"/>
                    </a:cubicBezTo>
                    <a:cubicBezTo>
                      <a:pt x="420057" y="445758"/>
                      <a:pt x="420057" y="442254"/>
                      <a:pt x="417804" y="440002"/>
                    </a:cubicBezTo>
                    <a:cubicBezTo>
                      <a:pt x="416470" y="438667"/>
                      <a:pt x="414718" y="437332"/>
                      <a:pt x="412048" y="436498"/>
                    </a:cubicBezTo>
                    <a:cubicBezTo>
                      <a:pt x="409378" y="435163"/>
                      <a:pt x="405874" y="433412"/>
                      <a:pt x="403205" y="430325"/>
                    </a:cubicBezTo>
                    <a:cubicBezTo>
                      <a:pt x="397865" y="424986"/>
                      <a:pt x="395696" y="416561"/>
                      <a:pt x="397865" y="409053"/>
                    </a:cubicBezTo>
                    <a:cubicBezTo>
                      <a:pt x="399200" y="403714"/>
                      <a:pt x="402287" y="400210"/>
                      <a:pt x="404957" y="396623"/>
                    </a:cubicBezTo>
                    <a:lnTo>
                      <a:pt x="407209" y="393954"/>
                    </a:lnTo>
                    <a:cubicBezTo>
                      <a:pt x="409462" y="390867"/>
                      <a:pt x="410713" y="388198"/>
                      <a:pt x="410296" y="386863"/>
                    </a:cubicBezTo>
                    <a:cubicBezTo>
                      <a:pt x="406792" y="375768"/>
                      <a:pt x="410296" y="365174"/>
                      <a:pt x="413383" y="358083"/>
                    </a:cubicBezTo>
                    <a:cubicBezTo>
                      <a:pt x="418221" y="347906"/>
                      <a:pt x="428900" y="338145"/>
                      <a:pt x="440830" y="341232"/>
                    </a:cubicBezTo>
                    <a:cubicBezTo>
                      <a:pt x="447921" y="342984"/>
                      <a:pt x="451926" y="348323"/>
                      <a:pt x="455430" y="352327"/>
                    </a:cubicBezTo>
                    <a:cubicBezTo>
                      <a:pt x="457682" y="354997"/>
                      <a:pt x="459851" y="357666"/>
                      <a:pt x="461603" y="359001"/>
                    </a:cubicBezTo>
                    <a:cubicBezTo>
                      <a:pt x="464690" y="360335"/>
                      <a:pt x="468695" y="359918"/>
                      <a:pt x="472699" y="357666"/>
                    </a:cubicBezTo>
                    <a:cubicBezTo>
                      <a:pt x="477121" y="354997"/>
                      <a:pt x="480708" y="350992"/>
                      <a:pt x="484212" y="346154"/>
                    </a:cubicBezTo>
                    <a:cubicBezTo>
                      <a:pt x="485964" y="343484"/>
                      <a:pt x="488217" y="340815"/>
                      <a:pt x="491720" y="339063"/>
                    </a:cubicBezTo>
                    <a:cubicBezTo>
                      <a:pt x="492138" y="339063"/>
                      <a:pt x="493055" y="327134"/>
                      <a:pt x="493055" y="320877"/>
                    </a:cubicBezTo>
                    <a:cubicBezTo>
                      <a:pt x="493055" y="314621"/>
                      <a:pt x="493472" y="308448"/>
                      <a:pt x="493472" y="302275"/>
                    </a:cubicBezTo>
                    <a:cubicBezTo>
                      <a:pt x="493472" y="299605"/>
                      <a:pt x="493472" y="296936"/>
                      <a:pt x="493890" y="293849"/>
                    </a:cubicBezTo>
                    <a:cubicBezTo>
                      <a:pt x="494307" y="289678"/>
                      <a:pt x="494807" y="284840"/>
                      <a:pt x="493472" y="282170"/>
                    </a:cubicBezTo>
                    <a:close/>
                    <a:moveTo>
                      <a:pt x="328204" y="417228"/>
                    </a:moveTo>
                    <a:cubicBezTo>
                      <a:pt x="327787" y="422067"/>
                      <a:pt x="327286" y="426571"/>
                      <a:pt x="327286" y="430992"/>
                    </a:cubicBezTo>
                    <a:cubicBezTo>
                      <a:pt x="325951" y="446509"/>
                      <a:pt x="325034" y="461107"/>
                      <a:pt x="320195" y="477541"/>
                    </a:cubicBezTo>
                    <a:cubicBezTo>
                      <a:pt x="316691" y="489470"/>
                      <a:pt x="305095" y="505487"/>
                      <a:pt x="294082" y="503652"/>
                    </a:cubicBezTo>
                    <a:cubicBezTo>
                      <a:pt x="288743" y="502734"/>
                      <a:pt x="282152" y="498813"/>
                      <a:pt x="281235" y="482379"/>
                    </a:cubicBezTo>
                    <a:cubicBezTo>
                      <a:pt x="280817" y="475289"/>
                      <a:pt x="284321" y="468198"/>
                      <a:pt x="287408" y="462025"/>
                    </a:cubicBezTo>
                    <a:cubicBezTo>
                      <a:pt x="290495" y="455351"/>
                      <a:pt x="293582" y="448761"/>
                      <a:pt x="291413" y="445174"/>
                    </a:cubicBezTo>
                    <a:cubicBezTo>
                      <a:pt x="289160" y="442087"/>
                      <a:pt x="287408" y="441670"/>
                      <a:pt x="286991" y="441670"/>
                    </a:cubicBezTo>
                    <a:cubicBezTo>
                      <a:pt x="285656" y="441670"/>
                      <a:pt x="281652" y="444340"/>
                      <a:pt x="273726" y="459856"/>
                    </a:cubicBezTo>
                    <a:lnTo>
                      <a:pt x="272391" y="462526"/>
                    </a:lnTo>
                    <a:cubicBezTo>
                      <a:pt x="265300" y="476290"/>
                      <a:pt x="249366" y="491723"/>
                      <a:pt x="237853" y="501983"/>
                    </a:cubicBezTo>
                    <a:cubicBezTo>
                      <a:pt x="235600" y="504236"/>
                      <a:pt x="232513" y="506405"/>
                      <a:pt x="229844" y="508156"/>
                    </a:cubicBezTo>
                    <a:cubicBezTo>
                      <a:pt x="226340" y="510409"/>
                      <a:pt x="222752" y="512578"/>
                      <a:pt x="221000" y="515247"/>
                    </a:cubicBezTo>
                    <a:cubicBezTo>
                      <a:pt x="220083" y="516999"/>
                      <a:pt x="219248" y="519669"/>
                      <a:pt x="218748" y="522338"/>
                    </a:cubicBezTo>
                    <a:cubicBezTo>
                      <a:pt x="217830" y="526759"/>
                      <a:pt x="216495" y="532515"/>
                      <a:pt x="212574" y="536936"/>
                    </a:cubicBezTo>
                    <a:cubicBezTo>
                      <a:pt x="210822" y="538688"/>
                      <a:pt x="193970" y="549366"/>
                      <a:pt x="191300" y="549783"/>
                    </a:cubicBezTo>
                    <a:cubicBezTo>
                      <a:pt x="187797" y="550701"/>
                      <a:pt x="184626" y="551118"/>
                      <a:pt x="181540" y="551118"/>
                    </a:cubicBezTo>
                    <a:cubicBezTo>
                      <a:pt x="176701" y="551118"/>
                      <a:pt x="172696" y="549366"/>
                      <a:pt x="166940" y="543110"/>
                    </a:cubicBezTo>
                    <a:cubicBezTo>
                      <a:pt x="158931" y="533767"/>
                      <a:pt x="142996" y="503652"/>
                      <a:pt x="142996" y="489053"/>
                    </a:cubicBezTo>
                    <a:cubicBezTo>
                      <a:pt x="143413" y="478876"/>
                      <a:pt x="147835" y="470868"/>
                      <a:pt x="156261" y="467364"/>
                    </a:cubicBezTo>
                    <a:cubicBezTo>
                      <a:pt x="165605" y="463860"/>
                      <a:pt x="177118" y="466947"/>
                      <a:pt x="185461" y="475372"/>
                    </a:cubicBezTo>
                    <a:cubicBezTo>
                      <a:pt x="186795" y="476707"/>
                      <a:pt x="189882" y="477625"/>
                      <a:pt x="193470" y="477625"/>
                    </a:cubicBezTo>
                    <a:cubicBezTo>
                      <a:pt x="196139" y="477625"/>
                      <a:pt x="199226" y="477208"/>
                      <a:pt x="202313" y="476290"/>
                    </a:cubicBezTo>
                    <a:cubicBezTo>
                      <a:pt x="210739" y="474037"/>
                      <a:pt x="216078" y="469616"/>
                      <a:pt x="216495" y="466947"/>
                    </a:cubicBezTo>
                    <a:cubicBezTo>
                      <a:pt x="217413" y="464277"/>
                      <a:pt x="215578" y="462108"/>
                      <a:pt x="212074" y="457187"/>
                    </a:cubicBezTo>
                    <a:cubicBezTo>
                      <a:pt x="208987" y="453683"/>
                      <a:pt x="205400" y="449178"/>
                      <a:pt x="204982" y="443422"/>
                    </a:cubicBezTo>
                    <a:cubicBezTo>
                      <a:pt x="203648" y="435414"/>
                      <a:pt x="209404" y="419480"/>
                      <a:pt x="212491" y="414225"/>
                    </a:cubicBezTo>
                    <a:cubicBezTo>
                      <a:pt x="219165" y="403631"/>
                      <a:pt x="230177" y="398292"/>
                      <a:pt x="240439" y="393870"/>
                    </a:cubicBezTo>
                    <a:cubicBezTo>
                      <a:pt x="247530" y="390784"/>
                      <a:pt x="254204" y="387697"/>
                      <a:pt x="258626" y="383276"/>
                    </a:cubicBezTo>
                    <a:cubicBezTo>
                      <a:pt x="263048" y="379272"/>
                      <a:pt x="266134" y="372681"/>
                      <a:pt x="263465" y="366008"/>
                    </a:cubicBezTo>
                    <a:cubicBezTo>
                      <a:pt x="261713" y="361587"/>
                      <a:pt x="261713" y="361587"/>
                      <a:pt x="254121" y="362504"/>
                    </a:cubicBezTo>
                    <a:lnTo>
                      <a:pt x="246112" y="363422"/>
                    </a:lnTo>
                    <a:cubicBezTo>
                      <a:pt x="235517" y="364339"/>
                      <a:pt x="223086" y="365674"/>
                      <a:pt x="211573" y="357249"/>
                    </a:cubicBezTo>
                    <a:cubicBezTo>
                      <a:pt x="207569" y="354579"/>
                      <a:pt x="204899" y="350575"/>
                      <a:pt x="201812" y="347489"/>
                    </a:cubicBezTo>
                    <a:cubicBezTo>
                      <a:pt x="199560" y="344819"/>
                      <a:pt x="198308" y="342650"/>
                      <a:pt x="195639" y="340815"/>
                    </a:cubicBezTo>
                    <a:lnTo>
                      <a:pt x="190800" y="336811"/>
                    </a:lnTo>
                    <a:cubicBezTo>
                      <a:pt x="177034" y="325299"/>
                      <a:pt x="162852" y="313369"/>
                      <a:pt x="159348" y="292097"/>
                    </a:cubicBezTo>
                    <a:cubicBezTo>
                      <a:pt x="156678" y="276998"/>
                      <a:pt x="163770" y="268656"/>
                      <a:pt x="170444" y="265486"/>
                    </a:cubicBezTo>
                    <a:cubicBezTo>
                      <a:pt x="180622" y="261983"/>
                      <a:pt x="192552" y="266821"/>
                      <a:pt x="200144" y="277916"/>
                    </a:cubicBezTo>
                    <a:cubicBezTo>
                      <a:pt x="203230" y="282754"/>
                      <a:pt x="205483" y="287676"/>
                      <a:pt x="207235" y="291680"/>
                    </a:cubicBezTo>
                    <a:cubicBezTo>
                      <a:pt x="210739" y="300106"/>
                      <a:pt x="212074" y="304110"/>
                      <a:pt x="221418" y="304944"/>
                    </a:cubicBezTo>
                    <a:cubicBezTo>
                      <a:pt x="226256" y="305361"/>
                      <a:pt x="232013" y="304944"/>
                      <a:pt x="238270" y="304527"/>
                    </a:cubicBezTo>
                    <a:cubicBezTo>
                      <a:pt x="253787" y="303192"/>
                      <a:pt x="272808" y="301023"/>
                      <a:pt x="283487" y="318709"/>
                    </a:cubicBezTo>
                    <a:cubicBezTo>
                      <a:pt x="286157" y="323547"/>
                      <a:pt x="286991" y="328469"/>
                      <a:pt x="287909" y="332473"/>
                    </a:cubicBezTo>
                    <a:cubicBezTo>
                      <a:pt x="288826" y="336477"/>
                      <a:pt x="289244" y="339981"/>
                      <a:pt x="291413" y="342650"/>
                    </a:cubicBezTo>
                    <a:cubicBezTo>
                      <a:pt x="293665" y="346154"/>
                      <a:pt x="298087" y="348823"/>
                      <a:pt x="302008" y="351993"/>
                    </a:cubicBezTo>
                    <a:cubicBezTo>
                      <a:pt x="305095" y="354245"/>
                      <a:pt x="308682" y="356414"/>
                      <a:pt x="311352" y="359084"/>
                    </a:cubicBezTo>
                    <a:cubicBezTo>
                      <a:pt x="332208" y="376519"/>
                      <a:pt x="330456" y="395539"/>
                      <a:pt x="328204" y="41722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383190" name="Полилиния 176"/>
              <p:cNvSpPr/>
              <p:nvPr/>
            </p:nvSpPr>
            <p:spPr bwMode="auto">
              <a:xfrm>
                <a:off x="1272244" y="5644764"/>
                <a:ext cx="214384" cy="137568"/>
              </a:xfrm>
              <a:custGeom>
                <a:avLst/>
                <a:gdLst>
                  <a:gd name="connsiteX0" fmla="*/ 87765 w 240761"/>
                  <a:gd name="connsiteY0" fmla="*/ 149156 h 154494"/>
                  <a:gd name="connsiteX1" fmla="*/ 66491 w 240761"/>
                  <a:gd name="connsiteY1" fmla="*/ 154495 h 154494"/>
                  <a:gd name="connsiteX2" fmla="*/ 52309 w 240761"/>
                  <a:gd name="connsiteY2" fmla="*/ 127466 h 154494"/>
                  <a:gd name="connsiteX3" fmla="*/ 20857 w 240761"/>
                  <a:gd name="connsiteY3" fmla="*/ 60146 h 154494"/>
                  <a:gd name="connsiteX4" fmla="*/ 0 w 240761"/>
                  <a:gd name="connsiteY4" fmla="*/ 38457 h 154494"/>
                  <a:gd name="connsiteX5" fmla="*/ 13765 w 240761"/>
                  <a:gd name="connsiteY5" fmla="*/ 24275 h 154494"/>
                  <a:gd name="connsiteX6" fmla="*/ 43465 w 240761"/>
                  <a:gd name="connsiteY6" fmla="*/ 5672 h 154494"/>
                  <a:gd name="connsiteX7" fmla="*/ 72665 w 240761"/>
                  <a:gd name="connsiteY7" fmla="*/ 834 h 154494"/>
                  <a:gd name="connsiteX8" fmla="*/ 78838 w 240761"/>
                  <a:gd name="connsiteY8" fmla="*/ 417 h 154494"/>
                  <a:gd name="connsiteX9" fmla="*/ 93021 w 240761"/>
                  <a:gd name="connsiteY9" fmla="*/ 0 h 154494"/>
                  <a:gd name="connsiteX10" fmla="*/ 93438 w 240761"/>
                  <a:gd name="connsiteY10" fmla="*/ 0 h 154494"/>
                  <a:gd name="connsiteX11" fmla="*/ 131064 w 240761"/>
                  <a:gd name="connsiteY11" fmla="*/ 8842 h 154494"/>
                  <a:gd name="connsiteX12" fmla="*/ 134568 w 240761"/>
                  <a:gd name="connsiteY12" fmla="*/ 10594 h 154494"/>
                  <a:gd name="connsiteX13" fmla="*/ 136820 w 240761"/>
                  <a:gd name="connsiteY13" fmla="*/ 18603 h 154494"/>
                  <a:gd name="connsiteX14" fmla="*/ 143494 w 240761"/>
                  <a:gd name="connsiteY14" fmla="*/ 35454 h 154494"/>
                  <a:gd name="connsiteX15" fmla="*/ 155925 w 240761"/>
                  <a:gd name="connsiteY15" fmla="*/ 40793 h 154494"/>
                  <a:gd name="connsiteX16" fmla="*/ 160764 w 240761"/>
                  <a:gd name="connsiteY16" fmla="*/ 42127 h 154494"/>
                  <a:gd name="connsiteX17" fmla="*/ 169190 w 240761"/>
                  <a:gd name="connsiteY17" fmla="*/ 49635 h 154494"/>
                  <a:gd name="connsiteX18" fmla="*/ 187794 w 240761"/>
                  <a:gd name="connsiteY18" fmla="*/ 62065 h 154494"/>
                  <a:gd name="connsiteX19" fmla="*/ 204145 w 240761"/>
                  <a:gd name="connsiteY19" fmla="*/ 58561 h 154494"/>
                  <a:gd name="connsiteX20" fmla="*/ 213906 w 240761"/>
                  <a:gd name="connsiteY20" fmla="*/ 56309 h 154494"/>
                  <a:gd name="connsiteX21" fmla="*/ 218328 w 240761"/>
                  <a:gd name="connsiteY21" fmla="*/ 62482 h 154494"/>
                  <a:gd name="connsiteX22" fmla="*/ 220581 w 240761"/>
                  <a:gd name="connsiteY22" fmla="*/ 65985 h 154494"/>
                  <a:gd name="connsiteX23" fmla="*/ 233845 w 240761"/>
                  <a:gd name="connsiteY23" fmla="*/ 78415 h 154494"/>
                  <a:gd name="connsiteX24" fmla="*/ 236098 w 240761"/>
                  <a:gd name="connsiteY24" fmla="*/ 79750 h 154494"/>
                  <a:gd name="connsiteX25" fmla="*/ 240520 w 240761"/>
                  <a:gd name="connsiteY25" fmla="*/ 82419 h 154494"/>
                  <a:gd name="connsiteX26" fmla="*/ 237433 w 240761"/>
                  <a:gd name="connsiteY26" fmla="*/ 89927 h 154494"/>
                  <a:gd name="connsiteX27" fmla="*/ 237433 w 240761"/>
                  <a:gd name="connsiteY27" fmla="*/ 90344 h 154494"/>
                  <a:gd name="connsiteX28" fmla="*/ 236098 w 240761"/>
                  <a:gd name="connsiteY28" fmla="*/ 91262 h 154494"/>
                  <a:gd name="connsiteX29" fmla="*/ 233845 w 240761"/>
                  <a:gd name="connsiteY29" fmla="*/ 93014 h 154494"/>
                  <a:gd name="connsiteX30" fmla="*/ 225837 w 240761"/>
                  <a:gd name="connsiteY30" fmla="*/ 99688 h 154494"/>
                  <a:gd name="connsiteX31" fmla="*/ 219162 w 240761"/>
                  <a:gd name="connsiteY31" fmla="*/ 108530 h 154494"/>
                  <a:gd name="connsiteX32" fmla="*/ 210736 w 240761"/>
                  <a:gd name="connsiteY32" fmla="*/ 141314 h 154494"/>
                  <a:gd name="connsiteX33" fmla="*/ 180619 w 240761"/>
                  <a:gd name="connsiteY33" fmla="*/ 143066 h 154494"/>
                  <a:gd name="connsiteX34" fmla="*/ 174446 w 240761"/>
                  <a:gd name="connsiteY34" fmla="*/ 144401 h 154494"/>
                  <a:gd name="connsiteX35" fmla="*/ 145246 w 240761"/>
                  <a:gd name="connsiteY35" fmla="*/ 139062 h 154494"/>
                  <a:gd name="connsiteX36" fmla="*/ 99612 w 240761"/>
                  <a:gd name="connsiteY36" fmla="*/ 142566 h 154494"/>
                  <a:gd name="connsiteX37" fmla="*/ 87765 w 240761"/>
                  <a:gd name="connsiteY37" fmla="*/ 149156 h 15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0761" h="154494" extrusionOk="0">
                    <a:moveTo>
                      <a:pt x="87765" y="149156"/>
                    </a:moveTo>
                    <a:cubicBezTo>
                      <a:pt x="81091" y="151825"/>
                      <a:pt x="74000" y="153577"/>
                      <a:pt x="66491" y="154495"/>
                    </a:cubicBezTo>
                    <a:cubicBezTo>
                      <a:pt x="60318" y="145652"/>
                      <a:pt x="54978" y="137227"/>
                      <a:pt x="52309" y="127466"/>
                    </a:cubicBezTo>
                    <a:cubicBezTo>
                      <a:pt x="45634" y="102190"/>
                      <a:pt x="39878" y="83587"/>
                      <a:pt x="20857" y="60146"/>
                    </a:cubicBezTo>
                    <a:cubicBezTo>
                      <a:pt x="14183" y="51721"/>
                      <a:pt x="7091" y="44630"/>
                      <a:pt x="0" y="38457"/>
                    </a:cubicBezTo>
                    <a:cubicBezTo>
                      <a:pt x="4422" y="33618"/>
                      <a:pt x="8843" y="28697"/>
                      <a:pt x="13765" y="24275"/>
                    </a:cubicBezTo>
                    <a:cubicBezTo>
                      <a:pt x="24861" y="14515"/>
                      <a:pt x="34122" y="8342"/>
                      <a:pt x="43465" y="5672"/>
                    </a:cubicBezTo>
                    <a:cubicBezTo>
                      <a:pt x="52309" y="2586"/>
                      <a:pt x="62987" y="1668"/>
                      <a:pt x="72665" y="834"/>
                    </a:cubicBezTo>
                    <a:cubicBezTo>
                      <a:pt x="74917" y="417"/>
                      <a:pt x="76669" y="417"/>
                      <a:pt x="78838" y="417"/>
                    </a:cubicBezTo>
                    <a:cubicBezTo>
                      <a:pt x="83677" y="0"/>
                      <a:pt x="88599" y="0"/>
                      <a:pt x="93021" y="0"/>
                    </a:cubicBezTo>
                    <a:lnTo>
                      <a:pt x="93438" y="0"/>
                    </a:lnTo>
                    <a:cubicBezTo>
                      <a:pt x="106286" y="917"/>
                      <a:pt x="119134" y="4838"/>
                      <a:pt x="131064" y="8842"/>
                    </a:cubicBezTo>
                    <a:cubicBezTo>
                      <a:pt x="132398" y="9259"/>
                      <a:pt x="134150" y="10177"/>
                      <a:pt x="134568" y="10594"/>
                    </a:cubicBezTo>
                    <a:cubicBezTo>
                      <a:pt x="135902" y="11929"/>
                      <a:pt x="136319" y="15016"/>
                      <a:pt x="136820" y="18603"/>
                    </a:cubicBezTo>
                    <a:cubicBezTo>
                      <a:pt x="137738" y="23941"/>
                      <a:pt x="138155" y="30532"/>
                      <a:pt x="143494" y="35454"/>
                    </a:cubicBezTo>
                    <a:cubicBezTo>
                      <a:pt x="146998" y="38957"/>
                      <a:pt x="152337" y="39875"/>
                      <a:pt x="155925" y="40793"/>
                    </a:cubicBezTo>
                    <a:cubicBezTo>
                      <a:pt x="157677" y="41210"/>
                      <a:pt x="159012" y="41210"/>
                      <a:pt x="160764" y="42127"/>
                    </a:cubicBezTo>
                    <a:cubicBezTo>
                      <a:pt x="163850" y="43462"/>
                      <a:pt x="166520" y="46548"/>
                      <a:pt x="169190" y="49635"/>
                    </a:cubicBezTo>
                    <a:cubicBezTo>
                      <a:pt x="174028" y="54974"/>
                      <a:pt x="179368" y="61147"/>
                      <a:pt x="187794" y="62065"/>
                    </a:cubicBezTo>
                    <a:cubicBezTo>
                      <a:pt x="193967" y="62982"/>
                      <a:pt x="199724" y="60730"/>
                      <a:pt x="204145" y="58561"/>
                    </a:cubicBezTo>
                    <a:cubicBezTo>
                      <a:pt x="208984" y="56309"/>
                      <a:pt x="212154" y="55475"/>
                      <a:pt x="213906" y="56309"/>
                    </a:cubicBezTo>
                    <a:cubicBezTo>
                      <a:pt x="215241" y="57226"/>
                      <a:pt x="216993" y="59395"/>
                      <a:pt x="218328" y="62482"/>
                    </a:cubicBezTo>
                    <a:cubicBezTo>
                      <a:pt x="219246" y="63817"/>
                      <a:pt x="219663" y="65151"/>
                      <a:pt x="220581" y="65985"/>
                    </a:cubicBezTo>
                    <a:cubicBezTo>
                      <a:pt x="224084" y="71325"/>
                      <a:pt x="228590" y="75746"/>
                      <a:pt x="233845" y="78415"/>
                    </a:cubicBezTo>
                    <a:lnTo>
                      <a:pt x="236098" y="79750"/>
                    </a:lnTo>
                    <a:cubicBezTo>
                      <a:pt x="237850" y="80667"/>
                      <a:pt x="239602" y="81502"/>
                      <a:pt x="240520" y="82419"/>
                    </a:cubicBezTo>
                    <a:cubicBezTo>
                      <a:pt x="241437" y="83754"/>
                      <a:pt x="239602" y="87258"/>
                      <a:pt x="237433" y="89927"/>
                    </a:cubicBezTo>
                    <a:cubicBezTo>
                      <a:pt x="237433" y="89927"/>
                      <a:pt x="237433" y="89927"/>
                      <a:pt x="237433" y="90344"/>
                    </a:cubicBezTo>
                    <a:cubicBezTo>
                      <a:pt x="237016" y="90761"/>
                      <a:pt x="236515" y="91262"/>
                      <a:pt x="236098" y="91262"/>
                    </a:cubicBezTo>
                    <a:lnTo>
                      <a:pt x="233845" y="93014"/>
                    </a:lnTo>
                    <a:cubicBezTo>
                      <a:pt x="231176" y="95266"/>
                      <a:pt x="228506" y="97435"/>
                      <a:pt x="225837" y="99688"/>
                    </a:cubicBezTo>
                    <a:cubicBezTo>
                      <a:pt x="223584" y="102357"/>
                      <a:pt x="221415" y="105026"/>
                      <a:pt x="219162" y="108530"/>
                    </a:cubicBezTo>
                    <a:cubicBezTo>
                      <a:pt x="212989" y="119625"/>
                      <a:pt x="211654" y="130219"/>
                      <a:pt x="210736" y="141314"/>
                    </a:cubicBezTo>
                    <a:cubicBezTo>
                      <a:pt x="200975" y="140397"/>
                      <a:pt x="191214" y="140897"/>
                      <a:pt x="180619" y="143066"/>
                    </a:cubicBezTo>
                    <a:lnTo>
                      <a:pt x="174446" y="144401"/>
                    </a:lnTo>
                    <a:cubicBezTo>
                      <a:pt x="158928" y="147487"/>
                      <a:pt x="157176" y="147904"/>
                      <a:pt x="145246" y="139062"/>
                    </a:cubicBezTo>
                    <a:cubicBezTo>
                      <a:pt x="128894" y="127133"/>
                      <a:pt x="112459" y="135558"/>
                      <a:pt x="99612" y="142566"/>
                    </a:cubicBezTo>
                    <a:cubicBezTo>
                      <a:pt x="96608" y="145569"/>
                      <a:pt x="92187" y="147821"/>
                      <a:pt x="87765" y="14915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73538757" name="Полилиния 346"/>
              <p:cNvSpPr/>
              <p:nvPr/>
            </p:nvSpPr>
            <p:spPr bwMode="auto">
              <a:xfrm>
                <a:off x="1473859" y="5744450"/>
                <a:ext cx="35880" cy="38550"/>
              </a:xfrm>
              <a:custGeom>
                <a:avLst/>
                <a:gdLst>
                  <a:gd name="connsiteX0" fmla="*/ 38960 w 40295"/>
                  <a:gd name="connsiteY0" fmla="*/ 19437 h 43295"/>
                  <a:gd name="connsiteX1" fmla="*/ 39878 w 40295"/>
                  <a:gd name="connsiteY1" fmla="*/ 24275 h 43295"/>
                  <a:gd name="connsiteX2" fmla="*/ 40295 w 40295"/>
                  <a:gd name="connsiteY2" fmla="*/ 43295 h 43295"/>
                  <a:gd name="connsiteX3" fmla="*/ 16352 w 40295"/>
                  <a:gd name="connsiteY3" fmla="*/ 37122 h 43295"/>
                  <a:gd name="connsiteX4" fmla="*/ 0 w 40295"/>
                  <a:gd name="connsiteY4" fmla="*/ 32284 h 43295"/>
                  <a:gd name="connsiteX5" fmla="*/ 7091 w 40295"/>
                  <a:gd name="connsiteY5" fmla="*/ 4839 h 43295"/>
                  <a:gd name="connsiteX6" fmla="*/ 10178 w 40295"/>
                  <a:gd name="connsiteY6" fmla="*/ 0 h 43295"/>
                  <a:gd name="connsiteX7" fmla="*/ 15517 w 40295"/>
                  <a:gd name="connsiteY7" fmla="*/ 4004 h 43295"/>
                  <a:gd name="connsiteX8" fmla="*/ 35874 w 40295"/>
                  <a:gd name="connsiteY8" fmla="*/ 16851 h 43295"/>
                  <a:gd name="connsiteX9" fmla="*/ 38960 w 40295"/>
                  <a:gd name="connsiteY9" fmla="*/ 19437 h 43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295" h="43295" extrusionOk="0">
                    <a:moveTo>
                      <a:pt x="38960" y="19437"/>
                    </a:moveTo>
                    <a:cubicBezTo>
                      <a:pt x="39878" y="20355"/>
                      <a:pt x="39878" y="22941"/>
                      <a:pt x="39878" y="24275"/>
                    </a:cubicBezTo>
                    <a:cubicBezTo>
                      <a:pt x="40295" y="30448"/>
                      <a:pt x="40295" y="37122"/>
                      <a:pt x="40295" y="43295"/>
                    </a:cubicBezTo>
                    <a:cubicBezTo>
                      <a:pt x="32286" y="42378"/>
                      <a:pt x="24778" y="40209"/>
                      <a:pt x="16352" y="37122"/>
                    </a:cubicBezTo>
                    <a:cubicBezTo>
                      <a:pt x="11012" y="34870"/>
                      <a:pt x="5256" y="33619"/>
                      <a:pt x="0" y="32284"/>
                    </a:cubicBezTo>
                    <a:cubicBezTo>
                      <a:pt x="918" y="22106"/>
                      <a:pt x="2252" y="13681"/>
                      <a:pt x="7091" y="4839"/>
                    </a:cubicBezTo>
                    <a:cubicBezTo>
                      <a:pt x="8009" y="3087"/>
                      <a:pt x="9344" y="1752"/>
                      <a:pt x="10178" y="0"/>
                    </a:cubicBezTo>
                    <a:cubicBezTo>
                      <a:pt x="11930" y="1335"/>
                      <a:pt x="13682" y="2670"/>
                      <a:pt x="15517" y="4004"/>
                    </a:cubicBezTo>
                    <a:lnTo>
                      <a:pt x="35874" y="16851"/>
                    </a:lnTo>
                    <a:cubicBezTo>
                      <a:pt x="36291" y="17685"/>
                      <a:pt x="38126" y="18603"/>
                      <a:pt x="38960" y="194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32234946" name="Полилиния 347"/>
              <p:cNvSpPr/>
              <p:nvPr/>
            </p:nvSpPr>
            <p:spPr bwMode="auto">
              <a:xfrm>
                <a:off x="1471556" y="5280937"/>
                <a:ext cx="139212" cy="114093"/>
              </a:xfrm>
              <a:custGeom>
                <a:avLst/>
                <a:gdLst>
                  <a:gd name="connsiteX0" fmla="*/ 155424 w 156341"/>
                  <a:gd name="connsiteY0" fmla="*/ 115701 h 128130"/>
                  <a:gd name="connsiteX1" fmla="*/ 156342 w 156341"/>
                  <a:gd name="connsiteY1" fmla="*/ 128130 h 128130"/>
                  <a:gd name="connsiteX2" fmla="*/ 151920 w 156341"/>
                  <a:gd name="connsiteY2" fmla="*/ 128130 h 128130"/>
                  <a:gd name="connsiteX3" fmla="*/ 145747 w 156341"/>
                  <a:gd name="connsiteY3" fmla="*/ 113532 h 128130"/>
                  <a:gd name="connsiteX4" fmla="*/ 128477 w 156341"/>
                  <a:gd name="connsiteY4" fmla="*/ 92259 h 128130"/>
                  <a:gd name="connsiteX5" fmla="*/ 113878 w 156341"/>
                  <a:gd name="connsiteY5" fmla="*/ 89590 h 128130"/>
                  <a:gd name="connsiteX6" fmla="*/ 81091 w 156341"/>
                  <a:gd name="connsiteY6" fmla="*/ 88672 h 128130"/>
                  <a:gd name="connsiteX7" fmla="*/ 68660 w 156341"/>
                  <a:gd name="connsiteY7" fmla="*/ 86003 h 128130"/>
                  <a:gd name="connsiteX8" fmla="*/ 65156 w 156341"/>
                  <a:gd name="connsiteY8" fmla="*/ 77577 h 128130"/>
                  <a:gd name="connsiteX9" fmla="*/ 63822 w 156341"/>
                  <a:gd name="connsiteY9" fmla="*/ 73156 h 128130"/>
                  <a:gd name="connsiteX10" fmla="*/ 43882 w 156341"/>
                  <a:gd name="connsiteY10" fmla="*/ 58057 h 128130"/>
                  <a:gd name="connsiteX11" fmla="*/ 37208 w 156341"/>
                  <a:gd name="connsiteY11" fmla="*/ 60727 h 128130"/>
                  <a:gd name="connsiteX12" fmla="*/ 35456 w 156341"/>
                  <a:gd name="connsiteY12" fmla="*/ 61644 h 128130"/>
                  <a:gd name="connsiteX13" fmla="*/ 21691 w 156341"/>
                  <a:gd name="connsiteY13" fmla="*/ 58140 h 128130"/>
                  <a:gd name="connsiteX14" fmla="*/ 7508 w 156341"/>
                  <a:gd name="connsiteY14" fmla="*/ 42624 h 128130"/>
                  <a:gd name="connsiteX15" fmla="*/ 417 w 156341"/>
                  <a:gd name="connsiteY15" fmla="*/ 33281 h 128130"/>
                  <a:gd name="connsiteX16" fmla="*/ 0 w 156341"/>
                  <a:gd name="connsiteY16" fmla="*/ 32864 h 128130"/>
                  <a:gd name="connsiteX17" fmla="*/ 9344 w 156341"/>
                  <a:gd name="connsiteY17" fmla="*/ 24439 h 128130"/>
                  <a:gd name="connsiteX18" fmla="*/ 14183 w 156341"/>
                  <a:gd name="connsiteY18" fmla="*/ 21352 h 128130"/>
                  <a:gd name="connsiteX19" fmla="*/ 15517 w 156341"/>
                  <a:gd name="connsiteY19" fmla="*/ 22687 h 128130"/>
                  <a:gd name="connsiteX20" fmla="*/ 27447 w 156341"/>
                  <a:gd name="connsiteY20" fmla="*/ 32030 h 128130"/>
                  <a:gd name="connsiteX21" fmla="*/ 78421 w 156341"/>
                  <a:gd name="connsiteY21" fmla="*/ 12092 h 128130"/>
                  <a:gd name="connsiteX22" fmla="*/ 87264 w 156341"/>
                  <a:gd name="connsiteY22" fmla="*/ 163 h 128130"/>
                  <a:gd name="connsiteX23" fmla="*/ 97025 w 156341"/>
                  <a:gd name="connsiteY23" fmla="*/ 5001 h 128130"/>
                  <a:gd name="connsiteX24" fmla="*/ 112543 w 156341"/>
                  <a:gd name="connsiteY24" fmla="*/ 33364 h 128130"/>
                  <a:gd name="connsiteX25" fmla="*/ 138655 w 156341"/>
                  <a:gd name="connsiteY25" fmla="*/ 72823 h 128130"/>
                  <a:gd name="connsiteX26" fmla="*/ 154173 w 156341"/>
                  <a:gd name="connsiteY26" fmla="*/ 94095 h 128130"/>
                  <a:gd name="connsiteX27" fmla="*/ 155424 w 156341"/>
                  <a:gd name="connsiteY27" fmla="*/ 115701 h 12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56341" h="128130" extrusionOk="0">
                    <a:moveTo>
                      <a:pt x="155424" y="115701"/>
                    </a:moveTo>
                    <a:cubicBezTo>
                      <a:pt x="155841" y="119705"/>
                      <a:pt x="155841" y="124126"/>
                      <a:pt x="156342" y="128130"/>
                    </a:cubicBezTo>
                    <a:lnTo>
                      <a:pt x="151920" y="128130"/>
                    </a:lnTo>
                    <a:cubicBezTo>
                      <a:pt x="150168" y="123292"/>
                      <a:pt x="147916" y="117953"/>
                      <a:pt x="145747" y="113532"/>
                    </a:cubicBezTo>
                    <a:cubicBezTo>
                      <a:pt x="142243" y="105106"/>
                      <a:pt x="137738" y="96263"/>
                      <a:pt x="128477" y="92259"/>
                    </a:cubicBezTo>
                    <a:cubicBezTo>
                      <a:pt x="123639" y="90007"/>
                      <a:pt x="117882" y="89590"/>
                      <a:pt x="113878" y="89590"/>
                    </a:cubicBezTo>
                    <a:lnTo>
                      <a:pt x="81091" y="88672"/>
                    </a:lnTo>
                    <a:cubicBezTo>
                      <a:pt x="76252" y="88672"/>
                      <a:pt x="71330" y="88255"/>
                      <a:pt x="68660" y="86003"/>
                    </a:cubicBezTo>
                    <a:cubicBezTo>
                      <a:pt x="66908" y="84251"/>
                      <a:pt x="65991" y="81165"/>
                      <a:pt x="65156" y="77577"/>
                    </a:cubicBezTo>
                    <a:cubicBezTo>
                      <a:pt x="64739" y="76242"/>
                      <a:pt x="64239" y="74491"/>
                      <a:pt x="63822" y="73156"/>
                    </a:cubicBezTo>
                    <a:cubicBezTo>
                      <a:pt x="61152" y="64731"/>
                      <a:pt x="53643" y="56806"/>
                      <a:pt x="43882" y="58057"/>
                    </a:cubicBezTo>
                    <a:cubicBezTo>
                      <a:pt x="41213" y="58474"/>
                      <a:pt x="39044" y="59809"/>
                      <a:pt x="37208" y="60727"/>
                    </a:cubicBezTo>
                    <a:lnTo>
                      <a:pt x="35456" y="61644"/>
                    </a:lnTo>
                    <a:cubicBezTo>
                      <a:pt x="31035" y="63896"/>
                      <a:pt x="25278" y="61227"/>
                      <a:pt x="21691" y="58140"/>
                    </a:cubicBezTo>
                    <a:cubicBezTo>
                      <a:pt x="16352" y="54136"/>
                      <a:pt x="11930" y="48380"/>
                      <a:pt x="7508" y="42624"/>
                    </a:cubicBezTo>
                    <a:cubicBezTo>
                      <a:pt x="4839" y="39537"/>
                      <a:pt x="2670" y="36451"/>
                      <a:pt x="417" y="33281"/>
                    </a:cubicBezTo>
                    <a:cubicBezTo>
                      <a:pt x="0" y="32864"/>
                      <a:pt x="0" y="32864"/>
                      <a:pt x="0" y="32864"/>
                    </a:cubicBezTo>
                    <a:cubicBezTo>
                      <a:pt x="3087" y="29777"/>
                      <a:pt x="6174" y="26691"/>
                      <a:pt x="9344" y="24439"/>
                    </a:cubicBezTo>
                    <a:cubicBezTo>
                      <a:pt x="12514" y="22186"/>
                      <a:pt x="14183" y="21352"/>
                      <a:pt x="14183" y="21352"/>
                    </a:cubicBezTo>
                    <a:cubicBezTo>
                      <a:pt x="14600" y="21769"/>
                      <a:pt x="15100" y="22270"/>
                      <a:pt x="15517" y="22687"/>
                    </a:cubicBezTo>
                    <a:cubicBezTo>
                      <a:pt x="17770" y="25356"/>
                      <a:pt x="20857" y="29360"/>
                      <a:pt x="27447" y="32030"/>
                    </a:cubicBezTo>
                    <a:cubicBezTo>
                      <a:pt x="46969" y="40038"/>
                      <a:pt x="69494" y="28026"/>
                      <a:pt x="78421" y="12092"/>
                    </a:cubicBezTo>
                    <a:cubicBezTo>
                      <a:pt x="81508" y="6753"/>
                      <a:pt x="85095" y="580"/>
                      <a:pt x="87264" y="163"/>
                    </a:cubicBezTo>
                    <a:cubicBezTo>
                      <a:pt x="88182" y="-254"/>
                      <a:pt x="90351" y="-254"/>
                      <a:pt x="97025" y="5001"/>
                    </a:cubicBezTo>
                    <a:cubicBezTo>
                      <a:pt x="106786" y="12092"/>
                      <a:pt x="109456" y="22270"/>
                      <a:pt x="112543" y="33364"/>
                    </a:cubicBezTo>
                    <a:cubicBezTo>
                      <a:pt x="116047" y="47129"/>
                      <a:pt x="120552" y="62562"/>
                      <a:pt x="138655" y="72823"/>
                    </a:cubicBezTo>
                    <a:cubicBezTo>
                      <a:pt x="150168" y="79496"/>
                      <a:pt x="152421" y="80330"/>
                      <a:pt x="154173" y="94095"/>
                    </a:cubicBezTo>
                    <a:cubicBezTo>
                      <a:pt x="154506" y="101019"/>
                      <a:pt x="155007" y="108610"/>
                      <a:pt x="155424" y="11570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96811295" name="Полилиния 348"/>
              <p:cNvSpPr/>
              <p:nvPr/>
            </p:nvSpPr>
            <p:spPr bwMode="auto">
              <a:xfrm>
                <a:off x="1338954" y="5776920"/>
                <a:ext cx="121086" cy="101235"/>
              </a:xfrm>
              <a:custGeom>
                <a:avLst/>
                <a:gdLst>
                  <a:gd name="connsiteX0" fmla="*/ 96608 w 135985"/>
                  <a:gd name="connsiteY0" fmla="*/ 113275 h 113691"/>
                  <a:gd name="connsiteX1" fmla="*/ 79756 w 135985"/>
                  <a:gd name="connsiteY1" fmla="*/ 113692 h 113691"/>
                  <a:gd name="connsiteX2" fmla="*/ 40796 w 135985"/>
                  <a:gd name="connsiteY2" fmla="*/ 99928 h 113691"/>
                  <a:gd name="connsiteX3" fmla="*/ 21274 w 135985"/>
                  <a:gd name="connsiteY3" fmla="*/ 97258 h 113691"/>
                  <a:gd name="connsiteX4" fmla="*/ 9761 w 135985"/>
                  <a:gd name="connsiteY4" fmla="*/ 71565 h 113691"/>
                  <a:gd name="connsiteX5" fmla="*/ 11513 w 135985"/>
                  <a:gd name="connsiteY5" fmla="*/ 51210 h 113691"/>
                  <a:gd name="connsiteX6" fmla="*/ 0 w 135985"/>
                  <a:gd name="connsiteY6" fmla="*/ 19760 h 113691"/>
                  <a:gd name="connsiteX7" fmla="*/ 17686 w 135985"/>
                  <a:gd name="connsiteY7" fmla="*/ 14922 h 113691"/>
                  <a:gd name="connsiteX8" fmla="*/ 33204 w 135985"/>
                  <a:gd name="connsiteY8" fmla="*/ 7831 h 113691"/>
                  <a:gd name="connsiteX9" fmla="*/ 63738 w 135985"/>
                  <a:gd name="connsiteY9" fmla="*/ 3410 h 113691"/>
                  <a:gd name="connsiteX10" fmla="*/ 104534 w 135985"/>
                  <a:gd name="connsiteY10" fmla="*/ 11418 h 113691"/>
                  <a:gd name="connsiteX11" fmla="*/ 109873 w 135985"/>
                  <a:gd name="connsiteY11" fmla="*/ 10501 h 113691"/>
                  <a:gd name="connsiteX12" fmla="*/ 135986 w 135985"/>
                  <a:gd name="connsiteY12" fmla="*/ 9166 h 113691"/>
                  <a:gd name="connsiteX13" fmla="*/ 132899 w 135985"/>
                  <a:gd name="connsiteY13" fmla="*/ 19343 h 113691"/>
                  <a:gd name="connsiteX14" fmla="*/ 131564 w 135985"/>
                  <a:gd name="connsiteY14" fmla="*/ 23765 h 113691"/>
                  <a:gd name="connsiteX15" fmla="*/ 128477 w 135985"/>
                  <a:gd name="connsiteY15" fmla="*/ 37529 h 113691"/>
                  <a:gd name="connsiteX16" fmla="*/ 128894 w 135985"/>
                  <a:gd name="connsiteY16" fmla="*/ 67227 h 113691"/>
                  <a:gd name="connsiteX17" fmla="*/ 129312 w 135985"/>
                  <a:gd name="connsiteY17" fmla="*/ 92920 h 113691"/>
                  <a:gd name="connsiteX18" fmla="*/ 96608 w 135985"/>
                  <a:gd name="connsiteY18" fmla="*/ 113275 h 113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5985" h="113691" extrusionOk="0">
                    <a:moveTo>
                      <a:pt x="96608" y="113275"/>
                    </a:moveTo>
                    <a:cubicBezTo>
                      <a:pt x="91269" y="113275"/>
                      <a:pt x="85513" y="112858"/>
                      <a:pt x="79756" y="113692"/>
                    </a:cubicBezTo>
                    <a:cubicBezTo>
                      <a:pt x="66491" y="101763"/>
                      <a:pt x="53143" y="100845"/>
                      <a:pt x="40796" y="99928"/>
                    </a:cubicBezTo>
                    <a:cubicBezTo>
                      <a:pt x="34622" y="99510"/>
                      <a:pt x="27948" y="99010"/>
                      <a:pt x="21274" y="97258"/>
                    </a:cubicBezTo>
                    <a:cubicBezTo>
                      <a:pt x="7091" y="92837"/>
                      <a:pt x="7091" y="87498"/>
                      <a:pt x="9761" y="71565"/>
                    </a:cubicBezTo>
                    <a:cubicBezTo>
                      <a:pt x="11096" y="65392"/>
                      <a:pt x="12013" y="58301"/>
                      <a:pt x="11513" y="51210"/>
                    </a:cubicBezTo>
                    <a:cubicBezTo>
                      <a:pt x="10595" y="38781"/>
                      <a:pt x="5756" y="29104"/>
                      <a:pt x="0" y="19760"/>
                    </a:cubicBezTo>
                    <a:cubicBezTo>
                      <a:pt x="6174" y="18426"/>
                      <a:pt x="11930" y="17091"/>
                      <a:pt x="17686" y="14922"/>
                    </a:cubicBezTo>
                    <a:cubicBezTo>
                      <a:pt x="23026" y="13170"/>
                      <a:pt x="27865" y="10501"/>
                      <a:pt x="33204" y="7831"/>
                    </a:cubicBezTo>
                    <a:cubicBezTo>
                      <a:pt x="46052" y="741"/>
                      <a:pt x="54895" y="-3263"/>
                      <a:pt x="63738" y="3410"/>
                    </a:cubicBezTo>
                    <a:cubicBezTo>
                      <a:pt x="80090" y="15339"/>
                      <a:pt x="86347" y="14922"/>
                      <a:pt x="104534" y="11418"/>
                    </a:cubicBezTo>
                    <a:lnTo>
                      <a:pt x="109873" y="10501"/>
                    </a:lnTo>
                    <a:cubicBezTo>
                      <a:pt x="119217" y="8749"/>
                      <a:pt x="127560" y="7831"/>
                      <a:pt x="135986" y="9166"/>
                    </a:cubicBezTo>
                    <a:cubicBezTo>
                      <a:pt x="135068" y="11835"/>
                      <a:pt x="133733" y="15339"/>
                      <a:pt x="132899" y="19343"/>
                    </a:cubicBezTo>
                    <a:cubicBezTo>
                      <a:pt x="132482" y="20678"/>
                      <a:pt x="131981" y="22430"/>
                      <a:pt x="131564" y="23765"/>
                    </a:cubicBezTo>
                    <a:cubicBezTo>
                      <a:pt x="130229" y="27268"/>
                      <a:pt x="128894" y="31773"/>
                      <a:pt x="128477" y="37529"/>
                    </a:cubicBezTo>
                    <a:cubicBezTo>
                      <a:pt x="127560" y="47706"/>
                      <a:pt x="128060" y="57467"/>
                      <a:pt x="128894" y="67227"/>
                    </a:cubicBezTo>
                    <a:cubicBezTo>
                      <a:pt x="129312" y="76069"/>
                      <a:pt x="129812" y="84495"/>
                      <a:pt x="129312" y="92920"/>
                    </a:cubicBezTo>
                    <a:cubicBezTo>
                      <a:pt x="127142" y="112774"/>
                      <a:pt x="118299" y="113275"/>
                      <a:pt x="96608" y="1132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595192093" name="Полилиния 349"/>
              <p:cNvSpPr/>
              <p:nvPr/>
            </p:nvSpPr>
            <p:spPr bwMode="auto">
              <a:xfrm>
                <a:off x="1423494" y="5781982"/>
                <a:ext cx="250392" cy="197679"/>
              </a:xfrm>
              <a:custGeom>
                <a:avLst/>
                <a:gdLst>
                  <a:gd name="connsiteX0" fmla="*/ 281148 w 281199"/>
                  <a:gd name="connsiteY0" fmla="*/ 98247 h 222001"/>
                  <a:gd name="connsiteX1" fmla="*/ 274474 w 281199"/>
                  <a:gd name="connsiteY1" fmla="*/ 112846 h 222001"/>
                  <a:gd name="connsiteX2" fmla="*/ 266048 w 281199"/>
                  <a:gd name="connsiteY2" fmla="*/ 114180 h 222001"/>
                  <a:gd name="connsiteX3" fmla="*/ 252783 w 281199"/>
                  <a:gd name="connsiteY3" fmla="*/ 117267 h 222001"/>
                  <a:gd name="connsiteX4" fmla="*/ 232427 w 281199"/>
                  <a:gd name="connsiteY4" fmla="*/ 131031 h 222001"/>
                  <a:gd name="connsiteX5" fmla="*/ 230675 w 281199"/>
                  <a:gd name="connsiteY5" fmla="*/ 132366 h 222001"/>
                  <a:gd name="connsiteX6" fmla="*/ 216910 w 281199"/>
                  <a:gd name="connsiteY6" fmla="*/ 154056 h 222001"/>
                  <a:gd name="connsiteX7" fmla="*/ 210736 w 281199"/>
                  <a:gd name="connsiteY7" fmla="*/ 167319 h 222001"/>
                  <a:gd name="connsiteX8" fmla="*/ 207232 w 281199"/>
                  <a:gd name="connsiteY8" fmla="*/ 172658 h 222001"/>
                  <a:gd name="connsiteX9" fmla="*/ 198389 w 281199"/>
                  <a:gd name="connsiteY9" fmla="*/ 186423 h 222001"/>
                  <a:gd name="connsiteX10" fmla="*/ 193967 w 281199"/>
                  <a:gd name="connsiteY10" fmla="*/ 201021 h 222001"/>
                  <a:gd name="connsiteX11" fmla="*/ 189546 w 281199"/>
                  <a:gd name="connsiteY11" fmla="*/ 214786 h 222001"/>
                  <a:gd name="connsiteX12" fmla="*/ 173611 w 281199"/>
                  <a:gd name="connsiteY12" fmla="*/ 215703 h 222001"/>
                  <a:gd name="connsiteX13" fmla="*/ 163850 w 281199"/>
                  <a:gd name="connsiteY13" fmla="*/ 210865 h 222001"/>
                  <a:gd name="connsiteX14" fmla="*/ 137237 w 281199"/>
                  <a:gd name="connsiteY14" fmla="*/ 215703 h 222001"/>
                  <a:gd name="connsiteX15" fmla="*/ 127476 w 281199"/>
                  <a:gd name="connsiteY15" fmla="*/ 220542 h 222001"/>
                  <a:gd name="connsiteX16" fmla="*/ 94272 w 281199"/>
                  <a:gd name="connsiteY16" fmla="*/ 221459 h 222001"/>
                  <a:gd name="connsiteX17" fmla="*/ 77003 w 281199"/>
                  <a:gd name="connsiteY17" fmla="*/ 220542 h 222001"/>
                  <a:gd name="connsiteX18" fmla="*/ 75251 w 281199"/>
                  <a:gd name="connsiteY18" fmla="*/ 220542 h 222001"/>
                  <a:gd name="connsiteX19" fmla="*/ 62820 w 281199"/>
                  <a:gd name="connsiteY19" fmla="*/ 199269 h 222001"/>
                  <a:gd name="connsiteX20" fmla="*/ 53977 w 281199"/>
                  <a:gd name="connsiteY20" fmla="*/ 185505 h 222001"/>
                  <a:gd name="connsiteX21" fmla="*/ 49556 w 281199"/>
                  <a:gd name="connsiteY21" fmla="*/ 170406 h 222001"/>
                  <a:gd name="connsiteX22" fmla="*/ 29199 w 281199"/>
                  <a:gd name="connsiteY22" fmla="*/ 141209 h 222001"/>
                  <a:gd name="connsiteX23" fmla="*/ 0 w 281199"/>
                  <a:gd name="connsiteY23" fmla="*/ 120354 h 222001"/>
                  <a:gd name="connsiteX24" fmla="*/ 1752 w 281199"/>
                  <a:gd name="connsiteY24" fmla="*/ 120354 h 222001"/>
                  <a:gd name="connsiteX25" fmla="*/ 47804 w 281199"/>
                  <a:gd name="connsiteY25" fmla="*/ 85817 h 222001"/>
                  <a:gd name="connsiteX26" fmla="*/ 47386 w 281199"/>
                  <a:gd name="connsiteY26" fmla="*/ 58372 h 222001"/>
                  <a:gd name="connsiteX27" fmla="*/ 46969 w 281199"/>
                  <a:gd name="connsiteY27" fmla="*/ 30426 h 222001"/>
                  <a:gd name="connsiteX28" fmla="*/ 49639 w 281199"/>
                  <a:gd name="connsiteY28" fmla="*/ 20249 h 222001"/>
                  <a:gd name="connsiteX29" fmla="*/ 50974 w 281199"/>
                  <a:gd name="connsiteY29" fmla="*/ 15411 h 222001"/>
                  <a:gd name="connsiteX30" fmla="*/ 55395 w 281199"/>
                  <a:gd name="connsiteY30" fmla="*/ 2981 h 222001"/>
                  <a:gd name="connsiteX31" fmla="*/ 67826 w 281199"/>
                  <a:gd name="connsiteY31" fmla="*/ 6485 h 222001"/>
                  <a:gd name="connsiteX32" fmla="*/ 96191 w 281199"/>
                  <a:gd name="connsiteY32" fmla="*/ 13576 h 222001"/>
                  <a:gd name="connsiteX33" fmla="*/ 110374 w 281199"/>
                  <a:gd name="connsiteY33" fmla="*/ 13576 h 222001"/>
                  <a:gd name="connsiteX34" fmla="*/ 118800 w 281199"/>
                  <a:gd name="connsiteY34" fmla="*/ 12241 h 222001"/>
                  <a:gd name="connsiteX35" fmla="*/ 134734 w 281199"/>
                  <a:gd name="connsiteY35" fmla="*/ 5150 h 222001"/>
                  <a:gd name="connsiteX36" fmla="*/ 154256 w 281199"/>
                  <a:gd name="connsiteY36" fmla="*/ 2063 h 222001"/>
                  <a:gd name="connsiteX37" fmla="*/ 162682 w 281199"/>
                  <a:gd name="connsiteY37" fmla="*/ 8737 h 222001"/>
                  <a:gd name="connsiteX38" fmla="*/ 187043 w 281199"/>
                  <a:gd name="connsiteY38" fmla="*/ 17162 h 222001"/>
                  <a:gd name="connsiteX39" fmla="*/ 196804 w 281199"/>
                  <a:gd name="connsiteY39" fmla="*/ 17580 h 222001"/>
                  <a:gd name="connsiteX40" fmla="*/ 210069 w 281199"/>
                  <a:gd name="connsiteY40" fmla="*/ 26005 h 222001"/>
                  <a:gd name="connsiteX41" fmla="*/ 210069 w 281199"/>
                  <a:gd name="connsiteY41" fmla="*/ 26422 h 222001"/>
                  <a:gd name="connsiteX42" fmla="*/ 218912 w 281199"/>
                  <a:gd name="connsiteY42" fmla="*/ 35265 h 222001"/>
                  <a:gd name="connsiteX43" fmla="*/ 226420 w 281199"/>
                  <a:gd name="connsiteY43" fmla="*/ 41021 h 222001"/>
                  <a:gd name="connsiteX44" fmla="*/ 234429 w 281199"/>
                  <a:gd name="connsiteY44" fmla="*/ 48112 h 222001"/>
                  <a:gd name="connsiteX45" fmla="*/ 234846 w 281199"/>
                  <a:gd name="connsiteY45" fmla="*/ 55202 h 222001"/>
                  <a:gd name="connsiteX46" fmla="*/ 236181 w 281199"/>
                  <a:gd name="connsiteY46" fmla="*/ 67632 h 222001"/>
                  <a:gd name="connsiteX47" fmla="*/ 263212 w 281199"/>
                  <a:gd name="connsiteY47" fmla="*/ 81396 h 222001"/>
                  <a:gd name="connsiteX48" fmla="*/ 276059 w 281199"/>
                  <a:gd name="connsiteY48" fmla="*/ 82731 h 222001"/>
                  <a:gd name="connsiteX49" fmla="*/ 281148 w 281199"/>
                  <a:gd name="connsiteY49" fmla="*/ 98247 h 222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81199" h="222001" extrusionOk="0">
                    <a:moveTo>
                      <a:pt x="281148" y="98247"/>
                    </a:moveTo>
                    <a:cubicBezTo>
                      <a:pt x="281148" y="105338"/>
                      <a:pt x="278479" y="110677"/>
                      <a:pt x="274474" y="112846"/>
                    </a:cubicBezTo>
                    <a:cubicBezTo>
                      <a:pt x="272222" y="113763"/>
                      <a:pt x="269135" y="114180"/>
                      <a:pt x="266048" y="114180"/>
                    </a:cubicBezTo>
                    <a:cubicBezTo>
                      <a:pt x="262044" y="114597"/>
                      <a:pt x="257205" y="115098"/>
                      <a:pt x="252783" y="117267"/>
                    </a:cubicBezTo>
                    <a:cubicBezTo>
                      <a:pt x="246109" y="120354"/>
                      <a:pt x="238184" y="126610"/>
                      <a:pt x="232427" y="131031"/>
                    </a:cubicBezTo>
                    <a:lnTo>
                      <a:pt x="230675" y="132366"/>
                    </a:lnTo>
                    <a:cubicBezTo>
                      <a:pt x="222249" y="139040"/>
                      <a:pt x="219579" y="146965"/>
                      <a:pt x="216910" y="154056"/>
                    </a:cubicBezTo>
                    <a:cubicBezTo>
                      <a:pt x="215575" y="158477"/>
                      <a:pt x="213823" y="162898"/>
                      <a:pt x="210736" y="167319"/>
                    </a:cubicBezTo>
                    <a:cubicBezTo>
                      <a:pt x="209401" y="169071"/>
                      <a:pt x="208066" y="170823"/>
                      <a:pt x="207232" y="172658"/>
                    </a:cubicBezTo>
                    <a:cubicBezTo>
                      <a:pt x="204145" y="177080"/>
                      <a:pt x="201059" y="181084"/>
                      <a:pt x="198389" y="186423"/>
                    </a:cubicBezTo>
                    <a:cubicBezTo>
                      <a:pt x="196137" y="190844"/>
                      <a:pt x="195302" y="196183"/>
                      <a:pt x="193967" y="201021"/>
                    </a:cubicBezTo>
                    <a:cubicBezTo>
                      <a:pt x="192633" y="206360"/>
                      <a:pt x="191298" y="212116"/>
                      <a:pt x="189546" y="214786"/>
                    </a:cubicBezTo>
                    <a:cubicBezTo>
                      <a:pt x="184707" y="221459"/>
                      <a:pt x="182872" y="220542"/>
                      <a:pt x="173611" y="215703"/>
                    </a:cubicBezTo>
                    <a:cubicBezTo>
                      <a:pt x="170524" y="213951"/>
                      <a:pt x="167438" y="212199"/>
                      <a:pt x="163850" y="210865"/>
                    </a:cubicBezTo>
                    <a:cubicBezTo>
                      <a:pt x="151003" y="206026"/>
                      <a:pt x="143494" y="211282"/>
                      <a:pt x="137237" y="215703"/>
                    </a:cubicBezTo>
                    <a:cubicBezTo>
                      <a:pt x="134150" y="217956"/>
                      <a:pt x="131481" y="220124"/>
                      <a:pt x="127476" y="220542"/>
                    </a:cubicBezTo>
                    <a:cubicBezTo>
                      <a:pt x="118132" y="222794"/>
                      <a:pt x="106202" y="221876"/>
                      <a:pt x="94272" y="221459"/>
                    </a:cubicBezTo>
                    <a:cubicBezTo>
                      <a:pt x="88099" y="221042"/>
                      <a:pt x="82342" y="220542"/>
                      <a:pt x="77003" y="220542"/>
                    </a:cubicBezTo>
                    <a:lnTo>
                      <a:pt x="75251" y="220542"/>
                    </a:lnTo>
                    <a:cubicBezTo>
                      <a:pt x="72998" y="212116"/>
                      <a:pt x="67743" y="205443"/>
                      <a:pt x="62820" y="199269"/>
                    </a:cubicBezTo>
                    <a:cubicBezTo>
                      <a:pt x="59317" y="194431"/>
                      <a:pt x="55729" y="190427"/>
                      <a:pt x="53977" y="185505"/>
                    </a:cubicBezTo>
                    <a:cubicBezTo>
                      <a:pt x="51307" y="180166"/>
                      <a:pt x="50890" y="175328"/>
                      <a:pt x="49556" y="170406"/>
                    </a:cubicBezTo>
                    <a:cubicBezTo>
                      <a:pt x="47303" y="160229"/>
                      <a:pt x="45551" y="149551"/>
                      <a:pt x="29199" y="141209"/>
                    </a:cubicBezTo>
                    <a:cubicBezTo>
                      <a:pt x="17269" y="135035"/>
                      <a:pt x="8843" y="128362"/>
                      <a:pt x="0" y="120354"/>
                    </a:cubicBezTo>
                    <a:lnTo>
                      <a:pt x="1752" y="120354"/>
                    </a:lnTo>
                    <a:cubicBezTo>
                      <a:pt x="21691" y="120771"/>
                      <a:pt x="46052" y="120771"/>
                      <a:pt x="47804" y="85817"/>
                    </a:cubicBezTo>
                    <a:cubicBezTo>
                      <a:pt x="48221" y="76475"/>
                      <a:pt x="48221" y="67215"/>
                      <a:pt x="47386" y="58372"/>
                    </a:cubicBezTo>
                    <a:cubicBezTo>
                      <a:pt x="46969" y="48612"/>
                      <a:pt x="46469" y="39769"/>
                      <a:pt x="46969" y="30426"/>
                    </a:cubicBezTo>
                    <a:cubicBezTo>
                      <a:pt x="47386" y="26422"/>
                      <a:pt x="48304" y="23753"/>
                      <a:pt x="49639" y="20249"/>
                    </a:cubicBezTo>
                    <a:cubicBezTo>
                      <a:pt x="50056" y="18914"/>
                      <a:pt x="50557" y="17162"/>
                      <a:pt x="50974" y="15411"/>
                    </a:cubicBezTo>
                    <a:cubicBezTo>
                      <a:pt x="52309" y="11407"/>
                      <a:pt x="54061" y="6568"/>
                      <a:pt x="55395" y="2981"/>
                    </a:cubicBezTo>
                    <a:cubicBezTo>
                      <a:pt x="59400" y="3899"/>
                      <a:pt x="63404" y="5233"/>
                      <a:pt x="67826" y="6485"/>
                    </a:cubicBezTo>
                    <a:cubicBezTo>
                      <a:pt x="78004" y="9988"/>
                      <a:pt x="86847" y="13158"/>
                      <a:pt x="96191" y="13576"/>
                    </a:cubicBezTo>
                    <a:cubicBezTo>
                      <a:pt x="101030" y="14493"/>
                      <a:pt x="105952" y="14493"/>
                      <a:pt x="110374" y="13576"/>
                    </a:cubicBezTo>
                    <a:cubicBezTo>
                      <a:pt x="113043" y="13158"/>
                      <a:pt x="116130" y="12658"/>
                      <a:pt x="118800" y="12241"/>
                    </a:cubicBezTo>
                    <a:cubicBezTo>
                      <a:pt x="124973" y="10906"/>
                      <a:pt x="130313" y="7819"/>
                      <a:pt x="134734" y="5150"/>
                    </a:cubicBezTo>
                    <a:cubicBezTo>
                      <a:pt x="143578" y="311"/>
                      <a:pt x="148500" y="-1941"/>
                      <a:pt x="154256" y="2063"/>
                    </a:cubicBezTo>
                    <a:cubicBezTo>
                      <a:pt x="158261" y="4316"/>
                      <a:pt x="160930" y="6485"/>
                      <a:pt x="162682" y="8737"/>
                    </a:cubicBezTo>
                    <a:cubicBezTo>
                      <a:pt x="168022" y="13576"/>
                      <a:pt x="173278" y="17580"/>
                      <a:pt x="187043" y="17162"/>
                    </a:cubicBezTo>
                    <a:cubicBezTo>
                      <a:pt x="191047" y="16745"/>
                      <a:pt x="194134" y="16745"/>
                      <a:pt x="196804" y="17580"/>
                    </a:cubicBezTo>
                    <a:cubicBezTo>
                      <a:pt x="202143" y="17997"/>
                      <a:pt x="204813" y="20666"/>
                      <a:pt x="210069" y="26005"/>
                    </a:cubicBezTo>
                    <a:lnTo>
                      <a:pt x="210069" y="26422"/>
                    </a:lnTo>
                    <a:lnTo>
                      <a:pt x="218912" y="35265"/>
                    </a:lnTo>
                    <a:cubicBezTo>
                      <a:pt x="221165" y="37517"/>
                      <a:pt x="223751" y="39269"/>
                      <a:pt x="226420" y="41021"/>
                    </a:cubicBezTo>
                    <a:cubicBezTo>
                      <a:pt x="229507" y="43273"/>
                      <a:pt x="233095" y="45859"/>
                      <a:pt x="234429" y="48112"/>
                    </a:cubicBezTo>
                    <a:cubicBezTo>
                      <a:pt x="235347" y="49446"/>
                      <a:pt x="235347" y="51615"/>
                      <a:pt x="234846" y="55202"/>
                    </a:cubicBezTo>
                    <a:cubicBezTo>
                      <a:pt x="234429" y="58706"/>
                      <a:pt x="234429" y="63211"/>
                      <a:pt x="236181" y="67632"/>
                    </a:cubicBezTo>
                    <a:cubicBezTo>
                      <a:pt x="242355" y="82230"/>
                      <a:pt x="254786" y="81813"/>
                      <a:pt x="263212" y="81396"/>
                    </a:cubicBezTo>
                    <a:cubicBezTo>
                      <a:pt x="268050" y="80979"/>
                      <a:pt x="272555" y="80979"/>
                      <a:pt x="276059" y="82731"/>
                    </a:cubicBezTo>
                    <a:cubicBezTo>
                      <a:pt x="279396" y="86318"/>
                      <a:pt x="281566" y="92074"/>
                      <a:pt x="281148" y="9824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40022213" name="Полилиния 350"/>
              <p:cNvSpPr/>
              <p:nvPr/>
            </p:nvSpPr>
            <p:spPr bwMode="auto">
              <a:xfrm>
                <a:off x="1330578" y="5298633"/>
                <a:ext cx="368518" cy="488752"/>
              </a:xfrm>
              <a:custGeom>
                <a:avLst/>
                <a:gdLst>
                  <a:gd name="connsiteX0" fmla="*/ 338108 w 413859"/>
                  <a:gd name="connsiteY0" fmla="*/ 223796 h 548885"/>
                  <a:gd name="connsiteX1" fmla="*/ 343447 w 413859"/>
                  <a:gd name="connsiteY1" fmla="*/ 263253 h 548885"/>
                  <a:gd name="connsiteX2" fmla="*/ 346117 w 413859"/>
                  <a:gd name="connsiteY2" fmla="*/ 267675 h 548885"/>
                  <a:gd name="connsiteX3" fmla="*/ 349621 w 413859"/>
                  <a:gd name="connsiteY3" fmla="*/ 275683 h 548885"/>
                  <a:gd name="connsiteX4" fmla="*/ 351874 w 413859"/>
                  <a:gd name="connsiteY4" fmla="*/ 281022 h 548885"/>
                  <a:gd name="connsiteX5" fmla="*/ 358047 w 413859"/>
                  <a:gd name="connsiteY5" fmla="*/ 288113 h 548885"/>
                  <a:gd name="connsiteX6" fmla="*/ 387247 w 413859"/>
                  <a:gd name="connsiteY6" fmla="*/ 332826 h 548885"/>
                  <a:gd name="connsiteX7" fmla="*/ 404099 w 413859"/>
                  <a:gd name="connsiteY7" fmla="*/ 373619 h 548885"/>
                  <a:gd name="connsiteX8" fmla="*/ 406351 w 413859"/>
                  <a:gd name="connsiteY8" fmla="*/ 377122 h 548885"/>
                  <a:gd name="connsiteX9" fmla="*/ 413025 w 413859"/>
                  <a:gd name="connsiteY9" fmla="*/ 392639 h 548885"/>
                  <a:gd name="connsiteX10" fmla="*/ 413443 w 413859"/>
                  <a:gd name="connsiteY10" fmla="*/ 402816 h 548885"/>
                  <a:gd name="connsiteX11" fmla="*/ 413860 w 413859"/>
                  <a:gd name="connsiteY11" fmla="*/ 432013 h 548885"/>
                  <a:gd name="connsiteX12" fmla="*/ 402764 w 413859"/>
                  <a:gd name="connsiteY12" fmla="*/ 436852 h 548885"/>
                  <a:gd name="connsiteX13" fmla="*/ 393420 w 413859"/>
                  <a:gd name="connsiteY13" fmla="*/ 443942 h 548885"/>
                  <a:gd name="connsiteX14" fmla="*/ 384577 w 413859"/>
                  <a:gd name="connsiteY14" fmla="*/ 450115 h 548885"/>
                  <a:gd name="connsiteX15" fmla="*/ 363303 w 413859"/>
                  <a:gd name="connsiteY15" fmla="*/ 454537 h 548885"/>
                  <a:gd name="connsiteX16" fmla="*/ 356212 w 413859"/>
                  <a:gd name="connsiteY16" fmla="*/ 451450 h 548885"/>
                  <a:gd name="connsiteX17" fmla="*/ 334104 w 413859"/>
                  <a:gd name="connsiteY17" fmla="*/ 447947 h 548885"/>
                  <a:gd name="connsiteX18" fmla="*/ 323008 w 413859"/>
                  <a:gd name="connsiteY18" fmla="*/ 477144 h 548885"/>
                  <a:gd name="connsiteX19" fmla="*/ 326512 w 413859"/>
                  <a:gd name="connsiteY19" fmla="*/ 485569 h 548885"/>
                  <a:gd name="connsiteX20" fmla="*/ 326512 w 413859"/>
                  <a:gd name="connsiteY20" fmla="*/ 491743 h 548885"/>
                  <a:gd name="connsiteX21" fmla="*/ 319003 w 413859"/>
                  <a:gd name="connsiteY21" fmla="*/ 491325 h 548885"/>
                  <a:gd name="connsiteX22" fmla="*/ 307490 w 413859"/>
                  <a:gd name="connsiteY22" fmla="*/ 486904 h 548885"/>
                  <a:gd name="connsiteX23" fmla="*/ 289303 w 413859"/>
                  <a:gd name="connsiteY23" fmla="*/ 492660 h 548885"/>
                  <a:gd name="connsiteX24" fmla="*/ 284882 w 413859"/>
                  <a:gd name="connsiteY24" fmla="*/ 508176 h 548885"/>
                  <a:gd name="connsiteX25" fmla="*/ 301734 w 413859"/>
                  <a:gd name="connsiteY25" fmla="*/ 524110 h 548885"/>
                  <a:gd name="connsiteX26" fmla="*/ 308408 w 413859"/>
                  <a:gd name="connsiteY26" fmla="*/ 527196 h 548885"/>
                  <a:gd name="connsiteX27" fmla="*/ 307073 w 413859"/>
                  <a:gd name="connsiteY27" fmla="*/ 540460 h 548885"/>
                  <a:gd name="connsiteX28" fmla="*/ 304404 w 413859"/>
                  <a:gd name="connsiteY28" fmla="*/ 547551 h 548885"/>
                  <a:gd name="connsiteX29" fmla="*/ 303987 w 413859"/>
                  <a:gd name="connsiteY29" fmla="*/ 548886 h 548885"/>
                  <a:gd name="connsiteX30" fmla="*/ 290722 w 413859"/>
                  <a:gd name="connsiteY30" fmla="*/ 547968 h 548885"/>
                  <a:gd name="connsiteX31" fmla="*/ 276539 w 413859"/>
                  <a:gd name="connsiteY31" fmla="*/ 543129 h 548885"/>
                  <a:gd name="connsiteX32" fmla="*/ 265944 w 413859"/>
                  <a:gd name="connsiteY32" fmla="*/ 535121 h 548885"/>
                  <a:gd name="connsiteX33" fmla="*/ 232239 w 413859"/>
                  <a:gd name="connsiteY33" fmla="*/ 537790 h 548885"/>
                  <a:gd name="connsiteX34" fmla="*/ 219392 w 413859"/>
                  <a:gd name="connsiteY34" fmla="*/ 543546 h 548885"/>
                  <a:gd name="connsiteX35" fmla="*/ 214970 w 413859"/>
                  <a:gd name="connsiteY35" fmla="*/ 544464 h 548885"/>
                  <a:gd name="connsiteX36" fmla="*/ 214553 w 413859"/>
                  <a:gd name="connsiteY36" fmla="*/ 524944 h 548885"/>
                  <a:gd name="connsiteX37" fmla="*/ 211466 w 413859"/>
                  <a:gd name="connsiteY37" fmla="*/ 513015 h 548885"/>
                  <a:gd name="connsiteX38" fmla="*/ 203457 w 413859"/>
                  <a:gd name="connsiteY38" fmla="*/ 506341 h 548885"/>
                  <a:gd name="connsiteX39" fmla="*/ 183101 w 413859"/>
                  <a:gd name="connsiteY39" fmla="*/ 493494 h 548885"/>
                  <a:gd name="connsiteX40" fmla="*/ 180431 w 413859"/>
                  <a:gd name="connsiteY40" fmla="*/ 491743 h 548885"/>
                  <a:gd name="connsiteX41" fmla="*/ 186605 w 413859"/>
                  <a:gd name="connsiteY41" fmla="*/ 464714 h 548885"/>
                  <a:gd name="connsiteX42" fmla="*/ 177261 w 413859"/>
                  <a:gd name="connsiteY42" fmla="*/ 457623 h 548885"/>
                  <a:gd name="connsiteX43" fmla="*/ 175509 w 413859"/>
                  <a:gd name="connsiteY43" fmla="*/ 456706 h 548885"/>
                  <a:gd name="connsiteX44" fmla="*/ 167083 w 413859"/>
                  <a:gd name="connsiteY44" fmla="*/ 449198 h 548885"/>
                  <a:gd name="connsiteX45" fmla="*/ 165331 w 413859"/>
                  <a:gd name="connsiteY45" fmla="*/ 446111 h 548885"/>
                  <a:gd name="connsiteX46" fmla="*/ 154736 w 413859"/>
                  <a:gd name="connsiteY46" fmla="*/ 434182 h 548885"/>
                  <a:gd name="connsiteX47" fmla="*/ 133462 w 413859"/>
                  <a:gd name="connsiteY47" fmla="*/ 435934 h 548885"/>
                  <a:gd name="connsiteX48" fmla="*/ 123701 w 413859"/>
                  <a:gd name="connsiteY48" fmla="*/ 438603 h 548885"/>
                  <a:gd name="connsiteX49" fmla="*/ 113940 w 413859"/>
                  <a:gd name="connsiteY49" fmla="*/ 430595 h 548885"/>
                  <a:gd name="connsiteX50" fmla="*/ 100175 w 413859"/>
                  <a:gd name="connsiteY50" fmla="*/ 419083 h 548885"/>
                  <a:gd name="connsiteX51" fmla="*/ 93084 w 413859"/>
                  <a:gd name="connsiteY51" fmla="*/ 416831 h 548885"/>
                  <a:gd name="connsiteX52" fmla="*/ 86910 w 413859"/>
                  <a:gd name="connsiteY52" fmla="*/ 414579 h 548885"/>
                  <a:gd name="connsiteX53" fmla="*/ 84657 w 413859"/>
                  <a:gd name="connsiteY53" fmla="*/ 406570 h 548885"/>
                  <a:gd name="connsiteX54" fmla="*/ 77983 w 413859"/>
                  <a:gd name="connsiteY54" fmla="*/ 389302 h 548885"/>
                  <a:gd name="connsiteX55" fmla="*/ 69557 w 413859"/>
                  <a:gd name="connsiteY55" fmla="*/ 384881 h 548885"/>
                  <a:gd name="connsiteX56" fmla="*/ 28761 w 413859"/>
                  <a:gd name="connsiteY56" fmla="*/ 374703 h 548885"/>
                  <a:gd name="connsiteX57" fmla="*/ 29179 w 413859"/>
                  <a:gd name="connsiteY57" fmla="*/ 369364 h 548885"/>
                  <a:gd name="connsiteX58" fmla="*/ 30513 w 413859"/>
                  <a:gd name="connsiteY58" fmla="*/ 359187 h 548885"/>
                  <a:gd name="connsiteX59" fmla="*/ 22504 w 413859"/>
                  <a:gd name="connsiteY59" fmla="*/ 333911 h 548885"/>
                  <a:gd name="connsiteX60" fmla="*/ 16748 w 413859"/>
                  <a:gd name="connsiteY60" fmla="*/ 326820 h 548885"/>
                  <a:gd name="connsiteX61" fmla="*/ 14495 w 413859"/>
                  <a:gd name="connsiteY61" fmla="*/ 316643 h 548885"/>
                  <a:gd name="connsiteX62" fmla="*/ 19334 w 413859"/>
                  <a:gd name="connsiteY62" fmla="*/ 310470 h 548885"/>
                  <a:gd name="connsiteX63" fmla="*/ 27760 w 413859"/>
                  <a:gd name="connsiteY63" fmla="*/ 310052 h 548885"/>
                  <a:gd name="connsiteX64" fmla="*/ 47699 w 413859"/>
                  <a:gd name="connsiteY64" fmla="*/ 297623 h 548885"/>
                  <a:gd name="connsiteX65" fmla="*/ 42861 w 413859"/>
                  <a:gd name="connsiteY65" fmla="*/ 285694 h 548885"/>
                  <a:gd name="connsiteX66" fmla="*/ 41526 w 413859"/>
                  <a:gd name="connsiteY66" fmla="*/ 284359 h 548885"/>
                  <a:gd name="connsiteX67" fmla="*/ 41109 w 413859"/>
                  <a:gd name="connsiteY67" fmla="*/ 278186 h 548885"/>
                  <a:gd name="connsiteX68" fmla="*/ 38856 w 413859"/>
                  <a:gd name="connsiteY68" fmla="*/ 267091 h 548885"/>
                  <a:gd name="connsiteX69" fmla="*/ 26425 w 413859"/>
                  <a:gd name="connsiteY69" fmla="*/ 252492 h 548885"/>
                  <a:gd name="connsiteX70" fmla="*/ 17999 w 413859"/>
                  <a:gd name="connsiteY70" fmla="*/ 242732 h 548885"/>
                  <a:gd name="connsiteX71" fmla="*/ 17582 w 413859"/>
                  <a:gd name="connsiteY71" fmla="*/ 234307 h 548885"/>
                  <a:gd name="connsiteX72" fmla="*/ 11409 w 413859"/>
                  <a:gd name="connsiteY72" fmla="*/ 213452 h 548885"/>
                  <a:gd name="connsiteX73" fmla="*/ 2065 w 413859"/>
                  <a:gd name="connsiteY73" fmla="*/ 208113 h 548885"/>
                  <a:gd name="connsiteX74" fmla="*/ 1648 w 413859"/>
                  <a:gd name="connsiteY74" fmla="*/ 206361 h 548885"/>
                  <a:gd name="connsiteX75" fmla="*/ 313 w 413859"/>
                  <a:gd name="connsiteY75" fmla="*/ 199270 h 548885"/>
                  <a:gd name="connsiteX76" fmla="*/ 313 w 413859"/>
                  <a:gd name="connsiteY76" fmla="*/ 186841 h 548885"/>
                  <a:gd name="connsiteX77" fmla="*/ 2565 w 413859"/>
                  <a:gd name="connsiteY77" fmla="*/ 175745 h 548885"/>
                  <a:gd name="connsiteX78" fmla="*/ 12326 w 413859"/>
                  <a:gd name="connsiteY78" fmla="*/ 167320 h 548885"/>
                  <a:gd name="connsiteX79" fmla="*/ 25174 w 413859"/>
                  <a:gd name="connsiteY79" fmla="*/ 162899 h 548885"/>
                  <a:gd name="connsiteX80" fmla="*/ 27844 w 413859"/>
                  <a:gd name="connsiteY80" fmla="*/ 161981 h 548885"/>
                  <a:gd name="connsiteX81" fmla="*/ 40691 w 413859"/>
                  <a:gd name="connsiteY81" fmla="*/ 156225 h 548885"/>
                  <a:gd name="connsiteX82" fmla="*/ 47783 w 413859"/>
                  <a:gd name="connsiteY82" fmla="*/ 139374 h 548885"/>
                  <a:gd name="connsiteX83" fmla="*/ 42944 w 413859"/>
                  <a:gd name="connsiteY83" fmla="*/ 129614 h 548885"/>
                  <a:gd name="connsiteX84" fmla="*/ 40274 w 413859"/>
                  <a:gd name="connsiteY84" fmla="*/ 126527 h 548885"/>
                  <a:gd name="connsiteX85" fmla="*/ 35436 w 413859"/>
                  <a:gd name="connsiteY85" fmla="*/ 119854 h 548885"/>
                  <a:gd name="connsiteX86" fmla="*/ 34101 w 413859"/>
                  <a:gd name="connsiteY86" fmla="*/ 112763 h 548885"/>
                  <a:gd name="connsiteX87" fmla="*/ 37188 w 413859"/>
                  <a:gd name="connsiteY87" fmla="*/ 108759 h 548885"/>
                  <a:gd name="connsiteX88" fmla="*/ 41609 w 413859"/>
                  <a:gd name="connsiteY88" fmla="*/ 103003 h 548885"/>
                  <a:gd name="connsiteX89" fmla="*/ 38939 w 413859"/>
                  <a:gd name="connsiteY89" fmla="*/ 78644 h 548885"/>
                  <a:gd name="connsiteX90" fmla="*/ 29179 w 413859"/>
                  <a:gd name="connsiteY90" fmla="*/ 71970 h 548885"/>
                  <a:gd name="connsiteX91" fmla="*/ 23422 w 413859"/>
                  <a:gd name="connsiteY91" fmla="*/ 68467 h 548885"/>
                  <a:gd name="connsiteX92" fmla="*/ 21670 w 413859"/>
                  <a:gd name="connsiteY92" fmla="*/ 61376 h 548885"/>
                  <a:gd name="connsiteX93" fmla="*/ 26509 w 413859"/>
                  <a:gd name="connsiteY93" fmla="*/ 54285 h 548885"/>
                  <a:gd name="connsiteX94" fmla="*/ 28761 w 413859"/>
                  <a:gd name="connsiteY94" fmla="*/ 51199 h 548885"/>
                  <a:gd name="connsiteX95" fmla="*/ 33600 w 413859"/>
                  <a:gd name="connsiteY95" fmla="*/ 30844 h 548885"/>
                  <a:gd name="connsiteX96" fmla="*/ 36270 w 413859"/>
                  <a:gd name="connsiteY96" fmla="*/ 12658 h 548885"/>
                  <a:gd name="connsiteX97" fmla="*/ 46865 w 413859"/>
                  <a:gd name="connsiteY97" fmla="*/ 3816 h 548885"/>
                  <a:gd name="connsiteX98" fmla="*/ 53956 w 413859"/>
                  <a:gd name="connsiteY98" fmla="*/ 10489 h 548885"/>
                  <a:gd name="connsiteX99" fmla="*/ 64552 w 413859"/>
                  <a:gd name="connsiteY99" fmla="*/ 20667 h 548885"/>
                  <a:gd name="connsiteX100" fmla="*/ 89830 w 413859"/>
                  <a:gd name="connsiteY100" fmla="*/ 18414 h 548885"/>
                  <a:gd name="connsiteX101" fmla="*/ 100425 w 413859"/>
                  <a:gd name="connsiteY101" fmla="*/ 8654 h 548885"/>
                  <a:gd name="connsiteX102" fmla="*/ 104847 w 413859"/>
                  <a:gd name="connsiteY102" fmla="*/ 3315 h 548885"/>
                  <a:gd name="connsiteX103" fmla="*/ 107933 w 413859"/>
                  <a:gd name="connsiteY103" fmla="*/ 229 h 548885"/>
                  <a:gd name="connsiteX104" fmla="*/ 115025 w 413859"/>
                  <a:gd name="connsiteY104" fmla="*/ 1564 h 548885"/>
                  <a:gd name="connsiteX105" fmla="*/ 115942 w 413859"/>
                  <a:gd name="connsiteY105" fmla="*/ 1981 h 548885"/>
                  <a:gd name="connsiteX106" fmla="*/ 135881 w 413859"/>
                  <a:gd name="connsiteY106" fmla="*/ 15244 h 548885"/>
                  <a:gd name="connsiteX107" fmla="*/ 144725 w 413859"/>
                  <a:gd name="connsiteY107" fmla="*/ 24087 h 548885"/>
                  <a:gd name="connsiteX108" fmla="*/ 146059 w 413859"/>
                  <a:gd name="connsiteY108" fmla="*/ 25422 h 548885"/>
                  <a:gd name="connsiteX109" fmla="*/ 151399 w 413859"/>
                  <a:gd name="connsiteY109" fmla="*/ 32096 h 548885"/>
                  <a:gd name="connsiteX110" fmla="*/ 168251 w 413859"/>
                  <a:gd name="connsiteY110" fmla="*/ 50281 h 548885"/>
                  <a:gd name="connsiteX111" fmla="*/ 196199 w 413859"/>
                  <a:gd name="connsiteY111" fmla="*/ 55620 h 548885"/>
                  <a:gd name="connsiteX112" fmla="*/ 198869 w 413859"/>
                  <a:gd name="connsiteY112" fmla="*/ 54285 h 548885"/>
                  <a:gd name="connsiteX113" fmla="*/ 201121 w 413859"/>
                  <a:gd name="connsiteY113" fmla="*/ 53368 h 548885"/>
                  <a:gd name="connsiteX114" fmla="*/ 205543 w 413859"/>
                  <a:gd name="connsiteY114" fmla="*/ 58707 h 548885"/>
                  <a:gd name="connsiteX115" fmla="*/ 206461 w 413859"/>
                  <a:gd name="connsiteY115" fmla="*/ 62210 h 548885"/>
                  <a:gd name="connsiteX116" fmla="*/ 213552 w 413859"/>
                  <a:gd name="connsiteY116" fmla="*/ 76809 h 548885"/>
                  <a:gd name="connsiteX117" fmla="*/ 235660 w 413859"/>
                  <a:gd name="connsiteY117" fmla="*/ 83899 h 548885"/>
                  <a:gd name="connsiteX118" fmla="*/ 268447 w 413859"/>
                  <a:gd name="connsiteY118" fmla="*/ 84817 h 548885"/>
                  <a:gd name="connsiteX119" fmla="*/ 277790 w 413859"/>
                  <a:gd name="connsiteY119" fmla="*/ 86152 h 548885"/>
                  <a:gd name="connsiteX120" fmla="*/ 287551 w 413859"/>
                  <a:gd name="connsiteY120" fmla="*/ 99916 h 548885"/>
                  <a:gd name="connsiteX121" fmla="*/ 291055 w 413859"/>
                  <a:gd name="connsiteY121" fmla="*/ 109677 h 548885"/>
                  <a:gd name="connsiteX122" fmla="*/ 296395 w 413859"/>
                  <a:gd name="connsiteY122" fmla="*/ 123858 h 548885"/>
                  <a:gd name="connsiteX123" fmla="*/ 297730 w 413859"/>
                  <a:gd name="connsiteY123" fmla="*/ 127862 h 548885"/>
                  <a:gd name="connsiteX124" fmla="*/ 298147 w 413859"/>
                  <a:gd name="connsiteY124" fmla="*/ 130115 h 548885"/>
                  <a:gd name="connsiteX125" fmla="*/ 302985 w 413859"/>
                  <a:gd name="connsiteY125" fmla="*/ 142961 h 548885"/>
                  <a:gd name="connsiteX126" fmla="*/ 310494 w 413859"/>
                  <a:gd name="connsiteY126" fmla="*/ 152721 h 548885"/>
                  <a:gd name="connsiteX127" fmla="*/ 329515 w 413859"/>
                  <a:gd name="connsiteY127" fmla="*/ 173993 h 548885"/>
                  <a:gd name="connsiteX128" fmla="*/ 334854 w 413859"/>
                  <a:gd name="connsiteY128" fmla="*/ 182002 h 548885"/>
                  <a:gd name="connsiteX129" fmla="*/ 335772 w 413859"/>
                  <a:gd name="connsiteY129" fmla="*/ 195766 h 548885"/>
                  <a:gd name="connsiteX130" fmla="*/ 338108 w 413859"/>
                  <a:gd name="connsiteY130" fmla="*/ 223796 h 54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413859" h="548885" extrusionOk="0">
                    <a:moveTo>
                      <a:pt x="338108" y="223796"/>
                    </a:moveTo>
                    <a:cubicBezTo>
                      <a:pt x="337691" y="235725"/>
                      <a:pt x="336773" y="250407"/>
                      <a:pt x="343447" y="263253"/>
                    </a:cubicBezTo>
                    <a:cubicBezTo>
                      <a:pt x="344365" y="264588"/>
                      <a:pt x="344782" y="266340"/>
                      <a:pt x="346117" y="267675"/>
                    </a:cubicBezTo>
                    <a:cubicBezTo>
                      <a:pt x="347452" y="269927"/>
                      <a:pt x="348787" y="272096"/>
                      <a:pt x="349621" y="275683"/>
                    </a:cubicBezTo>
                    <a:cubicBezTo>
                      <a:pt x="350038" y="277018"/>
                      <a:pt x="350539" y="279187"/>
                      <a:pt x="351874" y="281022"/>
                    </a:cubicBezTo>
                    <a:cubicBezTo>
                      <a:pt x="353208" y="284109"/>
                      <a:pt x="355878" y="285860"/>
                      <a:pt x="358047" y="288113"/>
                    </a:cubicBezTo>
                    <a:cubicBezTo>
                      <a:pt x="371813" y="300042"/>
                      <a:pt x="381991" y="315558"/>
                      <a:pt x="387247" y="332826"/>
                    </a:cubicBezTo>
                    <a:cubicBezTo>
                      <a:pt x="390750" y="343421"/>
                      <a:pt x="396590" y="359438"/>
                      <a:pt x="404099" y="373619"/>
                    </a:cubicBezTo>
                    <a:lnTo>
                      <a:pt x="406351" y="377122"/>
                    </a:lnTo>
                    <a:cubicBezTo>
                      <a:pt x="409438" y="382462"/>
                      <a:pt x="412108" y="387300"/>
                      <a:pt x="413025" y="392639"/>
                    </a:cubicBezTo>
                    <a:cubicBezTo>
                      <a:pt x="413443" y="395725"/>
                      <a:pt x="413443" y="399312"/>
                      <a:pt x="413443" y="402816"/>
                    </a:cubicBezTo>
                    <a:lnTo>
                      <a:pt x="413860" y="432013"/>
                    </a:lnTo>
                    <a:cubicBezTo>
                      <a:pt x="410356" y="432931"/>
                      <a:pt x="406768" y="434265"/>
                      <a:pt x="402764" y="436852"/>
                    </a:cubicBezTo>
                    <a:cubicBezTo>
                      <a:pt x="399260" y="439104"/>
                      <a:pt x="396090" y="441690"/>
                      <a:pt x="393420" y="443942"/>
                    </a:cubicBezTo>
                    <a:cubicBezTo>
                      <a:pt x="390333" y="446612"/>
                      <a:pt x="388081" y="448364"/>
                      <a:pt x="384577" y="450115"/>
                    </a:cubicBezTo>
                    <a:cubicBezTo>
                      <a:pt x="378403" y="452785"/>
                      <a:pt x="368642" y="455455"/>
                      <a:pt x="363303" y="454537"/>
                    </a:cubicBezTo>
                    <a:cubicBezTo>
                      <a:pt x="361051" y="454120"/>
                      <a:pt x="358881" y="452785"/>
                      <a:pt x="356212" y="451450"/>
                    </a:cubicBezTo>
                    <a:cubicBezTo>
                      <a:pt x="350455" y="448364"/>
                      <a:pt x="342446" y="444359"/>
                      <a:pt x="334104" y="447947"/>
                    </a:cubicBezTo>
                    <a:cubicBezTo>
                      <a:pt x="326095" y="451033"/>
                      <a:pt x="318169" y="458541"/>
                      <a:pt x="323008" y="477144"/>
                    </a:cubicBezTo>
                    <a:cubicBezTo>
                      <a:pt x="323926" y="480230"/>
                      <a:pt x="325260" y="483317"/>
                      <a:pt x="326512" y="485569"/>
                    </a:cubicBezTo>
                    <a:cubicBezTo>
                      <a:pt x="328764" y="489574"/>
                      <a:pt x="328764" y="489574"/>
                      <a:pt x="326512" y="491743"/>
                    </a:cubicBezTo>
                    <a:cubicBezTo>
                      <a:pt x="324259" y="494412"/>
                      <a:pt x="323842" y="494412"/>
                      <a:pt x="319003" y="491325"/>
                    </a:cubicBezTo>
                    <a:cubicBezTo>
                      <a:pt x="315917" y="489574"/>
                      <a:pt x="312329" y="487321"/>
                      <a:pt x="307490" y="486904"/>
                    </a:cubicBezTo>
                    <a:cubicBezTo>
                      <a:pt x="299982" y="485986"/>
                      <a:pt x="293308" y="488239"/>
                      <a:pt x="289303" y="492660"/>
                    </a:cubicBezTo>
                    <a:cubicBezTo>
                      <a:pt x="286634" y="495329"/>
                      <a:pt x="283964" y="500168"/>
                      <a:pt x="284882" y="508176"/>
                    </a:cubicBezTo>
                    <a:cubicBezTo>
                      <a:pt x="287134" y="519271"/>
                      <a:pt x="295978" y="522358"/>
                      <a:pt x="301734" y="524110"/>
                    </a:cubicBezTo>
                    <a:cubicBezTo>
                      <a:pt x="304404" y="525027"/>
                      <a:pt x="307073" y="525861"/>
                      <a:pt x="308408" y="527196"/>
                    </a:cubicBezTo>
                    <a:cubicBezTo>
                      <a:pt x="310661" y="530283"/>
                      <a:pt x="310661" y="532535"/>
                      <a:pt x="307073" y="540460"/>
                    </a:cubicBezTo>
                    <a:cubicBezTo>
                      <a:pt x="306156" y="542712"/>
                      <a:pt x="305321" y="545298"/>
                      <a:pt x="304404" y="547551"/>
                    </a:cubicBezTo>
                    <a:cubicBezTo>
                      <a:pt x="304404" y="547968"/>
                      <a:pt x="303987" y="548468"/>
                      <a:pt x="303987" y="548886"/>
                    </a:cubicBezTo>
                    <a:cubicBezTo>
                      <a:pt x="300483" y="547968"/>
                      <a:pt x="295978" y="547968"/>
                      <a:pt x="290722" y="547968"/>
                    </a:cubicBezTo>
                    <a:cubicBezTo>
                      <a:pt x="282713" y="548385"/>
                      <a:pt x="280961" y="547050"/>
                      <a:pt x="276539" y="543129"/>
                    </a:cubicBezTo>
                    <a:cubicBezTo>
                      <a:pt x="273869" y="540877"/>
                      <a:pt x="270783" y="538291"/>
                      <a:pt x="265944" y="535121"/>
                    </a:cubicBezTo>
                    <a:cubicBezTo>
                      <a:pt x="252178" y="526696"/>
                      <a:pt x="241166" y="532869"/>
                      <a:pt x="232239" y="537790"/>
                    </a:cubicBezTo>
                    <a:cubicBezTo>
                      <a:pt x="227818" y="540460"/>
                      <a:pt x="223813" y="542629"/>
                      <a:pt x="219392" y="543546"/>
                    </a:cubicBezTo>
                    <a:cubicBezTo>
                      <a:pt x="218057" y="543963"/>
                      <a:pt x="216305" y="544464"/>
                      <a:pt x="214970" y="544464"/>
                    </a:cubicBezTo>
                    <a:cubicBezTo>
                      <a:pt x="214970" y="537790"/>
                      <a:pt x="214970" y="531617"/>
                      <a:pt x="214553" y="524944"/>
                    </a:cubicBezTo>
                    <a:cubicBezTo>
                      <a:pt x="214136" y="521440"/>
                      <a:pt x="214136" y="516935"/>
                      <a:pt x="211466" y="513015"/>
                    </a:cubicBezTo>
                    <a:cubicBezTo>
                      <a:pt x="209214" y="509928"/>
                      <a:pt x="206127" y="507676"/>
                      <a:pt x="203457" y="506341"/>
                    </a:cubicBezTo>
                    <a:lnTo>
                      <a:pt x="183101" y="493494"/>
                    </a:lnTo>
                    <a:cubicBezTo>
                      <a:pt x="182183" y="493077"/>
                      <a:pt x="181349" y="492577"/>
                      <a:pt x="180431" y="491743"/>
                    </a:cubicBezTo>
                    <a:cubicBezTo>
                      <a:pt x="188440" y="484652"/>
                      <a:pt x="192862" y="473557"/>
                      <a:pt x="186605" y="464714"/>
                    </a:cubicBezTo>
                    <a:cubicBezTo>
                      <a:pt x="183935" y="461211"/>
                      <a:pt x="180431" y="458958"/>
                      <a:pt x="177261" y="457623"/>
                    </a:cubicBezTo>
                    <a:lnTo>
                      <a:pt x="175509" y="456706"/>
                    </a:lnTo>
                    <a:cubicBezTo>
                      <a:pt x="172005" y="454954"/>
                      <a:pt x="169336" y="452284"/>
                      <a:pt x="167083" y="449198"/>
                    </a:cubicBezTo>
                    <a:cubicBezTo>
                      <a:pt x="166666" y="448280"/>
                      <a:pt x="166165" y="446946"/>
                      <a:pt x="165331" y="446111"/>
                    </a:cubicBezTo>
                    <a:cubicBezTo>
                      <a:pt x="163079" y="442107"/>
                      <a:pt x="160492" y="436768"/>
                      <a:pt x="154736" y="434182"/>
                    </a:cubicBezTo>
                    <a:cubicBezTo>
                      <a:pt x="146727" y="430679"/>
                      <a:pt x="139219" y="433265"/>
                      <a:pt x="133462" y="435934"/>
                    </a:cubicBezTo>
                    <a:cubicBezTo>
                      <a:pt x="129958" y="437269"/>
                      <a:pt x="126788" y="439021"/>
                      <a:pt x="123701" y="438603"/>
                    </a:cubicBezTo>
                    <a:cubicBezTo>
                      <a:pt x="120614" y="438186"/>
                      <a:pt x="117528" y="435100"/>
                      <a:pt x="113940" y="430595"/>
                    </a:cubicBezTo>
                    <a:cubicBezTo>
                      <a:pt x="110353" y="426090"/>
                      <a:pt x="105931" y="421752"/>
                      <a:pt x="100175" y="419083"/>
                    </a:cubicBezTo>
                    <a:cubicBezTo>
                      <a:pt x="97922" y="418165"/>
                      <a:pt x="95336" y="417748"/>
                      <a:pt x="93084" y="416831"/>
                    </a:cubicBezTo>
                    <a:cubicBezTo>
                      <a:pt x="90414" y="416414"/>
                      <a:pt x="88245" y="415913"/>
                      <a:pt x="86910" y="414579"/>
                    </a:cubicBezTo>
                    <a:cubicBezTo>
                      <a:pt x="85575" y="413244"/>
                      <a:pt x="85158" y="410157"/>
                      <a:pt x="84657" y="406570"/>
                    </a:cubicBezTo>
                    <a:cubicBezTo>
                      <a:pt x="83740" y="401231"/>
                      <a:pt x="83323" y="394141"/>
                      <a:pt x="77983" y="389302"/>
                    </a:cubicBezTo>
                    <a:cubicBezTo>
                      <a:pt x="75314" y="387050"/>
                      <a:pt x="72644" y="385798"/>
                      <a:pt x="69557" y="384881"/>
                    </a:cubicBezTo>
                    <a:cubicBezTo>
                      <a:pt x="57127" y="380042"/>
                      <a:pt x="43445" y="376038"/>
                      <a:pt x="28761" y="374703"/>
                    </a:cubicBezTo>
                    <a:cubicBezTo>
                      <a:pt x="28761" y="372951"/>
                      <a:pt x="29179" y="371200"/>
                      <a:pt x="29179" y="369364"/>
                    </a:cubicBezTo>
                    <a:lnTo>
                      <a:pt x="30513" y="359187"/>
                    </a:lnTo>
                    <a:cubicBezTo>
                      <a:pt x="32265" y="345423"/>
                      <a:pt x="28261" y="340584"/>
                      <a:pt x="22504" y="333911"/>
                    </a:cubicBezTo>
                    <a:cubicBezTo>
                      <a:pt x="20752" y="331658"/>
                      <a:pt x="19000" y="329907"/>
                      <a:pt x="16748" y="326820"/>
                    </a:cubicBezTo>
                    <a:cubicBezTo>
                      <a:pt x="14495" y="323733"/>
                      <a:pt x="13661" y="320146"/>
                      <a:pt x="14495" y="316643"/>
                    </a:cubicBezTo>
                    <a:cubicBezTo>
                      <a:pt x="14913" y="314390"/>
                      <a:pt x="16247" y="312221"/>
                      <a:pt x="19334" y="310470"/>
                    </a:cubicBezTo>
                    <a:cubicBezTo>
                      <a:pt x="21587" y="309135"/>
                      <a:pt x="24673" y="309552"/>
                      <a:pt x="27760" y="310052"/>
                    </a:cubicBezTo>
                    <a:cubicBezTo>
                      <a:pt x="33100" y="310970"/>
                      <a:pt x="45447" y="312722"/>
                      <a:pt x="47699" y="297623"/>
                    </a:cubicBezTo>
                    <a:cubicBezTo>
                      <a:pt x="48116" y="292284"/>
                      <a:pt x="45030" y="288280"/>
                      <a:pt x="42861" y="285694"/>
                    </a:cubicBezTo>
                    <a:cubicBezTo>
                      <a:pt x="42443" y="284776"/>
                      <a:pt x="41943" y="284359"/>
                      <a:pt x="41526" y="284359"/>
                    </a:cubicBezTo>
                    <a:cubicBezTo>
                      <a:pt x="41109" y="282607"/>
                      <a:pt x="41109" y="280355"/>
                      <a:pt x="41109" y="278186"/>
                    </a:cubicBezTo>
                    <a:cubicBezTo>
                      <a:pt x="40691" y="274682"/>
                      <a:pt x="40691" y="270678"/>
                      <a:pt x="38856" y="267091"/>
                    </a:cubicBezTo>
                    <a:cubicBezTo>
                      <a:pt x="36186" y="260000"/>
                      <a:pt x="30847" y="255996"/>
                      <a:pt x="26425" y="252492"/>
                    </a:cubicBezTo>
                    <a:cubicBezTo>
                      <a:pt x="22922" y="249406"/>
                      <a:pt x="19751" y="246736"/>
                      <a:pt x="17999" y="242732"/>
                    </a:cubicBezTo>
                    <a:cubicBezTo>
                      <a:pt x="17582" y="240480"/>
                      <a:pt x="17582" y="237894"/>
                      <a:pt x="17582" y="234307"/>
                    </a:cubicBezTo>
                    <a:cubicBezTo>
                      <a:pt x="17999" y="228551"/>
                      <a:pt x="18500" y="220125"/>
                      <a:pt x="11409" y="213452"/>
                    </a:cubicBezTo>
                    <a:cubicBezTo>
                      <a:pt x="8739" y="210782"/>
                      <a:pt x="5652" y="209030"/>
                      <a:pt x="2065" y="208113"/>
                    </a:cubicBezTo>
                    <a:cubicBezTo>
                      <a:pt x="1648" y="207696"/>
                      <a:pt x="1648" y="206778"/>
                      <a:pt x="1648" y="206361"/>
                    </a:cubicBezTo>
                    <a:cubicBezTo>
                      <a:pt x="1231" y="203691"/>
                      <a:pt x="730" y="201522"/>
                      <a:pt x="313" y="199270"/>
                    </a:cubicBezTo>
                    <a:cubicBezTo>
                      <a:pt x="-104" y="195266"/>
                      <a:pt x="-104" y="191262"/>
                      <a:pt x="313" y="186841"/>
                    </a:cubicBezTo>
                    <a:cubicBezTo>
                      <a:pt x="730" y="182836"/>
                      <a:pt x="1231" y="178832"/>
                      <a:pt x="2565" y="175745"/>
                    </a:cubicBezTo>
                    <a:cubicBezTo>
                      <a:pt x="4818" y="171324"/>
                      <a:pt x="8739" y="168655"/>
                      <a:pt x="12326" y="167320"/>
                    </a:cubicBezTo>
                    <a:cubicBezTo>
                      <a:pt x="16331" y="165568"/>
                      <a:pt x="20752" y="164234"/>
                      <a:pt x="25174" y="162899"/>
                    </a:cubicBezTo>
                    <a:lnTo>
                      <a:pt x="27844" y="161981"/>
                    </a:lnTo>
                    <a:cubicBezTo>
                      <a:pt x="31848" y="160646"/>
                      <a:pt x="36687" y="159312"/>
                      <a:pt x="40691" y="156225"/>
                    </a:cubicBezTo>
                    <a:cubicBezTo>
                      <a:pt x="46031" y="151804"/>
                      <a:pt x="49118" y="145630"/>
                      <a:pt x="47783" y="139374"/>
                    </a:cubicBezTo>
                    <a:cubicBezTo>
                      <a:pt x="46865" y="135370"/>
                      <a:pt x="44696" y="132283"/>
                      <a:pt x="42944" y="129614"/>
                    </a:cubicBezTo>
                    <a:lnTo>
                      <a:pt x="40274" y="126527"/>
                    </a:lnTo>
                    <a:cubicBezTo>
                      <a:pt x="38522" y="124275"/>
                      <a:pt x="36770" y="122106"/>
                      <a:pt x="35436" y="119854"/>
                    </a:cubicBezTo>
                    <a:cubicBezTo>
                      <a:pt x="34101" y="117184"/>
                      <a:pt x="33183" y="114515"/>
                      <a:pt x="34101" y="112763"/>
                    </a:cubicBezTo>
                    <a:cubicBezTo>
                      <a:pt x="34518" y="111428"/>
                      <a:pt x="35853" y="110094"/>
                      <a:pt x="37188" y="108759"/>
                    </a:cubicBezTo>
                    <a:cubicBezTo>
                      <a:pt x="38522" y="107424"/>
                      <a:pt x="40274" y="105672"/>
                      <a:pt x="41609" y="103003"/>
                    </a:cubicBezTo>
                    <a:cubicBezTo>
                      <a:pt x="46448" y="95495"/>
                      <a:pt x="45113" y="84817"/>
                      <a:pt x="38939" y="78644"/>
                    </a:cubicBezTo>
                    <a:cubicBezTo>
                      <a:pt x="35853" y="75557"/>
                      <a:pt x="32265" y="73806"/>
                      <a:pt x="29179" y="71970"/>
                    </a:cubicBezTo>
                    <a:cubicBezTo>
                      <a:pt x="26926" y="71053"/>
                      <a:pt x="24757" y="69718"/>
                      <a:pt x="23422" y="68467"/>
                    </a:cubicBezTo>
                    <a:cubicBezTo>
                      <a:pt x="21670" y="66715"/>
                      <a:pt x="20752" y="63628"/>
                      <a:pt x="21670" y="61376"/>
                    </a:cubicBezTo>
                    <a:cubicBezTo>
                      <a:pt x="22087" y="59124"/>
                      <a:pt x="24340" y="56538"/>
                      <a:pt x="26509" y="54285"/>
                    </a:cubicBezTo>
                    <a:lnTo>
                      <a:pt x="28761" y="51199"/>
                    </a:lnTo>
                    <a:cubicBezTo>
                      <a:pt x="35436" y="42356"/>
                      <a:pt x="35436" y="35265"/>
                      <a:pt x="33600" y="30844"/>
                    </a:cubicBezTo>
                    <a:cubicBezTo>
                      <a:pt x="32265" y="26006"/>
                      <a:pt x="32682" y="20250"/>
                      <a:pt x="36270" y="12658"/>
                    </a:cubicBezTo>
                    <a:cubicBezTo>
                      <a:pt x="38522" y="7319"/>
                      <a:pt x="43361" y="2898"/>
                      <a:pt x="46865" y="3816"/>
                    </a:cubicBezTo>
                    <a:cubicBezTo>
                      <a:pt x="49535" y="4233"/>
                      <a:pt x="51704" y="6902"/>
                      <a:pt x="53956" y="10489"/>
                    </a:cubicBezTo>
                    <a:cubicBezTo>
                      <a:pt x="56626" y="13993"/>
                      <a:pt x="60130" y="17997"/>
                      <a:pt x="64552" y="20667"/>
                    </a:cubicBezTo>
                    <a:cubicBezTo>
                      <a:pt x="71643" y="24171"/>
                      <a:pt x="81821" y="23753"/>
                      <a:pt x="89830" y="18414"/>
                    </a:cubicBezTo>
                    <a:cubicBezTo>
                      <a:pt x="94251" y="15745"/>
                      <a:pt x="97338" y="12658"/>
                      <a:pt x="100425" y="8654"/>
                    </a:cubicBezTo>
                    <a:cubicBezTo>
                      <a:pt x="101760" y="6902"/>
                      <a:pt x="103512" y="5150"/>
                      <a:pt x="104847" y="3315"/>
                    </a:cubicBezTo>
                    <a:cubicBezTo>
                      <a:pt x="105764" y="1981"/>
                      <a:pt x="107099" y="646"/>
                      <a:pt x="107933" y="229"/>
                    </a:cubicBezTo>
                    <a:cubicBezTo>
                      <a:pt x="108851" y="-188"/>
                      <a:pt x="110603" y="-188"/>
                      <a:pt x="115025" y="1564"/>
                    </a:cubicBezTo>
                    <a:cubicBezTo>
                      <a:pt x="115442" y="1981"/>
                      <a:pt x="115442" y="1981"/>
                      <a:pt x="115942" y="1981"/>
                    </a:cubicBezTo>
                    <a:cubicBezTo>
                      <a:pt x="123451" y="5484"/>
                      <a:pt x="130125" y="9989"/>
                      <a:pt x="135881" y="15244"/>
                    </a:cubicBezTo>
                    <a:cubicBezTo>
                      <a:pt x="138968" y="17914"/>
                      <a:pt x="142055" y="20583"/>
                      <a:pt x="144725" y="24087"/>
                    </a:cubicBezTo>
                    <a:cubicBezTo>
                      <a:pt x="145142" y="24504"/>
                      <a:pt x="145642" y="25005"/>
                      <a:pt x="146059" y="25422"/>
                    </a:cubicBezTo>
                    <a:cubicBezTo>
                      <a:pt x="147812" y="27674"/>
                      <a:pt x="149563" y="29843"/>
                      <a:pt x="151399" y="32096"/>
                    </a:cubicBezTo>
                    <a:cubicBezTo>
                      <a:pt x="156238" y="38769"/>
                      <a:pt x="161577" y="44942"/>
                      <a:pt x="168251" y="50281"/>
                    </a:cubicBezTo>
                    <a:cubicBezTo>
                      <a:pt x="177595" y="57372"/>
                      <a:pt x="188190" y="59124"/>
                      <a:pt x="196199" y="55620"/>
                    </a:cubicBezTo>
                    <a:cubicBezTo>
                      <a:pt x="197117" y="55203"/>
                      <a:pt x="198452" y="54702"/>
                      <a:pt x="198869" y="54285"/>
                    </a:cubicBezTo>
                    <a:cubicBezTo>
                      <a:pt x="199786" y="53868"/>
                      <a:pt x="200621" y="53368"/>
                      <a:pt x="201121" y="53368"/>
                    </a:cubicBezTo>
                    <a:cubicBezTo>
                      <a:pt x="202039" y="53785"/>
                      <a:pt x="204208" y="55119"/>
                      <a:pt x="205543" y="58707"/>
                    </a:cubicBezTo>
                    <a:cubicBezTo>
                      <a:pt x="205960" y="60041"/>
                      <a:pt x="206461" y="61376"/>
                      <a:pt x="206461" y="62210"/>
                    </a:cubicBezTo>
                    <a:cubicBezTo>
                      <a:pt x="207795" y="67049"/>
                      <a:pt x="209130" y="72387"/>
                      <a:pt x="213552" y="76809"/>
                    </a:cubicBezTo>
                    <a:cubicBezTo>
                      <a:pt x="220226" y="83482"/>
                      <a:pt x="229903" y="83482"/>
                      <a:pt x="235660" y="83899"/>
                    </a:cubicBezTo>
                    <a:lnTo>
                      <a:pt x="268447" y="84817"/>
                    </a:lnTo>
                    <a:cubicBezTo>
                      <a:pt x="271533" y="84817"/>
                      <a:pt x="275121" y="84817"/>
                      <a:pt x="277790" y="86152"/>
                    </a:cubicBezTo>
                    <a:cubicBezTo>
                      <a:pt x="282212" y="87904"/>
                      <a:pt x="284882" y="93660"/>
                      <a:pt x="287551" y="99916"/>
                    </a:cubicBezTo>
                    <a:cubicBezTo>
                      <a:pt x="288886" y="103003"/>
                      <a:pt x="290221" y="106590"/>
                      <a:pt x="291055" y="109677"/>
                    </a:cubicBezTo>
                    <a:cubicBezTo>
                      <a:pt x="293308" y="114098"/>
                      <a:pt x="295060" y="119019"/>
                      <a:pt x="296395" y="123858"/>
                    </a:cubicBezTo>
                    <a:cubicBezTo>
                      <a:pt x="297312" y="125192"/>
                      <a:pt x="297312" y="126527"/>
                      <a:pt x="297730" y="127862"/>
                    </a:cubicBezTo>
                    <a:lnTo>
                      <a:pt x="298147" y="130115"/>
                    </a:lnTo>
                    <a:cubicBezTo>
                      <a:pt x="299481" y="134536"/>
                      <a:pt x="300816" y="138957"/>
                      <a:pt x="302985" y="142961"/>
                    </a:cubicBezTo>
                    <a:cubicBezTo>
                      <a:pt x="305238" y="146965"/>
                      <a:pt x="307824" y="150052"/>
                      <a:pt x="310494" y="152721"/>
                    </a:cubicBezTo>
                    <a:lnTo>
                      <a:pt x="329515" y="173993"/>
                    </a:lnTo>
                    <a:cubicBezTo>
                      <a:pt x="332185" y="177080"/>
                      <a:pt x="334354" y="179333"/>
                      <a:pt x="334854" y="182002"/>
                    </a:cubicBezTo>
                    <a:cubicBezTo>
                      <a:pt x="335772" y="186423"/>
                      <a:pt x="335772" y="190845"/>
                      <a:pt x="335772" y="195766"/>
                    </a:cubicBezTo>
                    <a:lnTo>
                      <a:pt x="338108" y="223796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19938077" name="Полилиния 351"/>
              <p:cNvSpPr/>
              <p:nvPr/>
            </p:nvSpPr>
            <p:spPr bwMode="auto">
              <a:xfrm>
                <a:off x="1396602" y="3884116"/>
                <a:ext cx="328774" cy="308815"/>
              </a:xfrm>
              <a:custGeom>
                <a:avLst/>
                <a:gdLst>
                  <a:gd name="connsiteX0" fmla="*/ 4839 w 369225"/>
                  <a:gd name="connsiteY0" fmla="*/ 145934 h 346810"/>
                  <a:gd name="connsiteX1" fmla="*/ 0 w 369225"/>
                  <a:gd name="connsiteY1" fmla="*/ 133087 h 346810"/>
                  <a:gd name="connsiteX2" fmla="*/ 54061 w 369225"/>
                  <a:gd name="connsiteY2" fmla="*/ 71940 h 346810"/>
                  <a:gd name="connsiteX3" fmla="*/ 68660 w 369225"/>
                  <a:gd name="connsiteY3" fmla="*/ 41408 h 346810"/>
                  <a:gd name="connsiteX4" fmla="*/ 89517 w 369225"/>
                  <a:gd name="connsiteY4" fmla="*/ 5538 h 346810"/>
                  <a:gd name="connsiteX5" fmla="*/ 108121 w 369225"/>
                  <a:gd name="connsiteY5" fmla="*/ 699 h 346810"/>
                  <a:gd name="connsiteX6" fmla="*/ 122721 w 369225"/>
                  <a:gd name="connsiteY6" fmla="*/ 16215 h 346810"/>
                  <a:gd name="connsiteX7" fmla="*/ 125391 w 369225"/>
                  <a:gd name="connsiteY7" fmla="*/ 32149 h 346810"/>
                  <a:gd name="connsiteX8" fmla="*/ 135151 w 369225"/>
                  <a:gd name="connsiteY8" fmla="*/ 62681 h 346810"/>
                  <a:gd name="connsiteX9" fmla="*/ 164851 w 369225"/>
                  <a:gd name="connsiteY9" fmla="*/ 72441 h 346810"/>
                  <a:gd name="connsiteX10" fmla="*/ 196303 w 369225"/>
                  <a:gd name="connsiteY10" fmla="*/ 73358 h 346810"/>
                  <a:gd name="connsiteX11" fmla="*/ 221582 w 369225"/>
                  <a:gd name="connsiteY11" fmla="*/ 67185 h 346810"/>
                  <a:gd name="connsiteX12" fmla="*/ 234847 w 369225"/>
                  <a:gd name="connsiteY12" fmla="*/ 68103 h 346810"/>
                  <a:gd name="connsiteX13" fmla="*/ 249947 w 369225"/>
                  <a:gd name="connsiteY13" fmla="*/ 67185 h 346810"/>
                  <a:gd name="connsiteX14" fmla="*/ 264546 w 369225"/>
                  <a:gd name="connsiteY14" fmla="*/ 65850 h 346810"/>
                  <a:gd name="connsiteX15" fmla="*/ 326533 w 369225"/>
                  <a:gd name="connsiteY15" fmla="*/ 55673 h 346810"/>
                  <a:gd name="connsiteX16" fmla="*/ 346055 w 369225"/>
                  <a:gd name="connsiteY16" fmla="*/ 51252 h 346810"/>
                  <a:gd name="connsiteX17" fmla="*/ 349141 w 369225"/>
                  <a:gd name="connsiteY17" fmla="*/ 50835 h 346810"/>
                  <a:gd name="connsiteX18" fmla="*/ 350476 w 369225"/>
                  <a:gd name="connsiteY18" fmla="*/ 66768 h 346810"/>
                  <a:gd name="connsiteX19" fmla="*/ 358485 w 369225"/>
                  <a:gd name="connsiteY19" fmla="*/ 109730 h 346810"/>
                  <a:gd name="connsiteX20" fmla="*/ 362907 w 369225"/>
                  <a:gd name="connsiteY20" fmla="*/ 119073 h 346810"/>
                  <a:gd name="connsiteX21" fmla="*/ 369080 w 369225"/>
                  <a:gd name="connsiteY21" fmla="*/ 140762 h 346810"/>
                  <a:gd name="connsiteX22" fmla="*/ 360654 w 369225"/>
                  <a:gd name="connsiteY22" fmla="*/ 156278 h 346810"/>
                  <a:gd name="connsiteX23" fmla="*/ 353563 w 369225"/>
                  <a:gd name="connsiteY23" fmla="*/ 166039 h 346810"/>
                  <a:gd name="connsiteX24" fmla="*/ 346889 w 369225"/>
                  <a:gd name="connsiteY24" fmla="*/ 205496 h 346810"/>
                  <a:gd name="connsiteX25" fmla="*/ 352228 w 369225"/>
                  <a:gd name="connsiteY25" fmla="*/ 217426 h 346810"/>
                  <a:gd name="connsiteX26" fmla="*/ 357067 w 369225"/>
                  <a:gd name="connsiteY26" fmla="*/ 229355 h 346810"/>
                  <a:gd name="connsiteX27" fmla="*/ 357067 w 369225"/>
                  <a:gd name="connsiteY27" fmla="*/ 229772 h 346810"/>
                  <a:gd name="connsiteX28" fmla="*/ 357484 w 369225"/>
                  <a:gd name="connsiteY28" fmla="*/ 232441 h 346810"/>
                  <a:gd name="connsiteX29" fmla="*/ 353980 w 369225"/>
                  <a:gd name="connsiteY29" fmla="*/ 240867 h 346810"/>
                  <a:gd name="connsiteX30" fmla="*/ 352228 w 369225"/>
                  <a:gd name="connsiteY30" fmla="*/ 244370 h 346810"/>
                  <a:gd name="connsiteX31" fmla="*/ 349141 w 369225"/>
                  <a:gd name="connsiteY31" fmla="*/ 251461 h 346810"/>
                  <a:gd name="connsiteX32" fmla="*/ 348224 w 369225"/>
                  <a:gd name="connsiteY32" fmla="*/ 261639 h 346810"/>
                  <a:gd name="connsiteX33" fmla="*/ 347807 w 369225"/>
                  <a:gd name="connsiteY33" fmla="*/ 266477 h 346810"/>
                  <a:gd name="connsiteX34" fmla="*/ 345137 w 369225"/>
                  <a:gd name="connsiteY34" fmla="*/ 272650 h 346810"/>
                  <a:gd name="connsiteX35" fmla="*/ 335793 w 369225"/>
                  <a:gd name="connsiteY35" fmla="*/ 270398 h 346810"/>
                  <a:gd name="connsiteX36" fmla="*/ 332706 w 369225"/>
                  <a:gd name="connsiteY36" fmla="*/ 269063 h 346810"/>
                  <a:gd name="connsiteX37" fmla="*/ 303006 w 369225"/>
                  <a:gd name="connsiteY37" fmla="*/ 268145 h 346810"/>
                  <a:gd name="connsiteX38" fmla="*/ 295915 w 369225"/>
                  <a:gd name="connsiteY38" fmla="*/ 272567 h 346810"/>
                  <a:gd name="connsiteX39" fmla="*/ 291911 w 369225"/>
                  <a:gd name="connsiteY39" fmla="*/ 280575 h 346810"/>
                  <a:gd name="connsiteX40" fmla="*/ 290576 w 369225"/>
                  <a:gd name="connsiteY40" fmla="*/ 289000 h 346810"/>
                  <a:gd name="connsiteX41" fmla="*/ 286154 w 369225"/>
                  <a:gd name="connsiteY41" fmla="*/ 304934 h 346810"/>
                  <a:gd name="connsiteX42" fmla="*/ 263128 w 369225"/>
                  <a:gd name="connsiteY42" fmla="*/ 316863 h 346810"/>
                  <a:gd name="connsiteX43" fmla="*/ 244524 w 369225"/>
                  <a:gd name="connsiteY43" fmla="*/ 326623 h 346810"/>
                  <a:gd name="connsiteX44" fmla="*/ 242272 w 369225"/>
                  <a:gd name="connsiteY44" fmla="*/ 331461 h 346810"/>
                  <a:gd name="connsiteX45" fmla="*/ 241854 w 369225"/>
                  <a:gd name="connsiteY45" fmla="*/ 333213 h 346810"/>
                  <a:gd name="connsiteX46" fmla="*/ 232093 w 369225"/>
                  <a:gd name="connsiteY46" fmla="*/ 336717 h 346810"/>
                  <a:gd name="connsiteX47" fmla="*/ 227672 w 369225"/>
                  <a:gd name="connsiteY47" fmla="*/ 335799 h 346810"/>
                  <a:gd name="connsiteX48" fmla="*/ 219663 w 369225"/>
                  <a:gd name="connsiteY48" fmla="*/ 333547 h 346810"/>
                  <a:gd name="connsiteX49" fmla="*/ 214824 w 369225"/>
                  <a:gd name="connsiteY49" fmla="*/ 332212 h 346810"/>
                  <a:gd name="connsiteX50" fmla="*/ 190881 w 369225"/>
                  <a:gd name="connsiteY50" fmla="*/ 331795 h 346810"/>
                  <a:gd name="connsiteX51" fmla="*/ 180703 w 369225"/>
                  <a:gd name="connsiteY51" fmla="*/ 338886 h 346810"/>
                  <a:gd name="connsiteX52" fmla="*/ 175864 w 369225"/>
                  <a:gd name="connsiteY52" fmla="*/ 342389 h 346810"/>
                  <a:gd name="connsiteX53" fmla="*/ 160346 w 369225"/>
                  <a:gd name="connsiteY53" fmla="*/ 346394 h 346810"/>
                  <a:gd name="connsiteX54" fmla="*/ 155007 w 369225"/>
                  <a:gd name="connsiteY54" fmla="*/ 346811 h 346810"/>
                  <a:gd name="connsiteX55" fmla="*/ 163433 w 369225"/>
                  <a:gd name="connsiteY55" fmla="*/ 318031 h 346810"/>
                  <a:gd name="connsiteX56" fmla="*/ 172276 w 369225"/>
                  <a:gd name="connsiteY56" fmla="*/ 290585 h 346810"/>
                  <a:gd name="connsiteX57" fmla="*/ 131981 w 369225"/>
                  <a:gd name="connsiteY57" fmla="*/ 219261 h 346810"/>
                  <a:gd name="connsiteX58" fmla="*/ 116464 w 369225"/>
                  <a:gd name="connsiteY58" fmla="*/ 209918 h 346810"/>
                  <a:gd name="connsiteX59" fmla="*/ 100946 w 369225"/>
                  <a:gd name="connsiteY59" fmla="*/ 200575 h 346810"/>
                  <a:gd name="connsiteX60" fmla="*/ 89851 w 369225"/>
                  <a:gd name="connsiteY60" fmla="*/ 187728 h 346810"/>
                  <a:gd name="connsiteX61" fmla="*/ 82342 w 369225"/>
                  <a:gd name="connsiteY61" fmla="*/ 177550 h 346810"/>
                  <a:gd name="connsiteX62" fmla="*/ 44717 w 369225"/>
                  <a:gd name="connsiteY62" fmla="*/ 169542 h 346810"/>
                  <a:gd name="connsiteX63" fmla="*/ 28782 w 369225"/>
                  <a:gd name="connsiteY63" fmla="*/ 173963 h 346810"/>
                  <a:gd name="connsiteX64" fmla="*/ 4839 w 369225"/>
                  <a:gd name="connsiteY64" fmla="*/ 145934 h 3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69225" h="346810" extrusionOk="0">
                    <a:moveTo>
                      <a:pt x="4839" y="145934"/>
                    </a:moveTo>
                    <a:cubicBezTo>
                      <a:pt x="3504" y="141513"/>
                      <a:pt x="1752" y="137091"/>
                      <a:pt x="0" y="133087"/>
                    </a:cubicBezTo>
                    <a:cubicBezTo>
                      <a:pt x="17269" y="116236"/>
                      <a:pt x="38126" y="94547"/>
                      <a:pt x="54061" y="71940"/>
                    </a:cubicBezTo>
                    <a:cubicBezTo>
                      <a:pt x="60735" y="62597"/>
                      <a:pt x="64656" y="52003"/>
                      <a:pt x="68660" y="41408"/>
                    </a:cubicBezTo>
                    <a:cubicBezTo>
                      <a:pt x="74000" y="27227"/>
                      <a:pt x="79255" y="13963"/>
                      <a:pt x="89517" y="5538"/>
                    </a:cubicBezTo>
                    <a:cubicBezTo>
                      <a:pt x="95691" y="699"/>
                      <a:pt x="101948" y="-1136"/>
                      <a:pt x="108121" y="699"/>
                    </a:cubicBezTo>
                    <a:cubicBezTo>
                      <a:pt x="114295" y="2534"/>
                      <a:pt x="119634" y="8207"/>
                      <a:pt x="122721" y="16215"/>
                    </a:cubicBezTo>
                    <a:cubicBezTo>
                      <a:pt x="124056" y="20637"/>
                      <a:pt x="124973" y="26393"/>
                      <a:pt x="125391" y="32149"/>
                    </a:cubicBezTo>
                    <a:cubicBezTo>
                      <a:pt x="126308" y="42326"/>
                      <a:pt x="127143" y="53838"/>
                      <a:pt x="135151" y="62681"/>
                    </a:cubicBezTo>
                    <a:cubicBezTo>
                      <a:pt x="143995" y="72858"/>
                      <a:pt x="155091" y="73275"/>
                      <a:pt x="164851" y="72441"/>
                    </a:cubicBezTo>
                    <a:cubicBezTo>
                      <a:pt x="178617" y="71106"/>
                      <a:pt x="183039" y="71106"/>
                      <a:pt x="196303" y="73358"/>
                    </a:cubicBezTo>
                    <a:cubicBezTo>
                      <a:pt x="209151" y="76028"/>
                      <a:pt x="216659" y="72941"/>
                      <a:pt x="221582" y="67185"/>
                    </a:cubicBezTo>
                    <a:cubicBezTo>
                      <a:pt x="226003" y="68103"/>
                      <a:pt x="230008" y="68103"/>
                      <a:pt x="234847" y="68103"/>
                    </a:cubicBezTo>
                    <a:cubicBezTo>
                      <a:pt x="239685" y="68103"/>
                      <a:pt x="244607" y="67686"/>
                      <a:pt x="249947" y="67185"/>
                    </a:cubicBezTo>
                    <a:lnTo>
                      <a:pt x="264546" y="65850"/>
                    </a:lnTo>
                    <a:cubicBezTo>
                      <a:pt x="284903" y="63598"/>
                      <a:pt x="306594" y="61846"/>
                      <a:pt x="326533" y="55673"/>
                    </a:cubicBezTo>
                    <a:cubicBezTo>
                      <a:pt x="333207" y="53421"/>
                      <a:pt x="339798" y="52587"/>
                      <a:pt x="346055" y="51252"/>
                    </a:cubicBezTo>
                    <a:cubicBezTo>
                      <a:pt x="346972" y="50835"/>
                      <a:pt x="348307" y="50835"/>
                      <a:pt x="349141" y="50835"/>
                    </a:cubicBezTo>
                    <a:cubicBezTo>
                      <a:pt x="349558" y="55673"/>
                      <a:pt x="350059" y="61429"/>
                      <a:pt x="350476" y="66768"/>
                    </a:cubicBezTo>
                    <a:cubicBezTo>
                      <a:pt x="351394" y="80950"/>
                      <a:pt x="352729" y="95965"/>
                      <a:pt x="358485" y="109730"/>
                    </a:cubicBezTo>
                    <a:cubicBezTo>
                      <a:pt x="359820" y="112816"/>
                      <a:pt x="361155" y="115903"/>
                      <a:pt x="362907" y="119073"/>
                    </a:cubicBezTo>
                    <a:cubicBezTo>
                      <a:pt x="366411" y="126581"/>
                      <a:pt x="369998" y="133672"/>
                      <a:pt x="369080" y="140762"/>
                    </a:cubicBezTo>
                    <a:cubicBezTo>
                      <a:pt x="368163" y="146518"/>
                      <a:pt x="364659" y="150939"/>
                      <a:pt x="360654" y="156278"/>
                    </a:cubicBezTo>
                    <a:cubicBezTo>
                      <a:pt x="357985" y="159365"/>
                      <a:pt x="355815" y="162452"/>
                      <a:pt x="353563" y="166039"/>
                    </a:cubicBezTo>
                    <a:cubicBezTo>
                      <a:pt x="345137" y="179803"/>
                      <a:pt x="342968" y="193484"/>
                      <a:pt x="346889" y="205496"/>
                    </a:cubicBezTo>
                    <a:cubicBezTo>
                      <a:pt x="348224" y="209918"/>
                      <a:pt x="350393" y="213505"/>
                      <a:pt x="352228" y="217426"/>
                    </a:cubicBezTo>
                    <a:cubicBezTo>
                      <a:pt x="354898" y="221847"/>
                      <a:pt x="356650" y="225851"/>
                      <a:pt x="357067" y="229355"/>
                    </a:cubicBezTo>
                    <a:lnTo>
                      <a:pt x="357067" y="229772"/>
                    </a:lnTo>
                    <a:cubicBezTo>
                      <a:pt x="357484" y="230689"/>
                      <a:pt x="357484" y="231524"/>
                      <a:pt x="357484" y="232441"/>
                    </a:cubicBezTo>
                    <a:cubicBezTo>
                      <a:pt x="357067" y="235111"/>
                      <a:pt x="355232" y="237780"/>
                      <a:pt x="353980" y="240867"/>
                    </a:cubicBezTo>
                    <a:cubicBezTo>
                      <a:pt x="353062" y="241784"/>
                      <a:pt x="352645" y="243119"/>
                      <a:pt x="352228" y="244370"/>
                    </a:cubicBezTo>
                    <a:cubicBezTo>
                      <a:pt x="350893" y="246623"/>
                      <a:pt x="349976" y="248792"/>
                      <a:pt x="349141" y="251461"/>
                    </a:cubicBezTo>
                    <a:cubicBezTo>
                      <a:pt x="348224" y="254965"/>
                      <a:pt x="348224" y="258552"/>
                      <a:pt x="348224" y="261639"/>
                    </a:cubicBezTo>
                    <a:cubicBezTo>
                      <a:pt x="347807" y="262973"/>
                      <a:pt x="347807" y="264725"/>
                      <a:pt x="347807" y="266477"/>
                    </a:cubicBezTo>
                    <a:cubicBezTo>
                      <a:pt x="347389" y="269563"/>
                      <a:pt x="346472" y="271816"/>
                      <a:pt x="345137" y="272650"/>
                    </a:cubicBezTo>
                    <a:cubicBezTo>
                      <a:pt x="343385" y="273567"/>
                      <a:pt x="339380" y="271732"/>
                      <a:pt x="335793" y="270398"/>
                    </a:cubicBezTo>
                    <a:lnTo>
                      <a:pt x="332706" y="269063"/>
                    </a:lnTo>
                    <a:cubicBezTo>
                      <a:pt x="322945" y="265559"/>
                      <a:pt x="312767" y="265559"/>
                      <a:pt x="303006" y="268145"/>
                    </a:cubicBezTo>
                    <a:cubicBezTo>
                      <a:pt x="300754" y="269063"/>
                      <a:pt x="298168" y="270398"/>
                      <a:pt x="295915" y="272567"/>
                    </a:cubicBezTo>
                    <a:cubicBezTo>
                      <a:pt x="293245" y="275236"/>
                      <a:pt x="292828" y="277906"/>
                      <a:pt x="291911" y="280575"/>
                    </a:cubicBezTo>
                    <a:cubicBezTo>
                      <a:pt x="291493" y="283244"/>
                      <a:pt x="290993" y="285914"/>
                      <a:pt x="290576" y="289000"/>
                    </a:cubicBezTo>
                    <a:cubicBezTo>
                      <a:pt x="289658" y="295173"/>
                      <a:pt x="288824" y="300513"/>
                      <a:pt x="286154" y="304934"/>
                    </a:cubicBezTo>
                    <a:cubicBezTo>
                      <a:pt x="282650" y="310690"/>
                      <a:pt x="275058" y="314694"/>
                      <a:pt x="263128" y="316863"/>
                    </a:cubicBezTo>
                    <a:cubicBezTo>
                      <a:pt x="256955" y="317780"/>
                      <a:pt x="248946" y="319532"/>
                      <a:pt x="244524" y="326623"/>
                    </a:cubicBezTo>
                    <a:cubicBezTo>
                      <a:pt x="243606" y="328375"/>
                      <a:pt x="243189" y="330127"/>
                      <a:pt x="242272" y="331461"/>
                    </a:cubicBezTo>
                    <a:cubicBezTo>
                      <a:pt x="241854" y="332379"/>
                      <a:pt x="241854" y="332796"/>
                      <a:pt x="241854" y="333213"/>
                    </a:cubicBezTo>
                    <a:cubicBezTo>
                      <a:pt x="240520" y="335883"/>
                      <a:pt x="236098" y="337218"/>
                      <a:pt x="232093" y="336717"/>
                    </a:cubicBezTo>
                    <a:cubicBezTo>
                      <a:pt x="230759" y="336717"/>
                      <a:pt x="229424" y="336300"/>
                      <a:pt x="227672" y="335799"/>
                    </a:cubicBezTo>
                    <a:cubicBezTo>
                      <a:pt x="225002" y="335382"/>
                      <a:pt x="222833" y="334464"/>
                      <a:pt x="219663" y="333547"/>
                    </a:cubicBezTo>
                    <a:lnTo>
                      <a:pt x="214824" y="332212"/>
                    </a:lnTo>
                    <a:cubicBezTo>
                      <a:pt x="205063" y="329126"/>
                      <a:pt x="197555" y="329126"/>
                      <a:pt x="190881" y="331795"/>
                    </a:cubicBezTo>
                    <a:cubicBezTo>
                      <a:pt x="186459" y="333547"/>
                      <a:pt x="183372" y="336633"/>
                      <a:pt x="180703" y="338886"/>
                    </a:cubicBezTo>
                    <a:cubicBezTo>
                      <a:pt x="179368" y="340220"/>
                      <a:pt x="177616" y="341555"/>
                      <a:pt x="175864" y="342389"/>
                    </a:cubicBezTo>
                    <a:cubicBezTo>
                      <a:pt x="171442" y="345059"/>
                      <a:pt x="166103" y="345893"/>
                      <a:pt x="160346" y="346394"/>
                    </a:cubicBezTo>
                    <a:cubicBezTo>
                      <a:pt x="158594" y="346811"/>
                      <a:pt x="156842" y="346811"/>
                      <a:pt x="155007" y="346811"/>
                    </a:cubicBezTo>
                    <a:cubicBezTo>
                      <a:pt x="155925" y="336633"/>
                      <a:pt x="159429" y="327290"/>
                      <a:pt x="163433" y="318031"/>
                    </a:cubicBezTo>
                    <a:cubicBezTo>
                      <a:pt x="166937" y="309188"/>
                      <a:pt x="170524" y="300346"/>
                      <a:pt x="172276" y="290585"/>
                    </a:cubicBezTo>
                    <a:cubicBezTo>
                      <a:pt x="178450" y="255632"/>
                      <a:pt x="146164" y="229021"/>
                      <a:pt x="131981" y="219261"/>
                    </a:cubicBezTo>
                    <a:cubicBezTo>
                      <a:pt x="127143" y="215757"/>
                      <a:pt x="121803" y="213088"/>
                      <a:pt x="116464" y="209918"/>
                    </a:cubicBezTo>
                    <a:cubicBezTo>
                      <a:pt x="110707" y="206831"/>
                      <a:pt x="105869" y="204162"/>
                      <a:pt x="100946" y="200575"/>
                    </a:cubicBezTo>
                    <a:cubicBezTo>
                      <a:pt x="96108" y="197071"/>
                      <a:pt x="92938" y="192566"/>
                      <a:pt x="89851" y="187728"/>
                    </a:cubicBezTo>
                    <a:cubicBezTo>
                      <a:pt x="87598" y="184224"/>
                      <a:pt x="85429" y="181054"/>
                      <a:pt x="82342" y="177550"/>
                    </a:cubicBezTo>
                    <a:cubicBezTo>
                      <a:pt x="67242" y="160283"/>
                      <a:pt x="54895" y="165621"/>
                      <a:pt x="44717" y="169542"/>
                    </a:cubicBezTo>
                    <a:cubicBezTo>
                      <a:pt x="39878" y="171794"/>
                      <a:pt x="34539" y="173963"/>
                      <a:pt x="28782" y="173963"/>
                    </a:cubicBezTo>
                    <a:cubicBezTo>
                      <a:pt x="15851" y="175632"/>
                      <a:pt x="11429" y="164537"/>
                      <a:pt x="4839" y="1459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34202377" name="Полилиния 352"/>
              <p:cNvSpPr/>
              <p:nvPr/>
            </p:nvSpPr>
            <p:spPr bwMode="auto">
              <a:xfrm>
                <a:off x="1463457" y="4375368"/>
                <a:ext cx="267948" cy="341322"/>
              </a:xfrm>
              <a:custGeom>
                <a:avLst/>
                <a:gdLst>
                  <a:gd name="connsiteX0" fmla="*/ 137490 w 300916"/>
                  <a:gd name="connsiteY0" fmla="*/ 239167 h 383317"/>
                  <a:gd name="connsiteX1" fmla="*/ 116217 w 300916"/>
                  <a:gd name="connsiteY1" fmla="*/ 182024 h 383317"/>
                  <a:gd name="connsiteX2" fmla="*/ 102034 w 300916"/>
                  <a:gd name="connsiteY2" fmla="*/ 175350 h 383317"/>
                  <a:gd name="connsiteX3" fmla="*/ 63074 w 300916"/>
                  <a:gd name="connsiteY3" fmla="*/ 151909 h 383317"/>
                  <a:gd name="connsiteX4" fmla="*/ 43552 w 300916"/>
                  <a:gd name="connsiteY4" fmla="*/ 120460 h 383317"/>
                  <a:gd name="connsiteX5" fmla="*/ 30287 w 300916"/>
                  <a:gd name="connsiteY5" fmla="*/ 95183 h 383317"/>
                  <a:gd name="connsiteX6" fmla="*/ 15187 w 300916"/>
                  <a:gd name="connsiteY6" fmla="*/ 79249 h 383317"/>
                  <a:gd name="connsiteX7" fmla="*/ 1421 w 300916"/>
                  <a:gd name="connsiteY7" fmla="*/ 48718 h 383317"/>
                  <a:gd name="connsiteX8" fmla="*/ 21360 w 300916"/>
                  <a:gd name="connsiteY8" fmla="*/ 21272 h 383317"/>
                  <a:gd name="connsiteX9" fmla="*/ 39547 w 300916"/>
                  <a:gd name="connsiteY9" fmla="*/ 0 h 383317"/>
                  <a:gd name="connsiteX10" fmla="*/ 47556 w 300916"/>
                  <a:gd name="connsiteY10" fmla="*/ 6674 h 383317"/>
                  <a:gd name="connsiteX11" fmla="*/ 50226 w 300916"/>
                  <a:gd name="connsiteY11" fmla="*/ 9760 h 383317"/>
                  <a:gd name="connsiteX12" fmla="*/ 58652 w 300916"/>
                  <a:gd name="connsiteY12" fmla="*/ 17769 h 383317"/>
                  <a:gd name="connsiteX13" fmla="*/ 97612 w 300916"/>
                  <a:gd name="connsiteY13" fmla="*/ 23108 h 383317"/>
                  <a:gd name="connsiteX14" fmla="*/ 101617 w 300916"/>
                  <a:gd name="connsiteY14" fmla="*/ 21356 h 383317"/>
                  <a:gd name="connsiteX15" fmla="*/ 108291 w 300916"/>
                  <a:gd name="connsiteY15" fmla="*/ 19104 h 383317"/>
                  <a:gd name="connsiteX16" fmla="*/ 122056 w 300916"/>
                  <a:gd name="connsiteY16" fmla="*/ 27112 h 383317"/>
                  <a:gd name="connsiteX17" fmla="*/ 127396 w 300916"/>
                  <a:gd name="connsiteY17" fmla="*/ 35537 h 383317"/>
                  <a:gd name="connsiteX18" fmla="*/ 135405 w 300916"/>
                  <a:gd name="connsiteY18" fmla="*/ 47467 h 383317"/>
                  <a:gd name="connsiteX19" fmla="*/ 163770 w 300916"/>
                  <a:gd name="connsiteY19" fmla="*/ 68322 h 383317"/>
                  <a:gd name="connsiteX20" fmla="*/ 179287 w 300916"/>
                  <a:gd name="connsiteY20" fmla="*/ 74995 h 383317"/>
                  <a:gd name="connsiteX21" fmla="*/ 197891 w 300916"/>
                  <a:gd name="connsiteY21" fmla="*/ 75913 h 383317"/>
                  <a:gd name="connsiteX22" fmla="*/ 208069 w 300916"/>
                  <a:gd name="connsiteY22" fmla="*/ 75913 h 383317"/>
                  <a:gd name="connsiteX23" fmla="*/ 233348 w 300916"/>
                  <a:gd name="connsiteY23" fmla="*/ 83921 h 383317"/>
                  <a:gd name="connsiteX24" fmla="*/ 258626 w 300916"/>
                  <a:gd name="connsiteY24" fmla="*/ 98103 h 383317"/>
                  <a:gd name="connsiteX25" fmla="*/ 263965 w 300916"/>
                  <a:gd name="connsiteY25" fmla="*/ 101189 h 383317"/>
                  <a:gd name="connsiteX26" fmla="*/ 279900 w 300916"/>
                  <a:gd name="connsiteY26" fmla="*/ 113118 h 383317"/>
                  <a:gd name="connsiteX27" fmla="*/ 284322 w 300916"/>
                  <a:gd name="connsiteY27" fmla="*/ 125548 h 383317"/>
                  <a:gd name="connsiteX28" fmla="*/ 285656 w 300916"/>
                  <a:gd name="connsiteY28" fmla="*/ 130887 h 383317"/>
                  <a:gd name="connsiteX29" fmla="*/ 298087 w 300916"/>
                  <a:gd name="connsiteY29" fmla="*/ 156163 h 383317"/>
                  <a:gd name="connsiteX30" fmla="*/ 299005 w 300916"/>
                  <a:gd name="connsiteY30" fmla="*/ 157081 h 383317"/>
                  <a:gd name="connsiteX31" fmla="*/ 299005 w 300916"/>
                  <a:gd name="connsiteY31" fmla="*/ 157498 h 383317"/>
                  <a:gd name="connsiteX32" fmla="*/ 299422 w 300916"/>
                  <a:gd name="connsiteY32" fmla="*/ 165924 h 383317"/>
                  <a:gd name="connsiteX33" fmla="*/ 294082 w 300916"/>
                  <a:gd name="connsiteY33" fmla="*/ 172097 h 383317"/>
                  <a:gd name="connsiteX34" fmla="*/ 284739 w 300916"/>
                  <a:gd name="connsiteY34" fmla="*/ 182274 h 383317"/>
                  <a:gd name="connsiteX35" fmla="*/ 293165 w 300916"/>
                  <a:gd name="connsiteY35" fmla="*/ 209302 h 383317"/>
                  <a:gd name="connsiteX36" fmla="*/ 299338 w 300916"/>
                  <a:gd name="connsiteY36" fmla="*/ 215475 h 383317"/>
                  <a:gd name="connsiteX37" fmla="*/ 291329 w 300916"/>
                  <a:gd name="connsiteY37" fmla="*/ 230074 h 383317"/>
                  <a:gd name="connsiteX38" fmla="*/ 278899 w 300916"/>
                  <a:gd name="connsiteY38" fmla="*/ 241169 h 383317"/>
                  <a:gd name="connsiteX39" fmla="*/ 274060 w 300916"/>
                  <a:gd name="connsiteY39" fmla="*/ 273036 h 383317"/>
                  <a:gd name="connsiteX40" fmla="*/ 274477 w 300916"/>
                  <a:gd name="connsiteY40" fmla="*/ 290303 h 383317"/>
                  <a:gd name="connsiteX41" fmla="*/ 250534 w 300916"/>
                  <a:gd name="connsiteY41" fmla="*/ 326174 h 383317"/>
                  <a:gd name="connsiteX42" fmla="*/ 240356 w 300916"/>
                  <a:gd name="connsiteY42" fmla="*/ 337269 h 383317"/>
                  <a:gd name="connsiteX43" fmla="*/ 230178 w 300916"/>
                  <a:gd name="connsiteY43" fmla="*/ 356289 h 383317"/>
                  <a:gd name="connsiteX44" fmla="*/ 217747 w 300916"/>
                  <a:gd name="connsiteY44" fmla="*/ 374475 h 383317"/>
                  <a:gd name="connsiteX45" fmla="*/ 205817 w 300916"/>
                  <a:gd name="connsiteY45" fmla="*/ 383317 h 383317"/>
                  <a:gd name="connsiteX46" fmla="*/ 201812 w 300916"/>
                  <a:gd name="connsiteY46" fmla="*/ 380231 h 383317"/>
                  <a:gd name="connsiteX47" fmla="*/ 194721 w 300916"/>
                  <a:gd name="connsiteY47" fmla="*/ 373557 h 383317"/>
                  <a:gd name="connsiteX48" fmla="*/ 182291 w 300916"/>
                  <a:gd name="connsiteY48" fmla="*/ 348281 h 383317"/>
                  <a:gd name="connsiteX49" fmla="*/ 181373 w 300916"/>
                  <a:gd name="connsiteY49" fmla="*/ 345194 h 383317"/>
                  <a:gd name="connsiteX50" fmla="*/ 152173 w 300916"/>
                  <a:gd name="connsiteY50" fmla="*/ 304402 h 383317"/>
                  <a:gd name="connsiteX51" fmla="*/ 140661 w 300916"/>
                  <a:gd name="connsiteY51" fmla="*/ 293807 h 383317"/>
                  <a:gd name="connsiteX52" fmla="*/ 137490 w 300916"/>
                  <a:gd name="connsiteY52" fmla="*/ 239167 h 38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00916" h="383317" extrusionOk="0">
                    <a:moveTo>
                      <a:pt x="137490" y="239167"/>
                    </a:moveTo>
                    <a:cubicBezTo>
                      <a:pt x="145499" y="214808"/>
                      <a:pt x="144164" y="196622"/>
                      <a:pt x="116217" y="182024"/>
                    </a:cubicBezTo>
                    <a:cubicBezTo>
                      <a:pt x="111795" y="179771"/>
                      <a:pt x="106873" y="177603"/>
                      <a:pt x="102034" y="175350"/>
                    </a:cubicBezTo>
                    <a:cubicBezTo>
                      <a:pt x="87851" y="168676"/>
                      <a:pt x="74086" y="162086"/>
                      <a:pt x="63074" y="151909"/>
                    </a:cubicBezTo>
                    <a:cubicBezTo>
                      <a:pt x="53730" y="143483"/>
                      <a:pt x="48891" y="131971"/>
                      <a:pt x="43552" y="120460"/>
                    </a:cubicBezTo>
                    <a:cubicBezTo>
                      <a:pt x="40048" y="112034"/>
                      <a:pt x="36043" y="103191"/>
                      <a:pt x="30287" y="95183"/>
                    </a:cubicBezTo>
                    <a:cubicBezTo>
                      <a:pt x="25865" y="89010"/>
                      <a:pt x="20526" y="84088"/>
                      <a:pt x="15187" y="79249"/>
                    </a:cubicBezTo>
                    <a:cubicBezTo>
                      <a:pt x="3257" y="68655"/>
                      <a:pt x="-3000" y="61982"/>
                      <a:pt x="1421" y="48718"/>
                    </a:cubicBezTo>
                    <a:cubicBezTo>
                      <a:pt x="4508" y="38123"/>
                      <a:pt x="12517" y="30115"/>
                      <a:pt x="21360" y="21272"/>
                    </a:cubicBezTo>
                    <a:cubicBezTo>
                      <a:pt x="28034" y="14599"/>
                      <a:pt x="34208" y="8008"/>
                      <a:pt x="39547" y="0"/>
                    </a:cubicBezTo>
                    <a:cubicBezTo>
                      <a:pt x="42217" y="2253"/>
                      <a:pt x="44887" y="4422"/>
                      <a:pt x="47556" y="6674"/>
                    </a:cubicBezTo>
                    <a:lnTo>
                      <a:pt x="50226" y="9760"/>
                    </a:lnTo>
                    <a:cubicBezTo>
                      <a:pt x="52896" y="12430"/>
                      <a:pt x="55565" y="15099"/>
                      <a:pt x="58652" y="17769"/>
                    </a:cubicBezTo>
                    <a:cubicBezTo>
                      <a:pt x="69748" y="26194"/>
                      <a:pt x="84765" y="27946"/>
                      <a:pt x="97612" y="23108"/>
                    </a:cubicBezTo>
                    <a:cubicBezTo>
                      <a:pt x="98947" y="22691"/>
                      <a:pt x="100282" y="22190"/>
                      <a:pt x="101617" y="21356"/>
                    </a:cubicBezTo>
                    <a:cubicBezTo>
                      <a:pt x="104286" y="20438"/>
                      <a:pt x="106038" y="19104"/>
                      <a:pt x="108291" y="19104"/>
                    </a:cubicBezTo>
                    <a:cubicBezTo>
                      <a:pt x="113130" y="18186"/>
                      <a:pt x="118469" y="22607"/>
                      <a:pt x="122056" y="27112"/>
                    </a:cubicBezTo>
                    <a:cubicBezTo>
                      <a:pt x="124309" y="29781"/>
                      <a:pt x="125560" y="32451"/>
                      <a:pt x="127396" y="35537"/>
                    </a:cubicBezTo>
                    <a:cubicBezTo>
                      <a:pt x="130065" y="39959"/>
                      <a:pt x="132234" y="43963"/>
                      <a:pt x="135405" y="47467"/>
                    </a:cubicBezTo>
                    <a:cubicBezTo>
                      <a:pt x="143414" y="57227"/>
                      <a:pt x="154009" y="62982"/>
                      <a:pt x="163770" y="68322"/>
                    </a:cubicBezTo>
                    <a:cubicBezTo>
                      <a:pt x="168191" y="70574"/>
                      <a:pt x="173531" y="73160"/>
                      <a:pt x="179287" y="74995"/>
                    </a:cubicBezTo>
                    <a:cubicBezTo>
                      <a:pt x="185961" y="76330"/>
                      <a:pt x="191718" y="75913"/>
                      <a:pt x="197891" y="75913"/>
                    </a:cubicBezTo>
                    <a:cubicBezTo>
                      <a:pt x="201395" y="75496"/>
                      <a:pt x="204565" y="75496"/>
                      <a:pt x="208069" y="75913"/>
                    </a:cubicBezTo>
                    <a:cubicBezTo>
                      <a:pt x="216913" y="76330"/>
                      <a:pt x="225339" y="80334"/>
                      <a:pt x="233348" y="83921"/>
                    </a:cubicBezTo>
                    <a:cubicBezTo>
                      <a:pt x="241774" y="88343"/>
                      <a:pt x="250200" y="92764"/>
                      <a:pt x="258626" y="98103"/>
                    </a:cubicBezTo>
                    <a:cubicBezTo>
                      <a:pt x="260378" y="99020"/>
                      <a:pt x="262130" y="100355"/>
                      <a:pt x="263965" y="101189"/>
                    </a:cubicBezTo>
                    <a:cubicBezTo>
                      <a:pt x="269722" y="104693"/>
                      <a:pt x="276396" y="108697"/>
                      <a:pt x="279900" y="113118"/>
                    </a:cubicBezTo>
                    <a:cubicBezTo>
                      <a:pt x="282152" y="115788"/>
                      <a:pt x="282987" y="121127"/>
                      <a:pt x="284322" y="125548"/>
                    </a:cubicBezTo>
                    <a:cubicBezTo>
                      <a:pt x="284739" y="127300"/>
                      <a:pt x="285239" y="128635"/>
                      <a:pt x="285656" y="130887"/>
                    </a:cubicBezTo>
                    <a:cubicBezTo>
                      <a:pt x="287909" y="139312"/>
                      <a:pt x="290495" y="149073"/>
                      <a:pt x="298087" y="156163"/>
                    </a:cubicBezTo>
                    <a:cubicBezTo>
                      <a:pt x="298504" y="156580"/>
                      <a:pt x="299005" y="156580"/>
                      <a:pt x="299005" y="157081"/>
                    </a:cubicBezTo>
                    <a:cubicBezTo>
                      <a:pt x="299005" y="157498"/>
                      <a:pt x="299005" y="157498"/>
                      <a:pt x="299005" y="157498"/>
                    </a:cubicBezTo>
                    <a:cubicBezTo>
                      <a:pt x="299922" y="161002"/>
                      <a:pt x="300339" y="163671"/>
                      <a:pt x="299422" y="165924"/>
                    </a:cubicBezTo>
                    <a:cubicBezTo>
                      <a:pt x="298504" y="168593"/>
                      <a:pt x="296752" y="169427"/>
                      <a:pt x="294082" y="172097"/>
                    </a:cubicBezTo>
                    <a:cubicBezTo>
                      <a:pt x="290996" y="174766"/>
                      <a:pt x="287408" y="177436"/>
                      <a:pt x="284739" y="182274"/>
                    </a:cubicBezTo>
                    <a:cubicBezTo>
                      <a:pt x="278065" y="196872"/>
                      <a:pt x="287408" y="204380"/>
                      <a:pt x="293165" y="209302"/>
                    </a:cubicBezTo>
                    <a:cubicBezTo>
                      <a:pt x="295834" y="211554"/>
                      <a:pt x="298004" y="213724"/>
                      <a:pt x="299338" y="215475"/>
                    </a:cubicBezTo>
                    <a:cubicBezTo>
                      <a:pt x="302425" y="221648"/>
                      <a:pt x="301591" y="223484"/>
                      <a:pt x="291329" y="230074"/>
                    </a:cubicBezTo>
                    <a:cubicBezTo>
                      <a:pt x="286908" y="233160"/>
                      <a:pt x="282486" y="236748"/>
                      <a:pt x="278899" y="241169"/>
                    </a:cubicBezTo>
                    <a:cubicBezTo>
                      <a:pt x="270473" y="252681"/>
                      <a:pt x="272225" y="263275"/>
                      <a:pt x="274060" y="273036"/>
                    </a:cubicBezTo>
                    <a:cubicBezTo>
                      <a:pt x="274978" y="279209"/>
                      <a:pt x="276313" y="284547"/>
                      <a:pt x="274477" y="290303"/>
                    </a:cubicBezTo>
                    <a:cubicBezTo>
                      <a:pt x="270973" y="304068"/>
                      <a:pt x="260712" y="315580"/>
                      <a:pt x="250534" y="326174"/>
                    </a:cubicBezTo>
                    <a:cubicBezTo>
                      <a:pt x="247030" y="329678"/>
                      <a:pt x="243860" y="333265"/>
                      <a:pt x="240356" y="337269"/>
                    </a:cubicBezTo>
                    <a:cubicBezTo>
                      <a:pt x="235016" y="343943"/>
                      <a:pt x="232347" y="350533"/>
                      <a:pt x="230178" y="356289"/>
                    </a:cubicBezTo>
                    <a:cubicBezTo>
                      <a:pt x="227508" y="363380"/>
                      <a:pt x="225339" y="369136"/>
                      <a:pt x="217747" y="374475"/>
                    </a:cubicBezTo>
                    <a:cubicBezTo>
                      <a:pt x="213325" y="377561"/>
                      <a:pt x="209321" y="380231"/>
                      <a:pt x="205817" y="383317"/>
                    </a:cubicBezTo>
                    <a:cubicBezTo>
                      <a:pt x="204482" y="381983"/>
                      <a:pt x="203147" y="381065"/>
                      <a:pt x="201812" y="380231"/>
                    </a:cubicBezTo>
                    <a:cubicBezTo>
                      <a:pt x="199560" y="377978"/>
                      <a:pt x="196974" y="376227"/>
                      <a:pt x="194721" y="373557"/>
                    </a:cubicBezTo>
                    <a:cubicBezTo>
                      <a:pt x="187630" y="366884"/>
                      <a:pt x="185377" y="358959"/>
                      <a:pt x="182291" y="348281"/>
                    </a:cubicBezTo>
                    <a:lnTo>
                      <a:pt x="181373" y="345194"/>
                    </a:lnTo>
                    <a:cubicBezTo>
                      <a:pt x="174699" y="324339"/>
                      <a:pt x="164103" y="315079"/>
                      <a:pt x="152173" y="304402"/>
                    </a:cubicBezTo>
                    <a:cubicBezTo>
                      <a:pt x="148669" y="301315"/>
                      <a:pt x="144665" y="297728"/>
                      <a:pt x="140661" y="293807"/>
                    </a:cubicBezTo>
                    <a:cubicBezTo>
                      <a:pt x="125977" y="279042"/>
                      <a:pt x="129481" y="263109"/>
                      <a:pt x="137490" y="23916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5241620" name="Полилиния 353"/>
              <p:cNvSpPr/>
              <p:nvPr/>
            </p:nvSpPr>
            <p:spPr bwMode="auto">
              <a:xfrm>
                <a:off x="1470481" y="5694750"/>
                <a:ext cx="301759" cy="576985"/>
              </a:xfrm>
              <a:custGeom>
                <a:avLst/>
                <a:gdLst>
                  <a:gd name="connsiteX0" fmla="*/ 338252 w 338886"/>
                  <a:gd name="connsiteY0" fmla="*/ 282636 h 647974"/>
                  <a:gd name="connsiteX1" fmla="*/ 309470 w 338886"/>
                  <a:gd name="connsiteY1" fmla="*/ 300322 h 647974"/>
                  <a:gd name="connsiteX2" fmla="*/ 263835 w 338886"/>
                  <a:gd name="connsiteY2" fmla="*/ 351709 h 647974"/>
                  <a:gd name="connsiteX3" fmla="*/ 260749 w 338886"/>
                  <a:gd name="connsiteY3" fmla="*/ 445140 h 647974"/>
                  <a:gd name="connsiteX4" fmla="*/ 254074 w 338886"/>
                  <a:gd name="connsiteY4" fmla="*/ 520885 h 647974"/>
                  <a:gd name="connsiteX5" fmla="*/ 256744 w 338886"/>
                  <a:gd name="connsiteY5" fmla="*/ 569603 h 647974"/>
                  <a:gd name="connsiteX6" fmla="*/ 254074 w 338886"/>
                  <a:gd name="connsiteY6" fmla="*/ 609061 h 647974"/>
                  <a:gd name="connsiteX7" fmla="*/ 254074 w 338886"/>
                  <a:gd name="connsiteY7" fmla="*/ 613899 h 647974"/>
                  <a:gd name="connsiteX8" fmla="*/ 241227 w 338886"/>
                  <a:gd name="connsiteY8" fmla="*/ 620990 h 647974"/>
                  <a:gd name="connsiteX9" fmla="*/ 213779 w 338886"/>
                  <a:gd name="connsiteY9" fmla="*/ 633837 h 647974"/>
                  <a:gd name="connsiteX10" fmla="*/ 179658 w 338886"/>
                  <a:gd name="connsiteY10" fmla="*/ 635589 h 647974"/>
                  <a:gd name="connsiteX11" fmla="*/ 131854 w 338886"/>
                  <a:gd name="connsiteY11" fmla="*/ 641344 h 647974"/>
                  <a:gd name="connsiteX12" fmla="*/ 91559 w 338886"/>
                  <a:gd name="connsiteY12" fmla="*/ 635589 h 647974"/>
                  <a:gd name="connsiteX13" fmla="*/ 80964 w 338886"/>
                  <a:gd name="connsiteY13" fmla="*/ 585536 h 647974"/>
                  <a:gd name="connsiteX14" fmla="*/ 81381 w 338886"/>
                  <a:gd name="connsiteY14" fmla="*/ 566016 h 647974"/>
                  <a:gd name="connsiteX15" fmla="*/ 64112 w 338886"/>
                  <a:gd name="connsiteY15" fmla="*/ 491605 h 647974"/>
                  <a:gd name="connsiteX16" fmla="*/ 50346 w 338886"/>
                  <a:gd name="connsiteY16" fmla="*/ 477006 h 647974"/>
                  <a:gd name="connsiteX17" fmla="*/ 48094 w 338886"/>
                  <a:gd name="connsiteY17" fmla="*/ 474754 h 647974"/>
                  <a:gd name="connsiteX18" fmla="*/ 38750 w 338886"/>
                  <a:gd name="connsiteY18" fmla="*/ 464576 h 647974"/>
                  <a:gd name="connsiteX19" fmla="*/ 36998 w 338886"/>
                  <a:gd name="connsiteY19" fmla="*/ 460572 h 647974"/>
                  <a:gd name="connsiteX20" fmla="*/ 32993 w 338886"/>
                  <a:gd name="connsiteY20" fmla="*/ 447726 h 647974"/>
                  <a:gd name="connsiteX21" fmla="*/ 28989 w 338886"/>
                  <a:gd name="connsiteY21" fmla="*/ 433961 h 647974"/>
                  <a:gd name="connsiteX22" fmla="*/ 14806 w 338886"/>
                  <a:gd name="connsiteY22" fmla="*/ 410937 h 647974"/>
                  <a:gd name="connsiteX23" fmla="*/ 206 w 338886"/>
                  <a:gd name="connsiteY23" fmla="*/ 382157 h 647974"/>
                  <a:gd name="connsiteX24" fmla="*/ 10385 w 338886"/>
                  <a:gd name="connsiteY24" fmla="*/ 357798 h 647974"/>
                  <a:gd name="connsiteX25" fmla="*/ 22815 w 338886"/>
                  <a:gd name="connsiteY25" fmla="*/ 333440 h 647974"/>
                  <a:gd name="connsiteX26" fmla="*/ 23733 w 338886"/>
                  <a:gd name="connsiteY26" fmla="*/ 333440 h 647974"/>
                  <a:gd name="connsiteX27" fmla="*/ 39667 w 338886"/>
                  <a:gd name="connsiteY27" fmla="*/ 334357 h 647974"/>
                  <a:gd name="connsiteX28" fmla="*/ 58689 w 338886"/>
                  <a:gd name="connsiteY28" fmla="*/ 335275 h 647974"/>
                  <a:gd name="connsiteX29" fmla="*/ 77293 w 338886"/>
                  <a:gd name="connsiteY29" fmla="*/ 333023 h 647974"/>
                  <a:gd name="connsiteX30" fmla="*/ 91475 w 338886"/>
                  <a:gd name="connsiteY30" fmla="*/ 325932 h 647974"/>
                  <a:gd name="connsiteX31" fmla="*/ 105241 w 338886"/>
                  <a:gd name="connsiteY31" fmla="*/ 322845 h 647974"/>
                  <a:gd name="connsiteX32" fmla="*/ 113250 w 338886"/>
                  <a:gd name="connsiteY32" fmla="*/ 326349 h 647974"/>
                  <a:gd name="connsiteX33" fmla="*/ 146954 w 338886"/>
                  <a:gd name="connsiteY33" fmla="*/ 321510 h 647974"/>
                  <a:gd name="connsiteX34" fmla="*/ 154046 w 338886"/>
                  <a:gd name="connsiteY34" fmla="*/ 301990 h 647974"/>
                  <a:gd name="connsiteX35" fmla="*/ 157550 w 338886"/>
                  <a:gd name="connsiteY35" fmla="*/ 290478 h 647974"/>
                  <a:gd name="connsiteX36" fmla="*/ 164641 w 338886"/>
                  <a:gd name="connsiteY36" fmla="*/ 279383 h 647974"/>
                  <a:gd name="connsiteX37" fmla="*/ 169062 w 338886"/>
                  <a:gd name="connsiteY37" fmla="*/ 273627 h 647974"/>
                  <a:gd name="connsiteX38" fmla="*/ 177071 w 338886"/>
                  <a:gd name="connsiteY38" fmla="*/ 257276 h 647974"/>
                  <a:gd name="connsiteX39" fmla="*/ 185915 w 338886"/>
                  <a:gd name="connsiteY39" fmla="*/ 241760 h 647974"/>
                  <a:gd name="connsiteX40" fmla="*/ 188167 w 338886"/>
                  <a:gd name="connsiteY40" fmla="*/ 240426 h 647974"/>
                  <a:gd name="connsiteX41" fmla="*/ 205854 w 338886"/>
                  <a:gd name="connsiteY41" fmla="*/ 227996 h 647974"/>
                  <a:gd name="connsiteX42" fmla="*/ 214280 w 338886"/>
                  <a:gd name="connsiteY42" fmla="*/ 226244 h 647974"/>
                  <a:gd name="connsiteX43" fmla="*/ 228462 w 338886"/>
                  <a:gd name="connsiteY43" fmla="*/ 223158 h 647974"/>
                  <a:gd name="connsiteX44" fmla="*/ 242645 w 338886"/>
                  <a:gd name="connsiteY44" fmla="*/ 196129 h 647974"/>
                  <a:gd name="connsiteX45" fmla="*/ 230214 w 338886"/>
                  <a:gd name="connsiteY45" fmla="*/ 169101 h 647974"/>
                  <a:gd name="connsiteX46" fmla="*/ 209858 w 338886"/>
                  <a:gd name="connsiteY46" fmla="*/ 165597 h 647974"/>
                  <a:gd name="connsiteX47" fmla="*/ 197010 w 338886"/>
                  <a:gd name="connsiteY47" fmla="*/ 160759 h 647974"/>
                  <a:gd name="connsiteX48" fmla="*/ 196593 w 338886"/>
                  <a:gd name="connsiteY48" fmla="*/ 154586 h 647974"/>
                  <a:gd name="connsiteX49" fmla="*/ 193924 w 338886"/>
                  <a:gd name="connsiteY49" fmla="*/ 139487 h 647974"/>
                  <a:gd name="connsiteX50" fmla="*/ 181493 w 338886"/>
                  <a:gd name="connsiteY50" fmla="*/ 127975 h 647974"/>
                  <a:gd name="connsiteX51" fmla="*/ 175737 w 338886"/>
                  <a:gd name="connsiteY51" fmla="*/ 123554 h 647974"/>
                  <a:gd name="connsiteX52" fmla="*/ 169062 w 338886"/>
                  <a:gd name="connsiteY52" fmla="*/ 116463 h 647974"/>
                  <a:gd name="connsiteX53" fmla="*/ 160219 w 338886"/>
                  <a:gd name="connsiteY53" fmla="*/ 108454 h 647974"/>
                  <a:gd name="connsiteX54" fmla="*/ 161137 w 338886"/>
                  <a:gd name="connsiteY54" fmla="*/ 105368 h 647974"/>
                  <a:gd name="connsiteX55" fmla="*/ 163389 w 338886"/>
                  <a:gd name="connsiteY55" fmla="*/ 99195 h 647974"/>
                  <a:gd name="connsiteX56" fmla="*/ 162055 w 338886"/>
                  <a:gd name="connsiteY56" fmla="*/ 71749 h 647974"/>
                  <a:gd name="connsiteX57" fmla="*/ 148790 w 338886"/>
                  <a:gd name="connsiteY57" fmla="*/ 64659 h 647974"/>
                  <a:gd name="connsiteX58" fmla="*/ 141698 w 338886"/>
                  <a:gd name="connsiteY58" fmla="*/ 59820 h 647974"/>
                  <a:gd name="connsiteX59" fmla="*/ 142116 w 338886"/>
                  <a:gd name="connsiteY59" fmla="*/ 56317 h 647974"/>
                  <a:gd name="connsiteX60" fmla="*/ 148790 w 338886"/>
                  <a:gd name="connsiteY60" fmla="*/ 54982 h 647974"/>
                  <a:gd name="connsiteX61" fmla="*/ 154546 w 338886"/>
                  <a:gd name="connsiteY61" fmla="*/ 57651 h 647974"/>
                  <a:gd name="connsiteX62" fmla="*/ 179824 w 338886"/>
                  <a:gd name="connsiteY62" fmla="*/ 55899 h 647974"/>
                  <a:gd name="connsiteX63" fmla="*/ 182077 w 338886"/>
                  <a:gd name="connsiteY63" fmla="*/ 32875 h 647974"/>
                  <a:gd name="connsiteX64" fmla="*/ 179824 w 338886"/>
                  <a:gd name="connsiteY64" fmla="*/ 28037 h 647974"/>
                  <a:gd name="connsiteX65" fmla="*/ 182494 w 338886"/>
                  <a:gd name="connsiteY65" fmla="*/ 15608 h 647974"/>
                  <a:gd name="connsiteX66" fmla="*/ 192672 w 338886"/>
                  <a:gd name="connsiteY66" fmla="*/ 18694 h 647974"/>
                  <a:gd name="connsiteX67" fmla="*/ 203768 w 338886"/>
                  <a:gd name="connsiteY67" fmla="*/ 23115 h 647974"/>
                  <a:gd name="connsiteX68" fmla="*/ 232967 w 338886"/>
                  <a:gd name="connsiteY68" fmla="*/ 17776 h 647974"/>
                  <a:gd name="connsiteX69" fmla="*/ 245398 w 338886"/>
                  <a:gd name="connsiteY69" fmla="*/ 9351 h 647974"/>
                  <a:gd name="connsiteX70" fmla="*/ 252489 w 338886"/>
                  <a:gd name="connsiteY70" fmla="*/ 4012 h 647974"/>
                  <a:gd name="connsiteX71" fmla="*/ 256494 w 338886"/>
                  <a:gd name="connsiteY71" fmla="*/ 1760 h 647974"/>
                  <a:gd name="connsiteX72" fmla="*/ 270676 w 338886"/>
                  <a:gd name="connsiteY72" fmla="*/ 2677 h 647974"/>
                  <a:gd name="connsiteX73" fmla="*/ 283941 w 338886"/>
                  <a:gd name="connsiteY73" fmla="*/ 15107 h 647974"/>
                  <a:gd name="connsiteX74" fmla="*/ 289698 w 338886"/>
                  <a:gd name="connsiteY74" fmla="*/ 21781 h 647974"/>
                  <a:gd name="connsiteX75" fmla="*/ 307384 w 338886"/>
                  <a:gd name="connsiteY75" fmla="*/ 37297 h 647974"/>
                  <a:gd name="connsiteX76" fmla="*/ 333080 w 338886"/>
                  <a:gd name="connsiteY76" fmla="*/ 65243 h 647974"/>
                  <a:gd name="connsiteX77" fmla="*/ 336584 w 338886"/>
                  <a:gd name="connsiteY77" fmla="*/ 103783 h 647974"/>
                  <a:gd name="connsiteX78" fmla="*/ 310471 w 338886"/>
                  <a:gd name="connsiteY78" fmla="*/ 118381 h 647974"/>
                  <a:gd name="connsiteX79" fmla="*/ 334832 w 338886"/>
                  <a:gd name="connsiteY79" fmla="*/ 189289 h 647974"/>
                  <a:gd name="connsiteX80" fmla="*/ 325071 w 338886"/>
                  <a:gd name="connsiteY80" fmla="*/ 265035 h 647974"/>
                  <a:gd name="connsiteX81" fmla="*/ 338252 w 338886"/>
                  <a:gd name="connsiteY81" fmla="*/ 282636 h 647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338886" h="647974" extrusionOk="0">
                    <a:moveTo>
                      <a:pt x="338252" y="282636"/>
                    </a:moveTo>
                    <a:cubicBezTo>
                      <a:pt x="334748" y="292814"/>
                      <a:pt x="317395" y="295900"/>
                      <a:pt x="309470" y="300322"/>
                    </a:cubicBezTo>
                    <a:cubicBezTo>
                      <a:pt x="291283" y="310082"/>
                      <a:pt x="274931" y="334440"/>
                      <a:pt x="263835" y="351709"/>
                    </a:cubicBezTo>
                    <a:cubicBezTo>
                      <a:pt x="246566" y="377402"/>
                      <a:pt x="261166" y="415942"/>
                      <a:pt x="260749" y="445140"/>
                    </a:cubicBezTo>
                    <a:cubicBezTo>
                      <a:pt x="260331" y="470833"/>
                      <a:pt x="255409" y="495609"/>
                      <a:pt x="254074" y="520885"/>
                    </a:cubicBezTo>
                    <a:cubicBezTo>
                      <a:pt x="253157" y="537236"/>
                      <a:pt x="256327" y="553670"/>
                      <a:pt x="256744" y="569603"/>
                    </a:cubicBezTo>
                    <a:cubicBezTo>
                      <a:pt x="257161" y="582867"/>
                      <a:pt x="254074" y="596214"/>
                      <a:pt x="254074" y="609061"/>
                    </a:cubicBezTo>
                    <a:lnTo>
                      <a:pt x="254074" y="613899"/>
                    </a:lnTo>
                    <a:cubicBezTo>
                      <a:pt x="249653" y="616152"/>
                      <a:pt x="245648" y="618321"/>
                      <a:pt x="241227" y="620990"/>
                    </a:cubicBezTo>
                    <a:cubicBezTo>
                      <a:pt x="231883" y="626329"/>
                      <a:pt x="223040" y="631167"/>
                      <a:pt x="213779" y="633837"/>
                    </a:cubicBezTo>
                    <a:cubicBezTo>
                      <a:pt x="203184" y="636923"/>
                      <a:pt x="191671" y="636089"/>
                      <a:pt x="179658" y="635589"/>
                    </a:cubicBezTo>
                    <a:cubicBezTo>
                      <a:pt x="164140" y="634671"/>
                      <a:pt x="148206" y="634254"/>
                      <a:pt x="131854" y="641344"/>
                    </a:cubicBezTo>
                    <a:cubicBezTo>
                      <a:pt x="112833" y="650187"/>
                      <a:pt x="104824" y="651939"/>
                      <a:pt x="91559" y="635589"/>
                    </a:cubicBezTo>
                    <a:cubicBezTo>
                      <a:pt x="79128" y="620489"/>
                      <a:pt x="79629" y="604139"/>
                      <a:pt x="80964" y="585536"/>
                    </a:cubicBezTo>
                    <a:cubicBezTo>
                      <a:pt x="81381" y="578863"/>
                      <a:pt x="81881" y="572690"/>
                      <a:pt x="81381" y="566016"/>
                    </a:cubicBezTo>
                    <a:cubicBezTo>
                      <a:pt x="80463" y="532314"/>
                      <a:pt x="75207" y="507955"/>
                      <a:pt x="64112" y="491605"/>
                    </a:cubicBezTo>
                    <a:cubicBezTo>
                      <a:pt x="60608" y="485432"/>
                      <a:pt x="55268" y="481428"/>
                      <a:pt x="50346" y="477006"/>
                    </a:cubicBezTo>
                    <a:cubicBezTo>
                      <a:pt x="49428" y="476089"/>
                      <a:pt x="49011" y="475672"/>
                      <a:pt x="48094" y="474754"/>
                    </a:cubicBezTo>
                    <a:cubicBezTo>
                      <a:pt x="44590" y="471667"/>
                      <a:pt x="41419" y="468581"/>
                      <a:pt x="38750" y="464576"/>
                    </a:cubicBezTo>
                    <a:cubicBezTo>
                      <a:pt x="37832" y="463242"/>
                      <a:pt x="37415" y="461907"/>
                      <a:pt x="36998" y="460572"/>
                    </a:cubicBezTo>
                    <a:cubicBezTo>
                      <a:pt x="35246" y="457069"/>
                      <a:pt x="33911" y="452147"/>
                      <a:pt x="32993" y="447726"/>
                    </a:cubicBezTo>
                    <a:cubicBezTo>
                      <a:pt x="31658" y="443304"/>
                      <a:pt x="30741" y="438883"/>
                      <a:pt x="28989" y="433961"/>
                    </a:cubicBezTo>
                    <a:cubicBezTo>
                      <a:pt x="25485" y="425536"/>
                      <a:pt x="20146" y="418028"/>
                      <a:pt x="14806" y="410937"/>
                    </a:cubicBezTo>
                    <a:cubicBezTo>
                      <a:pt x="7715" y="401177"/>
                      <a:pt x="1041" y="392751"/>
                      <a:pt x="206" y="382157"/>
                    </a:cubicBezTo>
                    <a:cubicBezTo>
                      <a:pt x="-1128" y="372397"/>
                      <a:pt x="4211" y="365807"/>
                      <a:pt x="10385" y="357798"/>
                    </a:cubicBezTo>
                    <a:cubicBezTo>
                      <a:pt x="15724" y="351125"/>
                      <a:pt x="21480" y="343200"/>
                      <a:pt x="22815" y="333440"/>
                    </a:cubicBezTo>
                    <a:lnTo>
                      <a:pt x="23733" y="333440"/>
                    </a:lnTo>
                    <a:cubicBezTo>
                      <a:pt x="28572" y="333440"/>
                      <a:pt x="34328" y="333857"/>
                      <a:pt x="39667" y="334357"/>
                    </a:cubicBezTo>
                    <a:cubicBezTo>
                      <a:pt x="46342" y="334774"/>
                      <a:pt x="52515" y="335275"/>
                      <a:pt x="58689" y="335275"/>
                    </a:cubicBezTo>
                    <a:cubicBezTo>
                      <a:pt x="65363" y="335275"/>
                      <a:pt x="71536" y="334858"/>
                      <a:pt x="77293" y="333023"/>
                    </a:cubicBezTo>
                    <a:cubicBezTo>
                      <a:pt x="83467" y="331688"/>
                      <a:pt x="87888" y="328601"/>
                      <a:pt x="91475" y="325932"/>
                    </a:cubicBezTo>
                    <a:cubicBezTo>
                      <a:pt x="96314" y="322428"/>
                      <a:pt x="98984" y="320593"/>
                      <a:pt x="105241" y="322845"/>
                    </a:cubicBezTo>
                    <a:cubicBezTo>
                      <a:pt x="107911" y="323763"/>
                      <a:pt x="110580" y="325098"/>
                      <a:pt x="113250" y="326349"/>
                    </a:cubicBezTo>
                    <a:cubicBezTo>
                      <a:pt x="121676" y="331187"/>
                      <a:pt x="134941" y="338278"/>
                      <a:pt x="146954" y="321510"/>
                    </a:cubicBezTo>
                    <a:cubicBezTo>
                      <a:pt x="150959" y="316171"/>
                      <a:pt x="152294" y="309081"/>
                      <a:pt x="154046" y="301990"/>
                    </a:cubicBezTo>
                    <a:cubicBezTo>
                      <a:pt x="154963" y="297569"/>
                      <a:pt x="156298" y="293564"/>
                      <a:pt x="157550" y="290478"/>
                    </a:cubicBezTo>
                    <a:cubicBezTo>
                      <a:pt x="159802" y="286474"/>
                      <a:pt x="161971" y="282970"/>
                      <a:pt x="164641" y="279383"/>
                    </a:cubicBezTo>
                    <a:cubicBezTo>
                      <a:pt x="165976" y="277131"/>
                      <a:pt x="167728" y="275880"/>
                      <a:pt x="169062" y="273627"/>
                    </a:cubicBezTo>
                    <a:cubicBezTo>
                      <a:pt x="173067" y="267454"/>
                      <a:pt x="175236" y="262115"/>
                      <a:pt x="177071" y="257276"/>
                    </a:cubicBezTo>
                    <a:cubicBezTo>
                      <a:pt x="179324" y="250603"/>
                      <a:pt x="180575" y="246182"/>
                      <a:pt x="185915" y="241760"/>
                    </a:cubicBezTo>
                    <a:lnTo>
                      <a:pt x="188167" y="240426"/>
                    </a:lnTo>
                    <a:cubicBezTo>
                      <a:pt x="193507" y="236004"/>
                      <a:pt x="200598" y="230665"/>
                      <a:pt x="205854" y="227996"/>
                    </a:cubicBezTo>
                    <a:cubicBezTo>
                      <a:pt x="208106" y="226661"/>
                      <a:pt x="211193" y="226661"/>
                      <a:pt x="214280" y="226244"/>
                    </a:cubicBezTo>
                    <a:cubicBezTo>
                      <a:pt x="218701" y="225827"/>
                      <a:pt x="223624" y="225327"/>
                      <a:pt x="228462" y="223158"/>
                    </a:cubicBezTo>
                    <a:cubicBezTo>
                      <a:pt x="236888" y="218319"/>
                      <a:pt x="242228" y="208559"/>
                      <a:pt x="242645" y="196129"/>
                    </a:cubicBezTo>
                    <a:cubicBezTo>
                      <a:pt x="243062" y="184200"/>
                      <a:pt x="238223" y="173939"/>
                      <a:pt x="230214" y="169101"/>
                    </a:cubicBezTo>
                    <a:cubicBezTo>
                      <a:pt x="223540" y="165097"/>
                      <a:pt x="216032" y="165597"/>
                      <a:pt x="209858" y="165597"/>
                    </a:cubicBezTo>
                    <a:cubicBezTo>
                      <a:pt x="201015" y="166015"/>
                      <a:pt x="198762" y="165597"/>
                      <a:pt x="197010" y="160759"/>
                    </a:cubicBezTo>
                    <a:cubicBezTo>
                      <a:pt x="196093" y="159424"/>
                      <a:pt x="196593" y="157255"/>
                      <a:pt x="196593" y="154586"/>
                    </a:cubicBezTo>
                    <a:cubicBezTo>
                      <a:pt x="197010" y="150165"/>
                      <a:pt x="197010" y="144826"/>
                      <a:pt x="193924" y="139487"/>
                    </a:cubicBezTo>
                    <a:cubicBezTo>
                      <a:pt x="191254" y="134648"/>
                      <a:pt x="185915" y="131061"/>
                      <a:pt x="181493" y="127975"/>
                    </a:cubicBezTo>
                    <a:cubicBezTo>
                      <a:pt x="179241" y="126640"/>
                      <a:pt x="177489" y="124888"/>
                      <a:pt x="175737" y="123554"/>
                    </a:cubicBezTo>
                    <a:cubicBezTo>
                      <a:pt x="173067" y="120884"/>
                      <a:pt x="170898" y="118715"/>
                      <a:pt x="169062" y="116463"/>
                    </a:cubicBezTo>
                    <a:cubicBezTo>
                      <a:pt x="165976" y="113376"/>
                      <a:pt x="162889" y="110290"/>
                      <a:pt x="160219" y="108454"/>
                    </a:cubicBezTo>
                    <a:cubicBezTo>
                      <a:pt x="160636" y="107537"/>
                      <a:pt x="160636" y="106202"/>
                      <a:pt x="161137" y="105368"/>
                    </a:cubicBezTo>
                    <a:cubicBezTo>
                      <a:pt x="161554" y="103116"/>
                      <a:pt x="162472" y="101364"/>
                      <a:pt x="163389" y="99195"/>
                    </a:cubicBezTo>
                    <a:cubicBezTo>
                      <a:pt x="166476" y="91687"/>
                      <a:pt x="170481" y="81510"/>
                      <a:pt x="162055" y="71749"/>
                    </a:cubicBezTo>
                    <a:cubicBezTo>
                      <a:pt x="158050" y="67328"/>
                      <a:pt x="152711" y="65576"/>
                      <a:pt x="148790" y="64659"/>
                    </a:cubicBezTo>
                    <a:cubicBezTo>
                      <a:pt x="142616" y="62907"/>
                      <a:pt x="142116" y="61989"/>
                      <a:pt x="141698" y="59820"/>
                    </a:cubicBezTo>
                    <a:cubicBezTo>
                      <a:pt x="141281" y="58903"/>
                      <a:pt x="141281" y="57151"/>
                      <a:pt x="142116" y="56317"/>
                    </a:cubicBezTo>
                    <a:cubicBezTo>
                      <a:pt x="142950" y="55482"/>
                      <a:pt x="145202" y="54565"/>
                      <a:pt x="148790" y="54982"/>
                    </a:cubicBezTo>
                    <a:cubicBezTo>
                      <a:pt x="150542" y="55399"/>
                      <a:pt x="152294" y="56317"/>
                      <a:pt x="154546" y="57651"/>
                    </a:cubicBezTo>
                    <a:cubicBezTo>
                      <a:pt x="159885" y="60738"/>
                      <a:pt x="169146" y="66494"/>
                      <a:pt x="179824" y="55899"/>
                    </a:cubicBezTo>
                    <a:cubicBezTo>
                      <a:pt x="189585" y="46139"/>
                      <a:pt x="184663" y="37714"/>
                      <a:pt x="182077" y="32875"/>
                    </a:cubicBezTo>
                    <a:cubicBezTo>
                      <a:pt x="181159" y="31123"/>
                      <a:pt x="180325" y="29789"/>
                      <a:pt x="179824" y="28037"/>
                    </a:cubicBezTo>
                    <a:cubicBezTo>
                      <a:pt x="177155" y="17443"/>
                      <a:pt x="180242" y="16108"/>
                      <a:pt x="182494" y="15608"/>
                    </a:cubicBezTo>
                    <a:cubicBezTo>
                      <a:pt x="184747" y="14690"/>
                      <a:pt x="187833" y="16025"/>
                      <a:pt x="192672" y="18694"/>
                    </a:cubicBezTo>
                    <a:cubicBezTo>
                      <a:pt x="196176" y="20946"/>
                      <a:pt x="199764" y="22198"/>
                      <a:pt x="203768" y="23115"/>
                    </a:cubicBezTo>
                    <a:cubicBezTo>
                      <a:pt x="213946" y="24450"/>
                      <a:pt x="227211" y="20029"/>
                      <a:pt x="232967" y="17776"/>
                    </a:cubicBezTo>
                    <a:cubicBezTo>
                      <a:pt x="238307" y="15107"/>
                      <a:pt x="241811" y="12437"/>
                      <a:pt x="245398" y="9351"/>
                    </a:cubicBezTo>
                    <a:cubicBezTo>
                      <a:pt x="247651" y="7599"/>
                      <a:pt x="249820" y="5847"/>
                      <a:pt x="252489" y="4012"/>
                    </a:cubicBezTo>
                    <a:cubicBezTo>
                      <a:pt x="253824" y="3094"/>
                      <a:pt x="255159" y="2677"/>
                      <a:pt x="256494" y="1760"/>
                    </a:cubicBezTo>
                    <a:cubicBezTo>
                      <a:pt x="261833" y="-910"/>
                      <a:pt x="266255" y="-493"/>
                      <a:pt x="270676" y="2677"/>
                    </a:cubicBezTo>
                    <a:cubicBezTo>
                      <a:pt x="274681" y="4929"/>
                      <a:pt x="279102" y="9351"/>
                      <a:pt x="283941" y="15107"/>
                    </a:cubicBezTo>
                    <a:cubicBezTo>
                      <a:pt x="285693" y="17359"/>
                      <a:pt x="287445" y="19528"/>
                      <a:pt x="289698" y="21781"/>
                    </a:cubicBezTo>
                    <a:cubicBezTo>
                      <a:pt x="295037" y="27536"/>
                      <a:pt x="301211" y="32375"/>
                      <a:pt x="307384" y="37297"/>
                    </a:cubicBezTo>
                    <a:cubicBezTo>
                      <a:pt x="317562" y="45722"/>
                      <a:pt x="327323" y="53647"/>
                      <a:pt x="333080" y="65243"/>
                    </a:cubicBezTo>
                    <a:cubicBezTo>
                      <a:pt x="337501" y="75003"/>
                      <a:pt x="337501" y="89601"/>
                      <a:pt x="336584" y="103783"/>
                    </a:cubicBezTo>
                    <a:cubicBezTo>
                      <a:pt x="325988" y="106035"/>
                      <a:pt x="316645" y="109956"/>
                      <a:pt x="310471" y="118381"/>
                    </a:cubicBezTo>
                    <a:cubicBezTo>
                      <a:pt x="296288" y="137902"/>
                      <a:pt x="333497" y="168017"/>
                      <a:pt x="334832" y="189289"/>
                    </a:cubicBezTo>
                    <a:cubicBezTo>
                      <a:pt x="336166" y="211896"/>
                      <a:pt x="313558" y="244680"/>
                      <a:pt x="325071" y="265035"/>
                    </a:cubicBezTo>
                    <a:cubicBezTo>
                      <a:pt x="329826" y="273711"/>
                      <a:pt x="341756" y="272376"/>
                      <a:pt x="338252" y="28263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7035958" name="Полилиния 354"/>
              <p:cNvSpPr/>
              <p:nvPr/>
            </p:nvSpPr>
            <p:spPr bwMode="auto">
              <a:xfrm>
                <a:off x="1471269" y="4190603"/>
                <a:ext cx="322543" cy="303094"/>
              </a:xfrm>
              <a:custGeom>
                <a:avLst/>
                <a:gdLst>
                  <a:gd name="connsiteX0" fmla="*/ 161504 w 362228"/>
                  <a:gd name="connsiteY0" fmla="*/ 10793 h 340387"/>
                  <a:gd name="connsiteX1" fmla="*/ 180525 w 362228"/>
                  <a:gd name="connsiteY1" fmla="*/ 20136 h 340387"/>
                  <a:gd name="connsiteX2" fmla="*/ 191121 w 362228"/>
                  <a:gd name="connsiteY2" fmla="*/ 24557 h 340387"/>
                  <a:gd name="connsiteX3" fmla="*/ 209725 w 362228"/>
                  <a:gd name="connsiteY3" fmla="*/ 50668 h 340387"/>
                  <a:gd name="connsiteX4" fmla="*/ 226994 w 362228"/>
                  <a:gd name="connsiteY4" fmla="*/ 78613 h 340387"/>
                  <a:gd name="connsiteX5" fmla="*/ 245181 w 362228"/>
                  <a:gd name="connsiteY5" fmla="*/ 87957 h 340387"/>
                  <a:gd name="connsiteX6" fmla="*/ 258029 w 362228"/>
                  <a:gd name="connsiteY6" fmla="*/ 94130 h 340387"/>
                  <a:gd name="connsiteX7" fmla="*/ 260699 w 362228"/>
                  <a:gd name="connsiteY7" fmla="*/ 116236 h 340387"/>
                  <a:gd name="connsiteX8" fmla="*/ 259781 w 362228"/>
                  <a:gd name="connsiteY8" fmla="*/ 122409 h 340387"/>
                  <a:gd name="connsiteX9" fmla="*/ 275715 w 362228"/>
                  <a:gd name="connsiteY9" fmla="*/ 179969 h 340387"/>
                  <a:gd name="connsiteX10" fmla="*/ 283724 w 362228"/>
                  <a:gd name="connsiteY10" fmla="*/ 197238 h 340387"/>
                  <a:gd name="connsiteX11" fmla="*/ 328024 w 362228"/>
                  <a:gd name="connsiteY11" fmla="*/ 238030 h 340387"/>
                  <a:gd name="connsiteX12" fmla="*/ 327607 w 362228"/>
                  <a:gd name="connsiteY12" fmla="*/ 246039 h 340387"/>
                  <a:gd name="connsiteX13" fmla="*/ 326689 w 362228"/>
                  <a:gd name="connsiteY13" fmla="*/ 251795 h 340387"/>
                  <a:gd name="connsiteX14" fmla="*/ 333363 w 362228"/>
                  <a:gd name="connsiteY14" fmla="*/ 273484 h 340387"/>
                  <a:gd name="connsiteX15" fmla="*/ 348881 w 362228"/>
                  <a:gd name="connsiteY15" fmla="*/ 280992 h 340387"/>
                  <a:gd name="connsiteX16" fmla="*/ 356890 w 362228"/>
                  <a:gd name="connsiteY16" fmla="*/ 283661 h 340387"/>
                  <a:gd name="connsiteX17" fmla="*/ 362229 w 362228"/>
                  <a:gd name="connsiteY17" fmla="*/ 288500 h 340387"/>
                  <a:gd name="connsiteX18" fmla="*/ 356473 w 362228"/>
                  <a:gd name="connsiteY18" fmla="*/ 298260 h 340387"/>
                  <a:gd name="connsiteX19" fmla="*/ 351634 w 362228"/>
                  <a:gd name="connsiteY19" fmla="*/ 306685 h 340387"/>
                  <a:gd name="connsiteX20" fmla="*/ 348964 w 362228"/>
                  <a:gd name="connsiteY20" fmla="*/ 308020 h 340387"/>
                  <a:gd name="connsiteX21" fmla="*/ 348046 w 362228"/>
                  <a:gd name="connsiteY21" fmla="*/ 307103 h 340387"/>
                  <a:gd name="connsiteX22" fmla="*/ 340037 w 362228"/>
                  <a:gd name="connsiteY22" fmla="*/ 300929 h 340387"/>
                  <a:gd name="connsiteX23" fmla="*/ 320098 w 362228"/>
                  <a:gd name="connsiteY23" fmla="*/ 297843 h 340387"/>
                  <a:gd name="connsiteX24" fmla="*/ 306333 w 362228"/>
                  <a:gd name="connsiteY24" fmla="*/ 317780 h 340387"/>
                  <a:gd name="connsiteX25" fmla="*/ 305415 w 362228"/>
                  <a:gd name="connsiteY25" fmla="*/ 320867 h 340387"/>
                  <a:gd name="connsiteX26" fmla="*/ 298324 w 362228"/>
                  <a:gd name="connsiteY26" fmla="*/ 331962 h 340387"/>
                  <a:gd name="connsiteX27" fmla="*/ 291650 w 362228"/>
                  <a:gd name="connsiteY27" fmla="*/ 340387 h 340387"/>
                  <a:gd name="connsiteX28" fmla="*/ 289898 w 362228"/>
                  <a:gd name="connsiteY28" fmla="*/ 334214 h 340387"/>
                  <a:gd name="connsiteX29" fmla="*/ 288980 w 362228"/>
                  <a:gd name="connsiteY29" fmla="*/ 329793 h 340387"/>
                  <a:gd name="connsiteX30" fmla="*/ 281889 w 362228"/>
                  <a:gd name="connsiteY30" fmla="*/ 312108 h 340387"/>
                  <a:gd name="connsiteX31" fmla="*/ 261950 w 362228"/>
                  <a:gd name="connsiteY31" fmla="*/ 296592 h 340387"/>
                  <a:gd name="connsiteX32" fmla="*/ 257111 w 362228"/>
                  <a:gd name="connsiteY32" fmla="*/ 293505 h 340387"/>
                  <a:gd name="connsiteX33" fmla="*/ 230498 w 362228"/>
                  <a:gd name="connsiteY33" fmla="*/ 278906 h 340387"/>
                  <a:gd name="connsiteX34" fmla="*/ 199964 w 362228"/>
                  <a:gd name="connsiteY34" fmla="*/ 269146 h 340387"/>
                  <a:gd name="connsiteX35" fmla="*/ 188034 w 362228"/>
                  <a:gd name="connsiteY35" fmla="*/ 269563 h 340387"/>
                  <a:gd name="connsiteX36" fmla="*/ 173434 w 362228"/>
                  <a:gd name="connsiteY36" fmla="*/ 269146 h 340387"/>
                  <a:gd name="connsiteX37" fmla="*/ 161504 w 362228"/>
                  <a:gd name="connsiteY37" fmla="*/ 263807 h 340387"/>
                  <a:gd name="connsiteX38" fmla="*/ 137561 w 362228"/>
                  <a:gd name="connsiteY38" fmla="*/ 246539 h 340387"/>
                  <a:gd name="connsiteX39" fmla="*/ 131387 w 362228"/>
                  <a:gd name="connsiteY39" fmla="*/ 236362 h 340387"/>
                  <a:gd name="connsiteX40" fmla="*/ 124713 w 362228"/>
                  <a:gd name="connsiteY40" fmla="*/ 226185 h 340387"/>
                  <a:gd name="connsiteX41" fmla="*/ 97683 w 362228"/>
                  <a:gd name="connsiteY41" fmla="*/ 212420 h 340387"/>
                  <a:gd name="connsiteX42" fmla="*/ 87087 w 362228"/>
                  <a:gd name="connsiteY42" fmla="*/ 215924 h 340387"/>
                  <a:gd name="connsiteX43" fmla="*/ 84001 w 362228"/>
                  <a:gd name="connsiteY43" fmla="*/ 217259 h 340387"/>
                  <a:gd name="connsiteX44" fmla="*/ 59223 w 362228"/>
                  <a:gd name="connsiteY44" fmla="*/ 213755 h 340387"/>
                  <a:gd name="connsiteX45" fmla="*/ 52549 w 362228"/>
                  <a:gd name="connsiteY45" fmla="*/ 207081 h 340387"/>
                  <a:gd name="connsiteX46" fmla="*/ 49462 w 362228"/>
                  <a:gd name="connsiteY46" fmla="*/ 203995 h 340387"/>
                  <a:gd name="connsiteX47" fmla="*/ 37031 w 362228"/>
                  <a:gd name="connsiteY47" fmla="*/ 193817 h 340387"/>
                  <a:gd name="connsiteX48" fmla="*/ 29022 w 362228"/>
                  <a:gd name="connsiteY48" fmla="*/ 119406 h 340387"/>
                  <a:gd name="connsiteX49" fmla="*/ 13505 w 362228"/>
                  <a:gd name="connsiteY49" fmla="*/ 101221 h 340387"/>
                  <a:gd name="connsiteX50" fmla="*/ 2910 w 362228"/>
                  <a:gd name="connsiteY50" fmla="*/ 72023 h 340387"/>
                  <a:gd name="connsiteX51" fmla="*/ 33444 w 362228"/>
                  <a:gd name="connsiteY51" fmla="*/ 38822 h 340387"/>
                  <a:gd name="connsiteX52" fmla="*/ 42287 w 362228"/>
                  <a:gd name="connsiteY52" fmla="*/ 38822 h 340387"/>
                  <a:gd name="connsiteX53" fmla="*/ 67565 w 362228"/>
                  <a:gd name="connsiteY53" fmla="*/ 30397 h 340387"/>
                  <a:gd name="connsiteX54" fmla="*/ 71987 w 362228"/>
                  <a:gd name="connsiteY54" fmla="*/ 17550 h 340387"/>
                  <a:gd name="connsiteX55" fmla="*/ 79496 w 362228"/>
                  <a:gd name="connsiteY55" fmla="*/ 17133 h 340387"/>
                  <a:gd name="connsiteX56" fmla="*/ 101187 w 362228"/>
                  <a:gd name="connsiteY56" fmla="*/ 10960 h 340387"/>
                  <a:gd name="connsiteX57" fmla="*/ 107861 w 362228"/>
                  <a:gd name="connsiteY57" fmla="*/ 5621 h 340387"/>
                  <a:gd name="connsiteX58" fmla="*/ 114034 w 362228"/>
                  <a:gd name="connsiteY58" fmla="*/ 782 h 340387"/>
                  <a:gd name="connsiteX59" fmla="*/ 127800 w 362228"/>
                  <a:gd name="connsiteY59" fmla="*/ 1700 h 340387"/>
                  <a:gd name="connsiteX60" fmla="*/ 132221 w 362228"/>
                  <a:gd name="connsiteY60" fmla="*/ 3035 h 340387"/>
                  <a:gd name="connsiteX61" fmla="*/ 148156 w 362228"/>
                  <a:gd name="connsiteY61" fmla="*/ 7039 h 340387"/>
                  <a:gd name="connsiteX62" fmla="*/ 157500 w 362228"/>
                  <a:gd name="connsiteY62" fmla="*/ 6121 h 340387"/>
                  <a:gd name="connsiteX63" fmla="*/ 161504 w 362228"/>
                  <a:gd name="connsiteY63" fmla="*/ 10793 h 3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2228" h="340387" extrusionOk="0">
                    <a:moveTo>
                      <a:pt x="161504" y="10793"/>
                    </a:moveTo>
                    <a:cubicBezTo>
                      <a:pt x="167678" y="16132"/>
                      <a:pt x="174352" y="17883"/>
                      <a:pt x="180525" y="20136"/>
                    </a:cubicBezTo>
                    <a:cubicBezTo>
                      <a:pt x="184029" y="21470"/>
                      <a:pt x="188034" y="22805"/>
                      <a:pt x="191121" y="24557"/>
                    </a:cubicBezTo>
                    <a:cubicBezTo>
                      <a:pt x="200882" y="29896"/>
                      <a:pt x="204886" y="39656"/>
                      <a:pt x="209725" y="50668"/>
                    </a:cubicBezTo>
                    <a:cubicBezTo>
                      <a:pt x="214146" y="60845"/>
                      <a:pt x="218151" y="70605"/>
                      <a:pt x="226994" y="78613"/>
                    </a:cubicBezTo>
                    <a:cubicBezTo>
                      <a:pt x="232333" y="83953"/>
                      <a:pt x="239425" y="85704"/>
                      <a:pt x="245181" y="87957"/>
                    </a:cubicBezTo>
                    <a:cubicBezTo>
                      <a:pt x="250521" y="89292"/>
                      <a:pt x="255359" y="91043"/>
                      <a:pt x="258029" y="94130"/>
                    </a:cubicBezTo>
                    <a:cubicBezTo>
                      <a:pt x="262868" y="99469"/>
                      <a:pt x="262451" y="106059"/>
                      <a:pt x="260699" y="116236"/>
                    </a:cubicBezTo>
                    <a:cubicBezTo>
                      <a:pt x="260281" y="118489"/>
                      <a:pt x="260281" y="120241"/>
                      <a:pt x="259781" y="122409"/>
                    </a:cubicBezTo>
                    <a:cubicBezTo>
                      <a:pt x="257111" y="143264"/>
                      <a:pt x="266455" y="161867"/>
                      <a:pt x="275715" y="179969"/>
                    </a:cubicBezTo>
                    <a:cubicBezTo>
                      <a:pt x="278385" y="185726"/>
                      <a:pt x="281472" y="191482"/>
                      <a:pt x="283724" y="197238"/>
                    </a:cubicBezTo>
                    <a:cubicBezTo>
                      <a:pt x="293068" y="218927"/>
                      <a:pt x="308085" y="232691"/>
                      <a:pt x="328024" y="238030"/>
                    </a:cubicBezTo>
                    <a:cubicBezTo>
                      <a:pt x="328024" y="240700"/>
                      <a:pt x="327607" y="242869"/>
                      <a:pt x="327607" y="246039"/>
                    </a:cubicBezTo>
                    <a:cubicBezTo>
                      <a:pt x="327190" y="248291"/>
                      <a:pt x="327190" y="249542"/>
                      <a:pt x="326689" y="251795"/>
                    </a:cubicBezTo>
                    <a:cubicBezTo>
                      <a:pt x="326272" y="261555"/>
                      <a:pt x="328441" y="268646"/>
                      <a:pt x="333363" y="273484"/>
                    </a:cubicBezTo>
                    <a:cubicBezTo>
                      <a:pt x="337785" y="278322"/>
                      <a:pt x="343959" y="279657"/>
                      <a:pt x="348881" y="280992"/>
                    </a:cubicBezTo>
                    <a:cubicBezTo>
                      <a:pt x="351968" y="281909"/>
                      <a:pt x="354637" y="282327"/>
                      <a:pt x="356890" y="283661"/>
                    </a:cubicBezTo>
                    <a:cubicBezTo>
                      <a:pt x="359142" y="284579"/>
                      <a:pt x="360394" y="286748"/>
                      <a:pt x="362229" y="288500"/>
                    </a:cubicBezTo>
                    <a:cubicBezTo>
                      <a:pt x="359559" y="291169"/>
                      <a:pt x="358225" y="294673"/>
                      <a:pt x="356473" y="298260"/>
                    </a:cubicBezTo>
                    <a:cubicBezTo>
                      <a:pt x="355138" y="300929"/>
                      <a:pt x="352969" y="305768"/>
                      <a:pt x="351634" y="306685"/>
                    </a:cubicBezTo>
                    <a:cubicBezTo>
                      <a:pt x="350299" y="307603"/>
                      <a:pt x="349381" y="307603"/>
                      <a:pt x="348964" y="308020"/>
                    </a:cubicBezTo>
                    <a:cubicBezTo>
                      <a:pt x="348547" y="307603"/>
                      <a:pt x="348046" y="307103"/>
                      <a:pt x="348046" y="307103"/>
                    </a:cubicBezTo>
                    <a:cubicBezTo>
                      <a:pt x="346295" y="305351"/>
                      <a:pt x="343625" y="303098"/>
                      <a:pt x="340037" y="300929"/>
                    </a:cubicBezTo>
                    <a:cubicBezTo>
                      <a:pt x="332029" y="296508"/>
                      <a:pt x="325438" y="295590"/>
                      <a:pt x="320098" y="297843"/>
                    </a:cubicBezTo>
                    <a:cubicBezTo>
                      <a:pt x="312089" y="300929"/>
                      <a:pt x="309503" y="309772"/>
                      <a:pt x="306333" y="317780"/>
                    </a:cubicBezTo>
                    <a:lnTo>
                      <a:pt x="305415" y="320867"/>
                    </a:lnTo>
                    <a:cubicBezTo>
                      <a:pt x="303663" y="325705"/>
                      <a:pt x="300994" y="328875"/>
                      <a:pt x="298324" y="331962"/>
                    </a:cubicBezTo>
                    <a:cubicBezTo>
                      <a:pt x="296072" y="334631"/>
                      <a:pt x="293485" y="336800"/>
                      <a:pt x="291650" y="340387"/>
                    </a:cubicBezTo>
                    <a:cubicBezTo>
                      <a:pt x="290732" y="338135"/>
                      <a:pt x="290315" y="336383"/>
                      <a:pt x="289898" y="334214"/>
                    </a:cubicBezTo>
                    <a:lnTo>
                      <a:pt x="288980" y="329793"/>
                    </a:lnTo>
                    <a:cubicBezTo>
                      <a:pt x="287645" y="323620"/>
                      <a:pt x="285893" y="316946"/>
                      <a:pt x="281889" y="312108"/>
                    </a:cubicBezTo>
                    <a:cubicBezTo>
                      <a:pt x="277050" y="305434"/>
                      <a:pt x="269041" y="301013"/>
                      <a:pt x="261950" y="296592"/>
                    </a:cubicBezTo>
                    <a:cubicBezTo>
                      <a:pt x="260615" y="295674"/>
                      <a:pt x="258863" y="294339"/>
                      <a:pt x="257111" y="293505"/>
                    </a:cubicBezTo>
                    <a:cubicBezTo>
                      <a:pt x="248268" y="288166"/>
                      <a:pt x="239425" y="282911"/>
                      <a:pt x="230498" y="278906"/>
                    </a:cubicBezTo>
                    <a:cubicBezTo>
                      <a:pt x="221154" y="274068"/>
                      <a:pt x="210976" y="270064"/>
                      <a:pt x="199964" y="269146"/>
                    </a:cubicBezTo>
                    <a:cubicBezTo>
                      <a:pt x="195959" y="268729"/>
                      <a:pt x="191955" y="269146"/>
                      <a:pt x="188034" y="269563"/>
                    </a:cubicBezTo>
                    <a:cubicBezTo>
                      <a:pt x="182694" y="269980"/>
                      <a:pt x="177856" y="269980"/>
                      <a:pt x="173434" y="269146"/>
                    </a:cubicBezTo>
                    <a:cubicBezTo>
                      <a:pt x="169430" y="268229"/>
                      <a:pt x="165425" y="266060"/>
                      <a:pt x="161504" y="263807"/>
                    </a:cubicBezTo>
                    <a:cubicBezTo>
                      <a:pt x="153078" y="259386"/>
                      <a:pt x="143317" y="254047"/>
                      <a:pt x="137561" y="246539"/>
                    </a:cubicBezTo>
                    <a:cubicBezTo>
                      <a:pt x="134891" y="243452"/>
                      <a:pt x="133139" y="239866"/>
                      <a:pt x="131387" y="236362"/>
                    </a:cubicBezTo>
                    <a:cubicBezTo>
                      <a:pt x="129135" y="232858"/>
                      <a:pt x="127382" y="229688"/>
                      <a:pt x="124713" y="226185"/>
                    </a:cubicBezTo>
                    <a:cubicBezTo>
                      <a:pt x="117622" y="216424"/>
                      <a:pt x="107444" y="211085"/>
                      <a:pt x="97683" y="212420"/>
                    </a:cubicBezTo>
                    <a:cubicBezTo>
                      <a:pt x="93678" y="213338"/>
                      <a:pt x="90174" y="214672"/>
                      <a:pt x="87087" y="215924"/>
                    </a:cubicBezTo>
                    <a:cubicBezTo>
                      <a:pt x="86170" y="216341"/>
                      <a:pt x="84835" y="216841"/>
                      <a:pt x="84001" y="217259"/>
                    </a:cubicBezTo>
                    <a:cubicBezTo>
                      <a:pt x="75574" y="220345"/>
                      <a:pt x="66314" y="219010"/>
                      <a:pt x="59223" y="213755"/>
                    </a:cubicBezTo>
                    <a:cubicBezTo>
                      <a:pt x="56553" y="211503"/>
                      <a:pt x="54801" y="209334"/>
                      <a:pt x="52549" y="207081"/>
                    </a:cubicBezTo>
                    <a:lnTo>
                      <a:pt x="49462" y="203995"/>
                    </a:lnTo>
                    <a:cubicBezTo>
                      <a:pt x="45958" y="200491"/>
                      <a:pt x="41453" y="196904"/>
                      <a:pt x="37031" y="193817"/>
                    </a:cubicBezTo>
                    <a:cubicBezTo>
                      <a:pt x="45457" y="169459"/>
                      <a:pt x="42371" y="142013"/>
                      <a:pt x="29022" y="119406"/>
                    </a:cubicBezTo>
                    <a:cubicBezTo>
                      <a:pt x="24601" y="112316"/>
                      <a:pt x="18844" y="106559"/>
                      <a:pt x="13505" y="101221"/>
                    </a:cubicBezTo>
                    <a:cubicBezTo>
                      <a:pt x="1575" y="89709"/>
                      <a:pt x="-3764" y="83953"/>
                      <a:pt x="2910" y="72023"/>
                    </a:cubicBezTo>
                    <a:cubicBezTo>
                      <a:pt x="13505" y="53421"/>
                      <a:pt x="25018" y="40574"/>
                      <a:pt x="33444" y="38822"/>
                    </a:cubicBezTo>
                    <a:cubicBezTo>
                      <a:pt x="36114" y="38405"/>
                      <a:pt x="39200" y="38405"/>
                      <a:pt x="42287" y="38822"/>
                    </a:cubicBezTo>
                    <a:cubicBezTo>
                      <a:pt x="50296" y="39239"/>
                      <a:pt x="60474" y="39740"/>
                      <a:pt x="67565" y="30397"/>
                    </a:cubicBezTo>
                    <a:cubicBezTo>
                      <a:pt x="70652" y="26393"/>
                      <a:pt x="71570" y="21554"/>
                      <a:pt x="71987" y="17550"/>
                    </a:cubicBezTo>
                    <a:cubicBezTo>
                      <a:pt x="74657" y="17967"/>
                      <a:pt x="76826" y="17550"/>
                      <a:pt x="79496" y="17133"/>
                    </a:cubicBezTo>
                    <a:cubicBezTo>
                      <a:pt x="86587" y="16215"/>
                      <a:pt x="94095" y="14880"/>
                      <a:pt x="101187" y="10960"/>
                    </a:cubicBezTo>
                    <a:cubicBezTo>
                      <a:pt x="103439" y="9625"/>
                      <a:pt x="105608" y="7873"/>
                      <a:pt x="107861" y="5621"/>
                    </a:cubicBezTo>
                    <a:cubicBezTo>
                      <a:pt x="110113" y="3368"/>
                      <a:pt x="112282" y="2117"/>
                      <a:pt x="114034" y="782"/>
                    </a:cubicBezTo>
                    <a:cubicBezTo>
                      <a:pt x="117121" y="-553"/>
                      <a:pt x="122043" y="-135"/>
                      <a:pt x="127800" y="1700"/>
                    </a:cubicBezTo>
                    <a:lnTo>
                      <a:pt x="132221" y="3035"/>
                    </a:lnTo>
                    <a:cubicBezTo>
                      <a:pt x="137060" y="4786"/>
                      <a:pt x="142399" y="6538"/>
                      <a:pt x="148156" y="7039"/>
                    </a:cubicBezTo>
                    <a:cubicBezTo>
                      <a:pt x="151243" y="7456"/>
                      <a:pt x="154329" y="7039"/>
                      <a:pt x="157500" y="6121"/>
                    </a:cubicBezTo>
                    <a:cubicBezTo>
                      <a:pt x="157917" y="7706"/>
                      <a:pt x="159752" y="9458"/>
                      <a:pt x="161504" y="1079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25498181" name="Полилиния 355"/>
              <p:cNvSpPr/>
              <p:nvPr/>
            </p:nvSpPr>
            <p:spPr bwMode="auto">
              <a:xfrm>
                <a:off x="1319194" y="4818384"/>
                <a:ext cx="526099" cy="585709"/>
              </a:xfrm>
              <a:custGeom>
                <a:avLst/>
                <a:gdLst>
                  <a:gd name="connsiteX0" fmla="*/ 5756 w 590828"/>
                  <a:gd name="connsiteY0" fmla="*/ 168676 h 657771"/>
                  <a:gd name="connsiteX1" fmla="*/ 0 w 590828"/>
                  <a:gd name="connsiteY1" fmla="*/ 165590 h 657771"/>
                  <a:gd name="connsiteX2" fmla="*/ 8426 w 590828"/>
                  <a:gd name="connsiteY2" fmla="*/ 157581 h 657771"/>
                  <a:gd name="connsiteX3" fmla="*/ 19021 w 590828"/>
                  <a:gd name="connsiteY3" fmla="*/ 144735 h 657771"/>
                  <a:gd name="connsiteX4" fmla="*/ 36291 w 590828"/>
                  <a:gd name="connsiteY4" fmla="*/ 126549 h 657771"/>
                  <a:gd name="connsiteX5" fmla="*/ 84094 w 590828"/>
                  <a:gd name="connsiteY5" fmla="*/ 124797 h 657771"/>
                  <a:gd name="connsiteX6" fmla="*/ 113794 w 590828"/>
                  <a:gd name="connsiteY6" fmla="*/ 129218 h 657771"/>
                  <a:gd name="connsiteX7" fmla="*/ 115129 w 590828"/>
                  <a:gd name="connsiteY7" fmla="*/ 129218 h 657771"/>
                  <a:gd name="connsiteX8" fmla="*/ 164768 w 590828"/>
                  <a:gd name="connsiteY8" fmla="*/ 161085 h 657771"/>
                  <a:gd name="connsiteX9" fmla="*/ 173194 w 590828"/>
                  <a:gd name="connsiteY9" fmla="*/ 171262 h 657771"/>
                  <a:gd name="connsiteX10" fmla="*/ 203728 w 590828"/>
                  <a:gd name="connsiteY10" fmla="*/ 190782 h 657771"/>
                  <a:gd name="connsiteX11" fmla="*/ 208150 w 590828"/>
                  <a:gd name="connsiteY11" fmla="*/ 190365 h 657771"/>
                  <a:gd name="connsiteX12" fmla="*/ 238684 w 590828"/>
                  <a:gd name="connsiteY12" fmla="*/ 171763 h 657771"/>
                  <a:gd name="connsiteX13" fmla="*/ 247527 w 590828"/>
                  <a:gd name="connsiteY13" fmla="*/ 164255 h 657771"/>
                  <a:gd name="connsiteX14" fmla="*/ 249279 w 590828"/>
                  <a:gd name="connsiteY14" fmla="*/ 162920 h 657771"/>
                  <a:gd name="connsiteX15" fmla="*/ 279814 w 590828"/>
                  <a:gd name="connsiteY15" fmla="*/ 129719 h 657771"/>
                  <a:gd name="connsiteX16" fmla="*/ 285153 w 590828"/>
                  <a:gd name="connsiteY16" fmla="*/ 107612 h 657771"/>
                  <a:gd name="connsiteX17" fmla="*/ 289992 w 590828"/>
                  <a:gd name="connsiteY17" fmla="*/ 87675 h 657771"/>
                  <a:gd name="connsiteX18" fmla="*/ 343135 w 590828"/>
                  <a:gd name="connsiteY18" fmla="*/ 47800 h 657771"/>
                  <a:gd name="connsiteX19" fmla="*/ 356399 w 590828"/>
                  <a:gd name="connsiteY19" fmla="*/ 48217 h 657771"/>
                  <a:gd name="connsiteX20" fmla="*/ 383847 w 590828"/>
                  <a:gd name="connsiteY20" fmla="*/ 45547 h 657771"/>
                  <a:gd name="connsiteX21" fmla="*/ 402868 w 590828"/>
                  <a:gd name="connsiteY21" fmla="*/ 25193 h 657771"/>
                  <a:gd name="connsiteX22" fmla="*/ 410377 w 590828"/>
                  <a:gd name="connsiteY22" fmla="*/ 14599 h 657771"/>
                  <a:gd name="connsiteX23" fmla="*/ 415716 w 590828"/>
                  <a:gd name="connsiteY23" fmla="*/ 10177 h 657771"/>
                  <a:gd name="connsiteX24" fmla="*/ 425894 w 590828"/>
                  <a:gd name="connsiteY24" fmla="*/ 0 h 657771"/>
                  <a:gd name="connsiteX25" fmla="*/ 426812 w 590828"/>
                  <a:gd name="connsiteY25" fmla="*/ 417 h 657771"/>
                  <a:gd name="connsiteX26" fmla="*/ 445416 w 590828"/>
                  <a:gd name="connsiteY26" fmla="*/ 11929 h 657771"/>
                  <a:gd name="connsiteX27" fmla="*/ 488381 w 590828"/>
                  <a:gd name="connsiteY27" fmla="*/ 31866 h 657771"/>
                  <a:gd name="connsiteX28" fmla="*/ 518081 w 590828"/>
                  <a:gd name="connsiteY28" fmla="*/ 31866 h 657771"/>
                  <a:gd name="connsiteX29" fmla="*/ 531846 w 590828"/>
                  <a:gd name="connsiteY29" fmla="*/ 23441 h 657771"/>
                  <a:gd name="connsiteX30" fmla="*/ 542942 w 590828"/>
                  <a:gd name="connsiteY30" fmla="*/ 16767 h 657771"/>
                  <a:gd name="connsiteX31" fmla="*/ 554872 w 590828"/>
                  <a:gd name="connsiteY31" fmla="*/ 16767 h 657771"/>
                  <a:gd name="connsiteX32" fmla="*/ 573059 w 590828"/>
                  <a:gd name="connsiteY32" fmla="*/ 15850 h 657771"/>
                  <a:gd name="connsiteX33" fmla="*/ 573977 w 590828"/>
                  <a:gd name="connsiteY33" fmla="*/ 15433 h 657771"/>
                  <a:gd name="connsiteX34" fmla="*/ 573560 w 590828"/>
                  <a:gd name="connsiteY34" fmla="*/ 17685 h 657771"/>
                  <a:gd name="connsiteX35" fmla="*/ 572225 w 590828"/>
                  <a:gd name="connsiteY35" fmla="*/ 26110 h 657771"/>
                  <a:gd name="connsiteX36" fmla="*/ 579316 w 590828"/>
                  <a:gd name="connsiteY36" fmla="*/ 58895 h 657771"/>
                  <a:gd name="connsiteX37" fmla="*/ 581986 w 590828"/>
                  <a:gd name="connsiteY37" fmla="*/ 63316 h 657771"/>
                  <a:gd name="connsiteX38" fmla="*/ 585072 w 590828"/>
                  <a:gd name="connsiteY38" fmla="*/ 68655 h 657771"/>
                  <a:gd name="connsiteX39" fmla="*/ 588576 w 590828"/>
                  <a:gd name="connsiteY39" fmla="*/ 80584 h 657771"/>
                  <a:gd name="connsiteX40" fmla="*/ 590829 w 590828"/>
                  <a:gd name="connsiteY40" fmla="*/ 104025 h 657771"/>
                  <a:gd name="connsiteX41" fmla="*/ 590412 w 590828"/>
                  <a:gd name="connsiteY41" fmla="*/ 110699 h 657771"/>
                  <a:gd name="connsiteX42" fmla="*/ 586407 w 590828"/>
                  <a:gd name="connsiteY42" fmla="*/ 116455 h 657771"/>
                  <a:gd name="connsiteX43" fmla="*/ 575812 w 590828"/>
                  <a:gd name="connsiteY43" fmla="*/ 124880 h 657771"/>
                  <a:gd name="connsiteX44" fmla="*/ 567386 w 590828"/>
                  <a:gd name="connsiteY44" fmla="*/ 131554 h 657771"/>
                  <a:gd name="connsiteX45" fmla="*/ 560295 w 590828"/>
                  <a:gd name="connsiteY45" fmla="*/ 138228 h 657771"/>
                  <a:gd name="connsiteX46" fmla="*/ 551869 w 590828"/>
                  <a:gd name="connsiteY46" fmla="*/ 146236 h 657771"/>
                  <a:gd name="connsiteX47" fmla="*/ 548365 w 590828"/>
                  <a:gd name="connsiteY47" fmla="*/ 148489 h 657771"/>
                  <a:gd name="connsiteX48" fmla="*/ 534182 w 590828"/>
                  <a:gd name="connsiteY48" fmla="*/ 162670 h 657771"/>
                  <a:gd name="connsiteX49" fmla="*/ 536435 w 590828"/>
                  <a:gd name="connsiteY49" fmla="*/ 184359 h 657771"/>
                  <a:gd name="connsiteX50" fmla="*/ 538187 w 590828"/>
                  <a:gd name="connsiteY50" fmla="*/ 188780 h 657771"/>
                  <a:gd name="connsiteX51" fmla="*/ 541690 w 590828"/>
                  <a:gd name="connsiteY51" fmla="*/ 198958 h 657771"/>
                  <a:gd name="connsiteX52" fmla="*/ 542108 w 590828"/>
                  <a:gd name="connsiteY52" fmla="*/ 203796 h 657771"/>
                  <a:gd name="connsiteX53" fmla="*/ 542525 w 590828"/>
                  <a:gd name="connsiteY53" fmla="*/ 210470 h 657771"/>
                  <a:gd name="connsiteX54" fmla="*/ 546946 w 590828"/>
                  <a:gd name="connsiteY54" fmla="*/ 224651 h 657771"/>
                  <a:gd name="connsiteX55" fmla="*/ 550450 w 590828"/>
                  <a:gd name="connsiteY55" fmla="*/ 235746 h 657771"/>
                  <a:gd name="connsiteX56" fmla="*/ 544277 w 590828"/>
                  <a:gd name="connsiteY56" fmla="*/ 255684 h 657771"/>
                  <a:gd name="connsiteX57" fmla="*/ 531846 w 590828"/>
                  <a:gd name="connsiteY57" fmla="*/ 274286 h 657771"/>
                  <a:gd name="connsiteX58" fmla="*/ 514994 w 590828"/>
                  <a:gd name="connsiteY58" fmla="*/ 283129 h 657771"/>
                  <a:gd name="connsiteX59" fmla="*/ 491551 w 590828"/>
                  <a:gd name="connsiteY59" fmla="*/ 276038 h 657771"/>
                  <a:gd name="connsiteX60" fmla="*/ 476951 w 590828"/>
                  <a:gd name="connsiteY60" fmla="*/ 269865 h 657771"/>
                  <a:gd name="connsiteX61" fmla="*/ 449003 w 590828"/>
                  <a:gd name="connsiteY61" fmla="*/ 279208 h 657771"/>
                  <a:gd name="connsiteX62" fmla="*/ 417969 w 590828"/>
                  <a:gd name="connsiteY62" fmla="*/ 299146 h 657771"/>
                  <a:gd name="connsiteX63" fmla="*/ 409125 w 590828"/>
                  <a:gd name="connsiteY63" fmla="*/ 308906 h 657771"/>
                  <a:gd name="connsiteX64" fmla="*/ 412212 w 590828"/>
                  <a:gd name="connsiteY64" fmla="*/ 324839 h 657771"/>
                  <a:gd name="connsiteX65" fmla="*/ 428147 w 590828"/>
                  <a:gd name="connsiteY65" fmla="*/ 344777 h 657771"/>
                  <a:gd name="connsiteX66" fmla="*/ 442329 w 590828"/>
                  <a:gd name="connsiteY66" fmla="*/ 370887 h 657771"/>
                  <a:gd name="connsiteX67" fmla="*/ 439242 w 590828"/>
                  <a:gd name="connsiteY67" fmla="*/ 386821 h 657771"/>
                  <a:gd name="connsiteX68" fmla="*/ 437907 w 590828"/>
                  <a:gd name="connsiteY68" fmla="*/ 391659 h 657771"/>
                  <a:gd name="connsiteX69" fmla="*/ 433486 w 590828"/>
                  <a:gd name="connsiteY69" fmla="*/ 436873 h 657771"/>
                  <a:gd name="connsiteX70" fmla="*/ 439242 w 590828"/>
                  <a:gd name="connsiteY70" fmla="*/ 456810 h 657771"/>
                  <a:gd name="connsiteX71" fmla="*/ 443247 w 590828"/>
                  <a:gd name="connsiteY71" fmla="*/ 460815 h 657771"/>
                  <a:gd name="connsiteX72" fmla="*/ 445916 w 590828"/>
                  <a:gd name="connsiteY72" fmla="*/ 463484 h 657771"/>
                  <a:gd name="connsiteX73" fmla="*/ 448586 w 590828"/>
                  <a:gd name="connsiteY73" fmla="*/ 471492 h 657771"/>
                  <a:gd name="connsiteX74" fmla="*/ 453925 w 590828"/>
                  <a:gd name="connsiteY74" fmla="*/ 486091 h 657771"/>
                  <a:gd name="connsiteX75" fmla="*/ 473447 w 590828"/>
                  <a:gd name="connsiteY75" fmla="*/ 494934 h 657771"/>
                  <a:gd name="connsiteX76" fmla="*/ 484043 w 590828"/>
                  <a:gd name="connsiteY76" fmla="*/ 498020 h 657771"/>
                  <a:gd name="connsiteX77" fmla="*/ 486712 w 590828"/>
                  <a:gd name="connsiteY77" fmla="*/ 502442 h 657771"/>
                  <a:gd name="connsiteX78" fmla="*/ 486712 w 590828"/>
                  <a:gd name="connsiteY78" fmla="*/ 502859 h 657771"/>
                  <a:gd name="connsiteX79" fmla="*/ 487129 w 590828"/>
                  <a:gd name="connsiteY79" fmla="*/ 512619 h 657771"/>
                  <a:gd name="connsiteX80" fmla="*/ 486712 w 590828"/>
                  <a:gd name="connsiteY80" fmla="*/ 516122 h 657771"/>
                  <a:gd name="connsiteX81" fmla="*/ 485377 w 590828"/>
                  <a:gd name="connsiteY81" fmla="*/ 535643 h 657771"/>
                  <a:gd name="connsiteX82" fmla="*/ 503564 w 590828"/>
                  <a:gd name="connsiteY82" fmla="*/ 551159 h 657771"/>
                  <a:gd name="connsiteX83" fmla="*/ 529260 w 590828"/>
                  <a:gd name="connsiteY83" fmla="*/ 543651 h 657771"/>
                  <a:gd name="connsiteX84" fmla="*/ 531012 w 590828"/>
                  <a:gd name="connsiteY84" fmla="*/ 542316 h 657771"/>
                  <a:gd name="connsiteX85" fmla="*/ 534099 w 590828"/>
                  <a:gd name="connsiteY85" fmla="*/ 540064 h 657771"/>
                  <a:gd name="connsiteX86" fmla="*/ 542525 w 590828"/>
                  <a:gd name="connsiteY86" fmla="*/ 541399 h 657771"/>
                  <a:gd name="connsiteX87" fmla="*/ 543442 w 590828"/>
                  <a:gd name="connsiteY87" fmla="*/ 543651 h 657771"/>
                  <a:gd name="connsiteX88" fmla="*/ 542525 w 590828"/>
                  <a:gd name="connsiteY88" fmla="*/ 545904 h 657771"/>
                  <a:gd name="connsiteX89" fmla="*/ 527424 w 590828"/>
                  <a:gd name="connsiteY89" fmla="*/ 571180 h 657771"/>
                  <a:gd name="connsiteX90" fmla="*/ 505316 w 590828"/>
                  <a:gd name="connsiteY90" fmla="*/ 599543 h 657771"/>
                  <a:gd name="connsiteX91" fmla="*/ 476534 w 590828"/>
                  <a:gd name="connsiteY91" fmla="*/ 615893 h 657771"/>
                  <a:gd name="connsiteX92" fmla="*/ 459265 w 590828"/>
                  <a:gd name="connsiteY92" fmla="*/ 617228 h 657771"/>
                  <a:gd name="connsiteX93" fmla="*/ 450839 w 590828"/>
                  <a:gd name="connsiteY93" fmla="*/ 617645 h 657771"/>
                  <a:gd name="connsiteX94" fmla="*/ 433152 w 590828"/>
                  <a:gd name="connsiteY94" fmla="*/ 621149 h 657771"/>
                  <a:gd name="connsiteX95" fmla="*/ 413213 w 590828"/>
                  <a:gd name="connsiteY95" fmla="*/ 645091 h 657771"/>
                  <a:gd name="connsiteX96" fmla="*/ 406539 w 590828"/>
                  <a:gd name="connsiteY96" fmla="*/ 651764 h 657771"/>
                  <a:gd name="connsiteX97" fmla="*/ 402535 w 590828"/>
                  <a:gd name="connsiteY97" fmla="*/ 654851 h 657771"/>
                  <a:gd name="connsiteX98" fmla="*/ 399865 w 590828"/>
                  <a:gd name="connsiteY98" fmla="*/ 657103 h 657771"/>
                  <a:gd name="connsiteX99" fmla="*/ 395026 w 590828"/>
                  <a:gd name="connsiteY99" fmla="*/ 654851 h 657771"/>
                  <a:gd name="connsiteX100" fmla="*/ 382178 w 590828"/>
                  <a:gd name="connsiteY100" fmla="*/ 650429 h 657771"/>
                  <a:gd name="connsiteX101" fmla="*/ 371583 w 590828"/>
                  <a:gd name="connsiteY101" fmla="*/ 653516 h 657771"/>
                  <a:gd name="connsiteX102" fmla="*/ 358318 w 590828"/>
                  <a:gd name="connsiteY102" fmla="*/ 657020 h 657771"/>
                  <a:gd name="connsiteX103" fmla="*/ 351227 w 590828"/>
                  <a:gd name="connsiteY103" fmla="*/ 657437 h 657771"/>
                  <a:gd name="connsiteX104" fmla="*/ 349892 w 590828"/>
                  <a:gd name="connsiteY104" fmla="*/ 655685 h 657771"/>
                  <a:gd name="connsiteX105" fmla="*/ 345471 w 590828"/>
                  <a:gd name="connsiteY105" fmla="*/ 650847 h 657771"/>
                  <a:gd name="connsiteX106" fmla="*/ 340632 w 590828"/>
                  <a:gd name="connsiteY106" fmla="*/ 648594 h 657771"/>
                  <a:gd name="connsiteX107" fmla="*/ 340215 w 590828"/>
                  <a:gd name="connsiteY107" fmla="*/ 648594 h 657771"/>
                  <a:gd name="connsiteX108" fmla="*/ 339797 w 590828"/>
                  <a:gd name="connsiteY108" fmla="*/ 634830 h 657771"/>
                  <a:gd name="connsiteX109" fmla="*/ 338463 w 590828"/>
                  <a:gd name="connsiteY109" fmla="*/ 611389 h 657771"/>
                  <a:gd name="connsiteX110" fmla="*/ 315854 w 590828"/>
                  <a:gd name="connsiteY110" fmla="*/ 579522 h 657771"/>
                  <a:gd name="connsiteX111" fmla="*/ 296332 w 590828"/>
                  <a:gd name="connsiteY111" fmla="*/ 548490 h 657771"/>
                  <a:gd name="connsiteX112" fmla="*/ 275976 w 590828"/>
                  <a:gd name="connsiteY112" fmla="*/ 512202 h 657771"/>
                  <a:gd name="connsiteX113" fmla="*/ 254702 w 590828"/>
                  <a:gd name="connsiteY113" fmla="*/ 505111 h 657771"/>
                  <a:gd name="connsiteX114" fmla="*/ 236098 w 590828"/>
                  <a:gd name="connsiteY114" fmla="*/ 524632 h 657771"/>
                  <a:gd name="connsiteX115" fmla="*/ 202894 w 590828"/>
                  <a:gd name="connsiteY115" fmla="*/ 538396 h 657771"/>
                  <a:gd name="connsiteX116" fmla="*/ 196720 w 590828"/>
                  <a:gd name="connsiteY116" fmla="*/ 533557 h 657771"/>
                  <a:gd name="connsiteX117" fmla="*/ 171025 w 590828"/>
                  <a:gd name="connsiteY117" fmla="*/ 532640 h 657771"/>
                  <a:gd name="connsiteX118" fmla="*/ 159512 w 590828"/>
                  <a:gd name="connsiteY118" fmla="*/ 542817 h 657771"/>
                  <a:gd name="connsiteX119" fmla="*/ 137404 w 590828"/>
                  <a:gd name="connsiteY119" fmla="*/ 528218 h 657771"/>
                  <a:gd name="connsiteX120" fmla="*/ 130730 w 590828"/>
                  <a:gd name="connsiteY120" fmla="*/ 525549 h 657771"/>
                  <a:gd name="connsiteX121" fmla="*/ 131147 w 590828"/>
                  <a:gd name="connsiteY121" fmla="*/ 507864 h 657771"/>
                  <a:gd name="connsiteX122" fmla="*/ 132065 w 590828"/>
                  <a:gd name="connsiteY122" fmla="*/ 489678 h 657771"/>
                  <a:gd name="connsiteX123" fmla="*/ 132982 w 590828"/>
                  <a:gd name="connsiteY123" fmla="*/ 483005 h 657771"/>
                  <a:gd name="connsiteX124" fmla="*/ 131648 w 590828"/>
                  <a:gd name="connsiteY124" fmla="*/ 461733 h 657771"/>
                  <a:gd name="connsiteX125" fmla="*/ 121887 w 590828"/>
                  <a:gd name="connsiteY125" fmla="*/ 453307 h 657771"/>
                  <a:gd name="connsiteX126" fmla="*/ 117048 w 590828"/>
                  <a:gd name="connsiteY126" fmla="*/ 449303 h 657771"/>
                  <a:gd name="connsiteX127" fmla="*/ 109539 w 590828"/>
                  <a:gd name="connsiteY127" fmla="*/ 440877 h 657771"/>
                  <a:gd name="connsiteX128" fmla="*/ 87431 w 590828"/>
                  <a:gd name="connsiteY128" fmla="*/ 402337 h 657771"/>
                  <a:gd name="connsiteX129" fmla="*/ 90518 w 590828"/>
                  <a:gd name="connsiteY129" fmla="*/ 392577 h 657771"/>
                  <a:gd name="connsiteX130" fmla="*/ 94940 w 590828"/>
                  <a:gd name="connsiteY130" fmla="*/ 377978 h 657771"/>
                  <a:gd name="connsiteX131" fmla="*/ 102031 w 590828"/>
                  <a:gd name="connsiteY131" fmla="*/ 358041 h 657771"/>
                  <a:gd name="connsiteX132" fmla="*/ 112626 w 590828"/>
                  <a:gd name="connsiteY132" fmla="*/ 332764 h 657771"/>
                  <a:gd name="connsiteX133" fmla="*/ 89600 w 590828"/>
                  <a:gd name="connsiteY133" fmla="*/ 304401 h 657771"/>
                  <a:gd name="connsiteX134" fmla="*/ 79005 w 590828"/>
                  <a:gd name="connsiteY134" fmla="*/ 293807 h 657771"/>
                  <a:gd name="connsiteX135" fmla="*/ 36040 w 590828"/>
                  <a:gd name="connsiteY135" fmla="*/ 273452 h 657771"/>
                  <a:gd name="connsiteX136" fmla="*/ 25862 w 590828"/>
                  <a:gd name="connsiteY136" fmla="*/ 276956 h 657771"/>
                  <a:gd name="connsiteX137" fmla="*/ 15684 w 590828"/>
                  <a:gd name="connsiteY137" fmla="*/ 277373 h 657771"/>
                  <a:gd name="connsiteX138" fmla="*/ 1085 w 590828"/>
                  <a:gd name="connsiteY138" fmla="*/ 262274 h 657771"/>
                  <a:gd name="connsiteX139" fmla="*/ 5506 w 590828"/>
                  <a:gd name="connsiteY139" fmla="*/ 255183 h 657771"/>
                  <a:gd name="connsiteX140" fmla="*/ 13015 w 590828"/>
                  <a:gd name="connsiteY140" fmla="*/ 241002 h 657771"/>
                  <a:gd name="connsiteX141" fmla="*/ 13015 w 590828"/>
                  <a:gd name="connsiteY141" fmla="*/ 229072 h 657771"/>
                  <a:gd name="connsiteX142" fmla="*/ 32036 w 590828"/>
                  <a:gd name="connsiteY142" fmla="*/ 233494 h 657771"/>
                  <a:gd name="connsiteX143" fmla="*/ 53310 w 590828"/>
                  <a:gd name="connsiteY143" fmla="*/ 237915 h 657771"/>
                  <a:gd name="connsiteX144" fmla="*/ 65240 w 590828"/>
                  <a:gd name="connsiteY144" fmla="*/ 245924 h 657771"/>
                  <a:gd name="connsiteX145" fmla="*/ 79422 w 590828"/>
                  <a:gd name="connsiteY145" fmla="*/ 218895 h 657771"/>
                  <a:gd name="connsiteX146" fmla="*/ 55979 w 590828"/>
                  <a:gd name="connsiteY146" fmla="*/ 206049 h 657771"/>
                  <a:gd name="connsiteX147" fmla="*/ 5756 w 590828"/>
                  <a:gd name="connsiteY147" fmla="*/ 168676 h 65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590828" h="657771" extrusionOk="0">
                    <a:moveTo>
                      <a:pt x="5756" y="168676"/>
                    </a:moveTo>
                    <a:cubicBezTo>
                      <a:pt x="4004" y="167341"/>
                      <a:pt x="2253" y="166424"/>
                      <a:pt x="0" y="165590"/>
                    </a:cubicBezTo>
                    <a:cubicBezTo>
                      <a:pt x="2670" y="162920"/>
                      <a:pt x="5756" y="160250"/>
                      <a:pt x="8426" y="157581"/>
                    </a:cubicBezTo>
                    <a:cubicBezTo>
                      <a:pt x="11930" y="153577"/>
                      <a:pt x="15517" y="149156"/>
                      <a:pt x="19021" y="144735"/>
                    </a:cubicBezTo>
                    <a:cubicBezTo>
                      <a:pt x="24361" y="137644"/>
                      <a:pt x="29617" y="130970"/>
                      <a:pt x="36291" y="126549"/>
                    </a:cubicBezTo>
                    <a:cubicBezTo>
                      <a:pt x="49556" y="117206"/>
                      <a:pt x="66408" y="120793"/>
                      <a:pt x="84094" y="124797"/>
                    </a:cubicBezTo>
                    <a:cubicBezTo>
                      <a:pt x="93855" y="127049"/>
                      <a:pt x="104033" y="129218"/>
                      <a:pt x="113794" y="129218"/>
                    </a:cubicBezTo>
                    <a:lnTo>
                      <a:pt x="115129" y="129218"/>
                    </a:lnTo>
                    <a:cubicBezTo>
                      <a:pt x="138155" y="129218"/>
                      <a:pt x="149668" y="143400"/>
                      <a:pt x="164768" y="161085"/>
                    </a:cubicBezTo>
                    <a:lnTo>
                      <a:pt x="173194" y="171262"/>
                    </a:lnTo>
                    <a:cubicBezTo>
                      <a:pt x="180285" y="179688"/>
                      <a:pt x="189546" y="190782"/>
                      <a:pt x="203728" y="190782"/>
                    </a:cubicBezTo>
                    <a:cubicBezTo>
                      <a:pt x="205063" y="190782"/>
                      <a:pt x="206398" y="190365"/>
                      <a:pt x="208150" y="190365"/>
                    </a:cubicBezTo>
                    <a:cubicBezTo>
                      <a:pt x="219246" y="188613"/>
                      <a:pt x="229841" y="179771"/>
                      <a:pt x="238684" y="171763"/>
                    </a:cubicBezTo>
                    <a:cubicBezTo>
                      <a:pt x="241771" y="169093"/>
                      <a:pt x="244858" y="166424"/>
                      <a:pt x="247527" y="164255"/>
                    </a:cubicBezTo>
                    <a:lnTo>
                      <a:pt x="249279" y="162920"/>
                    </a:lnTo>
                    <a:cubicBezTo>
                      <a:pt x="261209" y="154495"/>
                      <a:pt x="273223" y="145235"/>
                      <a:pt x="279814" y="129719"/>
                    </a:cubicBezTo>
                    <a:cubicBezTo>
                      <a:pt x="282900" y="122628"/>
                      <a:pt x="284235" y="114620"/>
                      <a:pt x="285153" y="107612"/>
                    </a:cubicBezTo>
                    <a:cubicBezTo>
                      <a:pt x="286071" y="100522"/>
                      <a:pt x="287406" y="93848"/>
                      <a:pt x="289992" y="87675"/>
                    </a:cubicBezTo>
                    <a:cubicBezTo>
                      <a:pt x="299335" y="66402"/>
                      <a:pt x="321026" y="50052"/>
                      <a:pt x="343135" y="47800"/>
                    </a:cubicBezTo>
                    <a:cubicBezTo>
                      <a:pt x="347139" y="47383"/>
                      <a:pt x="351561" y="47800"/>
                      <a:pt x="356399" y="48217"/>
                    </a:cubicBezTo>
                    <a:cubicBezTo>
                      <a:pt x="364826" y="49135"/>
                      <a:pt x="374587" y="49969"/>
                      <a:pt x="383847" y="45547"/>
                    </a:cubicBezTo>
                    <a:cubicBezTo>
                      <a:pt x="393191" y="41126"/>
                      <a:pt x="398029" y="32701"/>
                      <a:pt x="402868" y="25193"/>
                    </a:cubicBezTo>
                    <a:cubicBezTo>
                      <a:pt x="405538" y="21189"/>
                      <a:pt x="407707" y="17184"/>
                      <a:pt x="410377" y="14599"/>
                    </a:cubicBezTo>
                    <a:cubicBezTo>
                      <a:pt x="411711" y="13264"/>
                      <a:pt x="413881" y="11512"/>
                      <a:pt x="415716" y="10177"/>
                    </a:cubicBezTo>
                    <a:cubicBezTo>
                      <a:pt x="418803" y="7925"/>
                      <a:pt x="422807" y="4421"/>
                      <a:pt x="425894" y="0"/>
                    </a:cubicBezTo>
                    <a:cubicBezTo>
                      <a:pt x="426311" y="0"/>
                      <a:pt x="426812" y="0"/>
                      <a:pt x="426812" y="417"/>
                    </a:cubicBezTo>
                    <a:cubicBezTo>
                      <a:pt x="433486" y="3921"/>
                      <a:pt x="439659" y="7925"/>
                      <a:pt x="445416" y="11929"/>
                    </a:cubicBezTo>
                    <a:cubicBezTo>
                      <a:pt x="457846" y="20355"/>
                      <a:pt x="470194" y="28780"/>
                      <a:pt x="488381" y="31866"/>
                    </a:cubicBezTo>
                    <a:cubicBezTo>
                      <a:pt x="496807" y="33201"/>
                      <a:pt x="508320" y="34953"/>
                      <a:pt x="518081" y="31866"/>
                    </a:cubicBezTo>
                    <a:cubicBezTo>
                      <a:pt x="523420" y="29614"/>
                      <a:pt x="527842" y="26528"/>
                      <a:pt x="531846" y="23441"/>
                    </a:cubicBezTo>
                    <a:cubicBezTo>
                      <a:pt x="535350" y="20355"/>
                      <a:pt x="538937" y="18102"/>
                      <a:pt x="542942" y="16767"/>
                    </a:cubicBezTo>
                    <a:cubicBezTo>
                      <a:pt x="546446" y="15850"/>
                      <a:pt x="550951" y="16350"/>
                      <a:pt x="554872" y="16767"/>
                    </a:cubicBezTo>
                    <a:cubicBezTo>
                      <a:pt x="560211" y="17685"/>
                      <a:pt x="566802" y="18102"/>
                      <a:pt x="573059" y="15850"/>
                    </a:cubicBezTo>
                    <a:cubicBezTo>
                      <a:pt x="573476" y="15850"/>
                      <a:pt x="573476" y="15433"/>
                      <a:pt x="573977" y="15433"/>
                    </a:cubicBezTo>
                    <a:cubicBezTo>
                      <a:pt x="573977" y="16350"/>
                      <a:pt x="573977" y="16767"/>
                      <a:pt x="573560" y="17685"/>
                    </a:cubicBezTo>
                    <a:cubicBezTo>
                      <a:pt x="573142" y="20355"/>
                      <a:pt x="572642" y="23024"/>
                      <a:pt x="572225" y="26110"/>
                    </a:cubicBezTo>
                    <a:cubicBezTo>
                      <a:pt x="570890" y="37205"/>
                      <a:pt x="573560" y="49135"/>
                      <a:pt x="579316" y="58895"/>
                    </a:cubicBezTo>
                    <a:cubicBezTo>
                      <a:pt x="580234" y="60229"/>
                      <a:pt x="581068" y="61981"/>
                      <a:pt x="581986" y="63316"/>
                    </a:cubicBezTo>
                    <a:cubicBezTo>
                      <a:pt x="583320" y="65068"/>
                      <a:pt x="584238" y="66820"/>
                      <a:pt x="585072" y="68655"/>
                    </a:cubicBezTo>
                    <a:cubicBezTo>
                      <a:pt x="586824" y="72159"/>
                      <a:pt x="587742" y="77080"/>
                      <a:pt x="588576" y="80584"/>
                    </a:cubicBezTo>
                    <a:cubicBezTo>
                      <a:pt x="589911" y="88592"/>
                      <a:pt x="590829" y="96100"/>
                      <a:pt x="590829" y="104025"/>
                    </a:cubicBezTo>
                    <a:cubicBezTo>
                      <a:pt x="590829" y="106695"/>
                      <a:pt x="590829" y="108864"/>
                      <a:pt x="590412" y="110699"/>
                    </a:cubicBezTo>
                    <a:cubicBezTo>
                      <a:pt x="589995" y="112451"/>
                      <a:pt x="588159" y="114203"/>
                      <a:pt x="586407" y="116455"/>
                    </a:cubicBezTo>
                    <a:cubicBezTo>
                      <a:pt x="583320" y="119541"/>
                      <a:pt x="579733" y="122211"/>
                      <a:pt x="575812" y="124880"/>
                    </a:cubicBezTo>
                    <a:cubicBezTo>
                      <a:pt x="573142" y="127133"/>
                      <a:pt x="570056" y="129302"/>
                      <a:pt x="567386" y="131554"/>
                    </a:cubicBezTo>
                    <a:cubicBezTo>
                      <a:pt x="564716" y="133806"/>
                      <a:pt x="562547" y="135975"/>
                      <a:pt x="560295" y="138228"/>
                    </a:cubicBezTo>
                    <a:cubicBezTo>
                      <a:pt x="557625" y="141314"/>
                      <a:pt x="554538" y="144401"/>
                      <a:pt x="551869" y="146236"/>
                    </a:cubicBezTo>
                    <a:cubicBezTo>
                      <a:pt x="550534" y="147154"/>
                      <a:pt x="549616" y="147571"/>
                      <a:pt x="548365" y="148489"/>
                    </a:cubicBezTo>
                    <a:cubicBezTo>
                      <a:pt x="543526" y="151158"/>
                      <a:pt x="537269" y="154662"/>
                      <a:pt x="534182" y="162670"/>
                    </a:cubicBezTo>
                    <a:cubicBezTo>
                      <a:pt x="531930" y="168843"/>
                      <a:pt x="532847" y="175934"/>
                      <a:pt x="536435" y="184359"/>
                    </a:cubicBezTo>
                    <a:lnTo>
                      <a:pt x="538187" y="188780"/>
                    </a:lnTo>
                    <a:cubicBezTo>
                      <a:pt x="539939" y="192284"/>
                      <a:pt x="541273" y="195871"/>
                      <a:pt x="541690" y="198958"/>
                    </a:cubicBezTo>
                    <a:cubicBezTo>
                      <a:pt x="542108" y="200292"/>
                      <a:pt x="542108" y="202044"/>
                      <a:pt x="542108" y="203796"/>
                    </a:cubicBezTo>
                    <a:cubicBezTo>
                      <a:pt x="542108" y="206049"/>
                      <a:pt x="542525" y="208217"/>
                      <a:pt x="542525" y="210470"/>
                    </a:cubicBezTo>
                    <a:cubicBezTo>
                      <a:pt x="543442" y="215308"/>
                      <a:pt x="545194" y="220230"/>
                      <a:pt x="546946" y="224651"/>
                    </a:cubicBezTo>
                    <a:cubicBezTo>
                      <a:pt x="548698" y="228655"/>
                      <a:pt x="550450" y="232660"/>
                      <a:pt x="550450" y="235746"/>
                    </a:cubicBezTo>
                    <a:cubicBezTo>
                      <a:pt x="551368" y="242420"/>
                      <a:pt x="547781" y="249510"/>
                      <a:pt x="544277" y="255684"/>
                    </a:cubicBezTo>
                    <a:cubicBezTo>
                      <a:pt x="540272" y="263192"/>
                      <a:pt x="536768" y="269448"/>
                      <a:pt x="531846" y="274286"/>
                    </a:cubicBezTo>
                    <a:cubicBezTo>
                      <a:pt x="527007" y="279625"/>
                      <a:pt x="520750" y="282712"/>
                      <a:pt x="514994" y="283129"/>
                    </a:cubicBezTo>
                    <a:cubicBezTo>
                      <a:pt x="508820" y="284047"/>
                      <a:pt x="502146" y="281794"/>
                      <a:pt x="491551" y="276038"/>
                    </a:cubicBezTo>
                    <a:cubicBezTo>
                      <a:pt x="487129" y="273369"/>
                      <a:pt x="482708" y="271200"/>
                      <a:pt x="476951" y="269865"/>
                    </a:cubicBezTo>
                    <a:cubicBezTo>
                      <a:pt x="465855" y="268113"/>
                      <a:pt x="455677" y="274704"/>
                      <a:pt x="449003" y="279208"/>
                    </a:cubicBezTo>
                    <a:lnTo>
                      <a:pt x="417969" y="299146"/>
                    </a:lnTo>
                    <a:cubicBezTo>
                      <a:pt x="415299" y="300898"/>
                      <a:pt x="410877" y="303567"/>
                      <a:pt x="409125" y="308906"/>
                    </a:cubicBezTo>
                    <a:cubicBezTo>
                      <a:pt x="406873" y="315580"/>
                      <a:pt x="410460" y="322170"/>
                      <a:pt x="412212" y="324839"/>
                    </a:cubicBezTo>
                    <a:cubicBezTo>
                      <a:pt x="416216" y="331513"/>
                      <a:pt x="421055" y="337686"/>
                      <a:pt x="428147" y="344777"/>
                    </a:cubicBezTo>
                    <a:cubicBezTo>
                      <a:pt x="437907" y="354954"/>
                      <a:pt x="442746" y="360293"/>
                      <a:pt x="442329" y="370887"/>
                    </a:cubicBezTo>
                    <a:cubicBezTo>
                      <a:pt x="441912" y="376227"/>
                      <a:pt x="440577" y="381482"/>
                      <a:pt x="439242" y="386821"/>
                    </a:cubicBezTo>
                    <a:lnTo>
                      <a:pt x="437907" y="391659"/>
                    </a:lnTo>
                    <a:cubicBezTo>
                      <a:pt x="434821" y="406258"/>
                      <a:pt x="433069" y="421357"/>
                      <a:pt x="433486" y="436873"/>
                    </a:cubicBezTo>
                    <a:cubicBezTo>
                      <a:pt x="433903" y="443964"/>
                      <a:pt x="434404" y="451054"/>
                      <a:pt x="439242" y="456810"/>
                    </a:cubicBezTo>
                    <a:cubicBezTo>
                      <a:pt x="440577" y="458145"/>
                      <a:pt x="441912" y="459480"/>
                      <a:pt x="443247" y="460815"/>
                    </a:cubicBezTo>
                    <a:cubicBezTo>
                      <a:pt x="444164" y="461733"/>
                      <a:pt x="444999" y="462567"/>
                      <a:pt x="445916" y="463484"/>
                    </a:cubicBezTo>
                    <a:cubicBezTo>
                      <a:pt x="447251" y="465236"/>
                      <a:pt x="447668" y="468323"/>
                      <a:pt x="448586" y="471492"/>
                    </a:cubicBezTo>
                    <a:cubicBezTo>
                      <a:pt x="449504" y="476331"/>
                      <a:pt x="450338" y="481670"/>
                      <a:pt x="453925" y="486091"/>
                    </a:cubicBezTo>
                    <a:cubicBezTo>
                      <a:pt x="459265" y="492765"/>
                      <a:pt x="466773" y="494100"/>
                      <a:pt x="473447" y="494934"/>
                    </a:cubicBezTo>
                    <a:cubicBezTo>
                      <a:pt x="477869" y="495851"/>
                      <a:pt x="481873" y="496269"/>
                      <a:pt x="484043" y="498020"/>
                    </a:cubicBezTo>
                    <a:cubicBezTo>
                      <a:pt x="485377" y="498938"/>
                      <a:pt x="486295" y="500690"/>
                      <a:pt x="486712" y="502442"/>
                    </a:cubicBezTo>
                    <a:lnTo>
                      <a:pt x="486712" y="502859"/>
                    </a:lnTo>
                    <a:cubicBezTo>
                      <a:pt x="487630" y="506363"/>
                      <a:pt x="487129" y="510367"/>
                      <a:pt x="487129" y="512619"/>
                    </a:cubicBezTo>
                    <a:lnTo>
                      <a:pt x="486712" y="516122"/>
                    </a:lnTo>
                    <a:cubicBezTo>
                      <a:pt x="485794" y="522295"/>
                      <a:pt x="484460" y="528969"/>
                      <a:pt x="485377" y="535643"/>
                    </a:cubicBezTo>
                    <a:cubicBezTo>
                      <a:pt x="486295" y="544485"/>
                      <a:pt x="492886" y="549824"/>
                      <a:pt x="503564" y="551159"/>
                    </a:cubicBezTo>
                    <a:cubicBezTo>
                      <a:pt x="512908" y="552077"/>
                      <a:pt x="522169" y="548907"/>
                      <a:pt x="529260" y="543651"/>
                    </a:cubicBezTo>
                    <a:lnTo>
                      <a:pt x="531012" y="542316"/>
                    </a:lnTo>
                    <a:cubicBezTo>
                      <a:pt x="531930" y="541399"/>
                      <a:pt x="532764" y="540982"/>
                      <a:pt x="534099" y="540064"/>
                    </a:cubicBezTo>
                    <a:cubicBezTo>
                      <a:pt x="536768" y="538730"/>
                      <a:pt x="540773" y="539147"/>
                      <a:pt x="542525" y="541399"/>
                    </a:cubicBezTo>
                    <a:cubicBezTo>
                      <a:pt x="543442" y="542316"/>
                      <a:pt x="543442" y="543151"/>
                      <a:pt x="543442" y="543651"/>
                    </a:cubicBezTo>
                    <a:cubicBezTo>
                      <a:pt x="543442" y="544152"/>
                      <a:pt x="542525" y="544986"/>
                      <a:pt x="542525" y="545904"/>
                    </a:cubicBezTo>
                    <a:cubicBezTo>
                      <a:pt x="537686" y="554329"/>
                      <a:pt x="532764" y="562754"/>
                      <a:pt x="527424" y="571180"/>
                    </a:cubicBezTo>
                    <a:cubicBezTo>
                      <a:pt x="521251" y="580940"/>
                      <a:pt x="514160" y="591117"/>
                      <a:pt x="505316" y="599543"/>
                    </a:cubicBezTo>
                    <a:cubicBezTo>
                      <a:pt x="496473" y="608386"/>
                      <a:pt x="486295" y="614142"/>
                      <a:pt x="476534" y="615893"/>
                    </a:cubicBezTo>
                    <a:cubicBezTo>
                      <a:pt x="471195" y="616811"/>
                      <a:pt x="465438" y="617228"/>
                      <a:pt x="459265" y="617228"/>
                    </a:cubicBezTo>
                    <a:cubicBezTo>
                      <a:pt x="456595" y="617228"/>
                      <a:pt x="453508" y="617228"/>
                      <a:pt x="450839" y="617645"/>
                    </a:cubicBezTo>
                    <a:cubicBezTo>
                      <a:pt x="445499" y="618062"/>
                      <a:pt x="439326" y="618563"/>
                      <a:pt x="433152" y="621149"/>
                    </a:cubicBezTo>
                    <a:cubicBezTo>
                      <a:pt x="423391" y="625987"/>
                      <a:pt x="417635" y="635747"/>
                      <a:pt x="413213" y="645091"/>
                    </a:cubicBezTo>
                    <a:cubicBezTo>
                      <a:pt x="411878" y="647760"/>
                      <a:pt x="409709" y="649512"/>
                      <a:pt x="406539" y="651764"/>
                    </a:cubicBezTo>
                    <a:cubicBezTo>
                      <a:pt x="405204" y="652682"/>
                      <a:pt x="403869" y="654017"/>
                      <a:pt x="402535" y="654851"/>
                    </a:cubicBezTo>
                    <a:cubicBezTo>
                      <a:pt x="401617" y="655768"/>
                      <a:pt x="400282" y="656603"/>
                      <a:pt x="399865" y="657103"/>
                    </a:cubicBezTo>
                    <a:cubicBezTo>
                      <a:pt x="399448" y="657520"/>
                      <a:pt x="396778" y="655768"/>
                      <a:pt x="395026" y="654851"/>
                    </a:cubicBezTo>
                    <a:cubicBezTo>
                      <a:pt x="391522" y="652599"/>
                      <a:pt x="387017" y="650429"/>
                      <a:pt x="382178" y="650429"/>
                    </a:cubicBezTo>
                    <a:cubicBezTo>
                      <a:pt x="378674" y="650429"/>
                      <a:pt x="375504" y="651764"/>
                      <a:pt x="371583" y="653516"/>
                    </a:cubicBezTo>
                    <a:cubicBezTo>
                      <a:pt x="367579" y="655268"/>
                      <a:pt x="363157" y="656185"/>
                      <a:pt x="358318" y="657020"/>
                    </a:cubicBezTo>
                    <a:cubicBezTo>
                      <a:pt x="353480" y="657937"/>
                      <a:pt x="351644" y="657937"/>
                      <a:pt x="351227" y="657437"/>
                    </a:cubicBezTo>
                    <a:cubicBezTo>
                      <a:pt x="350810" y="656937"/>
                      <a:pt x="350309" y="656519"/>
                      <a:pt x="349892" y="655685"/>
                    </a:cubicBezTo>
                    <a:cubicBezTo>
                      <a:pt x="348974" y="654350"/>
                      <a:pt x="347640" y="652599"/>
                      <a:pt x="345471" y="650847"/>
                    </a:cubicBezTo>
                    <a:cubicBezTo>
                      <a:pt x="344136" y="649512"/>
                      <a:pt x="342384" y="648594"/>
                      <a:pt x="340632" y="648594"/>
                    </a:cubicBezTo>
                    <a:lnTo>
                      <a:pt x="340215" y="648594"/>
                    </a:lnTo>
                    <a:cubicBezTo>
                      <a:pt x="339797" y="644173"/>
                      <a:pt x="339797" y="639752"/>
                      <a:pt x="339797" y="634830"/>
                    </a:cubicBezTo>
                    <a:cubicBezTo>
                      <a:pt x="339380" y="626822"/>
                      <a:pt x="338880" y="619314"/>
                      <a:pt x="338463" y="611389"/>
                    </a:cubicBezTo>
                    <a:cubicBezTo>
                      <a:pt x="336210" y="591869"/>
                      <a:pt x="330454" y="587447"/>
                      <a:pt x="315854" y="579522"/>
                    </a:cubicBezTo>
                    <a:cubicBezTo>
                      <a:pt x="303006" y="572431"/>
                      <a:pt x="299920" y="561337"/>
                      <a:pt x="296332" y="548490"/>
                    </a:cubicBezTo>
                    <a:cubicBezTo>
                      <a:pt x="293245" y="536560"/>
                      <a:pt x="289241" y="522796"/>
                      <a:pt x="275976" y="512202"/>
                    </a:cubicBezTo>
                    <a:cubicBezTo>
                      <a:pt x="271137" y="508698"/>
                      <a:pt x="263128" y="503359"/>
                      <a:pt x="254702" y="505111"/>
                    </a:cubicBezTo>
                    <a:cubicBezTo>
                      <a:pt x="245859" y="507363"/>
                      <a:pt x="241437" y="514871"/>
                      <a:pt x="236098" y="524632"/>
                    </a:cubicBezTo>
                    <a:cubicBezTo>
                      <a:pt x="230342" y="534809"/>
                      <a:pt x="214824" y="542817"/>
                      <a:pt x="202894" y="538396"/>
                    </a:cubicBezTo>
                    <a:cubicBezTo>
                      <a:pt x="200224" y="537478"/>
                      <a:pt x="198472" y="535309"/>
                      <a:pt x="196720" y="533557"/>
                    </a:cubicBezTo>
                    <a:cubicBezTo>
                      <a:pt x="189629" y="524715"/>
                      <a:pt x="182538" y="524715"/>
                      <a:pt x="171025" y="532640"/>
                    </a:cubicBezTo>
                    <a:cubicBezTo>
                      <a:pt x="168772" y="533974"/>
                      <a:pt x="164351" y="537979"/>
                      <a:pt x="159512" y="542817"/>
                    </a:cubicBezTo>
                    <a:cubicBezTo>
                      <a:pt x="152838" y="537061"/>
                      <a:pt x="145330" y="532223"/>
                      <a:pt x="137404" y="528218"/>
                    </a:cubicBezTo>
                    <a:cubicBezTo>
                      <a:pt x="136069" y="527301"/>
                      <a:pt x="133900" y="525966"/>
                      <a:pt x="130730" y="525549"/>
                    </a:cubicBezTo>
                    <a:cubicBezTo>
                      <a:pt x="130730" y="519376"/>
                      <a:pt x="131147" y="513620"/>
                      <a:pt x="131147" y="507864"/>
                    </a:cubicBezTo>
                    <a:cubicBezTo>
                      <a:pt x="131564" y="501691"/>
                      <a:pt x="131564" y="495935"/>
                      <a:pt x="132065" y="489678"/>
                    </a:cubicBezTo>
                    <a:cubicBezTo>
                      <a:pt x="132065" y="487426"/>
                      <a:pt x="132482" y="485257"/>
                      <a:pt x="132982" y="483005"/>
                    </a:cubicBezTo>
                    <a:cubicBezTo>
                      <a:pt x="133900" y="476831"/>
                      <a:pt x="135235" y="468823"/>
                      <a:pt x="131648" y="461733"/>
                    </a:cubicBezTo>
                    <a:cubicBezTo>
                      <a:pt x="129395" y="458229"/>
                      <a:pt x="125474" y="455559"/>
                      <a:pt x="121887" y="453307"/>
                    </a:cubicBezTo>
                    <a:cubicBezTo>
                      <a:pt x="119634" y="451972"/>
                      <a:pt x="117465" y="450637"/>
                      <a:pt x="117048" y="449303"/>
                    </a:cubicBezTo>
                    <a:cubicBezTo>
                      <a:pt x="114795" y="446633"/>
                      <a:pt x="112209" y="443964"/>
                      <a:pt x="109539" y="440877"/>
                    </a:cubicBezTo>
                    <a:cubicBezTo>
                      <a:pt x="99779" y="429782"/>
                      <a:pt x="84762" y="413432"/>
                      <a:pt x="87431" y="402337"/>
                    </a:cubicBezTo>
                    <a:cubicBezTo>
                      <a:pt x="88349" y="399250"/>
                      <a:pt x="89684" y="395663"/>
                      <a:pt x="90518" y="392577"/>
                    </a:cubicBezTo>
                    <a:cubicBezTo>
                      <a:pt x="92270" y="388155"/>
                      <a:pt x="94022" y="383234"/>
                      <a:pt x="94940" y="377978"/>
                    </a:cubicBezTo>
                    <a:cubicBezTo>
                      <a:pt x="96275" y="369970"/>
                      <a:pt x="97609" y="363797"/>
                      <a:pt x="102031" y="358041"/>
                    </a:cubicBezTo>
                    <a:cubicBezTo>
                      <a:pt x="110457" y="347864"/>
                      <a:pt x="113544" y="340356"/>
                      <a:pt x="112626" y="332764"/>
                    </a:cubicBezTo>
                    <a:cubicBezTo>
                      <a:pt x="111291" y="321669"/>
                      <a:pt x="102448" y="314578"/>
                      <a:pt x="89600" y="304401"/>
                    </a:cubicBezTo>
                    <a:cubicBezTo>
                      <a:pt x="86097" y="301315"/>
                      <a:pt x="82509" y="297728"/>
                      <a:pt x="79005" y="293807"/>
                    </a:cubicBezTo>
                    <a:cubicBezTo>
                      <a:pt x="68827" y="282712"/>
                      <a:pt x="55562" y="269031"/>
                      <a:pt x="36040" y="273452"/>
                    </a:cubicBezTo>
                    <a:cubicBezTo>
                      <a:pt x="31619" y="274370"/>
                      <a:pt x="28532" y="276122"/>
                      <a:pt x="25862" y="276956"/>
                    </a:cubicBezTo>
                    <a:cubicBezTo>
                      <a:pt x="22358" y="278708"/>
                      <a:pt x="21024" y="279625"/>
                      <a:pt x="15684" y="277373"/>
                    </a:cubicBezTo>
                    <a:cubicBezTo>
                      <a:pt x="14349" y="276455"/>
                      <a:pt x="-250" y="270700"/>
                      <a:pt x="1085" y="262274"/>
                    </a:cubicBezTo>
                    <a:cubicBezTo>
                      <a:pt x="1502" y="259604"/>
                      <a:pt x="3337" y="257852"/>
                      <a:pt x="5506" y="255183"/>
                    </a:cubicBezTo>
                    <a:cubicBezTo>
                      <a:pt x="8176" y="251679"/>
                      <a:pt x="11680" y="247175"/>
                      <a:pt x="13015" y="241002"/>
                    </a:cubicBezTo>
                    <a:cubicBezTo>
                      <a:pt x="13932" y="237498"/>
                      <a:pt x="13432" y="232993"/>
                      <a:pt x="13015" y="229072"/>
                    </a:cubicBezTo>
                    <a:cubicBezTo>
                      <a:pt x="18354" y="231742"/>
                      <a:pt x="23610" y="232576"/>
                      <a:pt x="32036" y="233494"/>
                    </a:cubicBezTo>
                    <a:cubicBezTo>
                      <a:pt x="40462" y="234412"/>
                      <a:pt x="45801" y="234412"/>
                      <a:pt x="53310" y="237915"/>
                    </a:cubicBezTo>
                    <a:cubicBezTo>
                      <a:pt x="57731" y="240168"/>
                      <a:pt x="59984" y="244589"/>
                      <a:pt x="65240" y="245924"/>
                    </a:cubicBezTo>
                    <a:cubicBezTo>
                      <a:pt x="82092" y="249427"/>
                      <a:pt x="86931" y="231742"/>
                      <a:pt x="79422" y="218895"/>
                    </a:cubicBezTo>
                    <a:cubicBezTo>
                      <a:pt x="73666" y="210053"/>
                      <a:pt x="65240" y="209135"/>
                      <a:pt x="55979" y="206049"/>
                    </a:cubicBezTo>
                    <a:cubicBezTo>
                      <a:pt x="31952" y="198374"/>
                      <a:pt x="25278" y="181106"/>
                      <a:pt x="5756" y="1686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82094551" name="Полилиния 356"/>
              <p:cNvSpPr/>
              <p:nvPr/>
            </p:nvSpPr>
            <p:spPr bwMode="auto">
              <a:xfrm>
                <a:off x="1621692" y="4110332"/>
                <a:ext cx="244923" cy="281635"/>
              </a:xfrm>
              <a:custGeom>
                <a:avLst/>
                <a:gdLst>
                  <a:gd name="connsiteX0" fmla="*/ 109039 w 275058"/>
                  <a:gd name="connsiteY0" fmla="*/ 14181 h 316286"/>
                  <a:gd name="connsiteX1" fmla="*/ 109456 w 275058"/>
                  <a:gd name="connsiteY1" fmla="*/ 8426 h 316286"/>
                  <a:gd name="connsiteX2" fmla="*/ 110374 w 275058"/>
                  <a:gd name="connsiteY2" fmla="*/ 1335 h 316286"/>
                  <a:gd name="connsiteX3" fmla="*/ 110791 w 275058"/>
                  <a:gd name="connsiteY3" fmla="*/ 0 h 316286"/>
                  <a:gd name="connsiteX4" fmla="*/ 127143 w 275058"/>
                  <a:gd name="connsiteY4" fmla="*/ 7091 h 316286"/>
                  <a:gd name="connsiteX5" fmla="*/ 150168 w 275058"/>
                  <a:gd name="connsiteY5" fmla="*/ 4838 h 316286"/>
                  <a:gd name="connsiteX6" fmla="*/ 168355 w 275058"/>
                  <a:gd name="connsiteY6" fmla="*/ 3504 h 316286"/>
                  <a:gd name="connsiteX7" fmla="*/ 174112 w 275058"/>
                  <a:gd name="connsiteY7" fmla="*/ 6173 h 316286"/>
                  <a:gd name="connsiteX8" fmla="*/ 180285 w 275058"/>
                  <a:gd name="connsiteY8" fmla="*/ 9260 h 316286"/>
                  <a:gd name="connsiteX9" fmla="*/ 194051 w 275058"/>
                  <a:gd name="connsiteY9" fmla="*/ 12763 h 316286"/>
                  <a:gd name="connsiteX10" fmla="*/ 197138 w 275058"/>
                  <a:gd name="connsiteY10" fmla="*/ 13180 h 316286"/>
                  <a:gd name="connsiteX11" fmla="*/ 211737 w 275058"/>
                  <a:gd name="connsiteY11" fmla="*/ 17602 h 316286"/>
                  <a:gd name="connsiteX12" fmla="*/ 223667 w 275058"/>
                  <a:gd name="connsiteY12" fmla="*/ 75663 h 316286"/>
                  <a:gd name="connsiteX13" fmla="*/ 227171 w 275058"/>
                  <a:gd name="connsiteY13" fmla="*/ 88092 h 316286"/>
                  <a:gd name="connsiteX14" fmla="*/ 258623 w 275058"/>
                  <a:gd name="connsiteY14" fmla="*/ 136810 h 316286"/>
                  <a:gd name="connsiteX15" fmla="*/ 262127 w 275058"/>
                  <a:gd name="connsiteY15" fmla="*/ 140313 h 316286"/>
                  <a:gd name="connsiteX16" fmla="*/ 270136 w 275058"/>
                  <a:gd name="connsiteY16" fmla="*/ 172180 h 316286"/>
                  <a:gd name="connsiteX17" fmla="*/ 272806 w 275058"/>
                  <a:gd name="connsiteY17" fmla="*/ 203212 h 316286"/>
                  <a:gd name="connsiteX18" fmla="*/ 275058 w 275058"/>
                  <a:gd name="connsiteY18" fmla="*/ 207216 h 316286"/>
                  <a:gd name="connsiteX19" fmla="*/ 209068 w 275058"/>
                  <a:gd name="connsiteY19" fmla="*/ 291388 h 316286"/>
                  <a:gd name="connsiteX20" fmla="*/ 170942 w 275058"/>
                  <a:gd name="connsiteY20" fmla="*/ 315747 h 316286"/>
                  <a:gd name="connsiteX21" fmla="*/ 169607 w 275058"/>
                  <a:gd name="connsiteY21" fmla="*/ 315747 h 316286"/>
                  <a:gd name="connsiteX22" fmla="*/ 154506 w 275058"/>
                  <a:gd name="connsiteY22" fmla="*/ 311326 h 316286"/>
                  <a:gd name="connsiteX23" fmla="*/ 128394 w 275058"/>
                  <a:gd name="connsiteY23" fmla="*/ 281628 h 316286"/>
                  <a:gd name="connsiteX24" fmla="*/ 119968 w 275058"/>
                  <a:gd name="connsiteY24" fmla="*/ 263942 h 316286"/>
                  <a:gd name="connsiteX25" fmla="*/ 105368 w 275058"/>
                  <a:gd name="connsiteY25" fmla="*/ 214307 h 316286"/>
                  <a:gd name="connsiteX26" fmla="*/ 106286 w 275058"/>
                  <a:gd name="connsiteY26" fmla="*/ 208968 h 316286"/>
                  <a:gd name="connsiteX27" fmla="*/ 100112 w 275058"/>
                  <a:gd name="connsiteY27" fmla="*/ 174432 h 316286"/>
                  <a:gd name="connsiteX28" fmla="*/ 81091 w 275058"/>
                  <a:gd name="connsiteY28" fmla="*/ 164672 h 316286"/>
                  <a:gd name="connsiteX29" fmla="*/ 68243 w 275058"/>
                  <a:gd name="connsiteY29" fmla="*/ 158499 h 316286"/>
                  <a:gd name="connsiteX30" fmla="*/ 54478 w 275058"/>
                  <a:gd name="connsiteY30" fmla="*/ 135058 h 316286"/>
                  <a:gd name="connsiteX31" fmla="*/ 30117 w 275058"/>
                  <a:gd name="connsiteY31" fmla="*/ 101857 h 316286"/>
                  <a:gd name="connsiteX32" fmla="*/ 16352 w 275058"/>
                  <a:gd name="connsiteY32" fmla="*/ 96518 h 316286"/>
                  <a:gd name="connsiteX33" fmla="*/ 1752 w 275058"/>
                  <a:gd name="connsiteY33" fmla="*/ 89844 h 316286"/>
                  <a:gd name="connsiteX34" fmla="*/ 0 w 275058"/>
                  <a:gd name="connsiteY34" fmla="*/ 88509 h 316286"/>
                  <a:gd name="connsiteX35" fmla="*/ 2252 w 275058"/>
                  <a:gd name="connsiteY35" fmla="*/ 85423 h 316286"/>
                  <a:gd name="connsiteX36" fmla="*/ 3587 w 275058"/>
                  <a:gd name="connsiteY36" fmla="*/ 82336 h 316286"/>
                  <a:gd name="connsiteX37" fmla="*/ 4505 w 275058"/>
                  <a:gd name="connsiteY37" fmla="*/ 80084 h 316286"/>
                  <a:gd name="connsiteX38" fmla="*/ 13348 w 275058"/>
                  <a:gd name="connsiteY38" fmla="*/ 76997 h 316286"/>
                  <a:gd name="connsiteX39" fmla="*/ 46135 w 275058"/>
                  <a:gd name="connsiteY39" fmla="*/ 58811 h 316286"/>
                  <a:gd name="connsiteX40" fmla="*/ 52809 w 275058"/>
                  <a:gd name="connsiteY40" fmla="*/ 37122 h 316286"/>
                  <a:gd name="connsiteX41" fmla="*/ 54144 w 275058"/>
                  <a:gd name="connsiteY41" fmla="*/ 29614 h 316286"/>
                  <a:gd name="connsiteX42" fmla="*/ 55479 w 275058"/>
                  <a:gd name="connsiteY42" fmla="*/ 27362 h 316286"/>
                  <a:gd name="connsiteX43" fmla="*/ 75835 w 275058"/>
                  <a:gd name="connsiteY43" fmla="*/ 27779 h 316286"/>
                  <a:gd name="connsiteX44" fmla="*/ 78505 w 275058"/>
                  <a:gd name="connsiteY44" fmla="*/ 29114 h 316286"/>
                  <a:gd name="connsiteX45" fmla="*/ 99778 w 275058"/>
                  <a:gd name="connsiteY45" fmla="*/ 30448 h 316286"/>
                  <a:gd name="connsiteX46" fmla="*/ 109039 w 275058"/>
                  <a:gd name="connsiteY46" fmla="*/ 14181 h 31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75058" h="316286" extrusionOk="0">
                    <a:moveTo>
                      <a:pt x="109039" y="14181"/>
                    </a:moveTo>
                    <a:cubicBezTo>
                      <a:pt x="109456" y="11929"/>
                      <a:pt x="109456" y="10177"/>
                      <a:pt x="109456" y="8426"/>
                    </a:cubicBezTo>
                    <a:cubicBezTo>
                      <a:pt x="109873" y="5756"/>
                      <a:pt x="109873" y="3587"/>
                      <a:pt x="110374" y="1335"/>
                    </a:cubicBezTo>
                    <a:cubicBezTo>
                      <a:pt x="110374" y="918"/>
                      <a:pt x="110791" y="417"/>
                      <a:pt x="110791" y="0"/>
                    </a:cubicBezTo>
                    <a:cubicBezTo>
                      <a:pt x="115630" y="3087"/>
                      <a:pt x="120969" y="6173"/>
                      <a:pt x="127143" y="7091"/>
                    </a:cubicBezTo>
                    <a:cubicBezTo>
                      <a:pt x="135151" y="8426"/>
                      <a:pt x="142660" y="6674"/>
                      <a:pt x="150168" y="4838"/>
                    </a:cubicBezTo>
                    <a:cubicBezTo>
                      <a:pt x="156342" y="3504"/>
                      <a:pt x="162599" y="2169"/>
                      <a:pt x="168355" y="3504"/>
                    </a:cubicBezTo>
                    <a:cubicBezTo>
                      <a:pt x="170608" y="3921"/>
                      <a:pt x="171859" y="4838"/>
                      <a:pt x="174112" y="6173"/>
                    </a:cubicBezTo>
                    <a:cubicBezTo>
                      <a:pt x="175864" y="7091"/>
                      <a:pt x="177616" y="8843"/>
                      <a:pt x="180285" y="9260"/>
                    </a:cubicBezTo>
                    <a:cubicBezTo>
                      <a:pt x="185124" y="11512"/>
                      <a:pt x="189129" y="11929"/>
                      <a:pt x="194051" y="12763"/>
                    </a:cubicBezTo>
                    <a:lnTo>
                      <a:pt x="197138" y="13180"/>
                    </a:lnTo>
                    <a:cubicBezTo>
                      <a:pt x="201142" y="14098"/>
                      <a:pt x="206481" y="15433"/>
                      <a:pt x="211737" y="17602"/>
                    </a:cubicBezTo>
                    <a:cubicBezTo>
                      <a:pt x="211320" y="35787"/>
                      <a:pt x="218411" y="57894"/>
                      <a:pt x="223667" y="75663"/>
                    </a:cubicBezTo>
                    <a:cubicBezTo>
                      <a:pt x="225002" y="80501"/>
                      <a:pt x="226337" y="84505"/>
                      <a:pt x="227171" y="88092"/>
                    </a:cubicBezTo>
                    <a:cubicBezTo>
                      <a:pt x="233845" y="112034"/>
                      <a:pt x="244441" y="122628"/>
                      <a:pt x="258623" y="136810"/>
                    </a:cubicBezTo>
                    <a:lnTo>
                      <a:pt x="262127" y="140313"/>
                    </a:lnTo>
                    <a:cubicBezTo>
                      <a:pt x="272305" y="150073"/>
                      <a:pt x="270970" y="159834"/>
                      <a:pt x="270136" y="172180"/>
                    </a:cubicBezTo>
                    <a:cubicBezTo>
                      <a:pt x="269218" y="181523"/>
                      <a:pt x="267884" y="192117"/>
                      <a:pt x="272806" y="203212"/>
                    </a:cubicBezTo>
                    <a:cubicBezTo>
                      <a:pt x="273223" y="204547"/>
                      <a:pt x="274141" y="205882"/>
                      <a:pt x="275058" y="207216"/>
                    </a:cubicBezTo>
                    <a:cubicBezTo>
                      <a:pt x="247611" y="230658"/>
                      <a:pt x="222333" y="257686"/>
                      <a:pt x="209068" y="291388"/>
                    </a:cubicBezTo>
                    <a:cubicBezTo>
                      <a:pt x="201559" y="311326"/>
                      <a:pt x="190881" y="318416"/>
                      <a:pt x="170942" y="315747"/>
                    </a:cubicBezTo>
                    <a:cubicBezTo>
                      <a:pt x="170524" y="316164"/>
                      <a:pt x="170024" y="315747"/>
                      <a:pt x="169607" y="315747"/>
                    </a:cubicBezTo>
                    <a:cubicBezTo>
                      <a:pt x="163850" y="314829"/>
                      <a:pt x="159012" y="313494"/>
                      <a:pt x="154506" y="311326"/>
                    </a:cubicBezTo>
                    <a:cubicBezTo>
                      <a:pt x="140324" y="304652"/>
                      <a:pt x="132398" y="292305"/>
                      <a:pt x="128394" y="281628"/>
                    </a:cubicBezTo>
                    <a:cubicBezTo>
                      <a:pt x="125724" y="275872"/>
                      <a:pt x="123055" y="269698"/>
                      <a:pt x="119968" y="263942"/>
                    </a:cubicBezTo>
                    <a:cubicBezTo>
                      <a:pt x="111542" y="247092"/>
                      <a:pt x="103616" y="231158"/>
                      <a:pt x="105368" y="214307"/>
                    </a:cubicBezTo>
                    <a:lnTo>
                      <a:pt x="106286" y="208968"/>
                    </a:lnTo>
                    <a:cubicBezTo>
                      <a:pt x="108038" y="198374"/>
                      <a:pt x="109790" y="185027"/>
                      <a:pt x="100112" y="174432"/>
                    </a:cubicBezTo>
                    <a:cubicBezTo>
                      <a:pt x="94773" y="168676"/>
                      <a:pt x="87264" y="166424"/>
                      <a:pt x="81091" y="164672"/>
                    </a:cubicBezTo>
                    <a:cubicBezTo>
                      <a:pt x="76252" y="162920"/>
                      <a:pt x="71330" y="161586"/>
                      <a:pt x="68243" y="158499"/>
                    </a:cubicBezTo>
                    <a:cubicBezTo>
                      <a:pt x="62070" y="152326"/>
                      <a:pt x="58065" y="144317"/>
                      <a:pt x="54478" y="135058"/>
                    </a:cubicBezTo>
                    <a:cubicBezTo>
                      <a:pt x="49639" y="123129"/>
                      <a:pt x="43882" y="109364"/>
                      <a:pt x="30117" y="101857"/>
                    </a:cubicBezTo>
                    <a:cubicBezTo>
                      <a:pt x="25696" y="99187"/>
                      <a:pt x="21274" y="97852"/>
                      <a:pt x="16352" y="96518"/>
                    </a:cubicBezTo>
                    <a:cubicBezTo>
                      <a:pt x="11012" y="94766"/>
                      <a:pt x="6174" y="93431"/>
                      <a:pt x="1752" y="89844"/>
                    </a:cubicBezTo>
                    <a:cubicBezTo>
                      <a:pt x="1335" y="89427"/>
                      <a:pt x="417" y="88926"/>
                      <a:pt x="0" y="88509"/>
                    </a:cubicBezTo>
                    <a:cubicBezTo>
                      <a:pt x="1335" y="87592"/>
                      <a:pt x="1752" y="86257"/>
                      <a:pt x="2252" y="85423"/>
                    </a:cubicBezTo>
                    <a:cubicBezTo>
                      <a:pt x="2753" y="84588"/>
                      <a:pt x="3170" y="83170"/>
                      <a:pt x="3587" y="82336"/>
                    </a:cubicBezTo>
                    <a:cubicBezTo>
                      <a:pt x="4005" y="81502"/>
                      <a:pt x="4005" y="80584"/>
                      <a:pt x="4505" y="80084"/>
                    </a:cubicBezTo>
                    <a:cubicBezTo>
                      <a:pt x="5423" y="78332"/>
                      <a:pt x="9844" y="77414"/>
                      <a:pt x="13348" y="76997"/>
                    </a:cubicBezTo>
                    <a:cubicBezTo>
                      <a:pt x="29283" y="74328"/>
                      <a:pt x="39961" y="68155"/>
                      <a:pt x="46135" y="58811"/>
                    </a:cubicBezTo>
                    <a:cubicBezTo>
                      <a:pt x="50557" y="51721"/>
                      <a:pt x="51474" y="44213"/>
                      <a:pt x="52809" y="37122"/>
                    </a:cubicBezTo>
                    <a:cubicBezTo>
                      <a:pt x="53226" y="34453"/>
                      <a:pt x="53727" y="32284"/>
                      <a:pt x="54144" y="29614"/>
                    </a:cubicBezTo>
                    <a:cubicBezTo>
                      <a:pt x="54561" y="28279"/>
                      <a:pt x="54561" y="28279"/>
                      <a:pt x="55479" y="27362"/>
                    </a:cubicBezTo>
                    <a:cubicBezTo>
                      <a:pt x="62153" y="25110"/>
                      <a:pt x="69244" y="25610"/>
                      <a:pt x="75835" y="27779"/>
                    </a:cubicBezTo>
                    <a:lnTo>
                      <a:pt x="78505" y="29114"/>
                    </a:lnTo>
                    <a:cubicBezTo>
                      <a:pt x="84261" y="31366"/>
                      <a:pt x="92270" y="34453"/>
                      <a:pt x="99778" y="30448"/>
                    </a:cubicBezTo>
                    <a:cubicBezTo>
                      <a:pt x="104617" y="28279"/>
                      <a:pt x="108205" y="22106"/>
                      <a:pt x="109039" y="1418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52528166" name="Полилиния 357"/>
              <p:cNvSpPr/>
              <p:nvPr/>
            </p:nvSpPr>
            <p:spPr bwMode="auto">
              <a:xfrm>
                <a:off x="1639890" y="3106566"/>
                <a:ext cx="342388" cy="512912"/>
              </a:xfrm>
              <a:custGeom>
                <a:avLst/>
                <a:gdLst>
                  <a:gd name="connsiteX0" fmla="*/ 2670 w 384514"/>
                  <a:gd name="connsiteY0" fmla="*/ 336518 h 576018"/>
                  <a:gd name="connsiteX1" fmla="*/ 0 w 384514"/>
                  <a:gd name="connsiteY1" fmla="*/ 324089 h 576018"/>
                  <a:gd name="connsiteX2" fmla="*/ 32370 w 384514"/>
                  <a:gd name="connsiteY2" fmla="*/ 306821 h 576018"/>
                  <a:gd name="connsiteX3" fmla="*/ 57648 w 384514"/>
                  <a:gd name="connsiteY3" fmla="*/ 260272 h 576018"/>
                  <a:gd name="connsiteX4" fmla="*/ 83761 w 384514"/>
                  <a:gd name="connsiteY4" fmla="*/ 216393 h 576018"/>
                  <a:gd name="connsiteX5" fmla="*/ 93521 w 384514"/>
                  <a:gd name="connsiteY5" fmla="*/ 211054 h 576018"/>
                  <a:gd name="connsiteX6" fmla="*/ 123639 w 384514"/>
                  <a:gd name="connsiteY6" fmla="*/ 177352 h 576018"/>
                  <a:gd name="connsiteX7" fmla="*/ 125891 w 384514"/>
                  <a:gd name="connsiteY7" fmla="*/ 159667 h 576018"/>
                  <a:gd name="connsiteX8" fmla="*/ 128144 w 384514"/>
                  <a:gd name="connsiteY8" fmla="*/ 143734 h 576018"/>
                  <a:gd name="connsiteX9" fmla="*/ 128144 w 384514"/>
                  <a:gd name="connsiteY9" fmla="*/ 143316 h 576018"/>
                  <a:gd name="connsiteX10" fmla="*/ 132565 w 384514"/>
                  <a:gd name="connsiteY10" fmla="*/ 133139 h 576018"/>
                  <a:gd name="connsiteX11" fmla="*/ 135652 w 384514"/>
                  <a:gd name="connsiteY11" fmla="*/ 130053 h 576018"/>
                  <a:gd name="connsiteX12" fmla="*/ 167104 w 384514"/>
                  <a:gd name="connsiteY12" fmla="*/ 121210 h 576018"/>
                  <a:gd name="connsiteX13" fmla="*/ 198139 w 384514"/>
                  <a:gd name="connsiteY13" fmla="*/ 115037 h 576018"/>
                  <a:gd name="connsiteX14" fmla="*/ 224251 w 384514"/>
                  <a:gd name="connsiteY14" fmla="*/ 85840 h 576018"/>
                  <a:gd name="connsiteX15" fmla="*/ 232260 w 384514"/>
                  <a:gd name="connsiteY15" fmla="*/ 72576 h 576018"/>
                  <a:gd name="connsiteX16" fmla="*/ 253951 w 384514"/>
                  <a:gd name="connsiteY16" fmla="*/ 54390 h 576018"/>
                  <a:gd name="connsiteX17" fmla="*/ 273473 w 384514"/>
                  <a:gd name="connsiteY17" fmla="*/ 40209 h 576018"/>
                  <a:gd name="connsiteX18" fmla="*/ 285403 w 384514"/>
                  <a:gd name="connsiteY18" fmla="*/ 23858 h 576018"/>
                  <a:gd name="connsiteX19" fmla="*/ 299586 w 384514"/>
                  <a:gd name="connsiteY19" fmla="*/ 7007 h 576018"/>
                  <a:gd name="connsiteX20" fmla="*/ 309764 w 384514"/>
                  <a:gd name="connsiteY20" fmla="*/ 6590 h 576018"/>
                  <a:gd name="connsiteX21" fmla="*/ 318190 w 384514"/>
                  <a:gd name="connsiteY21" fmla="*/ 7925 h 576018"/>
                  <a:gd name="connsiteX22" fmla="*/ 346972 w 384514"/>
                  <a:gd name="connsiteY22" fmla="*/ 1752 h 576018"/>
                  <a:gd name="connsiteX23" fmla="*/ 351811 w 384514"/>
                  <a:gd name="connsiteY23" fmla="*/ 0 h 576018"/>
                  <a:gd name="connsiteX24" fmla="*/ 350476 w 384514"/>
                  <a:gd name="connsiteY24" fmla="*/ 20855 h 576018"/>
                  <a:gd name="connsiteX25" fmla="*/ 351811 w 384514"/>
                  <a:gd name="connsiteY25" fmla="*/ 40793 h 576018"/>
                  <a:gd name="connsiteX26" fmla="*/ 366411 w 384514"/>
                  <a:gd name="connsiteY26" fmla="*/ 64734 h 576018"/>
                  <a:gd name="connsiteX27" fmla="*/ 377006 w 384514"/>
                  <a:gd name="connsiteY27" fmla="*/ 79333 h 576018"/>
                  <a:gd name="connsiteX28" fmla="*/ 380093 w 384514"/>
                  <a:gd name="connsiteY28" fmla="*/ 108530 h 576018"/>
                  <a:gd name="connsiteX29" fmla="*/ 378758 w 384514"/>
                  <a:gd name="connsiteY29" fmla="*/ 153744 h 576018"/>
                  <a:gd name="connsiteX30" fmla="*/ 381010 w 384514"/>
                  <a:gd name="connsiteY30" fmla="*/ 182941 h 576018"/>
                  <a:gd name="connsiteX31" fmla="*/ 384097 w 384514"/>
                  <a:gd name="connsiteY31" fmla="*/ 191784 h 576018"/>
                  <a:gd name="connsiteX32" fmla="*/ 384514 w 384514"/>
                  <a:gd name="connsiteY32" fmla="*/ 193118 h 576018"/>
                  <a:gd name="connsiteX33" fmla="*/ 380093 w 384514"/>
                  <a:gd name="connsiteY33" fmla="*/ 192701 h 576018"/>
                  <a:gd name="connsiteX34" fmla="*/ 346388 w 384514"/>
                  <a:gd name="connsiteY34" fmla="*/ 197540 h 576018"/>
                  <a:gd name="connsiteX35" fmla="*/ 335292 w 384514"/>
                  <a:gd name="connsiteY35" fmla="*/ 250262 h 576018"/>
                  <a:gd name="connsiteX36" fmla="*/ 338379 w 384514"/>
                  <a:gd name="connsiteY36" fmla="*/ 262691 h 576018"/>
                  <a:gd name="connsiteX37" fmla="*/ 335292 w 384514"/>
                  <a:gd name="connsiteY37" fmla="*/ 295058 h 576018"/>
                  <a:gd name="connsiteX38" fmla="*/ 298501 w 384514"/>
                  <a:gd name="connsiteY38" fmla="*/ 333182 h 576018"/>
                  <a:gd name="connsiteX39" fmla="*/ 286071 w 384514"/>
                  <a:gd name="connsiteY39" fmla="*/ 357957 h 576018"/>
                  <a:gd name="connsiteX40" fmla="*/ 281649 w 384514"/>
                  <a:gd name="connsiteY40" fmla="*/ 371722 h 576018"/>
                  <a:gd name="connsiteX41" fmla="*/ 275475 w 384514"/>
                  <a:gd name="connsiteY41" fmla="*/ 374808 h 576018"/>
                  <a:gd name="connsiteX42" fmla="*/ 263045 w 384514"/>
                  <a:gd name="connsiteY42" fmla="*/ 380981 h 576018"/>
                  <a:gd name="connsiteX43" fmla="*/ 257706 w 384514"/>
                  <a:gd name="connsiteY43" fmla="*/ 402254 h 576018"/>
                  <a:gd name="connsiteX44" fmla="*/ 257706 w 384514"/>
                  <a:gd name="connsiteY44" fmla="*/ 405340 h 576018"/>
                  <a:gd name="connsiteX45" fmla="*/ 257288 w 384514"/>
                  <a:gd name="connsiteY45" fmla="*/ 419105 h 576018"/>
                  <a:gd name="connsiteX46" fmla="*/ 229841 w 384514"/>
                  <a:gd name="connsiteY46" fmla="*/ 448803 h 576018"/>
                  <a:gd name="connsiteX47" fmla="*/ 227588 w 384514"/>
                  <a:gd name="connsiteY47" fmla="*/ 457228 h 576018"/>
                  <a:gd name="connsiteX48" fmla="*/ 218745 w 384514"/>
                  <a:gd name="connsiteY48" fmla="*/ 478500 h 576018"/>
                  <a:gd name="connsiteX49" fmla="*/ 210319 w 384514"/>
                  <a:gd name="connsiteY49" fmla="*/ 499355 h 576018"/>
                  <a:gd name="connsiteX50" fmla="*/ 207649 w 384514"/>
                  <a:gd name="connsiteY50" fmla="*/ 520210 h 576018"/>
                  <a:gd name="connsiteX51" fmla="*/ 202310 w 384514"/>
                  <a:gd name="connsiteY51" fmla="*/ 541900 h 576018"/>
                  <a:gd name="connsiteX52" fmla="*/ 185041 w 384514"/>
                  <a:gd name="connsiteY52" fmla="*/ 550742 h 576018"/>
                  <a:gd name="connsiteX53" fmla="*/ 163350 w 384514"/>
                  <a:gd name="connsiteY53" fmla="*/ 561837 h 576018"/>
                  <a:gd name="connsiteX54" fmla="*/ 154506 w 384514"/>
                  <a:gd name="connsiteY54" fmla="*/ 576019 h 576018"/>
                  <a:gd name="connsiteX55" fmla="*/ 106202 w 384514"/>
                  <a:gd name="connsiteY55" fmla="*/ 559668 h 576018"/>
                  <a:gd name="connsiteX56" fmla="*/ 97359 w 384514"/>
                  <a:gd name="connsiteY56" fmla="*/ 562338 h 576018"/>
                  <a:gd name="connsiteX57" fmla="*/ 52142 w 384514"/>
                  <a:gd name="connsiteY57" fmla="*/ 469741 h 576018"/>
                  <a:gd name="connsiteX58" fmla="*/ 39294 w 384514"/>
                  <a:gd name="connsiteY58" fmla="*/ 440043 h 576018"/>
                  <a:gd name="connsiteX59" fmla="*/ 37542 w 384514"/>
                  <a:gd name="connsiteY59" fmla="*/ 399751 h 576018"/>
                  <a:gd name="connsiteX60" fmla="*/ 34455 w 384514"/>
                  <a:gd name="connsiteY60" fmla="*/ 392243 h 576018"/>
                  <a:gd name="connsiteX61" fmla="*/ 30951 w 384514"/>
                  <a:gd name="connsiteY61" fmla="*/ 382483 h 576018"/>
                  <a:gd name="connsiteX62" fmla="*/ 18521 w 384514"/>
                  <a:gd name="connsiteY62" fmla="*/ 356789 h 576018"/>
                  <a:gd name="connsiteX63" fmla="*/ 15017 w 384514"/>
                  <a:gd name="connsiteY63" fmla="*/ 351451 h 576018"/>
                  <a:gd name="connsiteX64" fmla="*/ 2670 w 384514"/>
                  <a:gd name="connsiteY64" fmla="*/ 336518 h 57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84514" h="576018" extrusionOk="0">
                    <a:moveTo>
                      <a:pt x="2670" y="336518"/>
                    </a:moveTo>
                    <a:cubicBezTo>
                      <a:pt x="1335" y="332514"/>
                      <a:pt x="417" y="328093"/>
                      <a:pt x="0" y="324089"/>
                    </a:cubicBezTo>
                    <a:cubicBezTo>
                      <a:pt x="11930" y="321002"/>
                      <a:pt x="23026" y="315663"/>
                      <a:pt x="32370" y="306821"/>
                    </a:cubicBezTo>
                    <a:cubicBezTo>
                      <a:pt x="46552" y="293974"/>
                      <a:pt x="51891" y="277123"/>
                      <a:pt x="57648" y="260272"/>
                    </a:cubicBezTo>
                    <a:cubicBezTo>
                      <a:pt x="62987" y="242587"/>
                      <a:pt x="68744" y="225736"/>
                      <a:pt x="83761" y="216393"/>
                    </a:cubicBezTo>
                    <a:cubicBezTo>
                      <a:pt x="86847" y="214140"/>
                      <a:pt x="90435" y="212889"/>
                      <a:pt x="93521" y="211054"/>
                    </a:cubicBezTo>
                    <a:cubicBezTo>
                      <a:pt x="105952" y="204380"/>
                      <a:pt x="119217" y="197790"/>
                      <a:pt x="123639" y="177352"/>
                    </a:cubicBezTo>
                    <a:cubicBezTo>
                      <a:pt x="124973" y="171596"/>
                      <a:pt x="125391" y="165423"/>
                      <a:pt x="125891" y="159667"/>
                    </a:cubicBezTo>
                    <a:cubicBezTo>
                      <a:pt x="126308" y="153911"/>
                      <a:pt x="126809" y="148572"/>
                      <a:pt x="128144" y="143734"/>
                    </a:cubicBezTo>
                    <a:lnTo>
                      <a:pt x="128144" y="143316"/>
                    </a:lnTo>
                    <a:cubicBezTo>
                      <a:pt x="129061" y="139813"/>
                      <a:pt x="130396" y="136226"/>
                      <a:pt x="132565" y="133139"/>
                    </a:cubicBezTo>
                    <a:cubicBezTo>
                      <a:pt x="133483" y="131804"/>
                      <a:pt x="134818" y="130887"/>
                      <a:pt x="135652" y="130053"/>
                    </a:cubicBezTo>
                    <a:cubicBezTo>
                      <a:pt x="143160" y="122962"/>
                      <a:pt x="154256" y="122044"/>
                      <a:pt x="167104" y="121210"/>
                    </a:cubicBezTo>
                    <a:cubicBezTo>
                      <a:pt x="177699" y="120292"/>
                      <a:pt x="188378" y="119875"/>
                      <a:pt x="198139" y="115037"/>
                    </a:cubicBezTo>
                    <a:cubicBezTo>
                      <a:pt x="212321" y="108363"/>
                      <a:pt x="218495" y="96851"/>
                      <a:pt x="224251" y="85840"/>
                    </a:cubicBezTo>
                    <a:cubicBezTo>
                      <a:pt x="226504" y="81419"/>
                      <a:pt x="229090" y="76997"/>
                      <a:pt x="232260" y="72576"/>
                    </a:cubicBezTo>
                    <a:cubicBezTo>
                      <a:pt x="237600" y="64568"/>
                      <a:pt x="246026" y="59729"/>
                      <a:pt x="253951" y="54390"/>
                    </a:cubicBezTo>
                    <a:cubicBezTo>
                      <a:pt x="260625" y="49969"/>
                      <a:pt x="267216" y="45965"/>
                      <a:pt x="273473" y="40209"/>
                    </a:cubicBezTo>
                    <a:cubicBezTo>
                      <a:pt x="278312" y="35370"/>
                      <a:pt x="281899" y="29614"/>
                      <a:pt x="285403" y="23858"/>
                    </a:cubicBezTo>
                    <a:cubicBezTo>
                      <a:pt x="289825" y="16768"/>
                      <a:pt x="293829" y="10094"/>
                      <a:pt x="299586" y="7007"/>
                    </a:cubicBezTo>
                    <a:cubicBezTo>
                      <a:pt x="303590" y="4755"/>
                      <a:pt x="305342" y="5673"/>
                      <a:pt x="309764" y="6590"/>
                    </a:cubicBezTo>
                    <a:cubicBezTo>
                      <a:pt x="312434" y="7007"/>
                      <a:pt x="314603" y="7925"/>
                      <a:pt x="318190" y="7925"/>
                    </a:cubicBezTo>
                    <a:cubicBezTo>
                      <a:pt x="330621" y="9260"/>
                      <a:pt x="336377" y="6590"/>
                      <a:pt x="346972" y="1752"/>
                    </a:cubicBezTo>
                    <a:cubicBezTo>
                      <a:pt x="348724" y="834"/>
                      <a:pt x="350059" y="417"/>
                      <a:pt x="351811" y="0"/>
                    </a:cubicBezTo>
                    <a:lnTo>
                      <a:pt x="350476" y="20855"/>
                    </a:lnTo>
                    <a:cubicBezTo>
                      <a:pt x="350059" y="27028"/>
                      <a:pt x="349558" y="33702"/>
                      <a:pt x="351811" y="40793"/>
                    </a:cubicBezTo>
                    <a:cubicBezTo>
                      <a:pt x="354481" y="50553"/>
                      <a:pt x="360654" y="58061"/>
                      <a:pt x="366411" y="64734"/>
                    </a:cubicBezTo>
                    <a:cubicBezTo>
                      <a:pt x="370832" y="69573"/>
                      <a:pt x="374837" y="74495"/>
                      <a:pt x="377006" y="79333"/>
                    </a:cubicBezTo>
                    <a:cubicBezTo>
                      <a:pt x="380510" y="88175"/>
                      <a:pt x="380510" y="98853"/>
                      <a:pt x="380093" y="108530"/>
                    </a:cubicBezTo>
                    <a:lnTo>
                      <a:pt x="378758" y="153744"/>
                    </a:lnTo>
                    <a:cubicBezTo>
                      <a:pt x="378341" y="162587"/>
                      <a:pt x="377840" y="173264"/>
                      <a:pt x="381010" y="182941"/>
                    </a:cubicBezTo>
                    <a:cubicBezTo>
                      <a:pt x="381928" y="186028"/>
                      <a:pt x="383263" y="189114"/>
                      <a:pt x="384097" y="191784"/>
                    </a:cubicBezTo>
                    <a:cubicBezTo>
                      <a:pt x="384514" y="192201"/>
                      <a:pt x="384514" y="192701"/>
                      <a:pt x="384514" y="193118"/>
                    </a:cubicBezTo>
                    <a:cubicBezTo>
                      <a:pt x="383180" y="193118"/>
                      <a:pt x="381845" y="192701"/>
                      <a:pt x="380093" y="192701"/>
                    </a:cubicBezTo>
                    <a:cubicBezTo>
                      <a:pt x="368997" y="191367"/>
                      <a:pt x="356149" y="189615"/>
                      <a:pt x="346388" y="197540"/>
                    </a:cubicBezTo>
                    <a:cubicBezTo>
                      <a:pt x="328702" y="212138"/>
                      <a:pt x="334458" y="246674"/>
                      <a:pt x="335292" y="250262"/>
                    </a:cubicBezTo>
                    <a:cubicBezTo>
                      <a:pt x="336210" y="255100"/>
                      <a:pt x="337545" y="259104"/>
                      <a:pt x="338379" y="262691"/>
                    </a:cubicBezTo>
                    <a:cubicBezTo>
                      <a:pt x="341466" y="275538"/>
                      <a:pt x="343218" y="282629"/>
                      <a:pt x="335292" y="295058"/>
                    </a:cubicBezTo>
                    <a:cubicBezTo>
                      <a:pt x="325531" y="310575"/>
                      <a:pt x="314019" y="320752"/>
                      <a:pt x="298501" y="333182"/>
                    </a:cubicBezTo>
                    <a:cubicBezTo>
                      <a:pt x="288323" y="341607"/>
                      <a:pt x="286988" y="350867"/>
                      <a:pt x="286071" y="357957"/>
                    </a:cubicBezTo>
                    <a:cubicBezTo>
                      <a:pt x="285153" y="362796"/>
                      <a:pt x="284736" y="367301"/>
                      <a:pt x="281649" y="371722"/>
                    </a:cubicBezTo>
                    <a:cubicBezTo>
                      <a:pt x="280314" y="373974"/>
                      <a:pt x="278979" y="373974"/>
                      <a:pt x="275475" y="374808"/>
                    </a:cubicBezTo>
                    <a:cubicBezTo>
                      <a:pt x="271971" y="375643"/>
                      <a:pt x="267049" y="377061"/>
                      <a:pt x="263045" y="380981"/>
                    </a:cubicBezTo>
                    <a:cubicBezTo>
                      <a:pt x="257288" y="386737"/>
                      <a:pt x="257288" y="395580"/>
                      <a:pt x="257706" y="402254"/>
                    </a:cubicBezTo>
                    <a:lnTo>
                      <a:pt x="257706" y="405340"/>
                    </a:lnTo>
                    <a:cubicBezTo>
                      <a:pt x="257288" y="409762"/>
                      <a:pt x="257288" y="414183"/>
                      <a:pt x="257288" y="419105"/>
                    </a:cubicBezTo>
                    <a:cubicBezTo>
                      <a:pt x="236015" y="421774"/>
                      <a:pt x="232511" y="436790"/>
                      <a:pt x="229841" y="448803"/>
                    </a:cubicBezTo>
                    <a:cubicBezTo>
                      <a:pt x="228923" y="451472"/>
                      <a:pt x="228506" y="454558"/>
                      <a:pt x="227588" y="457228"/>
                    </a:cubicBezTo>
                    <a:cubicBezTo>
                      <a:pt x="225336" y="464318"/>
                      <a:pt x="222249" y="471409"/>
                      <a:pt x="218745" y="478500"/>
                    </a:cubicBezTo>
                    <a:cubicBezTo>
                      <a:pt x="215658" y="485591"/>
                      <a:pt x="212572" y="492264"/>
                      <a:pt x="210319" y="499355"/>
                    </a:cubicBezTo>
                    <a:cubicBezTo>
                      <a:pt x="207649" y="506863"/>
                      <a:pt x="207649" y="513954"/>
                      <a:pt x="207649" y="520210"/>
                    </a:cubicBezTo>
                    <a:cubicBezTo>
                      <a:pt x="207649" y="528636"/>
                      <a:pt x="207232" y="534809"/>
                      <a:pt x="202310" y="541900"/>
                    </a:cubicBezTo>
                    <a:cubicBezTo>
                      <a:pt x="197888" y="547239"/>
                      <a:pt x="191715" y="548990"/>
                      <a:pt x="185041" y="550742"/>
                    </a:cubicBezTo>
                    <a:cubicBezTo>
                      <a:pt x="177949" y="552995"/>
                      <a:pt x="169940" y="555164"/>
                      <a:pt x="163350" y="561837"/>
                    </a:cubicBezTo>
                    <a:cubicBezTo>
                      <a:pt x="159846" y="565841"/>
                      <a:pt x="156676" y="570680"/>
                      <a:pt x="154506" y="576019"/>
                    </a:cubicBezTo>
                    <a:cubicBezTo>
                      <a:pt x="140741" y="555664"/>
                      <a:pt x="121303" y="556498"/>
                      <a:pt x="106202" y="559668"/>
                    </a:cubicBezTo>
                    <a:cubicBezTo>
                      <a:pt x="103116" y="560586"/>
                      <a:pt x="100029" y="561003"/>
                      <a:pt x="97359" y="562338"/>
                    </a:cubicBezTo>
                    <a:cubicBezTo>
                      <a:pt x="107120" y="523380"/>
                      <a:pt x="90268" y="489262"/>
                      <a:pt x="52142" y="469741"/>
                    </a:cubicBezTo>
                    <a:cubicBezTo>
                      <a:pt x="35790" y="461316"/>
                      <a:pt x="33538" y="455559"/>
                      <a:pt x="39294" y="440043"/>
                    </a:cubicBezTo>
                    <a:cubicBezTo>
                      <a:pt x="46385" y="421857"/>
                      <a:pt x="43716" y="414350"/>
                      <a:pt x="37542" y="399751"/>
                    </a:cubicBezTo>
                    <a:lnTo>
                      <a:pt x="34455" y="392243"/>
                    </a:lnTo>
                    <a:cubicBezTo>
                      <a:pt x="33120" y="389157"/>
                      <a:pt x="31786" y="385570"/>
                      <a:pt x="30951" y="382483"/>
                    </a:cubicBezTo>
                    <a:cubicBezTo>
                      <a:pt x="27865" y="374058"/>
                      <a:pt x="24778" y="365632"/>
                      <a:pt x="18521" y="356789"/>
                    </a:cubicBezTo>
                    <a:lnTo>
                      <a:pt x="15017" y="351451"/>
                    </a:lnTo>
                    <a:cubicBezTo>
                      <a:pt x="7592" y="347613"/>
                      <a:pt x="4505" y="342775"/>
                      <a:pt x="2670" y="33651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11722484" name="Полилиния 358"/>
              <p:cNvSpPr/>
              <p:nvPr/>
            </p:nvSpPr>
            <p:spPr bwMode="auto">
              <a:xfrm>
                <a:off x="1593975" y="3616706"/>
                <a:ext cx="405762" cy="314757"/>
              </a:xfrm>
              <a:custGeom>
                <a:avLst/>
                <a:gdLst>
                  <a:gd name="connsiteX0" fmla="*/ 2844 w 455685"/>
                  <a:gd name="connsiteY0" fmla="*/ 248206 h 353483"/>
                  <a:gd name="connsiteX1" fmla="*/ 8601 w 455685"/>
                  <a:gd name="connsiteY1" fmla="*/ 235776 h 353483"/>
                  <a:gd name="connsiteX2" fmla="*/ 19697 w 455685"/>
                  <a:gd name="connsiteY2" fmla="*/ 193232 h 353483"/>
                  <a:gd name="connsiteX3" fmla="*/ 32127 w 455685"/>
                  <a:gd name="connsiteY3" fmla="*/ 149352 h 353483"/>
                  <a:gd name="connsiteX4" fmla="*/ 40136 w 455685"/>
                  <a:gd name="connsiteY4" fmla="*/ 132501 h 353483"/>
                  <a:gd name="connsiteX5" fmla="*/ 45475 w 455685"/>
                  <a:gd name="connsiteY5" fmla="*/ 108560 h 353483"/>
                  <a:gd name="connsiteX6" fmla="*/ 59241 w 455685"/>
                  <a:gd name="connsiteY6" fmla="*/ 78862 h 353483"/>
                  <a:gd name="connsiteX7" fmla="*/ 72089 w 455685"/>
                  <a:gd name="connsiteY7" fmla="*/ 73523 h 353483"/>
                  <a:gd name="connsiteX8" fmla="*/ 89358 w 455685"/>
                  <a:gd name="connsiteY8" fmla="*/ 65098 h 353483"/>
                  <a:gd name="connsiteX9" fmla="*/ 103541 w 455685"/>
                  <a:gd name="connsiteY9" fmla="*/ 48747 h 353483"/>
                  <a:gd name="connsiteX10" fmla="*/ 110632 w 455685"/>
                  <a:gd name="connsiteY10" fmla="*/ 38987 h 353483"/>
                  <a:gd name="connsiteX11" fmla="*/ 121227 w 455685"/>
                  <a:gd name="connsiteY11" fmla="*/ 28810 h 353483"/>
                  <a:gd name="connsiteX12" fmla="*/ 140749 w 455685"/>
                  <a:gd name="connsiteY12" fmla="*/ 6203 h 353483"/>
                  <a:gd name="connsiteX13" fmla="*/ 158435 w 455685"/>
                  <a:gd name="connsiteY13" fmla="*/ 1364 h 353483"/>
                  <a:gd name="connsiteX14" fmla="*/ 192974 w 455685"/>
                  <a:gd name="connsiteY14" fmla="*/ 12459 h 353483"/>
                  <a:gd name="connsiteX15" fmla="*/ 197813 w 455685"/>
                  <a:gd name="connsiteY15" fmla="*/ 19550 h 353483"/>
                  <a:gd name="connsiteX16" fmla="*/ 207991 w 455685"/>
                  <a:gd name="connsiteY16" fmla="*/ 32397 h 353483"/>
                  <a:gd name="connsiteX17" fmla="*/ 208909 w 455685"/>
                  <a:gd name="connsiteY17" fmla="*/ 33314 h 353483"/>
                  <a:gd name="connsiteX18" fmla="*/ 208909 w 455685"/>
                  <a:gd name="connsiteY18" fmla="*/ 33731 h 353483"/>
                  <a:gd name="connsiteX19" fmla="*/ 226178 w 455685"/>
                  <a:gd name="connsiteY19" fmla="*/ 57673 h 353483"/>
                  <a:gd name="connsiteX20" fmla="*/ 255878 w 455685"/>
                  <a:gd name="connsiteY20" fmla="*/ 98883 h 353483"/>
                  <a:gd name="connsiteX21" fmla="*/ 275400 w 455685"/>
                  <a:gd name="connsiteY21" fmla="*/ 120572 h 353483"/>
                  <a:gd name="connsiteX22" fmla="*/ 351151 w 455685"/>
                  <a:gd name="connsiteY22" fmla="*/ 157361 h 353483"/>
                  <a:gd name="connsiteX23" fmla="*/ 359160 w 455685"/>
                  <a:gd name="connsiteY23" fmla="*/ 155609 h 353483"/>
                  <a:gd name="connsiteX24" fmla="*/ 397704 w 455685"/>
                  <a:gd name="connsiteY24" fmla="*/ 159113 h 353483"/>
                  <a:gd name="connsiteX25" fmla="*/ 408299 w 455685"/>
                  <a:gd name="connsiteY25" fmla="*/ 182554 h 353483"/>
                  <a:gd name="connsiteX26" fmla="*/ 418894 w 455685"/>
                  <a:gd name="connsiteY26" fmla="*/ 210499 h 353483"/>
                  <a:gd name="connsiteX27" fmla="*/ 455685 w 455685"/>
                  <a:gd name="connsiteY27" fmla="*/ 235275 h 353483"/>
                  <a:gd name="connsiteX28" fmla="*/ 453433 w 455685"/>
                  <a:gd name="connsiteY28" fmla="*/ 241448 h 353483"/>
                  <a:gd name="connsiteX29" fmla="*/ 448594 w 455685"/>
                  <a:gd name="connsiteY29" fmla="*/ 252544 h 353483"/>
                  <a:gd name="connsiteX30" fmla="*/ 440585 w 455685"/>
                  <a:gd name="connsiteY30" fmla="*/ 257382 h 353483"/>
                  <a:gd name="connsiteX31" fmla="*/ 429990 w 455685"/>
                  <a:gd name="connsiteY31" fmla="*/ 263555 h 353483"/>
                  <a:gd name="connsiteX32" fmla="*/ 414890 w 455685"/>
                  <a:gd name="connsiteY32" fmla="*/ 285661 h 353483"/>
                  <a:gd name="connsiteX33" fmla="*/ 410468 w 455685"/>
                  <a:gd name="connsiteY33" fmla="*/ 293670 h 353483"/>
                  <a:gd name="connsiteX34" fmla="*/ 407381 w 455685"/>
                  <a:gd name="connsiteY34" fmla="*/ 299009 h 353483"/>
                  <a:gd name="connsiteX35" fmla="*/ 395868 w 455685"/>
                  <a:gd name="connsiteY35" fmla="*/ 324702 h 353483"/>
                  <a:gd name="connsiteX36" fmla="*/ 390529 w 455685"/>
                  <a:gd name="connsiteY36" fmla="*/ 327789 h 353483"/>
                  <a:gd name="connsiteX37" fmla="*/ 362581 w 455685"/>
                  <a:gd name="connsiteY37" fmla="*/ 341553 h 353483"/>
                  <a:gd name="connsiteX38" fmla="*/ 347481 w 455685"/>
                  <a:gd name="connsiteY38" fmla="*/ 341553 h 353483"/>
                  <a:gd name="connsiteX39" fmla="*/ 330211 w 455685"/>
                  <a:gd name="connsiteY39" fmla="*/ 341136 h 353483"/>
                  <a:gd name="connsiteX40" fmla="*/ 312942 w 455685"/>
                  <a:gd name="connsiteY40" fmla="*/ 347810 h 353483"/>
                  <a:gd name="connsiteX41" fmla="*/ 300094 w 455685"/>
                  <a:gd name="connsiteY41" fmla="*/ 353148 h 353483"/>
                  <a:gd name="connsiteX42" fmla="*/ 283743 w 455685"/>
                  <a:gd name="connsiteY42" fmla="*/ 349645 h 353483"/>
                  <a:gd name="connsiteX43" fmla="*/ 273564 w 455685"/>
                  <a:gd name="connsiteY43" fmla="*/ 345641 h 353483"/>
                  <a:gd name="connsiteX44" fmla="*/ 254960 w 455685"/>
                  <a:gd name="connsiteY44" fmla="*/ 347393 h 353483"/>
                  <a:gd name="connsiteX45" fmla="*/ 249621 w 455685"/>
                  <a:gd name="connsiteY45" fmla="*/ 350062 h 353483"/>
                  <a:gd name="connsiteX46" fmla="*/ 241195 w 455685"/>
                  <a:gd name="connsiteY46" fmla="*/ 350479 h 353483"/>
                  <a:gd name="connsiteX47" fmla="*/ 235021 w 455685"/>
                  <a:gd name="connsiteY47" fmla="*/ 334963 h 353483"/>
                  <a:gd name="connsiteX48" fmla="*/ 224426 w 455685"/>
                  <a:gd name="connsiteY48" fmla="*/ 310604 h 353483"/>
                  <a:gd name="connsiteX49" fmla="*/ 159270 w 455685"/>
                  <a:gd name="connsiteY49" fmla="*/ 323034 h 353483"/>
                  <a:gd name="connsiteX50" fmla="*/ 140666 w 455685"/>
                  <a:gd name="connsiteY50" fmla="*/ 334129 h 353483"/>
                  <a:gd name="connsiteX51" fmla="*/ 126483 w 455685"/>
                  <a:gd name="connsiteY51" fmla="*/ 336798 h 353483"/>
                  <a:gd name="connsiteX52" fmla="*/ 123396 w 455685"/>
                  <a:gd name="connsiteY52" fmla="*/ 337215 h 353483"/>
                  <a:gd name="connsiteX53" fmla="*/ 102122 w 455685"/>
                  <a:gd name="connsiteY53" fmla="*/ 341637 h 353483"/>
                  <a:gd name="connsiteX54" fmla="*/ 42722 w 455685"/>
                  <a:gd name="connsiteY54" fmla="*/ 351397 h 353483"/>
                  <a:gd name="connsiteX55" fmla="*/ 27622 w 455685"/>
                  <a:gd name="connsiteY55" fmla="*/ 352731 h 353483"/>
                  <a:gd name="connsiteX56" fmla="*/ 7683 w 455685"/>
                  <a:gd name="connsiteY56" fmla="*/ 353148 h 353483"/>
                  <a:gd name="connsiteX57" fmla="*/ 9936 w 455685"/>
                  <a:gd name="connsiteY57" fmla="*/ 345641 h 353483"/>
                  <a:gd name="connsiteX58" fmla="*/ 11270 w 455685"/>
                  <a:gd name="connsiteY58" fmla="*/ 339885 h 353483"/>
                  <a:gd name="connsiteX59" fmla="*/ 17444 w 455685"/>
                  <a:gd name="connsiteY59" fmla="*/ 324785 h 353483"/>
                  <a:gd name="connsiteX60" fmla="*/ 20114 w 455685"/>
                  <a:gd name="connsiteY60" fmla="*/ 278237 h 353483"/>
                  <a:gd name="connsiteX61" fmla="*/ 8184 w 455685"/>
                  <a:gd name="connsiteY61" fmla="*/ 265807 h 353483"/>
                  <a:gd name="connsiteX62" fmla="*/ 2844 w 455685"/>
                  <a:gd name="connsiteY62" fmla="*/ 248206 h 35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55685" h="353483" extrusionOk="0">
                    <a:moveTo>
                      <a:pt x="2844" y="248206"/>
                    </a:moveTo>
                    <a:cubicBezTo>
                      <a:pt x="5097" y="243367"/>
                      <a:pt x="6849" y="239363"/>
                      <a:pt x="8601" y="235776"/>
                    </a:cubicBezTo>
                    <a:cubicBezTo>
                      <a:pt x="15275" y="222929"/>
                      <a:pt x="20114" y="212752"/>
                      <a:pt x="19697" y="193232"/>
                    </a:cubicBezTo>
                    <a:cubicBezTo>
                      <a:pt x="19280" y="174629"/>
                      <a:pt x="25036" y="163534"/>
                      <a:pt x="32127" y="149352"/>
                    </a:cubicBezTo>
                    <a:cubicBezTo>
                      <a:pt x="34797" y="144514"/>
                      <a:pt x="37467" y="138758"/>
                      <a:pt x="40136" y="132501"/>
                    </a:cubicBezTo>
                    <a:cubicBezTo>
                      <a:pt x="43223" y="124493"/>
                      <a:pt x="44558" y="116568"/>
                      <a:pt x="45475" y="108560"/>
                    </a:cubicBezTo>
                    <a:cubicBezTo>
                      <a:pt x="46810" y="96130"/>
                      <a:pt x="48562" y="85953"/>
                      <a:pt x="59241" y="78862"/>
                    </a:cubicBezTo>
                    <a:cubicBezTo>
                      <a:pt x="62745" y="76609"/>
                      <a:pt x="67250" y="74858"/>
                      <a:pt x="72089" y="73523"/>
                    </a:cubicBezTo>
                    <a:cubicBezTo>
                      <a:pt x="77845" y="71271"/>
                      <a:pt x="84019" y="69102"/>
                      <a:pt x="89358" y="65098"/>
                    </a:cubicBezTo>
                    <a:cubicBezTo>
                      <a:pt x="96032" y="60259"/>
                      <a:pt x="99536" y="54503"/>
                      <a:pt x="103541" y="48747"/>
                    </a:cubicBezTo>
                    <a:cubicBezTo>
                      <a:pt x="105793" y="45661"/>
                      <a:pt x="107962" y="42073"/>
                      <a:pt x="110632" y="38987"/>
                    </a:cubicBezTo>
                    <a:cubicBezTo>
                      <a:pt x="114136" y="35483"/>
                      <a:pt x="117723" y="31896"/>
                      <a:pt x="121227" y="28810"/>
                    </a:cubicBezTo>
                    <a:cubicBezTo>
                      <a:pt x="128318" y="22637"/>
                      <a:pt x="135410" y="16380"/>
                      <a:pt x="140749" y="6203"/>
                    </a:cubicBezTo>
                    <a:cubicBezTo>
                      <a:pt x="146088" y="4451"/>
                      <a:pt x="151845" y="2699"/>
                      <a:pt x="158435" y="1364"/>
                    </a:cubicBezTo>
                    <a:cubicBezTo>
                      <a:pt x="175705" y="-2139"/>
                      <a:pt x="185466" y="947"/>
                      <a:pt x="192974" y="12459"/>
                    </a:cubicBezTo>
                    <a:cubicBezTo>
                      <a:pt x="194309" y="15129"/>
                      <a:pt x="196061" y="17298"/>
                      <a:pt x="197813" y="19550"/>
                    </a:cubicBezTo>
                    <a:cubicBezTo>
                      <a:pt x="200900" y="23971"/>
                      <a:pt x="204487" y="28393"/>
                      <a:pt x="207991" y="32397"/>
                    </a:cubicBezTo>
                    <a:cubicBezTo>
                      <a:pt x="208408" y="32814"/>
                      <a:pt x="208408" y="33314"/>
                      <a:pt x="208909" y="33314"/>
                    </a:cubicBezTo>
                    <a:lnTo>
                      <a:pt x="208909" y="33731"/>
                    </a:lnTo>
                    <a:cubicBezTo>
                      <a:pt x="215583" y="41740"/>
                      <a:pt x="221339" y="49248"/>
                      <a:pt x="226178" y="57673"/>
                    </a:cubicBezTo>
                    <a:cubicBezTo>
                      <a:pt x="235021" y="73607"/>
                      <a:pt x="241695" y="85619"/>
                      <a:pt x="255878" y="98883"/>
                    </a:cubicBezTo>
                    <a:cubicBezTo>
                      <a:pt x="262969" y="105557"/>
                      <a:pt x="268726" y="113064"/>
                      <a:pt x="275400" y="120572"/>
                    </a:cubicBezTo>
                    <a:cubicBezTo>
                      <a:pt x="293587" y="142679"/>
                      <a:pt x="312191" y="165286"/>
                      <a:pt x="351151" y="157361"/>
                    </a:cubicBezTo>
                    <a:cubicBezTo>
                      <a:pt x="353821" y="156944"/>
                      <a:pt x="356491" y="156443"/>
                      <a:pt x="359160" y="155609"/>
                    </a:cubicBezTo>
                    <a:cubicBezTo>
                      <a:pt x="374678" y="152105"/>
                      <a:pt x="385273" y="149436"/>
                      <a:pt x="397704" y="159113"/>
                    </a:cubicBezTo>
                    <a:cubicBezTo>
                      <a:pt x="404795" y="164869"/>
                      <a:pt x="406547" y="173294"/>
                      <a:pt x="408299" y="182554"/>
                    </a:cubicBezTo>
                    <a:cubicBezTo>
                      <a:pt x="410051" y="191396"/>
                      <a:pt x="411803" y="201574"/>
                      <a:pt x="418894" y="210499"/>
                    </a:cubicBezTo>
                    <a:cubicBezTo>
                      <a:pt x="429990" y="224264"/>
                      <a:pt x="442838" y="231772"/>
                      <a:pt x="455685" y="235275"/>
                    </a:cubicBezTo>
                    <a:cubicBezTo>
                      <a:pt x="454768" y="237528"/>
                      <a:pt x="454350" y="239279"/>
                      <a:pt x="453433" y="241448"/>
                    </a:cubicBezTo>
                    <a:cubicBezTo>
                      <a:pt x="452098" y="245870"/>
                      <a:pt x="450763" y="249874"/>
                      <a:pt x="448594" y="252544"/>
                    </a:cubicBezTo>
                    <a:cubicBezTo>
                      <a:pt x="446341" y="254796"/>
                      <a:pt x="444172" y="256047"/>
                      <a:pt x="440585" y="257382"/>
                    </a:cubicBezTo>
                    <a:cubicBezTo>
                      <a:pt x="437498" y="258717"/>
                      <a:pt x="433494" y="260469"/>
                      <a:pt x="429990" y="263555"/>
                    </a:cubicBezTo>
                    <a:cubicBezTo>
                      <a:pt x="423316" y="268894"/>
                      <a:pt x="418894" y="277736"/>
                      <a:pt x="414890" y="285661"/>
                    </a:cubicBezTo>
                    <a:cubicBezTo>
                      <a:pt x="413555" y="288331"/>
                      <a:pt x="411803" y="291000"/>
                      <a:pt x="410468" y="293670"/>
                    </a:cubicBezTo>
                    <a:lnTo>
                      <a:pt x="407381" y="299009"/>
                    </a:lnTo>
                    <a:cubicBezTo>
                      <a:pt x="402542" y="306516"/>
                      <a:pt x="397203" y="314942"/>
                      <a:pt x="395868" y="324702"/>
                    </a:cubicBezTo>
                    <a:cubicBezTo>
                      <a:pt x="394116" y="325620"/>
                      <a:pt x="392364" y="326955"/>
                      <a:pt x="390529" y="327789"/>
                    </a:cubicBezTo>
                    <a:cubicBezTo>
                      <a:pt x="381185" y="333962"/>
                      <a:pt x="372342" y="339301"/>
                      <a:pt x="362581" y="341553"/>
                    </a:cubicBezTo>
                    <a:cubicBezTo>
                      <a:pt x="357742" y="342471"/>
                      <a:pt x="352820" y="341970"/>
                      <a:pt x="347481" y="341553"/>
                    </a:cubicBezTo>
                    <a:cubicBezTo>
                      <a:pt x="342141" y="341136"/>
                      <a:pt x="336385" y="340218"/>
                      <a:pt x="330211" y="341136"/>
                    </a:cubicBezTo>
                    <a:cubicBezTo>
                      <a:pt x="323537" y="342471"/>
                      <a:pt x="317781" y="345558"/>
                      <a:pt x="312942" y="347810"/>
                    </a:cubicBezTo>
                    <a:cubicBezTo>
                      <a:pt x="308520" y="350479"/>
                      <a:pt x="304516" y="352648"/>
                      <a:pt x="300094" y="353148"/>
                    </a:cubicBezTo>
                    <a:cubicBezTo>
                      <a:pt x="293921" y="354066"/>
                      <a:pt x="289499" y="352231"/>
                      <a:pt x="283743" y="349645"/>
                    </a:cubicBezTo>
                    <a:cubicBezTo>
                      <a:pt x="280656" y="348310"/>
                      <a:pt x="277569" y="346558"/>
                      <a:pt x="273564" y="345641"/>
                    </a:cubicBezTo>
                    <a:cubicBezTo>
                      <a:pt x="263804" y="342554"/>
                      <a:pt x="259799" y="344723"/>
                      <a:pt x="254960" y="347393"/>
                    </a:cubicBezTo>
                    <a:cubicBezTo>
                      <a:pt x="253625" y="348310"/>
                      <a:pt x="251873" y="349144"/>
                      <a:pt x="249621" y="350062"/>
                    </a:cubicBezTo>
                    <a:cubicBezTo>
                      <a:pt x="246951" y="350980"/>
                      <a:pt x="243447" y="351397"/>
                      <a:pt x="241195" y="350479"/>
                    </a:cubicBezTo>
                    <a:cubicBezTo>
                      <a:pt x="238108" y="348727"/>
                      <a:pt x="236356" y="341637"/>
                      <a:pt x="235021" y="334963"/>
                    </a:cubicBezTo>
                    <a:cubicBezTo>
                      <a:pt x="232769" y="326537"/>
                      <a:pt x="230600" y="316777"/>
                      <a:pt x="224426" y="310604"/>
                    </a:cubicBezTo>
                    <a:cubicBezTo>
                      <a:pt x="207157" y="293753"/>
                      <a:pt x="183630" y="298174"/>
                      <a:pt x="159270" y="323034"/>
                    </a:cubicBezTo>
                    <a:cubicBezTo>
                      <a:pt x="153513" y="328790"/>
                      <a:pt x="147340" y="331876"/>
                      <a:pt x="140666" y="334129"/>
                    </a:cubicBezTo>
                    <a:cubicBezTo>
                      <a:pt x="136244" y="335464"/>
                      <a:pt x="131822" y="336381"/>
                      <a:pt x="126483" y="336798"/>
                    </a:cubicBezTo>
                    <a:cubicBezTo>
                      <a:pt x="125565" y="337215"/>
                      <a:pt x="124230" y="337215"/>
                      <a:pt x="123396" y="337215"/>
                    </a:cubicBezTo>
                    <a:cubicBezTo>
                      <a:pt x="116722" y="338550"/>
                      <a:pt x="109631" y="339468"/>
                      <a:pt x="102122" y="341637"/>
                    </a:cubicBezTo>
                    <a:cubicBezTo>
                      <a:pt x="83101" y="347393"/>
                      <a:pt x="63579" y="349645"/>
                      <a:pt x="42722" y="351397"/>
                    </a:cubicBezTo>
                    <a:lnTo>
                      <a:pt x="27622" y="352731"/>
                    </a:lnTo>
                    <a:cubicBezTo>
                      <a:pt x="20531" y="353649"/>
                      <a:pt x="13440" y="353649"/>
                      <a:pt x="7683" y="353148"/>
                    </a:cubicBezTo>
                    <a:cubicBezTo>
                      <a:pt x="8601" y="350479"/>
                      <a:pt x="9018" y="348310"/>
                      <a:pt x="9936" y="345641"/>
                    </a:cubicBezTo>
                    <a:lnTo>
                      <a:pt x="11270" y="339885"/>
                    </a:lnTo>
                    <a:cubicBezTo>
                      <a:pt x="12605" y="335046"/>
                      <a:pt x="14774" y="330125"/>
                      <a:pt x="17444" y="324785"/>
                    </a:cubicBezTo>
                    <a:cubicBezTo>
                      <a:pt x="24118" y="311522"/>
                      <a:pt x="32044" y="295088"/>
                      <a:pt x="20114" y="278237"/>
                    </a:cubicBezTo>
                    <a:cubicBezTo>
                      <a:pt x="16109" y="272898"/>
                      <a:pt x="11688" y="268894"/>
                      <a:pt x="8184" y="265807"/>
                    </a:cubicBezTo>
                    <a:cubicBezTo>
                      <a:pt x="-242" y="261553"/>
                      <a:pt x="-2411" y="259801"/>
                      <a:pt x="2844" y="24820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71943849" name="Полилиния 359"/>
              <p:cNvSpPr/>
              <p:nvPr/>
            </p:nvSpPr>
            <p:spPr bwMode="auto">
              <a:xfrm>
                <a:off x="1610770" y="5227938"/>
                <a:ext cx="396669" cy="558703"/>
              </a:xfrm>
              <a:custGeom>
                <a:avLst/>
                <a:gdLst>
                  <a:gd name="connsiteX0" fmla="*/ 325114 w 445473"/>
                  <a:gd name="connsiteY0" fmla="*/ 545024 h 627443"/>
                  <a:gd name="connsiteX1" fmla="*/ 329953 w 445473"/>
                  <a:gd name="connsiteY1" fmla="*/ 558788 h 627443"/>
                  <a:gd name="connsiteX2" fmla="*/ 306510 w 445473"/>
                  <a:gd name="connsiteY2" fmla="*/ 579143 h 627443"/>
                  <a:gd name="connsiteX3" fmla="*/ 231176 w 445473"/>
                  <a:gd name="connsiteY3" fmla="*/ 625191 h 627443"/>
                  <a:gd name="connsiteX4" fmla="*/ 193550 w 445473"/>
                  <a:gd name="connsiteY4" fmla="*/ 627443 h 627443"/>
                  <a:gd name="connsiteX5" fmla="*/ 188711 w 445473"/>
                  <a:gd name="connsiteY5" fmla="*/ 584482 h 627443"/>
                  <a:gd name="connsiteX6" fmla="*/ 159012 w 445473"/>
                  <a:gd name="connsiteY6" fmla="*/ 551280 h 627443"/>
                  <a:gd name="connsiteX7" fmla="*/ 142660 w 445473"/>
                  <a:gd name="connsiteY7" fmla="*/ 537099 h 627443"/>
                  <a:gd name="connsiteX8" fmla="*/ 137321 w 445473"/>
                  <a:gd name="connsiteY8" fmla="*/ 530926 h 627443"/>
                  <a:gd name="connsiteX9" fmla="*/ 113377 w 445473"/>
                  <a:gd name="connsiteY9" fmla="*/ 512323 h 627443"/>
                  <a:gd name="connsiteX10" fmla="*/ 113377 w 445473"/>
                  <a:gd name="connsiteY10" fmla="*/ 483126 h 627443"/>
                  <a:gd name="connsiteX11" fmla="*/ 112459 w 445473"/>
                  <a:gd name="connsiteY11" fmla="*/ 470279 h 627443"/>
                  <a:gd name="connsiteX12" fmla="*/ 104033 w 445473"/>
                  <a:gd name="connsiteY12" fmla="*/ 450758 h 627443"/>
                  <a:gd name="connsiteX13" fmla="*/ 102281 w 445473"/>
                  <a:gd name="connsiteY13" fmla="*/ 447255 h 627443"/>
                  <a:gd name="connsiteX14" fmla="*/ 86347 w 445473"/>
                  <a:gd name="connsiteY14" fmla="*/ 408715 h 627443"/>
                  <a:gd name="connsiteX15" fmla="*/ 52642 w 445473"/>
                  <a:gd name="connsiteY15" fmla="*/ 357327 h 627443"/>
                  <a:gd name="connsiteX16" fmla="*/ 49973 w 445473"/>
                  <a:gd name="connsiteY16" fmla="*/ 354658 h 627443"/>
                  <a:gd name="connsiteX17" fmla="*/ 49055 w 445473"/>
                  <a:gd name="connsiteY17" fmla="*/ 352406 h 627443"/>
                  <a:gd name="connsiteX18" fmla="*/ 48137 w 445473"/>
                  <a:gd name="connsiteY18" fmla="*/ 350153 h 627443"/>
                  <a:gd name="connsiteX19" fmla="*/ 43298 w 445473"/>
                  <a:gd name="connsiteY19" fmla="*/ 340393 h 627443"/>
                  <a:gd name="connsiteX20" fmla="*/ 41046 w 445473"/>
                  <a:gd name="connsiteY20" fmla="*/ 336889 h 627443"/>
                  <a:gd name="connsiteX21" fmla="*/ 37542 w 445473"/>
                  <a:gd name="connsiteY21" fmla="*/ 305023 h 627443"/>
                  <a:gd name="connsiteX22" fmla="*/ 38877 w 445473"/>
                  <a:gd name="connsiteY22" fmla="*/ 274908 h 627443"/>
                  <a:gd name="connsiteX23" fmla="*/ 37959 w 445473"/>
                  <a:gd name="connsiteY23" fmla="*/ 257223 h 627443"/>
                  <a:gd name="connsiteX24" fmla="*/ 29116 w 445473"/>
                  <a:gd name="connsiteY24" fmla="*/ 243458 h 627443"/>
                  <a:gd name="connsiteX25" fmla="*/ 10095 w 445473"/>
                  <a:gd name="connsiteY25" fmla="*/ 222186 h 627443"/>
                  <a:gd name="connsiteX26" fmla="*/ 4755 w 445473"/>
                  <a:gd name="connsiteY26" fmla="*/ 215513 h 627443"/>
                  <a:gd name="connsiteX27" fmla="*/ 4755 w 445473"/>
                  <a:gd name="connsiteY27" fmla="*/ 215096 h 627443"/>
                  <a:gd name="connsiteX28" fmla="*/ 1251 w 445473"/>
                  <a:gd name="connsiteY28" fmla="*/ 205336 h 627443"/>
                  <a:gd name="connsiteX29" fmla="*/ 834 w 445473"/>
                  <a:gd name="connsiteY29" fmla="*/ 204001 h 627443"/>
                  <a:gd name="connsiteX30" fmla="*/ 417 w 445473"/>
                  <a:gd name="connsiteY30" fmla="*/ 203083 h 627443"/>
                  <a:gd name="connsiteX31" fmla="*/ 0 w 445473"/>
                  <a:gd name="connsiteY31" fmla="*/ 202666 h 627443"/>
                  <a:gd name="connsiteX32" fmla="*/ 417 w 445473"/>
                  <a:gd name="connsiteY32" fmla="*/ 202666 h 627443"/>
                  <a:gd name="connsiteX33" fmla="*/ 6591 w 445473"/>
                  <a:gd name="connsiteY33" fmla="*/ 202666 h 627443"/>
                  <a:gd name="connsiteX34" fmla="*/ 10095 w 445473"/>
                  <a:gd name="connsiteY34" fmla="*/ 203083 h 627443"/>
                  <a:gd name="connsiteX35" fmla="*/ 11012 w 445473"/>
                  <a:gd name="connsiteY35" fmla="*/ 204835 h 627443"/>
                  <a:gd name="connsiteX36" fmla="*/ 14516 w 445473"/>
                  <a:gd name="connsiteY36" fmla="*/ 209256 h 627443"/>
                  <a:gd name="connsiteX37" fmla="*/ 15434 w 445473"/>
                  <a:gd name="connsiteY37" fmla="*/ 210174 h 627443"/>
                  <a:gd name="connsiteX38" fmla="*/ 26029 w 445473"/>
                  <a:gd name="connsiteY38" fmla="*/ 213260 h 627443"/>
                  <a:gd name="connsiteX39" fmla="*/ 34038 w 445473"/>
                  <a:gd name="connsiteY39" fmla="*/ 212343 h 627443"/>
                  <a:gd name="connsiteX40" fmla="*/ 51308 w 445473"/>
                  <a:gd name="connsiteY40" fmla="*/ 207004 h 627443"/>
                  <a:gd name="connsiteX41" fmla="*/ 54811 w 445473"/>
                  <a:gd name="connsiteY41" fmla="*/ 205669 h 627443"/>
                  <a:gd name="connsiteX42" fmla="*/ 60151 w 445473"/>
                  <a:gd name="connsiteY42" fmla="*/ 208338 h 627443"/>
                  <a:gd name="connsiteX43" fmla="*/ 76085 w 445473"/>
                  <a:gd name="connsiteY43" fmla="*/ 211842 h 627443"/>
                  <a:gd name="connsiteX44" fmla="*/ 84511 w 445473"/>
                  <a:gd name="connsiteY44" fmla="*/ 207004 h 627443"/>
                  <a:gd name="connsiteX45" fmla="*/ 88015 w 445473"/>
                  <a:gd name="connsiteY45" fmla="*/ 204334 h 627443"/>
                  <a:gd name="connsiteX46" fmla="*/ 98610 w 445473"/>
                  <a:gd name="connsiteY46" fmla="*/ 192405 h 627443"/>
                  <a:gd name="connsiteX47" fmla="*/ 111875 w 445473"/>
                  <a:gd name="connsiteY47" fmla="*/ 175137 h 627443"/>
                  <a:gd name="connsiteX48" fmla="*/ 123805 w 445473"/>
                  <a:gd name="connsiteY48" fmla="*/ 172885 h 627443"/>
                  <a:gd name="connsiteX49" fmla="*/ 132232 w 445473"/>
                  <a:gd name="connsiteY49" fmla="*/ 172885 h 627443"/>
                  <a:gd name="connsiteX50" fmla="*/ 151753 w 445473"/>
                  <a:gd name="connsiteY50" fmla="*/ 171550 h 627443"/>
                  <a:gd name="connsiteX51" fmla="*/ 188044 w 445473"/>
                  <a:gd name="connsiteY51" fmla="*/ 151612 h 627443"/>
                  <a:gd name="connsiteX52" fmla="*/ 211988 w 445473"/>
                  <a:gd name="connsiteY52" fmla="*/ 120580 h 627443"/>
                  <a:gd name="connsiteX53" fmla="*/ 227922 w 445473"/>
                  <a:gd name="connsiteY53" fmla="*/ 94886 h 627443"/>
                  <a:gd name="connsiteX54" fmla="*/ 230592 w 445473"/>
                  <a:gd name="connsiteY54" fmla="*/ 88713 h 627443"/>
                  <a:gd name="connsiteX55" fmla="*/ 227088 w 445473"/>
                  <a:gd name="connsiteY55" fmla="*/ 74949 h 627443"/>
                  <a:gd name="connsiteX56" fmla="*/ 200475 w 445473"/>
                  <a:gd name="connsiteY56" fmla="*/ 69610 h 627443"/>
                  <a:gd name="connsiteX57" fmla="*/ 195636 w 445473"/>
                  <a:gd name="connsiteY57" fmla="*/ 73114 h 627443"/>
                  <a:gd name="connsiteX58" fmla="*/ 194301 w 445473"/>
                  <a:gd name="connsiteY58" fmla="*/ 74031 h 627443"/>
                  <a:gd name="connsiteX59" fmla="*/ 178367 w 445473"/>
                  <a:gd name="connsiteY59" fmla="*/ 78870 h 627443"/>
                  <a:gd name="connsiteX60" fmla="*/ 173027 w 445473"/>
                  <a:gd name="connsiteY60" fmla="*/ 76200 h 627443"/>
                  <a:gd name="connsiteX61" fmla="*/ 174362 w 445473"/>
                  <a:gd name="connsiteY61" fmla="*/ 59850 h 627443"/>
                  <a:gd name="connsiteX62" fmla="*/ 174779 w 445473"/>
                  <a:gd name="connsiteY62" fmla="*/ 56346 h 627443"/>
                  <a:gd name="connsiteX63" fmla="*/ 172527 w 445473"/>
                  <a:gd name="connsiteY63" fmla="*/ 36826 h 627443"/>
                  <a:gd name="connsiteX64" fmla="*/ 194218 w 445473"/>
                  <a:gd name="connsiteY64" fmla="*/ 27066 h 627443"/>
                  <a:gd name="connsiteX65" fmla="*/ 204396 w 445473"/>
                  <a:gd name="connsiteY65" fmla="*/ 28818 h 627443"/>
                  <a:gd name="connsiteX66" fmla="*/ 215909 w 445473"/>
                  <a:gd name="connsiteY66" fmla="*/ 32822 h 627443"/>
                  <a:gd name="connsiteX67" fmla="*/ 232761 w 445473"/>
                  <a:gd name="connsiteY67" fmla="*/ 29735 h 627443"/>
                  <a:gd name="connsiteX68" fmla="*/ 241187 w 445473"/>
                  <a:gd name="connsiteY68" fmla="*/ 27066 h 627443"/>
                  <a:gd name="connsiteX69" fmla="*/ 253618 w 445473"/>
                  <a:gd name="connsiteY69" fmla="*/ 33739 h 627443"/>
                  <a:gd name="connsiteX70" fmla="*/ 281065 w 445473"/>
                  <a:gd name="connsiteY70" fmla="*/ 39912 h 627443"/>
                  <a:gd name="connsiteX71" fmla="*/ 294330 w 445473"/>
                  <a:gd name="connsiteY71" fmla="*/ 16888 h 627443"/>
                  <a:gd name="connsiteX72" fmla="*/ 306260 w 445473"/>
                  <a:gd name="connsiteY72" fmla="*/ 538 h 627443"/>
                  <a:gd name="connsiteX73" fmla="*/ 310681 w 445473"/>
                  <a:gd name="connsiteY73" fmla="*/ 16471 h 627443"/>
                  <a:gd name="connsiteX74" fmla="*/ 317773 w 445473"/>
                  <a:gd name="connsiteY74" fmla="*/ 43083 h 627443"/>
                  <a:gd name="connsiteX75" fmla="*/ 336377 w 445473"/>
                  <a:gd name="connsiteY75" fmla="*/ 49256 h 627443"/>
                  <a:gd name="connsiteX76" fmla="*/ 343051 w 445473"/>
                  <a:gd name="connsiteY76" fmla="*/ 50173 h 627443"/>
                  <a:gd name="connsiteX77" fmla="*/ 358986 w 445473"/>
                  <a:gd name="connsiteY77" fmla="*/ 63938 h 627443"/>
                  <a:gd name="connsiteX78" fmla="*/ 359403 w 445473"/>
                  <a:gd name="connsiteY78" fmla="*/ 64355 h 627443"/>
                  <a:gd name="connsiteX79" fmla="*/ 360738 w 445473"/>
                  <a:gd name="connsiteY79" fmla="*/ 66607 h 627443"/>
                  <a:gd name="connsiteX80" fmla="*/ 369164 w 445473"/>
                  <a:gd name="connsiteY80" fmla="*/ 77702 h 627443"/>
                  <a:gd name="connsiteX81" fmla="*/ 369581 w 445473"/>
                  <a:gd name="connsiteY81" fmla="*/ 78119 h 627443"/>
                  <a:gd name="connsiteX82" fmla="*/ 389520 w 445473"/>
                  <a:gd name="connsiteY82" fmla="*/ 117076 h 627443"/>
                  <a:gd name="connsiteX83" fmla="*/ 386016 w 445473"/>
                  <a:gd name="connsiteY83" fmla="*/ 125502 h 627443"/>
                  <a:gd name="connsiteX84" fmla="*/ 380677 w 445473"/>
                  <a:gd name="connsiteY84" fmla="*/ 141852 h 627443"/>
                  <a:gd name="connsiteX85" fmla="*/ 382429 w 445473"/>
                  <a:gd name="connsiteY85" fmla="*/ 160455 h 627443"/>
                  <a:gd name="connsiteX86" fmla="*/ 383763 w 445473"/>
                  <a:gd name="connsiteY86" fmla="*/ 178641 h 627443"/>
                  <a:gd name="connsiteX87" fmla="*/ 383346 w 445473"/>
                  <a:gd name="connsiteY87" fmla="*/ 182645 h 627443"/>
                  <a:gd name="connsiteX88" fmla="*/ 405955 w 445473"/>
                  <a:gd name="connsiteY88" fmla="*/ 232280 h 627443"/>
                  <a:gd name="connsiteX89" fmla="*/ 423224 w 445473"/>
                  <a:gd name="connsiteY89" fmla="*/ 234950 h 627443"/>
                  <a:gd name="connsiteX90" fmla="*/ 444915 w 445473"/>
                  <a:gd name="connsiteY90" fmla="*/ 246045 h 627443"/>
                  <a:gd name="connsiteX91" fmla="*/ 430316 w 445473"/>
                  <a:gd name="connsiteY91" fmla="*/ 265064 h 627443"/>
                  <a:gd name="connsiteX92" fmla="*/ 414798 w 445473"/>
                  <a:gd name="connsiteY92" fmla="*/ 273907 h 627443"/>
                  <a:gd name="connsiteX93" fmla="*/ 401950 w 445473"/>
                  <a:gd name="connsiteY93" fmla="*/ 334137 h 627443"/>
                  <a:gd name="connsiteX94" fmla="*/ 407707 w 445473"/>
                  <a:gd name="connsiteY94" fmla="*/ 351822 h 627443"/>
                  <a:gd name="connsiteX95" fmla="*/ 405037 w 445473"/>
                  <a:gd name="connsiteY95" fmla="*/ 372677 h 627443"/>
                  <a:gd name="connsiteX96" fmla="*/ 393941 w 445473"/>
                  <a:gd name="connsiteY96" fmla="*/ 375763 h 627443"/>
                  <a:gd name="connsiteX97" fmla="*/ 380176 w 445473"/>
                  <a:gd name="connsiteY97" fmla="*/ 378016 h 627443"/>
                  <a:gd name="connsiteX98" fmla="*/ 369080 w 445473"/>
                  <a:gd name="connsiteY98" fmla="*/ 385107 h 627443"/>
                  <a:gd name="connsiteX99" fmla="*/ 360237 w 445473"/>
                  <a:gd name="connsiteY99" fmla="*/ 389528 h 627443"/>
                  <a:gd name="connsiteX100" fmla="*/ 350059 w 445473"/>
                  <a:gd name="connsiteY100" fmla="*/ 385524 h 627443"/>
                  <a:gd name="connsiteX101" fmla="*/ 316355 w 445473"/>
                  <a:gd name="connsiteY101" fmla="*/ 379350 h 627443"/>
                  <a:gd name="connsiteX102" fmla="*/ 306594 w 445473"/>
                  <a:gd name="connsiteY102" fmla="*/ 389945 h 627443"/>
                  <a:gd name="connsiteX103" fmla="*/ 313685 w 445473"/>
                  <a:gd name="connsiteY103" fmla="*/ 411217 h 627443"/>
                  <a:gd name="connsiteX104" fmla="*/ 317189 w 445473"/>
                  <a:gd name="connsiteY104" fmla="*/ 414721 h 627443"/>
                  <a:gd name="connsiteX105" fmla="*/ 319441 w 445473"/>
                  <a:gd name="connsiteY105" fmla="*/ 426650 h 627443"/>
                  <a:gd name="connsiteX106" fmla="*/ 320776 w 445473"/>
                  <a:gd name="connsiteY106" fmla="*/ 441749 h 627443"/>
                  <a:gd name="connsiteX107" fmla="*/ 330954 w 445473"/>
                  <a:gd name="connsiteY107" fmla="*/ 453678 h 627443"/>
                  <a:gd name="connsiteX108" fmla="*/ 334458 w 445473"/>
                  <a:gd name="connsiteY108" fmla="*/ 456348 h 627443"/>
                  <a:gd name="connsiteX109" fmla="*/ 321610 w 445473"/>
                  <a:gd name="connsiteY109" fmla="*/ 467860 h 627443"/>
                  <a:gd name="connsiteX110" fmla="*/ 312767 w 445473"/>
                  <a:gd name="connsiteY110" fmla="*/ 473198 h 627443"/>
                  <a:gd name="connsiteX111" fmla="*/ 271137 w 445473"/>
                  <a:gd name="connsiteY111" fmla="*/ 516160 h 627443"/>
                  <a:gd name="connsiteX112" fmla="*/ 303924 w 445473"/>
                  <a:gd name="connsiteY112" fmla="*/ 538767 h 627443"/>
                  <a:gd name="connsiteX113" fmla="*/ 325114 w 445473"/>
                  <a:gd name="connsiteY113" fmla="*/ 545024 h 62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45473" h="627443" extrusionOk="0">
                    <a:moveTo>
                      <a:pt x="325114" y="545024"/>
                    </a:moveTo>
                    <a:cubicBezTo>
                      <a:pt x="327784" y="548110"/>
                      <a:pt x="329119" y="553032"/>
                      <a:pt x="329953" y="558788"/>
                    </a:cubicBezTo>
                    <a:cubicBezTo>
                      <a:pt x="322862" y="564961"/>
                      <a:pt x="315353" y="572552"/>
                      <a:pt x="306510" y="579143"/>
                    </a:cubicBezTo>
                    <a:cubicBezTo>
                      <a:pt x="284819" y="595493"/>
                      <a:pt x="258707" y="619936"/>
                      <a:pt x="231176" y="625191"/>
                    </a:cubicBezTo>
                    <a:cubicBezTo>
                      <a:pt x="220580" y="627443"/>
                      <a:pt x="206815" y="626526"/>
                      <a:pt x="193550" y="627443"/>
                    </a:cubicBezTo>
                    <a:cubicBezTo>
                      <a:pt x="194468" y="611927"/>
                      <a:pt x="193967" y="596411"/>
                      <a:pt x="188711" y="584482"/>
                    </a:cubicBezTo>
                    <a:cubicBezTo>
                      <a:pt x="181620" y="569883"/>
                      <a:pt x="170107" y="560540"/>
                      <a:pt x="159012" y="551280"/>
                    </a:cubicBezTo>
                    <a:cubicBezTo>
                      <a:pt x="152838" y="546442"/>
                      <a:pt x="147499" y="542438"/>
                      <a:pt x="142660" y="537099"/>
                    </a:cubicBezTo>
                    <a:cubicBezTo>
                      <a:pt x="140908" y="534847"/>
                      <a:pt x="139156" y="533095"/>
                      <a:pt x="137321" y="530926"/>
                    </a:cubicBezTo>
                    <a:cubicBezTo>
                      <a:pt x="131147" y="523835"/>
                      <a:pt x="123555" y="514992"/>
                      <a:pt x="113377" y="512323"/>
                    </a:cubicBezTo>
                    <a:lnTo>
                      <a:pt x="113377" y="483126"/>
                    </a:lnTo>
                    <a:cubicBezTo>
                      <a:pt x="113377" y="478704"/>
                      <a:pt x="113377" y="474700"/>
                      <a:pt x="112459" y="470279"/>
                    </a:cubicBezTo>
                    <a:cubicBezTo>
                      <a:pt x="111125" y="463188"/>
                      <a:pt x="107621" y="456514"/>
                      <a:pt x="104033" y="450758"/>
                    </a:cubicBezTo>
                    <a:lnTo>
                      <a:pt x="102281" y="447255"/>
                    </a:lnTo>
                    <a:cubicBezTo>
                      <a:pt x="95190" y="433991"/>
                      <a:pt x="89851" y="418892"/>
                      <a:pt x="86347" y="408715"/>
                    </a:cubicBezTo>
                    <a:cubicBezTo>
                      <a:pt x="80173" y="389194"/>
                      <a:pt x="68660" y="371509"/>
                      <a:pt x="52642" y="357327"/>
                    </a:cubicBezTo>
                    <a:cubicBezTo>
                      <a:pt x="51725" y="356410"/>
                      <a:pt x="50390" y="355075"/>
                      <a:pt x="49973" y="354658"/>
                    </a:cubicBezTo>
                    <a:cubicBezTo>
                      <a:pt x="49555" y="354241"/>
                      <a:pt x="49555" y="353323"/>
                      <a:pt x="49055" y="352406"/>
                    </a:cubicBezTo>
                    <a:lnTo>
                      <a:pt x="48137" y="350153"/>
                    </a:lnTo>
                    <a:cubicBezTo>
                      <a:pt x="47220" y="346650"/>
                      <a:pt x="45050" y="343480"/>
                      <a:pt x="43298" y="340393"/>
                    </a:cubicBezTo>
                    <a:cubicBezTo>
                      <a:pt x="42381" y="339058"/>
                      <a:pt x="41964" y="337724"/>
                      <a:pt x="41046" y="336889"/>
                    </a:cubicBezTo>
                    <a:cubicBezTo>
                      <a:pt x="36207" y="327547"/>
                      <a:pt x="36624" y="315617"/>
                      <a:pt x="37542" y="305023"/>
                    </a:cubicBezTo>
                    <a:lnTo>
                      <a:pt x="38877" y="274908"/>
                    </a:lnTo>
                    <a:cubicBezTo>
                      <a:pt x="39294" y="269569"/>
                      <a:pt x="39294" y="263396"/>
                      <a:pt x="37959" y="257223"/>
                    </a:cubicBezTo>
                    <a:cubicBezTo>
                      <a:pt x="36624" y="251050"/>
                      <a:pt x="32620" y="247046"/>
                      <a:pt x="29116" y="243458"/>
                    </a:cubicBezTo>
                    <a:lnTo>
                      <a:pt x="10095" y="222186"/>
                    </a:lnTo>
                    <a:cubicBezTo>
                      <a:pt x="7842" y="219517"/>
                      <a:pt x="6090" y="217765"/>
                      <a:pt x="4755" y="215513"/>
                    </a:cubicBezTo>
                    <a:lnTo>
                      <a:pt x="4755" y="215096"/>
                    </a:lnTo>
                    <a:cubicBezTo>
                      <a:pt x="3420" y="212426"/>
                      <a:pt x="2086" y="208922"/>
                      <a:pt x="1251" y="205336"/>
                    </a:cubicBezTo>
                    <a:cubicBezTo>
                      <a:pt x="1251" y="204918"/>
                      <a:pt x="1251" y="204418"/>
                      <a:pt x="834" y="204001"/>
                    </a:cubicBezTo>
                    <a:lnTo>
                      <a:pt x="417" y="203083"/>
                    </a:lnTo>
                    <a:cubicBezTo>
                      <a:pt x="417" y="202666"/>
                      <a:pt x="417" y="202666"/>
                      <a:pt x="0" y="202666"/>
                    </a:cubicBezTo>
                    <a:cubicBezTo>
                      <a:pt x="417" y="202666"/>
                      <a:pt x="417" y="202666"/>
                      <a:pt x="417" y="202666"/>
                    </a:cubicBezTo>
                    <a:lnTo>
                      <a:pt x="6591" y="202666"/>
                    </a:lnTo>
                    <a:cubicBezTo>
                      <a:pt x="7508" y="202666"/>
                      <a:pt x="9677" y="202666"/>
                      <a:pt x="10095" y="203083"/>
                    </a:cubicBezTo>
                    <a:cubicBezTo>
                      <a:pt x="10512" y="203500"/>
                      <a:pt x="11012" y="204418"/>
                      <a:pt x="11012" y="204835"/>
                    </a:cubicBezTo>
                    <a:cubicBezTo>
                      <a:pt x="11930" y="206170"/>
                      <a:pt x="13265" y="207504"/>
                      <a:pt x="14516" y="209256"/>
                    </a:cubicBezTo>
                    <a:cubicBezTo>
                      <a:pt x="14933" y="209673"/>
                      <a:pt x="15434" y="209673"/>
                      <a:pt x="15434" y="210174"/>
                    </a:cubicBezTo>
                    <a:cubicBezTo>
                      <a:pt x="18521" y="212843"/>
                      <a:pt x="22525" y="213260"/>
                      <a:pt x="26029" y="213260"/>
                    </a:cubicBezTo>
                    <a:cubicBezTo>
                      <a:pt x="29116" y="213260"/>
                      <a:pt x="32203" y="212843"/>
                      <a:pt x="34038" y="212343"/>
                    </a:cubicBezTo>
                    <a:cubicBezTo>
                      <a:pt x="39377" y="211425"/>
                      <a:pt x="44633" y="210090"/>
                      <a:pt x="51308" y="207004"/>
                    </a:cubicBezTo>
                    <a:cubicBezTo>
                      <a:pt x="52642" y="206587"/>
                      <a:pt x="54394" y="205669"/>
                      <a:pt x="54811" y="205669"/>
                    </a:cubicBezTo>
                    <a:cubicBezTo>
                      <a:pt x="57064" y="206086"/>
                      <a:pt x="58315" y="207004"/>
                      <a:pt x="60151" y="208338"/>
                    </a:cubicBezTo>
                    <a:cubicBezTo>
                      <a:pt x="63655" y="210591"/>
                      <a:pt x="69494" y="213678"/>
                      <a:pt x="76085" y="211842"/>
                    </a:cubicBezTo>
                    <a:cubicBezTo>
                      <a:pt x="79589" y="210924"/>
                      <a:pt x="82259" y="208755"/>
                      <a:pt x="84511" y="207004"/>
                    </a:cubicBezTo>
                    <a:cubicBezTo>
                      <a:pt x="85846" y="206086"/>
                      <a:pt x="86764" y="204751"/>
                      <a:pt x="88015" y="204334"/>
                    </a:cubicBezTo>
                    <a:cubicBezTo>
                      <a:pt x="91519" y="201248"/>
                      <a:pt x="96441" y="197661"/>
                      <a:pt x="98610" y="192405"/>
                    </a:cubicBezTo>
                    <a:cubicBezTo>
                      <a:pt x="102114" y="185315"/>
                      <a:pt x="105702" y="178224"/>
                      <a:pt x="111875" y="175137"/>
                    </a:cubicBezTo>
                    <a:cubicBezTo>
                      <a:pt x="115379" y="173802"/>
                      <a:pt x="119884" y="172885"/>
                      <a:pt x="123805" y="172885"/>
                    </a:cubicBezTo>
                    <a:lnTo>
                      <a:pt x="132232" y="172885"/>
                    </a:lnTo>
                    <a:cubicBezTo>
                      <a:pt x="138405" y="172468"/>
                      <a:pt x="145079" y="172468"/>
                      <a:pt x="151753" y="171550"/>
                    </a:cubicBezTo>
                    <a:cubicBezTo>
                      <a:pt x="164184" y="168881"/>
                      <a:pt x="177032" y="162207"/>
                      <a:pt x="188044" y="151612"/>
                    </a:cubicBezTo>
                    <a:cubicBezTo>
                      <a:pt x="197805" y="141852"/>
                      <a:pt x="205731" y="130340"/>
                      <a:pt x="211988" y="120580"/>
                    </a:cubicBezTo>
                    <a:cubicBezTo>
                      <a:pt x="217327" y="112155"/>
                      <a:pt x="223083" y="103312"/>
                      <a:pt x="227922" y="94886"/>
                    </a:cubicBezTo>
                    <a:cubicBezTo>
                      <a:pt x="228840" y="93135"/>
                      <a:pt x="230175" y="91383"/>
                      <a:pt x="230592" y="88713"/>
                    </a:cubicBezTo>
                    <a:cubicBezTo>
                      <a:pt x="231509" y="84292"/>
                      <a:pt x="230175" y="78953"/>
                      <a:pt x="227088" y="74949"/>
                    </a:cubicBezTo>
                    <a:cubicBezTo>
                      <a:pt x="220914" y="66941"/>
                      <a:pt x="209401" y="64772"/>
                      <a:pt x="200475" y="69610"/>
                    </a:cubicBezTo>
                    <a:cubicBezTo>
                      <a:pt x="198723" y="70528"/>
                      <a:pt x="197388" y="71863"/>
                      <a:pt x="195636" y="73114"/>
                    </a:cubicBezTo>
                    <a:lnTo>
                      <a:pt x="194301" y="74031"/>
                    </a:lnTo>
                    <a:cubicBezTo>
                      <a:pt x="189879" y="77535"/>
                      <a:pt x="183706" y="78870"/>
                      <a:pt x="178367" y="78870"/>
                    </a:cubicBezTo>
                    <a:cubicBezTo>
                      <a:pt x="177449" y="78453"/>
                      <a:pt x="173027" y="77952"/>
                      <a:pt x="173027" y="76200"/>
                    </a:cubicBezTo>
                    <a:cubicBezTo>
                      <a:pt x="172610" y="71362"/>
                      <a:pt x="173444" y="65606"/>
                      <a:pt x="174362" y="59850"/>
                    </a:cubicBezTo>
                    <a:lnTo>
                      <a:pt x="174779" y="56346"/>
                    </a:lnTo>
                    <a:cubicBezTo>
                      <a:pt x="176114" y="48839"/>
                      <a:pt x="175196" y="42165"/>
                      <a:pt x="172527" y="36826"/>
                    </a:cubicBezTo>
                    <a:cubicBezTo>
                      <a:pt x="180035" y="32405"/>
                      <a:pt x="187627" y="28818"/>
                      <a:pt x="194218" y="27066"/>
                    </a:cubicBezTo>
                    <a:cubicBezTo>
                      <a:pt x="199056" y="25731"/>
                      <a:pt x="200892" y="26649"/>
                      <a:pt x="204396" y="28818"/>
                    </a:cubicBezTo>
                    <a:cubicBezTo>
                      <a:pt x="207483" y="30152"/>
                      <a:pt x="211070" y="32321"/>
                      <a:pt x="215909" y="32822"/>
                    </a:cubicBezTo>
                    <a:cubicBezTo>
                      <a:pt x="223000" y="33739"/>
                      <a:pt x="228339" y="31487"/>
                      <a:pt x="232761" y="29735"/>
                    </a:cubicBezTo>
                    <a:cubicBezTo>
                      <a:pt x="235430" y="28401"/>
                      <a:pt x="238100" y="27483"/>
                      <a:pt x="241187" y="27066"/>
                    </a:cubicBezTo>
                    <a:cubicBezTo>
                      <a:pt x="245609" y="26649"/>
                      <a:pt x="248695" y="29318"/>
                      <a:pt x="253618" y="33739"/>
                    </a:cubicBezTo>
                    <a:cubicBezTo>
                      <a:pt x="259791" y="38578"/>
                      <a:pt x="268217" y="46586"/>
                      <a:pt x="281065" y="39912"/>
                    </a:cubicBezTo>
                    <a:cubicBezTo>
                      <a:pt x="288573" y="35491"/>
                      <a:pt x="291660" y="26148"/>
                      <a:pt x="294330" y="16888"/>
                    </a:cubicBezTo>
                    <a:cubicBezTo>
                      <a:pt x="299669" y="955"/>
                      <a:pt x="301421" y="-1297"/>
                      <a:pt x="306260" y="538"/>
                    </a:cubicBezTo>
                    <a:cubicBezTo>
                      <a:pt x="310264" y="1873"/>
                      <a:pt x="311099" y="4959"/>
                      <a:pt x="310681" y="16471"/>
                    </a:cubicBezTo>
                    <a:cubicBezTo>
                      <a:pt x="310264" y="25814"/>
                      <a:pt x="310264" y="35992"/>
                      <a:pt x="317773" y="43083"/>
                    </a:cubicBezTo>
                    <a:cubicBezTo>
                      <a:pt x="323529" y="48421"/>
                      <a:pt x="330620" y="48839"/>
                      <a:pt x="336377" y="49256"/>
                    </a:cubicBezTo>
                    <a:cubicBezTo>
                      <a:pt x="339047" y="49256"/>
                      <a:pt x="341216" y="49673"/>
                      <a:pt x="343051" y="50173"/>
                    </a:cubicBezTo>
                    <a:cubicBezTo>
                      <a:pt x="351477" y="52426"/>
                      <a:pt x="353646" y="55512"/>
                      <a:pt x="358986" y="63938"/>
                    </a:cubicBezTo>
                    <a:cubicBezTo>
                      <a:pt x="358986" y="64355"/>
                      <a:pt x="359403" y="64355"/>
                      <a:pt x="359403" y="64355"/>
                    </a:cubicBezTo>
                    <a:lnTo>
                      <a:pt x="360738" y="66607"/>
                    </a:lnTo>
                    <a:cubicBezTo>
                      <a:pt x="362990" y="69694"/>
                      <a:pt x="366077" y="73698"/>
                      <a:pt x="369164" y="77702"/>
                    </a:cubicBezTo>
                    <a:cubicBezTo>
                      <a:pt x="369581" y="78119"/>
                      <a:pt x="369581" y="78119"/>
                      <a:pt x="369581" y="78119"/>
                    </a:cubicBezTo>
                    <a:cubicBezTo>
                      <a:pt x="378424" y="90048"/>
                      <a:pt x="391272" y="106065"/>
                      <a:pt x="389520" y="117076"/>
                    </a:cubicBezTo>
                    <a:cubicBezTo>
                      <a:pt x="389103" y="120163"/>
                      <a:pt x="387768" y="122415"/>
                      <a:pt x="386016" y="125502"/>
                    </a:cubicBezTo>
                    <a:cubicBezTo>
                      <a:pt x="383763" y="129506"/>
                      <a:pt x="381177" y="134845"/>
                      <a:pt x="380677" y="141852"/>
                    </a:cubicBezTo>
                    <a:cubicBezTo>
                      <a:pt x="380259" y="148526"/>
                      <a:pt x="381594" y="154699"/>
                      <a:pt x="382429" y="160455"/>
                    </a:cubicBezTo>
                    <a:cubicBezTo>
                      <a:pt x="383763" y="166628"/>
                      <a:pt x="384681" y="172384"/>
                      <a:pt x="383763" y="178641"/>
                    </a:cubicBezTo>
                    <a:lnTo>
                      <a:pt x="383346" y="182645"/>
                    </a:lnTo>
                    <a:cubicBezTo>
                      <a:pt x="381094" y="200831"/>
                      <a:pt x="378508" y="222937"/>
                      <a:pt x="405955" y="232280"/>
                    </a:cubicBezTo>
                    <a:cubicBezTo>
                      <a:pt x="411294" y="234032"/>
                      <a:pt x="417468" y="234533"/>
                      <a:pt x="423224" y="234950"/>
                    </a:cubicBezTo>
                    <a:cubicBezTo>
                      <a:pt x="437407" y="235867"/>
                      <a:pt x="443163" y="237202"/>
                      <a:pt x="444915" y="246045"/>
                    </a:cubicBezTo>
                    <a:cubicBezTo>
                      <a:pt x="447168" y="255805"/>
                      <a:pt x="442663" y="258891"/>
                      <a:pt x="430316" y="265064"/>
                    </a:cubicBezTo>
                    <a:cubicBezTo>
                      <a:pt x="424976" y="267734"/>
                      <a:pt x="419720" y="270404"/>
                      <a:pt x="414798" y="273907"/>
                    </a:cubicBezTo>
                    <a:cubicBezTo>
                      <a:pt x="401950" y="285419"/>
                      <a:pt x="397529" y="304940"/>
                      <a:pt x="401950" y="334137"/>
                    </a:cubicBezTo>
                    <a:cubicBezTo>
                      <a:pt x="402868" y="340810"/>
                      <a:pt x="405454" y="346566"/>
                      <a:pt x="407707" y="351822"/>
                    </a:cubicBezTo>
                    <a:cubicBezTo>
                      <a:pt x="412546" y="362917"/>
                      <a:pt x="413881" y="366420"/>
                      <a:pt x="405037" y="372677"/>
                    </a:cubicBezTo>
                    <a:cubicBezTo>
                      <a:pt x="401533" y="375346"/>
                      <a:pt x="398363" y="375346"/>
                      <a:pt x="393941" y="375763"/>
                    </a:cubicBezTo>
                    <a:cubicBezTo>
                      <a:pt x="389937" y="375763"/>
                      <a:pt x="385515" y="376181"/>
                      <a:pt x="380176" y="378016"/>
                    </a:cubicBezTo>
                    <a:cubicBezTo>
                      <a:pt x="375337" y="380268"/>
                      <a:pt x="371750" y="382854"/>
                      <a:pt x="369080" y="385107"/>
                    </a:cubicBezTo>
                    <a:cubicBezTo>
                      <a:pt x="365576" y="388193"/>
                      <a:pt x="363741" y="389528"/>
                      <a:pt x="360237" y="389528"/>
                    </a:cubicBezTo>
                    <a:cubicBezTo>
                      <a:pt x="358902" y="389111"/>
                      <a:pt x="353563" y="387275"/>
                      <a:pt x="350059" y="385524"/>
                    </a:cubicBezTo>
                    <a:cubicBezTo>
                      <a:pt x="339464" y="381102"/>
                      <a:pt x="326616" y="375346"/>
                      <a:pt x="316355" y="379350"/>
                    </a:cubicBezTo>
                    <a:cubicBezTo>
                      <a:pt x="311933" y="381603"/>
                      <a:pt x="308346" y="384690"/>
                      <a:pt x="306594" y="389945"/>
                    </a:cubicBezTo>
                    <a:cubicBezTo>
                      <a:pt x="302589" y="401040"/>
                      <a:pt x="309680" y="407213"/>
                      <a:pt x="313685" y="411217"/>
                    </a:cubicBezTo>
                    <a:cubicBezTo>
                      <a:pt x="315020" y="412552"/>
                      <a:pt x="316355" y="413470"/>
                      <a:pt x="317189" y="414721"/>
                    </a:cubicBezTo>
                    <a:cubicBezTo>
                      <a:pt x="320276" y="419142"/>
                      <a:pt x="319858" y="421812"/>
                      <a:pt x="319441" y="426650"/>
                    </a:cubicBezTo>
                    <a:cubicBezTo>
                      <a:pt x="319024" y="430654"/>
                      <a:pt x="319024" y="435493"/>
                      <a:pt x="320776" y="441749"/>
                    </a:cubicBezTo>
                    <a:cubicBezTo>
                      <a:pt x="322528" y="447088"/>
                      <a:pt x="327450" y="450592"/>
                      <a:pt x="330954" y="453678"/>
                    </a:cubicBezTo>
                    <a:cubicBezTo>
                      <a:pt x="332289" y="454596"/>
                      <a:pt x="334458" y="456348"/>
                      <a:pt x="334458" y="456348"/>
                    </a:cubicBezTo>
                    <a:cubicBezTo>
                      <a:pt x="334041" y="457265"/>
                      <a:pt x="332706" y="460352"/>
                      <a:pt x="321610" y="467860"/>
                    </a:cubicBezTo>
                    <a:cubicBezTo>
                      <a:pt x="319358" y="469194"/>
                      <a:pt x="316271" y="470946"/>
                      <a:pt x="312767" y="473198"/>
                    </a:cubicBezTo>
                    <a:cubicBezTo>
                      <a:pt x="294163" y="483793"/>
                      <a:pt x="268468" y="498475"/>
                      <a:pt x="271137" y="516160"/>
                    </a:cubicBezTo>
                    <a:cubicBezTo>
                      <a:pt x="272889" y="529007"/>
                      <a:pt x="288824" y="534346"/>
                      <a:pt x="303924" y="538767"/>
                    </a:cubicBezTo>
                    <a:cubicBezTo>
                      <a:pt x="312684" y="538851"/>
                      <a:pt x="322445" y="541937"/>
                      <a:pt x="325114" y="54502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46037528" name="Полилиния 360"/>
              <p:cNvSpPr/>
              <p:nvPr/>
            </p:nvSpPr>
            <p:spPr bwMode="auto">
              <a:xfrm>
                <a:off x="1718753" y="3898627"/>
                <a:ext cx="310568" cy="214601"/>
              </a:xfrm>
              <a:custGeom>
                <a:avLst/>
                <a:gdLst>
                  <a:gd name="connsiteX0" fmla="*/ 10295 w 348779"/>
                  <a:gd name="connsiteY0" fmla="*/ 149576 h 241005"/>
                  <a:gd name="connsiteX1" fmla="*/ 22226 w 348779"/>
                  <a:gd name="connsiteY1" fmla="*/ 126970 h 241005"/>
                  <a:gd name="connsiteX2" fmla="*/ 14216 w 348779"/>
                  <a:gd name="connsiteY2" fmla="*/ 97272 h 241005"/>
                  <a:gd name="connsiteX3" fmla="*/ 10713 w 348779"/>
                  <a:gd name="connsiteY3" fmla="*/ 88846 h 241005"/>
                  <a:gd name="connsiteX4" fmla="*/ 4038 w 348779"/>
                  <a:gd name="connsiteY4" fmla="*/ 50306 h 241005"/>
                  <a:gd name="connsiteX5" fmla="*/ 2704 w 348779"/>
                  <a:gd name="connsiteY5" fmla="*/ 32621 h 241005"/>
                  <a:gd name="connsiteX6" fmla="*/ 28816 w 348779"/>
                  <a:gd name="connsiteY6" fmla="*/ 18022 h 241005"/>
                  <a:gd name="connsiteX7" fmla="*/ 73533 w 348779"/>
                  <a:gd name="connsiteY7" fmla="*/ 5593 h 241005"/>
                  <a:gd name="connsiteX8" fmla="*/ 80624 w 348779"/>
                  <a:gd name="connsiteY8" fmla="*/ 23278 h 241005"/>
                  <a:gd name="connsiteX9" fmla="*/ 93889 w 348779"/>
                  <a:gd name="connsiteY9" fmla="*/ 47637 h 241005"/>
                  <a:gd name="connsiteX10" fmla="*/ 113828 w 348779"/>
                  <a:gd name="connsiteY10" fmla="*/ 48054 h 241005"/>
                  <a:gd name="connsiteX11" fmla="*/ 122254 w 348779"/>
                  <a:gd name="connsiteY11" fmla="*/ 44049 h 241005"/>
                  <a:gd name="connsiteX12" fmla="*/ 129346 w 348779"/>
                  <a:gd name="connsiteY12" fmla="*/ 43632 h 241005"/>
                  <a:gd name="connsiteX13" fmla="*/ 137772 w 348779"/>
                  <a:gd name="connsiteY13" fmla="*/ 46719 h 241005"/>
                  <a:gd name="connsiteX14" fmla="*/ 161715 w 348779"/>
                  <a:gd name="connsiteY14" fmla="*/ 51557 h 241005"/>
                  <a:gd name="connsiteX15" fmla="*/ 179902 w 348779"/>
                  <a:gd name="connsiteY15" fmla="*/ 44466 h 241005"/>
                  <a:gd name="connsiteX16" fmla="*/ 192333 w 348779"/>
                  <a:gd name="connsiteY16" fmla="*/ 39128 h 241005"/>
                  <a:gd name="connsiteX17" fmla="*/ 206098 w 348779"/>
                  <a:gd name="connsiteY17" fmla="*/ 39545 h 241005"/>
                  <a:gd name="connsiteX18" fmla="*/ 225620 w 348779"/>
                  <a:gd name="connsiteY18" fmla="*/ 39128 h 241005"/>
                  <a:gd name="connsiteX19" fmla="*/ 258407 w 348779"/>
                  <a:gd name="connsiteY19" fmla="*/ 23611 h 241005"/>
                  <a:gd name="connsiteX20" fmla="*/ 262411 w 348779"/>
                  <a:gd name="connsiteY20" fmla="*/ 31119 h 241005"/>
                  <a:gd name="connsiteX21" fmla="*/ 265915 w 348779"/>
                  <a:gd name="connsiteY21" fmla="*/ 36458 h 241005"/>
                  <a:gd name="connsiteX22" fmla="*/ 289358 w 348779"/>
                  <a:gd name="connsiteY22" fmla="*/ 70160 h 241005"/>
                  <a:gd name="connsiteX23" fmla="*/ 313719 w 348779"/>
                  <a:gd name="connsiteY23" fmla="*/ 87011 h 241005"/>
                  <a:gd name="connsiteX24" fmla="*/ 327901 w 348779"/>
                  <a:gd name="connsiteY24" fmla="*/ 93184 h 241005"/>
                  <a:gd name="connsiteX25" fmla="*/ 348758 w 348779"/>
                  <a:gd name="connsiteY25" fmla="*/ 133059 h 241005"/>
                  <a:gd name="connsiteX26" fmla="*/ 337662 w 348779"/>
                  <a:gd name="connsiteY26" fmla="*/ 160505 h 241005"/>
                  <a:gd name="connsiteX27" fmla="*/ 329236 w 348779"/>
                  <a:gd name="connsiteY27" fmla="*/ 176021 h 241005"/>
                  <a:gd name="connsiteX28" fmla="*/ 322145 w 348779"/>
                  <a:gd name="connsiteY28" fmla="*/ 199045 h 241005"/>
                  <a:gd name="connsiteX29" fmla="*/ 311550 w 348779"/>
                  <a:gd name="connsiteY29" fmla="*/ 202131 h 241005"/>
                  <a:gd name="connsiteX30" fmla="*/ 291611 w 348779"/>
                  <a:gd name="connsiteY30" fmla="*/ 202548 h 241005"/>
                  <a:gd name="connsiteX31" fmla="*/ 286271 w 348779"/>
                  <a:gd name="connsiteY31" fmla="*/ 200296 h 241005"/>
                  <a:gd name="connsiteX32" fmla="*/ 258324 w 348779"/>
                  <a:gd name="connsiteY32" fmla="*/ 206469 h 241005"/>
                  <a:gd name="connsiteX33" fmla="*/ 253485 w 348779"/>
                  <a:gd name="connsiteY33" fmla="*/ 215312 h 241005"/>
                  <a:gd name="connsiteX34" fmla="*/ 249981 w 348779"/>
                  <a:gd name="connsiteY34" fmla="*/ 220651 h 241005"/>
                  <a:gd name="connsiteX35" fmla="*/ 240220 w 348779"/>
                  <a:gd name="connsiteY35" fmla="*/ 213977 h 241005"/>
                  <a:gd name="connsiteX36" fmla="*/ 236215 w 348779"/>
                  <a:gd name="connsiteY36" fmla="*/ 209556 h 241005"/>
                  <a:gd name="connsiteX37" fmla="*/ 164468 w 348779"/>
                  <a:gd name="connsiteY37" fmla="*/ 202048 h 241005"/>
                  <a:gd name="connsiteX38" fmla="*/ 152538 w 348779"/>
                  <a:gd name="connsiteY38" fmla="*/ 207387 h 241005"/>
                  <a:gd name="connsiteX39" fmla="*/ 107821 w 348779"/>
                  <a:gd name="connsiteY39" fmla="*/ 237919 h 241005"/>
                  <a:gd name="connsiteX40" fmla="*/ 106487 w 348779"/>
                  <a:gd name="connsiteY40" fmla="*/ 241005 h 241005"/>
                  <a:gd name="connsiteX41" fmla="*/ 92304 w 348779"/>
                  <a:gd name="connsiteY41" fmla="*/ 237001 h 241005"/>
                  <a:gd name="connsiteX42" fmla="*/ 88800 w 348779"/>
                  <a:gd name="connsiteY42" fmla="*/ 236584 h 241005"/>
                  <a:gd name="connsiteX43" fmla="*/ 77704 w 348779"/>
                  <a:gd name="connsiteY43" fmla="*/ 233915 h 241005"/>
                  <a:gd name="connsiteX44" fmla="*/ 74618 w 348779"/>
                  <a:gd name="connsiteY44" fmla="*/ 231662 h 241005"/>
                  <a:gd name="connsiteX45" fmla="*/ 64022 w 348779"/>
                  <a:gd name="connsiteY45" fmla="*/ 226824 h 241005"/>
                  <a:gd name="connsiteX46" fmla="*/ 40079 w 348779"/>
                  <a:gd name="connsiteY46" fmla="*/ 228576 h 241005"/>
                  <a:gd name="connsiteX47" fmla="*/ 22810 w 348779"/>
                  <a:gd name="connsiteY47" fmla="*/ 230328 h 241005"/>
                  <a:gd name="connsiteX48" fmla="*/ 10379 w 348779"/>
                  <a:gd name="connsiteY48" fmla="*/ 224572 h 241005"/>
                  <a:gd name="connsiteX49" fmla="*/ 12131 w 348779"/>
                  <a:gd name="connsiteY49" fmla="*/ 218398 h 241005"/>
                  <a:gd name="connsiteX50" fmla="*/ 5457 w 348779"/>
                  <a:gd name="connsiteY50" fmla="*/ 194957 h 241005"/>
                  <a:gd name="connsiteX51" fmla="*/ 1035 w 348779"/>
                  <a:gd name="connsiteY51" fmla="*/ 185614 h 241005"/>
                  <a:gd name="connsiteX52" fmla="*/ 6374 w 348779"/>
                  <a:gd name="connsiteY52" fmla="*/ 157668 h 241005"/>
                  <a:gd name="connsiteX53" fmla="*/ 10295 w 348779"/>
                  <a:gd name="connsiteY53" fmla="*/ 149576 h 241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348779" h="241005" extrusionOk="0">
                    <a:moveTo>
                      <a:pt x="10295" y="149576"/>
                    </a:moveTo>
                    <a:cubicBezTo>
                      <a:pt x="15134" y="143820"/>
                      <a:pt x="20891" y="137147"/>
                      <a:pt x="22226" y="126970"/>
                    </a:cubicBezTo>
                    <a:cubicBezTo>
                      <a:pt x="23560" y="115875"/>
                      <a:pt x="18722" y="105697"/>
                      <a:pt x="14216" y="97272"/>
                    </a:cubicBezTo>
                    <a:cubicBezTo>
                      <a:pt x="12882" y="94602"/>
                      <a:pt x="11547" y="91516"/>
                      <a:pt x="10713" y="88846"/>
                    </a:cubicBezTo>
                    <a:cubicBezTo>
                      <a:pt x="5874" y="76917"/>
                      <a:pt x="4956" y="64070"/>
                      <a:pt x="4038" y="50306"/>
                    </a:cubicBezTo>
                    <a:cubicBezTo>
                      <a:pt x="3621" y="44550"/>
                      <a:pt x="3121" y="38377"/>
                      <a:pt x="2704" y="32621"/>
                    </a:cubicBezTo>
                    <a:cubicBezTo>
                      <a:pt x="11547" y="30369"/>
                      <a:pt x="20891" y="25947"/>
                      <a:pt x="28816" y="18022"/>
                    </a:cubicBezTo>
                    <a:cubicBezTo>
                      <a:pt x="41664" y="5176"/>
                      <a:pt x="59851" y="-7671"/>
                      <a:pt x="73533" y="5593"/>
                    </a:cubicBezTo>
                    <a:cubicBezTo>
                      <a:pt x="77037" y="9096"/>
                      <a:pt x="78872" y="16187"/>
                      <a:pt x="80624" y="23278"/>
                    </a:cubicBezTo>
                    <a:cubicBezTo>
                      <a:pt x="82877" y="33038"/>
                      <a:pt x="85463" y="43215"/>
                      <a:pt x="93889" y="47637"/>
                    </a:cubicBezTo>
                    <a:cubicBezTo>
                      <a:pt x="99228" y="50723"/>
                      <a:pt x="105819" y="50723"/>
                      <a:pt x="113828" y="48054"/>
                    </a:cubicBezTo>
                    <a:cubicBezTo>
                      <a:pt x="117833" y="46719"/>
                      <a:pt x="120502" y="45384"/>
                      <a:pt x="122254" y="44049"/>
                    </a:cubicBezTo>
                    <a:cubicBezTo>
                      <a:pt x="124507" y="42715"/>
                      <a:pt x="124924" y="42715"/>
                      <a:pt x="129346" y="43632"/>
                    </a:cubicBezTo>
                    <a:cubicBezTo>
                      <a:pt x="132432" y="44550"/>
                      <a:pt x="135102" y="45885"/>
                      <a:pt x="137772" y="46719"/>
                    </a:cubicBezTo>
                    <a:cubicBezTo>
                      <a:pt x="144446" y="49806"/>
                      <a:pt x="151537" y="52892"/>
                      <a:pt x="161715" y="51557"/>
                    </a:cubicBezTo>
                    <a:cubicBezTo>
                      <a:pt x="168806" y="50640"/>
                      <a:pt x="174563" y="47136"/>
                      <a:pt x="179902" y="44466"/>
                    </a:cubicBezTo>
                    <a:cubicBezTo>
                      <a:pt x="183907" y="42214"/>
                      <a:pt x="187911" y="40045"/>
                      <a:pt x="192333" y="39128"/>
                    </a:cubicBezTo>
                    <a:cubicBezTo>
                      <a:pt x="196754" y="38210"/>
                      <a:pt x="201176" y="38711"/>
                      <a:pt x="206098" y="39545"/>
                    </a:cubicBezTo>
                    <a:cubicBezTo>
                      <a:pt x="212272" y="40462"/>
                      <a:pt x="218946" y="40880"/>
                      <a:pt x="225620" y="39128"/>
                    </a:cubicBezTo>
                    <a:cubicBezTo>
                      <a:pt x="238051" y="36458"/>
                      <a:pt x="248646" y="29785"/>
                      <a:pt x="258407" y="23611"/>
                    </a:cubicBezTo>
                    <a:cubicBezTo>
                      <a:pt x="259325" y="26281"/>
                      <a:pt x="260659" y="28450"/>
                      <a:pt x="262411" y="31119"/>
                    </a:cubicBezTo>
                    <a:lnTo>
                      <a:pt x="265915" y="36458"/>
                    </a:lnTo>
                    <a:cubicBezTo>
                      <a:pt x="274341" y="47553"/>
                      <a:pt x="282267" y="58148"/>
                      <a:pt x="289358" y="70160"/>
                    </a:cubicBezTo>
                    <a:cubicBezTo>
                      <a:pt x="296867" y="82590"/>
                      <a:pt x="305710" y="84759"/>
                      <a:pt x="313719" y="87011"/>
                    </a:cubicBezTo>
                    <a:cubicBezTo>
                      <a:pt x="318558" y="88346"/>
                      <a:pt x="323480" y="89681"/>
                      <a:pt x="327901" y="93184"/>
                    </a:cubicBezTo>
                    <a:cubicBezTo>
                      <a:pt x="335910" y="99357"/>
                      <a:pt x="348258" y="122882"/>
                      <a:pt x="348758" y="133059"/>
                    </a:cubicBezTo>
                    <a:cubicBezTo>
                      <a:pt x="349175" y="141485"/>
                      <a:pt x="343419" y="151245"/>
                      <a:pt x="337662" y="160505"/>
                    </a:cubicBezTo>
                    <a:cubicBezTo>
                      <a:pt x="334576" y="165343"/>
                      <a:pt x="331489" y="170682"/>
                      <a:pt x="329236" y="176021"/>
                    </a:cubicBezTo>
                    <a:cubicBezTo>
                      <a:pt x="326149" y="184029"/>
                      <a:pt x="323897" y="191537"/>
                      <a:pt x="322145" y="199045"/>
                    </a:cubicBezTo>
                    <a:cubicBezTo>
                      <a:pt x="319058" y="199462"/>
                      <a:pt x="315471" y="200797"/>
                      <a:pt x="311550" y="202131"/>
                    </a:cubicBezTo>
                    <a:cubicBezTo>
                      <a:pt x="301372" y="205635"/>
                      <a:pt x="300037" y="205635"/>
                      <a:pt x="291611" y="202548"/>
                    </a:cubicBezTo>
                    <a:lnTo>
                      <a:pt x="286271" y="200296"/>
                    </a:lnTo>
                    <a:cubicBezTo>
                      <a:pt x="273424" y="195875"/>
                      <a:pt x="268084" y="195875"/>
                      <a:pt x="258324" y="206469"/>
                    </a:cubicBezTo>
                    <a:cubicBezTo>
                      <a:pt x="255654" y="209139"/>
                      <a:pt x="254319" y="212642"/>
                      <a:pt x="253485" y="215312"/>
                    </a:cubicBezTo>
                    <a:cubicBezTo>
                      <a:pt x="252150" y="218815"/>
                      <a:pt x="251232" y="220150"/>
                      <a:pt x="249981" y="220651"/>
                    </a:cubicBezTo>
                    <a:cubicBezTo>
                      <a:pt x="247311" y="221568"/>
                      <a:pt x="245142" y="219733"/>
                      <a:pt x="240220" y="213977"/>
                    </a:cubicBezTo>
                    <a:cubicBezTo>
                      <a:pt x="238885" y="212225"/>
                      <a:pt x="237550" y="210890"/>
                      <a:pt x="236215" y="209556"/>
                    </a:cubicBezTo>
                    <a:cubicBezTo>
                      <a:pt x="210103" y="184279"/>
                      <a:pt x="186159" y="190953"/>
                      <a:pt x="164468" y="202048"/>
                    </a:cubicBezTo>
                    <a:cubicBezTo>
                      <a:pt x="161381" y="203800"/>
                      <a:pt x="156960" y="205552"/>
                      <a:pt x="152538" y="207387"/>
                    </a:cubicBezTo>
                    <a:cubicBezTo>
                      <a:pt x="135686" y="214478"/>
                      <a:pt x="114913" y="223320"/>
                      <a:pt x="107821" y="237919"/>
                    </a:cubicBezTo>
                    <a:cubicBezTo>
                      <a:pt x="107404" y="238836"/>
                      <a:pt x="106904" y="240171"/>
                      <a:pt x="106487" y="241005"/>
                    </a:cubicBezTo>
                    <a:cubicBezTo>
                      <a:pt x="100730" y="238753"/>
                      <a:pt x="95891" y="237919"/>
                      <a:pt x="92304" y="237001"/>
                    </a:cubicBezTo>
                    <a:lnTo>
                      <a:pt x="88800" y="236584"/>
                    </a:lnTo>
                    <a:cubicBezTo>
                      <a:pt x="84796" y="235666"/>
                      <a:pt x="81709" y="235249"/>
                      <a:pt x="77704" y="233915"/>
                    </a:cubicBezTo>
                    <a:cubicBezTo>
                      <a:pt x="76787" y="233497"/>
                      <a:pt x="75452" y="232997"/>
                      <a:pt x="74618" y="231662"/>
                    </a:cubicBezTo>
                    <a:cubicBezTo>
                      <a:pt x="71948" y="229911"/>
                      <a:pt x="68444" y="228159"/>
                      <a:pt x="64022" y="226824"/>
                    </a:cubicBezTo>
                    <a:cubicBezTo>
                      <a:pt x="55179" y="225072"/>
                      <a:pt x="47170" y="227241"/>
                      <a:pt x="40079" y="228576"/>
                    </a:cubicBezTo>
                    <a:cubicBezTo>
                      <a:pt x="33905" y="229911"/>
                      <a:pt x="28149" y="231245"/>
                      <a:pt x="22810" y="230328"/>
                    </a:cubicBezTo>
                    <a:cubicBezTo>
                      <a:pt x="18388" y="229410"/>
                      <a:pt x="14383" y="227241"/>
                      <a:pt x="10379" y="224572"/>
                    </a:cubicBezTo>
                    <a:cubicBezTo>
                      <a:pt x="11297" y="222820"/>
                      <a:pt x="11714" y="221068"/>
                      <a:pt x="12131" y="218398"/>
                    </a:cubicBezTo>
                    <a:cubicBezTo>
                      <a:pt x="13466" y="209556"/>
                      <a:pt x="9044" y="201548"/>
                      <a:pt x="5457" y="194957"/>
                    </a:cubicBezTo>
                    <a:cubicBezTo>
                      <a:pt x="3705" y="191871"/>
                      <a:pt x="1953" y="188784"/>
                      <a:pt x="1035" y="185614"/>
                    </a:cubicBezTo>
                    <a:cubicBezTo>
                      <a:pt x="-2052" y="175437"/>
                      <a:pt x="2370" y="165260"/>
                      <a:pt x="6374" y="157668"/>
                    </a:cubicBezTo>
                    <a:cubicBezTo>
                      <a:pt x="5790" y="154916"/>
                      <a:pt x="8043" y="152246"/>
                      <a:pt x="10295" y="1495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00968617" name="Полилиния 361"/>
              <p:cNvSpPr/>
              <p:nvPr/>
            </p:nvSpPr>
            <p:spPr bwMode="auto">
              <a:xfrm>
                <a:off x="1774944" y="4305543"/>
                <a:ext cx="262158" cy="256864"/>
              </a:xfrm>
              <a:custGeom>
                <a:avLst/>
                <a:gdLst>
                  <a:gd name="connsiteX0" fmla="*/ 214240 w 294413"/>
                  <a:gd name="connsiteY0" fmla="*/ 195371 h 288468"/>
                  <a:gd name="connsiteX1" fmla="*/ 221331 w 294413"/>
                  <a:gd name="connsiteY1" fmla="*/ 239667 h 288468"/>
                  <a:gd name="connsiteX2" fmla="*/ 226170 w 294413"/>
                  <a:gd name="connsiteY2" fmla="*/ 248510 h 288468"/>
                  <a:gd name="connsiteX3" fmla="*/ 227505 w 294413"/>
                  <a:gd name="connsiteY3" fmla="*/ 259605 h 288468"/>
                  <a:gd name="connsiteX4" fmla="*/ 215074 w 294413"/>
                  <a:gd name="connsiteY4" fmla="*/ 272034 h 288468"/>
                  <a:gd name="connsiteX5" fmla="*/ 206231 w 294413"/>
                  <a:gd name="connsiteY5" fmla="*/ 278708 h 288468"/>
                  <a:gd name="connsiteX6" fmla="*/ 197805 w 294413"/>
                  <a:gd name="connsiteY6" fmla="*/ 288468 h 288468"/>
                  <a:gd name="connsiteX7" fmla="*/ 187627 w 294413"/>
                  <a:gd name="connsiteY7" fmla="*/ 283130 h 288468"/>
                  <a:gd name="connsiteX8" fmla="*/ 173027 w 294413"/>
                  <a:gd name="connsiteY8" fmla="*/ 268948 h 288468"/>
                  <a:gd name="connsiteX9" fmla="*/ 151753 w 294413"/>
                  <a:gd name="connsiteY9" fmla="*/ 250345 h 288468"/>
                  <a:gd name="connsiteX10" fmla="*/ 141158 w 294413"/>
                  <a:gd name="connsiteY10" fmla="*/ 246842 h 288468"/>
                  <a:gd name="connsiteX11" fmla="*/ 132315 w 294413"/>
                  <a:gd name="connsiteY11" fmla="*/ 242837 h 288468"/>
                  <a:gd name="connsiteX12" fmla="*/ 127476 w 294413"/>
                  <a:gd name="connsiteY12" fmla="*/ 226904 h 288468"/>
                  <a:gd name="connsiteX13" fmla="*/ 127059 w 294413"/>
                  <a:gd name="connsiteY13" fmla="*/ 222483 h 288468"/>
                  <a:gd name="connsiteX14" fmla="*/ 97860 w 294413"/>
                  <a:gd name="connsiteY14" fmla="*/ 185694 h 288468"/>
                  <a:gd name="connsiteX15" fmla="*/ 85930 w 294413"/>
                  <a:gd name="connsiteY15" fmla="*/ 172847 h 288468"/>
                  <a:gd name="connsiteX16" fmla="*/ 74000 w 294413"/>
                  <a:gd name="connsiteY16" fmla="*/ 152493 h 288468"/>
                  <a:gd name="connsiteX17" fmla="*/ 32787 w 294413"/>
                  <a:gd name="connsiteY17" fmla="*/ 150240 h 288468"/>
                  <a:gd name="connsiteX18" fmla="*/ 32370 w 294413"/>
                  <a:gd name="connsiteY18" fmla="*/ 149823 h 288468"/>
                  <a:gd name="connsiteX19" fmla="*/ 22609 w 294413"/>
                  <a:gd name="connsiteY19" fmla="*/ 141815 h 288468"/>
                  <a:gd name="connsiteX20" fmla="*/ 11513 w 294413"/>
                  <a:gd name="connsiteY20" fmla="*/ 137811 h 288468"/>
                  <a:gd name="connsiteX21" fmla="*/ 2670 w 294413"/>
                  <a:gd name="connsiteY21" fmla="*/ 134307 h 288468"/>
                  <a:gd name="connsiteX22" fmla="*/ 0 w 294413"/>
                  <a:gd name="connsiteY22" fmla="*/ 123713 h 288468"/>
                  <a:gd name="connsiteX23" fmla="*/ 417 w 294413"/>
                  <a:gd name="connsiteY23" fmla="*/ 118374 h 288468"/>
                  <a:gd name="connsiteX24" fmla="*/ 1335 w 294413"/>
                  <a:gd name="connsiteY24" fmla="*/ 111283 h 288468"/>
                  <a:gd name="connsiteX25" fmla="*/ 5756 w 294413"/>
                  <a:gd name="connsiteY25" fmla="*/ 111700 h 288468"/>
                  <a:gd name="connsiteX26" fmla="*/ 50473 w 294413"/>
                  <a:gd name="connsiteY26" fmla="*/ 77998 h 288468"/>
                  <a:gd name="connsiteX27" fmla="*/ 112042 w 294413"/>
                  <a:gd name="connsiteY27" fmla="*/ 0 h 288468"/>
                  <a:gd name="connsiteX28" fmla="*/ 120051 w 294413"/>
                  <a:gd name="connsiteY28" fmla="*/ 8008 h 288468"/>
                  <a:gd name="connsiteX29" fmla="*/ 136403 w 294413"/>
                  <a:gd name="connsiteY29" fmla="*/ 27529 h 288468"/>
                  <a:gd name="connsiteX30" fmla="*/ 151003 w 294413"/>
                  <a:gd name="connsiteY30" fmla="*/ 45715 h 288468"/>
                  <a:gd name="connsiteX31" fmla="*/ 155841 w 294413"/>
                  <a:gd name="connsiteY31" fmla="*/ 46632 h 288468"/>
                  <a:gd name="connsiteX32" fmla="*/ 170024 w 294413"/>
                  <a:gd name="connsiteY32" fmla="*/ 42211 h 288468"/>
                  <a:gd name="connsiteX33" fmla="*/ 184206 w 294413"/>
                  <a:gd name="connsiteY33" fmla="*/ 30282 h 288468"/>
                  <a:gd name="connsiteX34" fmla="*/ 193967 w 294413"/>
                  <a:gd name="connsiteY34" fmla="*/ 21856 h 288468"/>
                  <a:gd name="connsiteX35" fmla="*/ 213906 w 294413"/>
                  <a:gd name="connsiteY35" fmla="*/ 10762 h 288468"/>
                  <a:gd name="connsiteX36" fmla="*/ 218328 w 294413"/>
                  <a:gd name="connsiteY36" fmla="*/ 8509 h 288468"/>
                  <a:gd name="connsiteX37" fmla="*/ 228089 w 294413"/>
                  <a:gd name="connsiteY37" fmla="*/ 7174 h 288468"/>
                  <a:gd name="connsiteX38" fmla="*/ 240019 w 294413"/>
                  <a:gd name="connsiteY38" fmla="*/ 6757 h 288468"/>
                  <a:gd name="connsiteX39" fmla="*/ 243523 w 294413"/>
                  <a:gd name="connsiteY39" fmla="*/ 5422 h 288468"/>
                  <a:gd name="connsiteX40" fmla="*/ 247027 w 294413"/>
                  <a:gd name="connsiteY40" fmla="*/ 12513 h 288468"/>
                  <a:gd name="connsiteX41" fmla="*/ 256788 w 294413"/>
                  <a:gd name="connsiteY41" fmla="*/ 33368 h 288468"/>
                  <a:gd name="connsiteX42" fmla="*/ 260292 w 294413"/>
                  <a:gd name="connsiteY42" fmla="*/ 46215 h 288468"/>
                  <a:gd name="connsiteX43" fmla="*/ 272222 w 294413"/>
                  <a:gd name="connsiteY43" fmla="*/ 75412 h 288468"/>
                  <a:gd name="connsiteX44" fmla="*/ 280231 w 294413"/>
                  <a:gd name="connsiteY44" fmla="*/ 85172 h 288468"/>
                  <a:gd name="connsiteX45" fmla="*/ 288240 w 294413"/>
                  <a:gd name="connsiteY45" fmla="*/ 94933 h 288468"/>
                  <a:gd name="connsiteX46" fmla="*/ 289992 w 294413"/>
                  <a:gd name="connsiteY46" fmla="*/ 98019 h 288468"/>
                  <a:gd name="connsiteX47" fmla="*/ 294413 w 294413"/>
                  <a:gd name="connsiteY47" fmla="*/ 104693 h 288468"/>
                  <a:gd name="connsiteX48" fmla="*/ 274057 w 294413"/>
                  <a:gd name="connsiteY48" fmla="*/ 137477 h 288468"/>
                  <a:gd name="connsiteX49" fmla="*/ 252783 w 294413"/>
                  <a:gd name="connsiteY49" fmla="*/ 151242 h 288468"/>
                  <a:gd name="connsiteX50" fmla="*/ 214240 w 294413"/>
                  <a:gd name="connsiteY50" fmla="*/ 195371 h 288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94413" h="288468" extrusionOk="0">
                    <a:moveTo>
                      <a:pt x="214240" y="195371"/>
                    </a:moveTo>
                    <a:cubicBezTo>
                      <a:pt x="213823" y="207300"/>
                      <a:pt x="216493" y="226821"/>
                      <a:pt x="221331" y="239667"/>
                    </a:cubicBezTo>
                    <a:cubicBezTo>
                      <a:pt x="222666" y="243171"/>
                      <a:pt x="224835" y="246341"/>
                      <a:pt x="226170" y="248510"/>
                    </a:cubicBezTo>
                    <a:cubicBezTo>
                      <a:pt x="229257" y="252931"/>
                      <a:pt x="229674" y="254266"/>
                      <a:pt x="227505" y="259605"/>
                    </a:cubicBezTo>
                    <a:cubicBezTo>
                      <a:pt x="225252" y="264443"/>
                      <a:pt x="220414" y="268447"/>
                      <a:pt x="215074" y="272034"/>
                    </a:cubicBezTo>
                    <a:cubicBezTo>
                      <a:pt x="211988" y="274287"/>
                      <a:pt x="208901" y="276456"/>
                      <a:pt x="206231" y="278708"/>
                    </a:cubicBezTo>
                    <a:cubicBezTo>
                      <a:pt x="202727" y="281795"/>
                      <a:pt x="200057" y="285382"/>
                      <a:pt x="197805" y="288468"/>
                    </a:cubicBezTo>
                    <a:cubicBezTo>
                      <a:pt x="194301" y="287134"/>
                      <a:pt x="190714" y="284965"/>
                      <a:pt x="187627" y="283130"/>
                    </a:cubicBezTo>
                    <a:cubicBezTo>
                      <a:pt x="182288" y="279626"/>
                      <a:pt x="177449" y="274287"/>
                      <a:pt x="173027" y="268948"/>
                    </a:cubicBezTo>
                    <a:cubicBezTo>
                      <a:pt x="166854" y="261857"/>
                      <a:pt x="160597" y="254767"/>
                      <a:pt x="151753" y="250345"/>
                    </a:cubicBezTo>
                    <a:cubicBezTo>
                      <a:pt x="148249" y="248093"/>
                      <a:pt x="144662" y="247259"/>
                      <a:pt x="141158" y="246842"/>
                    </a:cubicBezTo>
                    <a:cubicBezTo>
                      <a:pt x="136737" y="245924"/>
                      <a:pt x="134067" y="245090"/>
                      <a:pt x="132315" y="242837"/>
                    </a:cubicBezTo>
                    <a:cubicBezTo>
                      <a:pt x="128811" y="239334"/>
                      <a:pt x="128310" y="233077"/>
                      <a:pt x="127476" y="226904"/>
                    </a:cubicBezTo>
                    <a:lnTo>
                      <a:pt x="127059" y="222483"/>
                    </a:lnTo>
                    <a:cubicBezTo>
                      <a:pt x="124389" y="199459"/>
                      <a:pt x="119968" y="191450"/>
                      <a:pt x="97860" y="185694"/>
                    </a:cubicBezTo>
                    <a:cubicBezTo>
                      <a:pt x="89434" y="183442"/>
                      <a:pt x="88099" y="179938"/>
                      <a:pt x="85930" y="172847"/>
                    </a:cubicBezTo>
                    <a:cubicBezTo>
                      <a:pt x="83677" y="166674"/>
                      <a:pt x="81508" y="159083"/>
                      <a:pt x="74000" y="152493"/>
                    </a:cubicBezTo>
                    <a:cubicBezTo>
                      <a:pt x="61152" y="141898"/>
                      <a:pt x="45217" y="143650"/>
                      <a:pt x="32787" y="150240"/>
                    </a:cubicBezTo>
                    <a:lnTo>
                      <a:pt x="32370" y="149823"/>
                    </a:lnTo>
                    <a:cubicBezTo>
                      <a:pt x="29700" y="147154"/>
                      <a:pt x="27030" y="144067"/>
                      <a:pt x="22609" y="141815"/>
                    </a:cubicBezTo>
                    <a:cubicBezTo>
                      <a:pt x="19105" y="139563"/>
                      <a:pt x="14600" y="138729"/>
                      <a:pt x="11513" y="137811"/>
                    </a:cubicBezTo>
                    <a:cubicBezTo>
                      <a:pt x="8009" y="136893"/>
                      <a:pt x="4422" y="135558"/>
                      <a:pt x="2670" y="134307"/>
                    </a:cubicBezTo>
                    <a:cubicBezTo>
                      <a:pt x="0" y="131638"/>
                      <a:pt x="0" y="127216"/>
                      <a:pt x="0" y="123713"/>
                    </a:cubicBezTo>
                    <a:cubicBezTo>
                      <a:pt x="0" y="121961"/>
                      <a:pt x="417" y="120209"/>
                      <a:pt x="417" y="118374"/>
                    </a:cubicBezTo>
                    <a:cubicBezTo>
                      <a:pt x="834" y="115704"/>
                      <a:pt x="1335" y="113535"/>
                      <a:pt x="1335" y="111283"/>
                    </a:cubicBezTo>
                    <a:cubicBezTo>
                      <a:pt x="2670" y="111700"/>
                      <a:pt x="4422" y="111700"/>
                      <a:pt x="5756" y="111700"/>
                    </a:cubicBezTo>
                    <a:cubicBezTo>
                      <a:pt x="27447" y="111700"/>
                      <a:pt x="41213" y="101106"/>
                      <a:pt x="50473" y="77998"/>
                    </a:cubicBezTo>
                    <a:cubicBezTo>
                      <a:pt x="62403" y="47467"/>
                      <a:pt x="85930" y="22190"/>
                      <a:pt x="112042" y="0"/>
                    </a:cubicBezTo>
                    <a:cubicBezTo>
                      <a:pt x="114712" y="2670"/>
                      <a:pt x="117382" y="5339"/>
                      <a:pt x="120051" y="8008"/>
                    </a:cubicBezTo>
                    <a:cubicBezTo>
                      <a:pt x="126725" y="14181"/>
                      <a:pt x="132899" y="19938"/>
                      <a:pt x="136403" y="27529"/>
                    </a:cubicBezTo>
                    <a:cubicBezTo>
                      <a:pt x="139907" y="35954"/>
                      <a:pt x="143494" y="43045"/>
                      <a:pt x="151003" y="45715"/>
                    </a:cubicBezTo>
                    <a:cubicBezTo>
                      <a:pt x="152337" y="46132"/>
                      <a:pt x="154089" y="46632"/>
                      <a:pt x="155841" y="46632"/>
                    </a:cubicBezTo>
                    <a:cubicBezTo>
                      <a:pt x="160263" y="46632"/>
                      <a:pt x="164684" y="45298"/>
                      <a:pt x="170024" y="42211"/>
                    </a:cubicBezTo>
                    <a:cubicBezTo>
                      <a:pt x="176197" y="39125"/>
                      <a:pt x="180202" y="34703"/>
                      <a:pt x="184206" y="30282"/>
                    </a:cubicBezTo>
                    <a:cubicBezTo>
                      <a:pt x="187293" y="27195"/>
                      <a:pt x="190380" y="23608"/>
                      <a:pt x="193967" y="21856"/>
                    </a:cubicBezTo>
                    <a:cubicBezTo>
                      <a:pt x="200141" y="18353"/>
                      <a:pt x="207733" y="14348"/>
                      <a:pt x="213906" y="10762"/>
                    </a:cubicBezTo>
                    <a:lnTo>
                      <a:pt x="218328" y="8509"/>
                    </a:lnTo>
                    <a:cubicBezTo>
                      <a:pt x="221415" y="6757"/>
                      <a:pt x="224502" y="7174"/>
                      <a:pt x="228089" y="7174"/>
                    </a:cubicBezTo>
                    <a:cubicBezTo>
                      <a:pt x="231176" y="7591"/>
                      <a:pt x="235180" y="8092"/>
                      <a:pt x="240019" y="6757"/>
                    </a:cubicBezTo>
                    <a:cubicBezTo>
                      <a:pt x="241354" y="6340"/>
                      <a:pt x="242689" y="5839"/>
                      <a:pt x="243523" y="5422"/>
                    </a:cubicBezTo>
                    <a:cubicBezTo>
                      <a:pt x="244858" y="8092"/>
                      <a:pt x="245775" y="10261"/>
                      <a:pt x="247027" y="12513"/>
                    </a:cubicBezTo>
                    <a:cubicBezTo>
                      <a:pt x="250531" y="19604"/>
                      <a:pt x="254118" y="26277"/>
                      <a:pt x="256788" y="33368"/>
                    </a:cubicBezTo>
                    <a:cubicBezTo>
                      <a:pt x="258123" y="37790"/>
                      <a:pt x="259457" y="41794"/>
                      <a:pt x="260292" y="46215"/>
                    </a:cubicBezTo>
                    <a:cubicBezTo>
                      <a:pt x="262961" y="55975"/>
                      <a:pt x="265631" y="66153"/>
                      <a:pt x="272222" y="75412"/>
                    </a:cubicBezTo>
                    <a:cubicBezTo>
                      <a:pt x="274474" y="78916"/>
                      <a:pt x="277061" y="82086"/>
                      <a:pt x="280231" y="85172"/>
                    </a:cubicBezTo>
                    <a:cubicBezTo>
                      <a:pt x="283318" y="88259"/>
                      <a:pt x="286404" y="91345"/>
                      <a:pt x="288240" y="94933"/>
                    </a:cubicBezTo>
                    <a:cubicBezTo>
                      <a:pt x="288657" y="95850"/>
                      <a:pt x="289575" y="97185"/>
                      <a:pt x="289992" y="98019"/>
                    </a:cubicBezTo>
                    <a:cubicBezTo>
                      <a:pt x="290909" y="100272"/>
                      <a:pt x="292244" y="102441"/>
                      <a:pt x="294413" y="104693"/>
                    </a:cubicBezTo>
                    <a:cubicBezTo>
                      <a:pt x="289575" y="117123"/>
                      <a:pt x="283318" y="129469"/>
                      <a:pt x="274057" y="137477"/>
                    </a:cubicBezTo>
                    <a:cubicBezTo>
                      <a:pt x="268301" y="142315"/>
                      <a:pt x="261209" y="146820"/>
                      <a:pt x="252783" y="151242"/>
                    </a:cubicBezTo>
                    <a:cubicBezTo>
                      <a:pt x="235514" y="159000"/>
                      <a:pt x="215158" y="170512"/>
                      <a:pt x="214240" y="19537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82619394" name="Полилиния 362"/>
              <p:cNvSpPr/>
              <p:nvPr/>
            </p:nvSpPr>
            <p:spPr bwMode="auto">
              <a:xfrm>
                <a:off x="1654897" y="4446378"/>
                <a:ext cx="392671" cy="389088"/>
              </a:xfrm>
              <a:custGeom>
                <a:avLst/>
                <a:gdLst>
                  <a:gd name="connsiteX0" fmla="*/ 2670 w 440984"/>
                  <a:gd name="connsiteY0" fmla="*/ 318505 h 436958"/>
                  <a:gd name="connsiteX1" fmla="*/ 0 w 440984"/>
                  <a:gd name="connsiteY1" fmla="*/ 313666 h 436958"/>
                  <a:gd name="connsiteX2" fmla="*/ 10178 w 440984"/>
                  <a:gd name="connsiteY2" fmla="*/ 305657 h 436958"/>
                  <a:gd name="connsiteX3" fmla="*/ 27865 w 440984"/>
                  <a:gd name="connsiteY3" fmla="*/ 280882 h 436958"/>
                  <a:gd name="connsiteX4" fmla="*/ 35874 w 440984"/>
                  <a:gd name="connsiteY4" fmla="*/ 265783 h 436958"/>
                  <a:gd name="connsiteX5" fmla="*/ 45217 w 440984"/>
                  <a:gd name="connsiteY5" fmla="*/ 255188 h 436958"/>
                  <a:gd name="connsiteX6" fmla="*/ 72665 w 440984"/>
                  <a:gd name="connsiteY6" fmla="*/ 213144 h 436958"/>
                  <a:gd name="connsiteX7" fmla="*/ 72248 w 440984"/>
                  <a:gd name="connsiteY7" fmla="*/ 190120 h 436958"/>
                  <a:gd name="connsiteX8" fmla="*/ 74500 w 440984"/>
                  <a:gd name="connsiteY8" fmla="*/ 168848 h 436958"/>
                  <a:gd name="connsiteX9" fmla="*/ 83844 w 440984"/>
                  <a:gd name="connsiteY9" fmla="*/ 160840 h 436958"/>
                  <a:gd name="connsiteX10" fmla="*/ 95774 w 440984"/>
                  <a:gd name="connsiteY10" fmla="*/ 128055 h 436958"/>
                  <a:gd name="connsiteX11" fmla="*/ 86013 w 440984"/>
                  <a:gd name="connsiteY11" fmla="*/ 117461 h 436958"/>
                  <a:gd name="connsiteX12" fmla="*/ 81591 w 440984"/>
                  <a:gd name="connsiteY12" fmla="*/ 107701 h 436958"/>
                  <a:gd name="connsiteX13" fmla="*/ 86430 w 440984"/>
                  <a:gd name="connsiteY13" fmla="*/ 102362 h 436958"/>
                  <a:gd name="connsiteX14" fmla="*/ 96608 w 440984"/>
                  <a:gd name="connsiteY14" fmla="*/ 89515 h 436958"/>
                  <a:gd name="connsiteX15" fmla="*/ 97526 w 440984"/>
                  <a:gd name="connsiteY15" fmla="*/ 85094 h 436958"/>
                  <a:gd name="connsiteX16" fmla="*/ 96191 w 440984"/>
                  <a:gd name="connsiteY16" fmla="*/ 72664 h 436958"/>
                  <a:gd name="connsiteX17" fmla="*/ 95274 w 440984"/>
                  <a:gd name="connsiteY17" fmla="*/ 68243 h 436958"/>
                  <a:gd name="connsiteX18" fmla="*/ 94856 w 440984"/>
                  <a:gd name="connsiteY18" fmla="*/ 65991 h 436958"/>
                  <a:gd name="connsiteX19" fmla="*/ 101531 w 440984"/>
                  <a:gd name="connsiteY19" fmla="*/ 52226 h 436958"/>
                  <a:gd name="connsiteX20" fmla="*/ 111709 w 440984"/>
                  <a:gd name="connsiteY20" fmla="*/ 36293 h 436958"/>
                  <a:gd name="connsiteX21" fmla="*/ 113043 w 440984"/>
                  <a:gd name="connsiteY21" fmla="*/ 33206 h 436958"/>
                  <a:gd name="connsiteX22" fmla="*/ 118383 w 440984"/>
                  <a:gd name="connsiteY22" fmla="*/ 22111 h 436958"/>
                  <a:gd name="connsiteX23" fmla="*/ 126392 w 440984"/>
                  <a:gd name="connsiteY23" fmla="*/ 24781 h 436958"/>
                  <a:gd name="connsiteX24" fmla="*/ 131230 w 440984"/>
                  <a:gd name="connsiteY24" fmla="*/ 28284 h 436958"/>
                  <a:gd name="connsiteX25" fmla="*/ 151169 w 440984"/>
                  <a:gd name="connsiteY25" fmla="*/ 30954 h 436958"/>
                  <a:gd name="connsiteX26" fmla="*/ 162265 w 440984"/>
                  <a:gd name="connsiteY26" fmla="*/ 16355 h 436958"/>
                  <a:gd name="connsiteX27" fmla="*/ 164935 w 440984"/>
                  <a:gd name="connsiteY27" fmla="*/ 11016 h 436958"/>
                  <a:gd name="connsiteX28" fmla="*/ 166270 w 440984"/>
                  <a:gd name="connsiteY28" fmla="*/ 8764 h 436958"/>
                  <a:gd name="connsiteX29" fmla="*/ 176031 w 440984"/>
                  <a:gd name="connsiteY29" fmla="*/ 2090 h 436958"/>
                  <a:gd name="connsiteX30" fmla="*/ 198639 w 440984"/>
                  <a:gd name="connsiteY30" fmla="*/ 4343 h 436958"/>
                  <a:gd name="connsiteX31" fmla="*/ 206648 w 440984"/>
                  <a:gd name="connsiteY31" fmla="*/ 17607 h 436958"/>
                  <a:gd name="connsiteX32" fmla="*/ 228339 w 440984"/>
                  <a:gd name="connsiteY32" fmla="*/ 40214 h 436958"/>
                  <a:gd name="connsiteX33" fmla="*/ 246943 w 440984"/>
                  <a:gd name="connsiteY33" fmla="*/ 64572 h 436958"/>
                  <a:gd name="connsiteX34" fmla="*/ 247361 w 440984"/>
                  <a:gd name="connsiteY34" fmla="*/ 68994 h 436958"/>
                  <a:gd name="connsiteX35" fmla="*/ 255787 w 440984"/>
                  <a:gd name="connsiteY35" fmla="*/ 93352 h 436958"/>
                  <a:gd name="connsiteX36" fmla="*/ 271721 w 440984"/>
                  <a:gd name="connsiteY36" fmla="*/ 101361 h 436958"/>
                  <a:gd name="connsiteX37" fmla="*/ 278813 w 440984"/>
                  <a:gd name="connsiteY37" fmla="*/ 104030 h 436958"/>
                  <a:gd name="connsiteX38" fmla="*/ 296082 w 440984"/>
                  <a:gd name="connsiteY38" fmla="*/ 119547 h 436958"/>
                  <a:gd name="connsiteX39" fmla="*/ 313351 w 440984"/>
                  <a:gd name="connsiteY39" fmla="*/ 135897 h 436958"/>
                  <a:gd name="connsiteX40" fmla="*/ 327117 w 440984"/>
                  <a:gd name="connsiteY40" fmla="*/ 142987 h 436958"/>
                  <a:gd name="connsiteX41" fmla="*/ 331955 w 440984"/>
                  <a:gd name="connsiteY41" fmla="*/ 164260 h 436958"/>
                  <a:gd name="connsiteX42" fmla="*/ 334625 w 440984"/>
                  <a:gd name="connsiteY42" fmla="*/ 180193 h 436958"/>
                  <a:gd name="connsiteX43" fmla="*/ 333707 w 440984"/>
                  <a:gd name="connsiteY43" fmla="*/ 186867 h 436958"/>
                  <a:gd name="connsiteX44" fmla="*/ 333290 w 440984"/>
                  <a:gd name="connsiteY44" fmla="*/ 189119 h 436958"/>
                  <a:gd name="connsiteX45" fmla="*/ 351894 w 440984"/>
                  <a:gd name="connsiteY45" fmla="*/ 216565 h 436958"/>
                  <a:gd name="connsiteX46" fmla="*/ 356733 w 440984"/>
                  <a:gd name="connsiteY46" fmla="*/ 218316 h 436958"/>
                  <a:gd name="connsiteX47" fmla="*/ 377089 w 440984"/>
                  <a:gd name="connsiteY47" fmla="*/ 231163 h 436958"/>
                  <a:gd name="connsiteX48" fmla="*/ 383763 w 440984"/>
                  <a:gd name="connsiteY48" fmla="*/ 247514 h 436958"/>
                  <a:gd name="connsiteX49" fmla="*/ 389520 w 440984"/>
                  <a:gd name="connsiteY49" fmla="*/ 263864 h 436958"/>
                  <a:gd name="connsiteX50" fmla="*/ 439576 w 440984"/>
                  <a:gd name="connsiteY50" fmla="*/ 314334 h 436958"/>
                  <a:gd name="connsiteX51" fmla="*/ 439576 w 440984"/>
                  <a:gd name="connsiteY51" fmla="*/ 314751 h 436958"/>
                  <a:gd name="connsiteX52" fmla="*/ 440494 w 440984"/>
                  <a:gd name="connsiteY52" fmla="*/ 324928 h 436958"/>
                  <a:gd name="connsiteX53" fmla="*/ 434320 w 440984"/>
                  <a:gd name="connsiteY53" fmla="*/ 365220 h 436958"/>
                  <a:gd name="connsiteX54" fmla="*/ 429899 w 440984"/>
                  <a:gd name="connsiteY54" fmla="*/ 371393 h 436958"/>
                  <a:gd name="connsiteX55" fmla="*/ 421890 w 440984"/>
                  <a:gd name="connsiteY55" fmla="*/ 366054 h 436958"/>
                  <a:gd name="connsiteX56" fmla="*/ 412546 w 440984"/>
                  <a:gd name="connsiteY56" fmla="*/ 360715 h 436958"/>
                  <a:gd name="connsiteX57" fmla="*/ 393024 w 440984"/>
                  <a:gd name="connsiteY57" fmla="*/ 350538 h 436958"/>
                  <a:gd name="connsiteX58" fmla="*/ 384181 w 440984"/>
                  <a:gd name="connsiteY58" fmla="*/ 347451 h 436958"/>
                  <a:gd name="connsiteX59" fmla="*/ 371750 w 440984"/>
                  <a:gd name="connsiteY59" fmla="*/ 342613 h 436958"/>
                  <a:gd name="connsiteX60" fmla="*/ 367746 w 440984"/>
                  <a:gd name="connsiteY60" fmla="*/ 335522 h 436958"/>
                  <a:gd name="connsiteX61" fmla="*/ 358902 w 440984"/>
                  <a:gd name="connsiteY61" fmla="*/ 321758 h 436958"/>
                  <a:gd name="connsiteX62" fmla="*/ 333624 w 440984"/>
                  <a:gd name="connsiteY62" fmla="*/ 322175 h 436958"/>
                  <a:gd name="connsiteX63" fmla="*/ 326533 w 440984"/>
                  <a:gd name="connsiteY63" fmla="*/ 324844 h 436958"/>
                  <a:gd name="connsiteX64" fmla="*/ 304842 w 440984"/>
                  <a:gd name="connsiteY64" fmla="*/ 329266 h 436958"/>
                  <a:gd name="connsiteX65" fmla="*/ 295998 w 440984"/>
                  <a:gd name="connsiteY65" fmla="*/ 328348 h 436958"/>
                  <a:gd name="connsiteX66" fmla="*/ 271221 w 440984"/>
                  <a:gd name="connsiteY66" fmla="*/ 328765 h 436958"/>
                  <a:gd name="connsiteX67" fmla="*/ 251282 w 440984"/>
                  <a:gd name="connsiteY67" fmla="*/ 358463 h 436958"/>
                  <a:gd name="connsiteX68" fmla="*/ 247778 w 440984"/>
                  <a:gd name="connsiteY68" fmla="*/ 374396 h 436958"/>
                  <a:gd name="connsiteX69" fmla="*/ 241104 w 440984"/>
                  <a:gd name="connsiteY69" fmla="*/ 380569 h 436958"/>
                  <a:gd name="connsiteX70" fmla="*/ 232677 w 440984"/>
                  <a:gd name="connsiteY70" fmla="*/ 389412 h 436958"/>
                  <a:gd name="connsiteX71" fmla="*/ 229591 w 440984"/>
                  <a:gd name="connsiteY71" fmla="*/ 393833 h 436958"/>
                  <a:gd name="connsiteX72" fmla="*/ 218495 w 440984"/>
                  <a:gd name="connsiteY72" fmla="*/ 404011 h 436958"/>
                  <a:gd name="connsiteX73" fmla="*/ 208317 w 440984"/>
                  <a:gd name="connsiteY73" fmla="*/ 410184 h 436958"/>
                  <a:gd name="connsiteX74" fmla="*/ 206565 w 440984"/>
                  <a:gd name="connsiteY74" fmla="*/ 411101 h 436958"/>
                  <a:gd name="connsiteX75" fmla="*/ 195970 w 440984"/>
                  <a:gd name="connsiteY75" fmla="*/ 417775 h 436958"/>
                  <a:gd name="connsiteX76" fmla="*/ 191131 w 440984"/>
                  <a:gd name="connsiteY76" fmla="*/ 420027 h 436958"/>
                  <a:gd name="connsiteX77" fmla="*/ 178283 w 440984"/>
                  <a:gd name="connsiteY77" fmla="*/ 420444 h 436958"/>
                  <a:gd name="connsiteX78" fmla="*/ 161932 w 440984"/>
                  <a:gd name="connsiteY78" fmla="*/ 420861 h 436958"/>
                  <a:gd name="connsiteX79" fmla="*/ 145079 w 440984"/>
                  <a:gd name="connsiteY79" fmla="*/ 429704 h 436958"/>
                  <a:gd name="connsiteX80" fmla="*/ 135318 w 440984"/>
                  <a:gd name="connsiteY80" fmla="*/ 435877 h 436958"/>
                  <a:gd name="connsiteX81" fmla="*/ 112710 w 440984"/>
                  <a:gd name="connsiteY81" fmla="*/ 435460 h 436958"/>
                  <a:gd name="connsiteX82" fmla="*/ 75084 w 440984"/>
                  <a:gd name="connsiteY82" fmla="*/ 417775 h 436958"/>
                  <a:gd name="connsiteX83" fmla="*/ 54728 w 440984"/>
                  <a:gd name="connsiteY83" fmla="*/ 405345 h 436958"/>
                  <a:gd name="connsiteX84" fmla="*/ 48972 w 440984"/>
                  <a:gd name="connsiteY84" fmla="*/ 403093 h 436958"/>
                  <a:gd name="connsiteX85" fmla="*/ 46719 w 440984"/>
                  <a:gd name="connsiteY85" fmla="*/ 398254 h 436958"/>
                  <a:gd name="connsiteX86" fmla="*/ 29033 w 440984"/>
                  <a:gd name="connsiteY86" fmla="*/ 387159 h 436958"/>
                  <a:gd name="connsiteX87" fmla="*/ 19689 w 440984"/>
                  <a:gd name="connsiteY87" fmla="*/ 383155 h 436958"/>
                  <a:gd name="connsiteX88" fmla="*/ 7759 w 440984"/>
                  <a:gd name="connsiteY88" fmla="*/ 348202 h 436958"/>
                  <a:gd name="connsiteX89" fmla="*/ 2670 w 440984"/>
                  <a:gd name="connsiteY89" fmla="*/ 318505 h 436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440984" h="436958" extrusionOk="0">
                    <a:moveTo>
                      <a:pt x="2670" y="318505"/>
                    </a:moveTo>
                    <a:cubicBezTo>
                      <a:pt x="1752" y="316753"/>
                      <a:pt x="1335" y="315418"/>
                      <a:pt x="0" y="313666"/>
                    </a:cubicBezTo>
                    <a:cubicBezTo>
                      <a:pt x="3087" y="310997"/>
                      <a:pt x="6674" y="308327"/>
                      <a:pt x="10178" y="305657"/>
                    </a:cubicBezTo>
                    <a:cubicBezTo>
                      <a:pt x="21691" y="298150"/>
                      <a:pt x="24778" y="288807"/>
                      <a:pt x="27865" y="280882"/>
                    </a:cubicBezTo>
                    <a:cubicBezTo>
                      <a:pt x="30117" y="275543"/>
                      <a:pt x="31369" y="270704"/>
                      <a:pt x="35874" y="265783"/>
                    </a:cubicBezTo>
                    <a:cubicBezTo>
                      <a:pt x="38960" y="262279"/>
                      <a:pt x="42047" y="258692"/>
                      <a:pt x="45217" y="255188"/>
                    </a:cubicBezTo>
                    <a:cubicBezTo>
                      <a:pt x="55813" y="243676"/>
                      <a:pt x="68243" y="230830"/>
                      <a:pt x="72665" y="213144"/>
                    </a:cubicBezTo>
                    <a:cubicBezTo>
                      <a:pt x="74917" y="204719"/>
                      <a:pt x="73583" y="196794"/>
                      <a:pt x="72248" y="190120"/>
                    </a:cubicBezTo>
                    <a:cubicBezTo>
                      <a:pt x="70496" y="180777"/>
                      <a:pt x="69578" y="175521"/>
                      <a:pt x="74500" y="168848"/>
                    </a:cubicBezTo>
                    <a:cubicBezTo>
                      <a:pt x="76753" y="166179"/>
                      <a:pt x="80257" y="163509"/>
                      <a:pt x="83844" y="160840"/>
                    </a:cubicBezTo>
                    <a:cubicBezTo>
                      <a:pt x="92270" y="154666"/>
                      <a:pt x="105118" y="145324"/>
                      <a:pt x="95774" y="128055"/>
                    </a:cubicBezTo>
                    <a:cubicBezTo>
                      <a:pt x="93104" y="123217"/>
                      <a:pt x="89100" y="120047"/>
                      <a:pt x="86013" y="117461"/>
                    </a:cubicBezTo>
                    <a:cubicBezTo>
                      <a:pt x="79840" y="112622"/>
                      <a:pt x="79339" y="112122"/>
                      <a:pt x="81591" y="107701"/>
                    </a:cubicBezTo>
                    <a:cubicBezTo>
                      <a:pt x="82509" y="105448"/>
                      <a:pt x="84261" y="104614"/>
                      <a:pt x="86430" y="102362"/>
                    </a:cubicBezTo>
                    <a:cubicBezTo>
                      <a:pt x="89934" y="99692"/>
                      <a:pt x="94439" y="96189"/>
                      <a:pt x="96608" y="89515"/>
                    </a:cubicBezTo>
                    <a:cubicBezTo>
                      <a:pt x="97025" y="88180"/>
                      <a:pt x="97526" y="86429"/>
                      <a:pt x="97526" y="85094"/>
                    </a:cubicBezTo>
                    <a:cubicBezTo>
                      <a:pt x="98444" y="80673"/>
                      <a:pt x="97109" y="76251"/>
                      <a:pt x="96191" y="72664"/>
                    </a:cubicBezTo>
                    <a:cubicBezTo>
                      <a:pt x="95774" y="71329"/>
                      <a:pt x="95274" y="69577"/>
                      <a:pt x="95274" y="68243"/>
                    </a:cubicBezTo>
                    <a:cubicBezTo>
                      <a:pt x="94856" y="67325"/>
                      <a:pt x="94856" y="66908"/>
                      <a:pt x="94856" y="65991"/>
                    </a:cubicBezTo>
                    <a:cubicBezTo>
                      <a:pt x="95274" y="59317"/>
                      <a:pt x="97526" y="56647"/>
                      <a:pt x="101531" y="52226"/>
                    </a:cubicBezTo>
                    <a:cubicBezTo>
                      <a:pt x="104617" y="48722"/>
                      <a:pt x="109039" y="43801"/>
                      <a:pt x="111709" y="36293"/>
                    </a:cubicBezTo>
                    <a:lnTo>
                      <a:pt x="113043" y="33206"/>
                    </a:lnTo>
                    <a:cubicBezTo>
                      <a:pt x="114378" y="28785"/>
                      <a:pt x="116130" y="22612"/>
                      <a:pt x="118383" y="22111"/>
                    </a:cubicBezTo>
                    <a:cubicBezTo>
                      <a:pt x="119300" y="21694"/>
                      <a:pt x="121887" y="22111"/>
                      <a:pt x="126392" y="24781"/>
                    </a:cubicBezTo>
                    <a:cubicBezTo>
                      <a:pt x="128644" y="25699"/>
                      <a:pt x="129896" y="27033"/>
                      <a:pt x="131230" y="28284"/>
                    </a:cubicBezTo>
                    <a:cubicBezTo>
                      <a:pt x="135652" y="32706"/>
                      <a:pt x="140991" y="36293"/>
                      <a:pt x="151169" y="30954"/>
                    </a:cubicBezTo>
                    <a:cubicBezTo>
                      <a:pt x="156509" y="28284"/>
                      <a:pt x="159596" y="22111"/>
                      <a:pt x="162265" y="16355"/>
                    </a:cubicBezTo>
                    <a:cubicBezTo>
                      <a:pt x="163183" y="14603"/>
                      <a:pt x="164518" y="12851"/>
                      <a:pt x="164935" y="11016"/>
                    </a:cubicBezTo>
                    <a:cubicBezTo>
                      <a:pt x="165853" y="10099"/>
                      <a:pt x="165853" y="9265"/>
                      <a:pt x="166270" y="8764"/>
                    </a:cubicBezTo>
                    <a:cubicBezTo>
                      <a:pt x="168939" y="6095"/>
                      <a:pt x="172443" y="3926"/>
                      <a:pt x="176031" y="2090"/>
                    </a:cubicBezTo>
                    <a:cubicBezTo>
                      <a:pt x="183539" y="-996"/>
                      <a:pt x="191965" y="-996"/>
                      <a:pt x="198639" y="4343"/>
                    </a:cubicBezTo>
                    <a:cubicBezTo>
                      <a:pt x="203478" y="7846"/>
                      <a:pt x="204813" y="12768"/>
                      <a:pt x="206648" y="17607"/>
                    </a:cubicBezTo>
                    <a:cubicBezTo>
                      <a:pt x="209318" y="26032"/>
                      <a:pt x="211988" y="36209"/>
                      <a:pt x="228339" y="40214"/>
                    </a:cubicBezTo>
                    <a:cubicBezTo>
                      <a:pt x="243440" y="43717"/>
                      <a:pt x="244691" y="46387"/>
                      <a:pt x="246943" y="64572"/>
                    </a:cubicBezTo>
                    <a:lnTo>
                      <a:pt x="247361" y="68994"/>
                    </a:lnTo>
                    <a:cubicBezTo>
                      <a:pt x="248278" y="77002"/>
                      <a:pt x="248695" y="86262"/>
                      <a:pt x="255787" y="93352"/>
                    </a:cubicBezTo>
                    <a:cubicBezTo>
                      <a:pt x="260625" y="98692"/>
                      <a:pt x="266882" y="100026"/>
                      <a:pt x="271721" y="101361"/>
                    </a:cubicBezTo>
                    <a:cubicBezTo>
                      <a:pt x="274391" y="102278"/>
                      <a:pt x="277061" y="102696"/>
                      <a:pt x="278813" y="104030"/>
                    </a:cubicBezTo>
                    <a:cubicBezTo>
                      <a:pt x="285487" y="107534"/>
                      <a:pt x="290743" y="113373"/>
                      <a:pt x="296082" y="119547"/>
                    </a:cubicBezTo>
                    <a:cubicBezTo>
                      <a:pt x="300921" y="125303"/>
                      <a:pt x="306677" y="131476"/>
                      <a:pt x="313351" y="135897"/>
                    </a:cubicBezTo>
                    <a:cubicBezTo>
                      <a:pt x="317773" y="138566"/>
                      <a:pt x="322195" y="141236"/>
                      <a:pt x="327117" y="142987"/>
                    </a:cubicBezTo>
                    <a:cubicBezTo>
                      <a:pt x="326700" y="149661"/>
                      <a:pt x="329369" y="156252"/>
                      <a:pt x="331955" y="164260"/>
                    </a:cubicBezTo>
                    <a:cubicBezTo>
                      <a:pt x="335459" y="173102"/>
                      <a:pt x="335459" y="173102"/>
                      <a:pt x="334625" y="180193"/>
                    </a:cubicBezTo>
                    <a:cubicBezTo>
                      <a:pt x="334208" y="181945"/>
                      <a:pt x="334208" y="183697"/>
                      <a:pt x="333707" y="186867"/>
                    </a:cubicBezTo>
                    <a:lnTo>
                      <a:pt x="333290" y="189119"/>
                    </a:lnTo>
                    <a:cubicBezTo>
                      <a:pt x="331538" y="205053"/>
                      <a:pt x="333707" y="209974"/>
                      <a:pt x="351894" y="216565"/>
                    </a:cubicBezTo>
                    <a:lnTo>
                      <a:pt x="356733" y="218316"/>
                    </a:lnTo>
                    <a:cubicBezTo>
                      <a:pt x="365576" y="221403"/>
                      <a:pt x="371333" y="223155"/>
                      <a:pt x="377089" y="231163"/>
                    </a:cubicBezTo>
                    <a:cubicBezTo>
                      <a:pt x="380593" y="236001"/>
                      <a:pt x="381928" y="241758"/>
                      <a:pt x="383763" y="247514"/>
                    </a:cubicBezTo>
                    <a:cubicBezTo>
                      <a:pt x="385098" y="252852"/>
                      <a:pt x="386433" y="258608"/>
                      <a:pt x="389520" y="263864"/>
                    </a:cubicBezTo>
                    <a:cubicBezTo>
                      <a:pt x="395694" y="274959"/>
                      <a:pt x="416550" y="310830"/>
                      <a:pt x="439576" y="314334"/>
                    </a:cubicBezTo>
                    <a:cubicBezTo>
                      <a:pt x="439576" y="314751"/>
                      <a:pt x="439576" y="314751"/>
                      <a:pt x="439576" y="314751"/>
                    </a:cubicBezTo>
                    <a:cubicBezTo>
                      <a:pt x="439993" y="317837"/>
                      <a:pt x="440494" y="321424"/>
                      <a:pt x="440494" y="324928"/>
                    </a:cubicBezTo>
                    <a:cubicBezTo>
                      <a:pt x="441411" y="336023"/>
                      <a:pt x="441829" y="352874"/>
                      <a:pt x="434320" y="365220"/>
                    </a:cubicBezTo>
                    <a:cubicBezTo>
                      <a:pt x="432985" y="367472"/>
                      <a:pt x="431650" y="369224"/>
                      <a:pt x="429899" y="371393"/>
                    </a:cubicBezTo>
                    <a:cubicBezTo>
                      <a:pt x="427646" y="369141"/>
                      <a:pt x="425060" y="367889"/>
                      <a:pt x="421890" y="366054"/>
                    </a:cubicBezTo>
                    <a:cubicBezTo>
                      <a:pt x="418803" y="364302"/>
                      <a:pt x="415716" y="362550"/>
                      <a:pt x="412546" y="360715"/>
                    </a:cubicBezTo>
                    <a:cubicBezTo>
                      <a:pt x="406372" y="357212"/>
                      <a:pt x="400115" y="353624"/>
                      <a:pt x="393024" y="350538"/>
                    </a:cubicBezTo>
                    <a:cubicBezTo>
                      <a:pt x="390354" y="349203"/>
                      <a:pt x="387267" y="348285"/>
                      <a:pt x="384181" y="347451"/>
                    </a:cubicBezTo>
                    <a:cubicBezTo>
                      <a:pt x="379342" y="346116"/>
                      <a:pt x="374837" y="344782"/>
                      <a:pt x="371750" y="342613"/>
                    </a:cubicBezTo>
                    <a:cubicBezTo>
                      <a:pt x="369998" y="341278"/>
                      <a:pt x="369080" y="338191"/>
                      <a:pt x="367746" y="335522"/>
                    </a:cubicBezTo>
                    <a:cubicBezTo>
                      <a:pt x="366411" y="331101"/>
                      <a:pt x="364242" y="325762"/>
                      <a:pt x="358902" y="321758"/>
                    </a:cubicBezTo>
                    <a:cubicBezTo>
                      <a:pt x="350059" y="315585"/>
                      <a:pt x="340298" y="319505"/>
                      <a:pt x="333624" y="322175"/>
                    </a:cubicBezTo>
                    <a:lnTo>
                      <a:pt x="326533" y="324844"/>
                    </a:lnTo>
                    <a:cubicBezTo>
                      <a:pt x="318524" y="327931"/>
                      <a:pt x="313685" y="330183"/>
                      <a:pt x="304842" y="329266"/>
                    </a:cubicBezTo>
                    <a:cubicBezTo>
                      <a:pt x="301755" y="329266"/>
                      <a:pt x="298668" y="328849"/>
                      <a:pt x="295998" y="328348"/>
                    </a:cubicBezTo>
                    <a:cubicBezTo>
                      <a:pt x="288490" y="327013"/>
                      <a:pt x="280064" y="326096"/>
                      <a:pt x="271221" y="328765"/>
                    </a:cubicBezTo>
                    <a:cubicBezTo>
                      <a:pt x="252616" y="334938"/>
                      <a:pt x="251699" y="348285"/>
                      <a:pt x="251282" y="358463"/>
                    </a:cubicBezTo>
                    <a:cubicBezTo>
                      <a:pt x="250865" y="364219"/>
                      <a:pt x="250865" y="369558"/>
                      <a:pt x="247778" y="374396"/>
                    </a:cubicBezTo>
                    <a:cubicBezTo>
                      <a:pt x="246443" y="376648"/>
                      <a:pt x="243773" y="378400"/>
                      <a:pt x="241104" y="380569"/>
                    </a:cubicBezTo>
                    <a:cubicBezTo>
                      <a:pt x="238017" y="383239"/>
                      <a:pt x="234930" y="385908"/>
                      <a:pt x="232677" y="389412"/>
                    </a:cubicBezTo>
                    <a:cubicBezTo>
                      <a:pt x="231343" y="391164"/>
                      <a:pt x="230425" y="392498"/>
                      <a:pt x="229591" y="393833"/>
                    </a:cubicBezTo>
                    <a:cubicBezTo>
                      <a:pt x="226087" y="398671"/>
                      <a:pt x="224752" y="400924"/>
                      <a:pt x="218495" y="404011"/>
                    </a:cubicBezTo>
                    <a:cubicBezTo>
                      <a:pt x="214991" y="405762"/>
                      <a:pt x="211821" y="408015"/>
                      <a:pt x="208317" y="410184"/>
                    </a:cubicBezTo>
                    <a:cubicBezTo>
                      <a:pt x="207900" y="410601"/>
                      <a:pt x="206982" y="411101"/>
                      <a:pt x="206565" y="411101"/>
                    </a:cubicBezTo>
                    <a:cubicBezTo>
                      <a:pt x="203061" y="413353"/>
                      <a:pt x="199474" y="415940"/>
                      <a:pt x="195970" y="417775"/>
                    </a:cubicBezTo>
                    <a:cubicBezTo>
                      <a:pt x="194218" y="418692"/>
                      <a:pt x="192883" y="419526"/>
                      <a:pt x="191131" y="420027"/>
                    </a:cubicBezTo>
                    <a:cubicBezTo>
                      <a:pt x="187627" y="420945"/>
                      <a:pt x="182705" y="420945"/>
                      <a:pt x="178283" y="420444"/>
                    </a:cubicBezTo>
                    <a:cubicBezTo>
                      <a:pt x="173444" y="420027"/>
                      <a:pt x="167688" y="419526"/>
                      <a:pt x="161932" y="420861"/>
                    </a:cubicBezTo>
                    <a:cubicBezTo>
                      <a:pt x="154840" y="422196"/>
                      <a:pt x="149501" y="426200"/>
                      <a:pt x="145079" y="429704"/>
                    </a:cubicBezTo>
                    <a:cubicBezTo>
                      <a:pt x="141575" y="432374"/>
                      <a:pt x="138906" y="434542"/>
                      <a:pt x="135318" y="435877"/>
                    </a:cubicBezTo>
                    <a:cubicBezTo>
                      <a:pt x="129145" y="438129"/>
                      <a:pt x="119384" y="436294"/>
                      <a:pt x="112710" y="435460"/>
                    </a:cubicBezTo>
                    <a:cubicBezTo>
                      <a:pt x="97192" y="432791"/>
                      <a:pt x="87014" y="425700"/>
                      <a:pt x="75084" y="417775"/>
                    </a:cubicBezTo>
                    <a:cubicBezTo>
                      <a:pt x="68911" y="413353"/>
                      <a:pt x="62237" y="409349"/>
                      <a:pt x="54728" y="405345"/>
                    </a:cubicBezTo>
                    <a:cubicBezTo>
                      <a:pt x="52476" y="404428"/>
                      <a:pt x="51224" y="403593"/>
                      <a:pt x="48972" y="403093"/>
                    </a:cubicBezTo>
                    <a:cubicBezTo>
                      <a:pt x="48554" y="401341"/>
                      <a:pt x="47637" y="400006"/>
                      <a:pt x="46719" y="398254"/>
                    </a:cubicBezTo>
                    <a:cubicBezTo>
                      <a:pt x="42715" y="391581"/>
                      <a:pt x="35623" y="388911"/>
                      <a:pt x="29033" y="387159"/>
                    </a:cubicBezTo>
                    <a:cubicBezTo>
                      <a:pt x="25529" y="385825"/>
                      <a:pt x="21524" y="384907"/>
                      <a:pt x="19689" y="383155"/>
                    </a:cubicBezTo>
                    <a:cubicBezTo>
                      <a:pt x="11263" y="375147"/>
                      <a:pt x="9511" y="361883"/>
                      <a:pt x="7759" y="348202"/>
                    </a:cubicBezTo>
                    <a:cubicBezTo>
                      <a:pt x="8009" y="337524"/>
                      <a:pt x="6674" y="326930"/>
                      <a:pt x="2670" y="3185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79479349" name="Полилиния 363"/>
              <p:cNvSpPr/>
              <p:nvPr/>
            </p:nvSpPr>
            <p:spPr bwMode="auto">
              <a:xfrm>
                <a:off x="1823161" y="4082773"/>
                <a:ext cx="236800" cy="251384"/>
              </a:xfrm>
              <a:custGeom>
                <a:avLst/>
                <a:gdLst>
                  <a:gd name="connsiteX0" fmla="*/ 59979 w 265935"/>
                  <a:gd name="connsiteY0" fmla="*/ 228489 h 282313"/>
                  <a:gd name="connsiteX1" fmla="*/ 59979 w 265935"/>
                  <a:gd name="connsiteY1" fmla="*/ 228489 h 282313"/>
                  <a:gd name="connsiteX2" fmla="*/ 58227 w 265935"/>
                  <a:gd name="connsiteY2" fmla="*/ 204130 h 282313"/>
                  <a:gd name="connsiteX3" fmla="*/ 46297 w 265935"/>
                  <a:gd name="connsiteY3" fmla="*/ 160751 h 282313"/>
                  <a:gd name="connsiteX4" fmla="*/ 42793 w 265935"/>
                  <a:gd name="connsiteY4" fmla="*/ 157248 h 282313"/>
                  <a:gd name="connsiteX5" fmla="*/ 14845 w 265935"/>
                  <a:gd name="connsiteY5" fmla="*/ 115204 h 282313"/>
                  <a:gd name="connsiteX6" fmla="*/ 11341 w 265935"/>
                  <a:gd name="connsiteY6" fmla="*/ 102357 h 282313"/>
                  <a:gd name="connsiteX7" fmla="*/ 246 w 265935"/>
                  <a:gd name="connsiteY7" fmla="*/ 54974 h 282313"/>
                  <a:gd name="connsiteX8" fmla="*/ 1163 w 265935"/>
                  <a:gd name="connsiteY8" fmla="*/ 39458 h 282313"/>
                  <a:gd name="connsiteX9" fmla="*/ 2081 w 265935"/>
                  <a:gd name="connsiteY9" fmla="*/ 37206 h 282313"/>
                  <a:gd name="connsiteX10" fmla="*/ 39289 w 265935"/>
                  <a:gd name="connsiteY10" fmla="*/ 13764 h 282313"/>
                  <a:gd name="connsiteX11" fmla="*/ 52137 w 265935"/>
                  <a:gd name="connsiteY11" fmla="*/ 8426 h 282313"/>
                  <a:gd name="connsiteX12" fmla="*/ 80085 w 265935"/>
                  <a:gd name="connsiteY12" fmla="*/ 0 h 282313"/>
                  <a:gd name="connsiteX13" fmla="*/ 108033 w 265935"/>
                  <a:gd name="connsiteY13" fmla="*/ 13264 h 282313"/>
                  <a:gd name="connsiteX14" fmla="*/ 111120 w 265935"/>
                  <a:gd name="connsiteY14" fmla="*/ 16768 h 282313"/>
                  <a:gd name="connsiteX15" fmla="*/ 135898 w 265935"/>
                  <a:gd name="connsiteY15" fmla="*/ 27362 h 282313"/>
                  <a:gd name="connsiteX16" fmla="*/ 148328 w 265935"/>
                  <a:gd name="connsiteY16" fmla="*/ 13598 h 282313"/>
                  <a:gd name="connsiteX17" fmla="*/ 150581 w 265935"/>
                  <a:gd name="connsiteY17" fmla="*/ 9176 h 282313"/>
                  <a:gd name="connsiteX18" fmla="*/ 163428 w 265935"/>
                  <a:gd name="connsiteY18" fmla="*/ 6507 h 282313"/>
                  <a:gd name="connsiteX19" fmla="*/ 168768 w 265935"/>
                  <a:gd name="connsiteY19" fmla="*/ 8759 h 282313"/>
                  <a:gd name="connsiteX20" fmla="*/ 198468 w 265935"/>
                  <a:gd name="connsiteY20" fmla="*/ 8342 h 282313"/>
                  <a:gd name="connsiteX21" fmla="*/ 201137 w 265935"/>
                  <a:gd name="connsiteY21" fmla="*/ 7424 h 282313"/>
                  <a:gd name="connsiteX22" fmla="*/ 215320 w 265935"/>
                  <a:gd name="connsiteY22" fmla="*/ 8342 h 282313"/>
                  <a:gd name="connsiteX23" fmla="*/ 216655 w 265935"/>
                  <a:gd name="connsiteY23" fmla="*/ 10094 h 282313"/>
                  <a:gd name="connsiteX24" fmla="*/ 227250 w 265935"/>
                  <a:gd name="connsiteY24" fmla="*/ 23858 h 282313"/>
                  <a:gd name="connsiteX25" fmla="*/ 248524 w 265935"/>
                  <a:gd name="connsiteY25" fmla="*/ 32284 h 282313"/>
                  <a:gd name="connsiteX26" fmla="*/ 257367 w 265935"/>
                  <a:gd name="connsiteY26" fmla="*/ 34536 h 282313"/>
                  <a:gd name="connsiteX27" fmla="*/ 264041 w 265935"/>
                  <a:gd name="connsiteY27" fmla="*/ 57143 h 282313"/>
                  <a:gd name="connsiteX28" fmla="*/ 264458 w 265935"/>
                  <a:gd name="connsiteY28" fmla="*/ 63817 h 282313"/>
                  <a:gd name="connsiteX29" fmla="*/ 264875 w 265935"/>
                  <a:gd name="connsiteY29" fmla="*/ 66069 h 282313"/>
                  <a:gd name="connsiteX30" fmla="*/ 262206 w 265935"/>
                  <a:gd name="connsiteY30" fmla="*/ 94432 h 282313"/>
                  <a:gd name="connsiteX31" fmla="*/ 255532 w 265935"/>
                  <a:gd name="connsiteY31" fmla="*/ 104609 h 282313"/>
                  <a:gd name="connsiteX32" fmla="*/ 243602 w 265935"/>
                  <a:gd name="connsiteY32" fmla="*/ 126299 h 282313"/>
                  <a:gd name="connsiteX33" fmla="*/ 241349 w 265935"/>
                  <a:gd name="connsiteY33" fmla="*/ 149323 h 282313"/>
                  <a:gd name="connsiteX34" fmla="*/ 228501 w 265935"/>
                  <a:gd name="connsiteY34" fmla="*/ 171930 h 282313"/>
                  <a:gd name="connsiteX35" fmla="*/ 224080 w 265935"/>
                  <a:gd name="connsiteY35" fmla="*/ 181690 h 282313"/>
                  <a:gd name="connsiteX36" fmla="*/ 217906 w 265935"/>
                  <a:gd name="connsiteY36" fmla="*/ 194120 h 282313"/>
                  <a:gd name="connsiteX37" fmla="*/ 196632 w 265935"/>
                  <a:gd name="connsiteY37" fmla="*/ 232660 h 282313"/>
                  <a:gd name="connsiteX38" fmla="*/ 184702 w 265935"/>
                  <a:gd name="connsiteY38" fmla="*/ 242837 h 282313"/>
                  <a:gd name="connsiteX39" fmla="*/ 183785 w 265935"/>
                  <a:gd name="connsiteY39" fmla="*/ 243254 h 282313"/>
                  <a:gd name="connsiteX40" fmla="*/ 175776 w 265935"/>
                  <a:gd name="connsiteY40" fmla="*/ 243671 h 282313"/>
                  <a:gd name="connsiteX41" fmla="*/ 158089 w 265935"/>
                  <a:gd name="connsiteY41" fmla="*/ 246341 h 282313"/>
                  <a:gd name="connsiteX42" fmla="*/ 154085 w 265935"/>
                  <a:gd name="connsiteY42" fmla="*/ 248593 h 282313"/>
                  <a:gd name="connsiteX43" fmla="*/ 133228 w 265935"/>
                  <a:gd name="connsiteY43" fmla="*/ 259688 h 282313"/>
                  <a:gd name="connsiteX44" fmla="*/ 120380 w 265935"/>
                  <a:gd name="connsiteY44" fmla="*/ 270783 h 282313"/>
                  <a:gd name="connsiteX45" fmla="*/ 109785 w 265935"/>
                  <a:gd name="connsiteY45" fmla="*/ 279626 h 282313"/>
                  <a:gd name="connsiteX46" fmla="*/ 101359 w 265935"/>
                  <a:gd name="connsiteY46" fmla="*/ 282295 h 282313"/>
                  <a:gd name="connsiteX47" fmla="*/ 95185 w 265935"/>
                  <a:gd name="connsiteY47" fmla="*/ 271701 h 282313"/>
                  <a:gd name="connsiteX48" fmla="*/ 75246 w 265935"/>
                  <a:gd name="connsiteY48" fmla="*/ 247759 h 282313"/>
                  <a:gd name="connsiteX49" fmla="*/ 68572 w 265935"/>
                  <a:gd name="connsiteY49" fmla="*/ 241085 h 282313"/>
                  <a:gd name="connsiteX50" fmla="*/ 59979 w 265935"/>
                  <a:gd name="connsiteY50" fmla="*/ 228489 h 282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65935" h="282313" extrusionOk="0">
                    <a:moveTo>
                      <a:pt x="59979" y="228489"/>
                    </a:moveTo>
                    <a:lnTo>
                      <a:pt x="59979" y="228489"/>
                    </a:lnTo>
                    <a:cubicBezTo>
                      <a:pt x="56892" y="220481"/>
                      <a:pt x="57309" y="212556"/>
                      <a:pt x="58227" y="204130"/>
                    </a:cubicBezTo>
                    <a:cubicBezTo>
                      <a:pt x="59562" y="190366"/>
                      <a:pt x="61314" y="175350"/>
                      <a:pt x="46297" y="160751"/>
                    </a:cubicBezTo>
                    <a:lnTo>
                      <a:pt x="42793" y="157248"/>
                    </a:lnTo>
                    <a:cubicBezTo>
                      <a:pt x="28194" y="143066"/>
                      <a:pt x="20185" y="135141"/>
                      <a:pt x="14845" y="115204"/>
                    </a:cubicBezTo>
                    <a:cubicBezTo>
                      <a:pt x="13928" y="111700"/>
                      <a:pt x="12593" y="107195"/>
                      <a:pt x="11341" y="102357"/>
                    </a:cubicBezTo>
                    <a:cubicBezTo>
                      <a:pt x="7337" y="89510"/>
                      <a:pt x="1580" y="69990"/>
                      <a:pt x="246" y="54974"/>
                    </a:cubicBezTo>
                    <a:cubicBezTo>
                      <a:pt x="-172" y="48801"/>
                      <a:pt x="-172" y="43879"/>
                      <a:pt x="1163" y="39458"/>
                    </a:cubicBezTo>
                    <a:cubicBezTo>
                      <a:pt x="1163" y="38540"/>
                      <a:pt x="1580" y="38123"/>
                      <a:pt x="2081" y="37206"/>
                    </a:cubicBezTo>
                    <a:cubicBezTo>
                      <a:pt x="6920" y="27445"/>
                      <a:pt x="26442" y="19520"/>
                      <a:pt x="39289" y="13764"/>
                    </a:cubicBezTo>
                    <a:cubicBezTo>
                      <a:pt x="44128" y="11512"/>
                      <a:pt x="48633" y="10261"/>
                      <a:pt x="52137" y="8426"/>
                    </a:cubicBezTo>
                    <a:cubicBezTo>
                      <a:pt x="63233" y="3087"/>
                      <a:pt x="72076" y="0"/>
                      <a:pt x="80085" y="0"/>
                    </a:cubicBezTo>
                    <a:cubicBezTo>
                      <a:pt x="90263" y="0"/>
                      <a:pt x="98689" y="4422"/>
                      <a:pt x="108033" y="13264"/>
                    </a:cubicBezTo>
                    <a:cubicBezTo>
                      <a:pt x="109368" y="14599"/>
                      <a:pt x="110286" y="15933"/>
                      <a:pt x="111120" y="16768"/>
                    </a:cubicBezTo>
                    <a:cubicBezTo>
                      <a:pt x="115958" y="22106"/>
                      <a:pt x="123968" y="31366"/>
                      <a:pt x="135898" y="27362"/>
                    </a:cubicBezTo>
                    <a:cubicBezTo>
                      <a:pt x="143906" y="24693"/>
                      <a:pt x="146493" y="18520"/>
                      <a:pt x="148328" y="13598"/>
                    </a:cubicBezTo>
                    <a:cubicBezTo>
                      <a:pt x="149246" y="11846"/>
                      <a:pt x="149663" y="10094"/>
                      <a:pt x="150581" y="9176"/>
                    </a:cubicBezTo>
                    <a:cubicBezTo>
                      <a:pt x="155419" y="3837"/>
                      <a:pt x="155419" y="3837"/>
                      <a:pt x="163428" y="6507"/>
                    </a:cubicBezTo>
                    <a:lnTo>
                      <a:pt x="168768" y="8759"/>
                    </a:lnTo>
                    <a:cubicBezTo>
                      <a:pt x="178946" y="12263"/>
                      <a:pt x="183868" y="14098"/>
                      <a:pt x="198468" y="8342"/>
                    </a:cubicBezTo>
                    <a:cubicBezTo>
                      <a:pt x="199385" y="7925"/>
                      <a:pt x="200720" y="7424"/>
                      <a:pt x="201137" y="7424"/>
                    </a:cubicBezTo>
                    <a:cubicBezTo>
                      <a:pt x="211315" y="3921"/>
                      <a:pt x="212650" y="3921"/>
                      <a:pt x="215320" y="8342"/>
                    </a:cubicBezTo>
                    <a:cubicBezTo>
                      <a:pt x="215737" y="8759"/>
                      <a:pt x="216238" y="9260"/>
                      <a:pt x="216655" y="10094"/>
                    </a:cubicBezTo>
                    <a:cubicBezTo>
                      <a:pt x="218907" y="13598"/>
                      <a:pt x="221994" y="18520"/>
                      <a:pt x="227250" y="23858"/>
                    </a:cubicBezTo>
                    <a:cubicBezTo>
                      <a:pt x="234758" y="31867"/>
                      <a:pt x="242767" y="32284"/>
                      <a:pt x="248524" y="32284"/>
                    </a:cubicBezTo>
                    <a:cubicBezTo>
                      <a:pt x="252528" y="32701"/>
                      <a:pt x="255198" y="32701"/>
                      <a:pt x="257367" y="34536"/>
                    </a:cubicBezTo>
                    <a:cubicBezTo>
                      <a:pt x="262706" y="37623"/>
                      <a:pt x="263541" y="48717"/>
                      <a:pt x="264041" y="57143"/>
                    </a:cubicBezTo>
                    <a:cubicBezTo>
                      <a:pt x="264458" y="59396"/>
                      <a:pt x="264458" y="61565"/>
                      <a:pt x="264458" y="63817"/>
                    </a:cubicBezTo>
                    <a:lnTo>
                      <a:pt x="264875" y="66069"/>
                    </a:lnTo>
                    <a:cubicBezTo>
                      <a:pt x="266210" y="77581"/>
                      <a:pt x="267128" y="85089"/>
                      <a:pt x="262206" y="94432"/>
                    </a:cubicBezTo>
                    <a:cubicBezTo>
                      <a:pt x="259953" y="97936"/>
                      <a:pt x="257784" y="101106"/>
                      <a:pt x="255532" y="104609"/>
                    </a:cubicBezTo>
                    <a:cubicBezTo>
                      <a:pt x="250693" y="110783"/>
                      <a:pt x="246188" y="117039"/>
                      <a:pt x="243602" y="126299"/>
                    </a:cubicBezTo>
                    <a:cubicBezTo>
                      <a:pt x="241349" y="133806"/>
                      <a:pt x="240932" y="141815"/>
                      <a:pt x="241349" y="149323"/>
                    </a:cubicBezTo>
                    <a:cubicBezTo>
                      <a:pt x="236010" y="155496"/>
                      <a:pt x="232005" y="164422"/>
                      <a:pt x="228501" y="171930"/>
                    </a:cubicBezTo>
                    <a:cubicBezTo>
                      <a:pt x="227167" y="175434"/>
                      <a:pt x="225415" y="178603"/>
                      <a:pt x="224080" y="181690"/>
                    </a:cubicBezTo>
                    <a:cubicBezTo>
                      <a:pt x="222328" y="184776"/>
                      <a:pt x="220576" y="189698"/>
                      <a:pt x="217906" y="194120"/>
                    </a:cubicBezTo>
                    <a:cubicBezTo>
                      <a:pt x="213067" y="204714"/>
                      <a:pt x="205058" y="221565"/>
                      <a:pt x="196632" y="232660"/>
                    </a:cubicBezTo>
                    <a:cubicBezTo>
                      <a:pt x="192628" y="237498"/>
                      <a:pt x="188623" y="241502"/>
                      <a:pt x="184702" y="242837"/>
                    </a:cubicBezTo>
                    <a:cubicBezTo>
                      <a:pt x="184285" y="242837"/>
                      <a:pt x="183785" y="243254"/>
                      <a:pt x="183785" y="243254"/>
                    </a:cubicBezTo>
                    <a:cubicBezTo>
                      <a:pt x="181115" y="243671"/>
                      <a:pt x="178445" y="243671"/>
                      <a:pt x="175776" y="243671"/>
                    </a:cubicBezTo>
                    <a:cubicBezTo>
                      <a:pt x="171354" y="243254"/>
                      <a:pt x="165180" y="242754"/>
                      <a:pt x="158089" y="246341"/>
                    </a:cubicBezTo>
                    <a:lnTo>
                      <a:pt x="154085" y="248593"/>
                    </a:lnTo>
                    <a:cubicBezTo>
                      <a:pt x="146993" y="252097"/>
                      <a:pt x="139485" y="256101"/>
                      <a:pt x="133228" y="259688"/>
                    </a:cubicBezTo>
                    <a:cubicBezTo>
                      <a:pt x="128389" y="262775"/>
                      <a:pt x="124385" y="266779"/>
                      <a:pt x="120380" y="270783"/>
                    </a:cubicBezTo>
                    <a:cubicBezTo>
                      <a:pt x="116876" y="274287"/>
                      <a:pt x="113706" y="277874"/>
                      <a:pt x="109785" y="279626"/>
                    </a:cubicBezTo>
                    <a:cubicBezTo>
                      <a:pt x="103611" y="282712"/>
                      <a:pt x="101776" y="282295"/>
                      <a:pt x="101359" y="282295"/>
                    </a:cubicBezTo>
                    <a:cubicBezTo>
                      <a:pt x="99607" y="281878"/>
                      <a:pt x="96937" y="276539"/>
                      <a:pt x="95185" y="271701"/>
                    </a:cubicBezTo>
                    <a:cubicBezTo>
                      <a:pt x="90764" y="261940"/>
                      <a:pt x="82755" y="254850"/>
                      <a:pt x="75246" y="247759"/>
                    </a:cubicBezTo>
                    <a:cubicBezTo>
                      <a:pt x="72577" y="245507"/>
                      <a:pt x="70407" y="243338"/>
                      <a:pt x="68572" y="241085"/>
                    </a:cubicBezTo>
                    <a:cubicBezTo>
                      <a:pt x="64484" y="236414"/>
                      <a:pt x="61815" y="232493"/>
                      <a:pt x="59979" y="22848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31071060" name="Полилиния 364"/>
              <p:cNvSpPr/>
              <p:nvPr/>
            </p:nvSpPr>
            <p:spPr bwMode="auto">
              <a:xfrm>
                <a:off x="1865457" y="5245719"/>
                <a:ext cx="273189" cy="510883"/>
              </a:xfrm>
              <a:custGeom>
                <a:avLst/>
                <a:gdLst>
                  <a:gd name="connsiteX0" fmla="*/ 304891 w 306801"/>
                  <a:gd name="connsiteY0" fmla="*/ 326597 h 573739"/>
                  <a:gd name="connsiteX1" fmla="*/ 303556 w 306801"/>
                  <a:gd name="connsiteY1" fmla="*/ 361133 h 573739"/>
                  <a:gd name="connsiteX2" fmla="*/ 292460 w 306801"/>
                  <a:gd name="connsiteY2" fmla="*/ 428037 h 573739"/>
                  <a:gd name="connsiteX3" fmla="*/ 277861 w 306801"/>
                  <a:gd name="connsiteY3" fmla="*/ 447557 h 573739"/>
                  <a:gd name="connsiteX4" fmla="*/ 259257 w 306801"/>
                  <a:gd name="connsiteY4" fmla="*/ 507787 h 573739"/>
                  <a:gd name="connsiteX5" fmla="*/ 274774 w 306801"/>
                  <a:gd name="connsiteY5" fmla="*/ 535733 h 573739"/>
                  <a:gd name="connsiteX6" fmla="*/ 279613 w 306801"/>
                  <a:gd name="connsiteY6" fmla="*/ 543741 h 573739"/>
                  <a:gd name="connsiteX7" fmla="*/ 259674 w 306801"/>
                  <a:gd name="connsiteY7" fmla="*/ 552166 h 573739"/>
                  <a:gd name="connsiteX8" fmla="*/ 216292 w 306801"/>
                  <a:gd name="connsiteY8" fmla="*/ 549080 h 573739"/>
                  <a:gd name="connsiteX9" fmla="*/ 203444 w 306801"/>
                  <a:gd name="connsiteY9" fmla="*/ 567265 h 573739"/>
                  <a:gd name="connsiteX10" fmla="*/ 184840 w 306801"/>
                  <a:gd name="connsiteY10" fmla="*/ 565931 h 573739"/>
                  <a:gd name="connsiteX11" fmla="*/ 179501 w 306801"/>
                  <a:gd name="connsiteY11" fmla="*/ 551332 h 573739"/>
                  <a:gd name="connsiteX12" fmla="*/ 167070 w 306801"/>
                  <a:gd name="connsiteY12" fmla="*/ 549080 h 573739"/>
                  <a:gd name="connsiteX13" fmla="*/ 118766 w 306801"/>
                  <a:gd name="connsiteY13" fmla="*/ 553501 h 573739"/>
                  <a:gd name="connsiteX14" fmla="*/ 81140 w 306801"/>
                  <a:gd name="connsiteY14" fmla="*/ 533981 h 573739"/>
                  <a:gd name="connsiteX15" fmla="*/ 57197 w 306801"/>
                  <a:gd name="connsiteY15" fmla="*/ 531311 h 573739"/>
                  <a:gd name="connsiteX16" fmla="*/ 50523 w 306801"/>
                  <a:gd name="connsiteY16" fmla="*/ 515795 h 573739"/>
                  <a:gd name="connsiteX17" fmla="*/ 23075 w 306801"/>
                  <a:gd name="connsiteY17" fmla="*/ 502030 h 573739"/>
                  <a:gd name="connsiteX18" fmla="*/ 49 w 306801"/>
                  <a:gd name="connsiteY18" fmla="*/ 491436 h 573739"/>
                  <a:gd name="connsiteX19" fmla="*/ 34588 w 306801"/>
                  <a:gd name="connsiteY19" fmla="*/ 462656 h 573739"/>
                  <a:gd name="connsiteX20" fmla="*/ 44766 w 306801"/>
                  <a:gd name="connsiteY20" fmla="*/ 456483 h 573739"/>
                  <a:gd name="connsiteX21" fmla="*/ 63787 w 306801"/>
                  <a:gd name="connsiteY21" fmla="*/ 432124 h 573739"/>
                  <a:gd name="connsiteX22" fmla="*/ 54944 w 306801"/>
                  <a:gd name="connsiteY22" fmla="*/ 419695 h 573739"/>
                  <a:gd name="connsiteX23" fmla="*/ 49605 w 306801"/>
                  <a:gd name="connsiteY23" fmla="*/ 414356 h 573739"/>
                  <a:gd name="connsiteX24" fmla="*/ 49188 w 306801"/>
                  <a:gd name="connsiteY24" fmla="*/ 405012 h 573739"/>
                  <a:gd name="connsiteX25" fmla="*/ 43848 w 306801"/>
                  <a:gd name="connsiteY25" fmla="*/ 383740 h 573739"/>
                  <a:gd name="connsiteX26" fmla="*/ 38092 w 306801"/>
                  <a:gd name="connsiteY26" fmla="*/ 377567 h 573739"/>
                  <a:gd name="connsiteX27" fmla="*/ 35005 w 306801"/>
                  <a:gd name="connsiteY27" fmla="*/ 372228 h 573739"/>
                  <a:gd name="connsiteX28" fmla="*/ 37258 w 306801"/>
                  <a:gd name="connsiteY28" fmla="*/ 369976 h 573739"/>
                  <a:gd name="connsiteX29" fmla="*/ 59366 w 306801"/>
                  <a:gd name="connsiteY29" fmla="*/ 375732 h 573739"/>
                  <a:gd name="connsiteX30" fmla="*/ 74883 w 306801"/>
                  <a:gd name="connsiteY30" fmla="*/ 380570 h 573739"/>
                  <a:gd name="connsiteX31" fmla="*/ 93487 w 306801"/>
                  <a:gd name="connsiteY31" fmla="*/ 373480 h 573739"/>
                  <a:gd name="connsiteX32" fmla="*/ 100162 w 306801"/>
                  <a:gd name="connsiteY32" fmla="*/ 369058 h 573739"/>
                  <a:gd name="connsiteX33" fmla="*/ 109505 w 306801"/>
                  <a:gd name="connsiteY33" fmla="*/ 367723 h 573739"/>
                  <a:gd name="connsiteX34" fmla="*/ 129027 w 306801"/>
                  <a:gd name="connsiteY34" fmla="*/ 362385 h 573739"/>
                  <a:gd name="connsiteX35" fmla="*/ 136119 w 306801"/>
                  <a:gd name="connsiteY35" fmla="*/ 324762 h 573739"/>
                  <a:gd name="connsiteX36" fmla="*/ 131280 w 306801"/>
                  <a:gd name="connsiteY36" fmla="*/ 310580 h 573739"/>
                  <a:gd name="connsiteX37" fmla="*/ 139706 w 306801"/>
                  <a:gd name="connsiteY37" fmla="*/ 263615 h 573739"/>
                  <a:gd name="connsiteX38" fmla="*/ 151636 w 306801"/>
                  <a:gd name="connsiteY38" fmla="*/ 256524 h 573739"/>
                  <a:gd name="connsiteX39" fmla="*/ 174245 w 306801"/>
                  <a:gd name="connsiteY39" fmla="*/ 221571 h 573739"/>
                  <a:gd name="connsiteX40" fmla="*/ 139289 w 306801"/>
                  <a:gd name="connsiteY40" fmla="*/ 199464 h 573739"/>
                  <a:gd name="connsiteX41" fmla="*/ 125523 w 306801"/>
                  <a:gd name="connsiteY41" fmla="*/ 197713 h 573739"/>
                  <a:gd name="connsiteX42" fmla="*/ 112676 w 306801"/>
                  <a:gd name="connsiteY42" fmla="*/ 163594 h 573739"/>
                  <a:gd name="connsiteX43" fmla="*/ 113093 w 306801"/>
                  <a:gd name="connsiteY43" fmla="*/ 159172 h 573739"/>
                  <a:gd name="connsiteX44" fmla="*/ 111758 w 306801"/>
                  <a:gd name="connsiteY44" fmla="*/ 137066 h 573739"/>
                  <a:gd name="connsiteX45" fmla="*/ 110423 w 306801"/>
                  <a:gd name="connsiteY45" fmla="*/ 121550 h 573739"/>
                  <a:gd name="connsiteX46" fmla="*/ 113927 w 306801"/>
                  <a:gd name="connsiteY46" fmla="*/ 111372 h 573739"/>
                  <a:gd name="connsiteX47" fmla="*/ 118766 w 306801"/>
                  <a:gd name="connsiteY47" fmla="*/ 98108 h 573739"/>
                  <a:gd name="connsiteX48" fmla="*/ 95740 w 306801"/>
                  <a:gd name="connsiteY48" fmla="*/ 48473 h 573739"/>
                  <a:gd name="connsiteX49" fmla="*/ 89566 w 306801"/>
                  <a:gd name="connsiteY49" fmla="*/ 40048 h 573739"/>
                  <a:gd name="connsiteX50" fmla="*/ 92236 w 306801"/>
                  <a:gd name="connsiteY50" fmla="*/ 24949 h 573739"/>
                  <a:gd name="connsiteX51" fmla="*/ 91819 w 306801"/>
                  <a:gd name="connsiteY51" fmla="*/ 16523 h 573739"/>
                  <a:gd name="connsiteX52" fmla="*/ 98910 w 306801"/>
                  <a:gd name="connsiteY52" fmla="*/ 6763 h 573739"/>
                  <a:gd name="connsiteX53" fmla="*/ 109088 w 306801"/>
                  <a:gd name="connsiteY53" fmla="*/ 7180 h 573739"/>
                  <a:gd name="connsiteX54" fmla="*/ 123271 w 306801"/>
                  <a:gd name="connsiteY54" fmla="*/ 7597 h 573739"/>
                  <a:gd name="connsiteX55" fmla="*/ 132114 w 306801"/>
                  <a:gd name="connsiteY55" fmla="*/ 4928 h 573739"/>
                  <a:gd name="connsiteX56" fmla="*/ 141458 w 306801"/>
                  <a:gd name="connsiteY56" fmla="*/ 3176 h 573739"/>
                  <a:gd name="connsiteX57" fmla="*/ 156058 w 306801"/>
                  <a:gd name="connsiteY57" fmla="*/ 8932 h 573739"/>
                  <a:gd name="connsiteX58" fmla="*/ 179501 w 306801"/>
                  <a:gd name="connsiteY58" fmla="*/ 16940 h 573739"/>
                  <a:gd name="connsiteX59" fmla="*/ 179918 w 306801"/>
                  <a:gd name="connsiteY59" fmla="*/ 16940 h 573739"/>
                  <a:gd name="connsiteX60" fmla="*/ 202943 w 306801"/>
                  <a:gd name="connsiteY60" fmla="*/ 6763 h 573739"/>
                  <a:gd name="connsiteX61" fmla="*/ 215374 w 306801"/>
                  <a:gd name="connsiteY61" fmla="*/ 89 h 573739"/>
                  <a:gd name="connsiteX62" fmla="*/ 243322 w 306801"/>
                  <a:gd name="connsiteY62" fmla="*/ 13854 h 573739"/>
                  <a:gd name="connsiteX63" fmla="*/ 249496 w 306801"/>
                  <a:gd name="connsiteY63" fmla="*/ 35960 h 573739"/>
                  <a:gd name="connsiteX64" fmla="*/ 253500 w 306801"/>
                  <a:gd name="connsiteY64" fmla="*/ 55481 h 573739"/>
                  <a:gd name="connsiteX65" fmla="*/ 243322 w 306801"/>
                  <a:gd name="connsiteY65" fmla="*/ 108202 h 573739"/>
                  <a:gd name="connsiteX66" fmla="*/ 247326 w 306801"/>
                  <a:gd name="connsiteY66" fmla="*/ 118797 h 573739"/>
                  <a:gd name="connsiteX67" fmla="*/ 252165 w 306801"/>
                  <a:gd name="connsiteY67" fmla="*/ 155085 h 573739"/>
                  <a:gd name="connsiteX68" fmla="*/ 243739 w 306801"/>
                  <a:gd name="connsiteY68" fmla="*/ 171018 h 573739"/>
                  <a:gd name="connsiteX69" fmla="*/ 231809 w 306801"/>
                  <a:gd name="connsiteY69" fmla="*/ 200215 h 573739"/>
                  <a:gd name="connsiteX70" fmla="*/ 268600 w 306801"/>
                  <a:gd name="connsiteY70" fmla="*/ 242259 h 573739"/>
                  <a:gd name="connsiteX71" fmla="*/ 284535 w 306801"/>
                  <a:gd name="connsiteY71" fmla="*/ 250685 h 573739"/>
                  <a:gd name="connsiteX72" fmla="*/ 304891 w 306801"/>
                  <a:gd name="connsiteY72" fmla="*/ 326597 h 57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6801" h="573739" extrusionOk="0">
                    <a:moveTo>
                      <a:pt x="304891" y="326597"/>
                    </a:moveTo>
                    <a:cubicBezTo>
                      <a:pt x="303556" y="337692"/>
                      <a:pt x="303556" y="349621"/>
                      <a:pt x="303556" y="361133"/>
                    </a:cubicBezTo>
                    <a:cubicBezTo>
                      <a:pt x="303556" y="384574"/>
                      <a:pt x="303556" y="408516"/>
                      <a:pt x="292460" y="428037"/>
                    </a:cubicBezTo>
                    <a:cubicBezTo>
                      <a:pt x="288456" y="435127"/>
                      <a:pt x="282700" y="441300"/>
                      <a:pt x="277861" y="447557"/>
                    </a:cubicBezTo>
                    <a:cubicBezTo>
                      <a:pt x="264596" y="463073"/>
                      <a:pt x="249496" y="480341"/>
                      <a:pt x="259257" y="507787"/>
                    </a:cubicBezTo>
                    <a:cubicBezTo>
                      <a:pt x="262760" y="518381"/>
                      <a:pt x="269017" y="527307"/>
                      <a:pt x="274774" y="535733"/>
                    </a:cubicBezTo>
                    <a:cubicBezTo>
                      <a:pt x="276526" y="538402"/>
                      <a:pt x="278278" y="541071"/>
                      <a:pt x="279613" y="543741"/>
                    </a:cubicBezTo>
                    <a:cubicBezTo>
                      <a:pt x="274273" y="548162"/>
                      <a:pt x="267683" y="551749"/>
                      <a:pt x="259674" y="552166"/>
                    </a:cubicBezTo>
                    <a:cubicBezTo>
                      <a:pt x="245908" y="553084"/>
                      <a:pt x="229140" y="543324"/>
                      <a:pt x="216292" y="549080"/>
                    </a:cubicBezTo>
                    <a:cubicBezTo>
                      <a:pt x="207449" y="553084"/>
                      <a:pt x="208783" y="561009"/>
                      <a:pt x="203444" y="567265"/>
                    </a:cubicBezTo>
                    <a:cubicBezTo>
                      <a:pt x="195936" y="576108"/>
                      <a:pt x="191931" y="576108"/>
                      <a:pt x="184840" y="565931"/>
                    </a:cubicBezTo>
                    <a:cubicBezTo>
                      <a:pt x="181753" y="561927"/>
                      <a:pt x="182587" y="555336"/>
                      <a:pt x="179501" y="551332"/>
                    </a:cubicBezTo>
                    <a:cubicBezTo>
                      <a:pt x="172826" y="544658"/>
                      <a:pt x="175079" y="549080"/>
                      <a:pt x="167070" y="549080"/>
                    </a:cubicBezTo>
                    <a:cubicBezTo>
                      <a:pt x="148883" y="549997"/>
                      <a:pt x="137370" y="561009"/>
                      <a:pt x="118766" y="553501"/>
                    </a:cubicBezTo>
                    <a:cubicBezTo>
                      <a:pt x="105918" y="548162"/>
                      <a:pt x="93487" y="540237"/>
                      <a:pt x="81140" y="533981"/>
                    </a:cubicBezTo>
                    <a:cubicBezTo>
                      <a:pt x="71379" y="529142"/>
                      <a:pt x="63871" y="528642"/>
                      <a:pt x="57197" y="531311"/>
                    </a:cubicBezTo>
                    <a:cubicBezTo>
                      <a:pt x="56279" y="525555"/>
                      <a:pt x="54110" y="520216"/>
                      <a:pt x="50523" y="515795"/>
                    </a:cubicBezTo>
                    <a:cubicBezTo>
                      <a:pt x="45183" y="509121"/>
                      <a:pt x="34588" y="505618"/>
                      <a:pt x="23075" y="502030"/>
                    </a:cubicBezTo>
                    <a:cubicBezTo>
                      <a:pt x="15066" y="499361"/>
                      <a:pt x="967" y="495357"/>
                      <a:pt x="49" y="491436"/>
                    </a:cubicBezTo>
                    <a:cubicBezTo>
                      <a:pt x="-1285" y="483011"/>
                      <a:pt x="24827" y="468412"/>
                      <a:pt x="34588" y="462656"/>
                    </a:cubicBezTo>
                    <a:cubicBezTo>
                      <a:pt x="38593" y="460404"/>
                      <a:pt x="42096" y="458235"/>
                      <a:pt x="44766" y="456483"/>
                    </a:cubicBezTo>
                    <a:cubicBezTo>
                      <a:pt x="55361" y="449392"/>
                      <a:pt x="65122" y="441885"/>
                      <a:pt x="63787" y="432124"/>
                    </a:cubicBezTo>
                    <a:cubicBezTo>
                      <a:pt x="63370" y="426785"/>
                      <a:pt x="58949" y="423281"/>
                      <a:pt x="54944" y="419695"/>
                    </a:cubicBezTo>
                    <a:cubicBezTo>
                      <a:pt x="52692" y="418360"/>
                      <a:pt x="50105" y="416191"/>
                      <a:pt x="49605" y="414356"/>
                    </a:cubicBezTo>
                    <a:cubicBezTo>
                      <a:pt x="48687" y="411269"/>
                      <a:pt x="48687" y="408599"/>
                      <a:pt x="49188" y="405012"/>
                    </a:cubicBezTo>
                    <a:cubicBezTo>
                      <a:pt x="49605" y="399257"/>
                      <a:pt x="50105" y="392166"/>
                      <a:pt x="43848" y="383740"/>
                    </a:cubicBezTo>
                    <a:cubicBezTo>
                      <a:pt x="42096" y="381071"/>
                      <a:pt x="40345" y="379319"/>
                      <a:pt x="38092" y="377567"/>
                    </a:cubicBezTo>
                    <a:cubicBezTo>
                      <a:pt x="34088" y="374063"/>
                      <a:pt x="34588" y="374063"/>
                      <a:pt x="35005" y="372228"/>
                    </a:cubicBezTo>
                    <a:cubicBezTo>
                      <a:pt x="35923" y="370476"/>
                      <a:pt x="36340" y="369976"/>
                      <a:pt x="37258" y="369976"/>
                    </a:cubicBezTo>
                    <a:cubicBezTo>
                      <a:pt x="41679" y="367723"/>
                      <a:pt x="52775" y="373063"/>
                      <a:pt x="59366" y="375732"/>
                    </a:cubicBezTo>
                    <a:cubicBezTo>
                      <a:pt x="65539" y="378401"/>
                      <a:pt x="70462" y="380570"/>
                      <a:pt x="74883" y="380570"/>
                    </a:cubicBezTo>
                    <a:cubicBezTo>
                      <a:pt x="83726" y="381488"/>
                      <a:pt x="89066" y="376566"/>
                      <a:pt x="93487" y="373480"/>
                    </a:cubicBezTo>
                    <a:cubicBezTo>
                      <a:pt x="95740" y="371227"/>
                      <a:pt x="97909" y="369976"/>
                      <a:pt x="100162" y="369058"/>
                    </a:cubicBezTo>
                    <a:cubicBezTo>
                      <a:pt x="103248" y="367723"/>
                      <a:pt x="106335" y="367723"/>
                      <a:pt x="109505" y="367723"/>
                    </a:cubicBezTo>
                    <a:cubicBezTo>
                      <a:pt x="114845" y="367723"/>
                      <a:pt x="121435" y="367306"/>
                      <a:pt x="129027" y="362385"/>
                    </a:cubicBezTo>
                    <a:cubicBezTo>
                      <a:pt x="147214" y="349538"/>
                      <a:pt x="140957" y="334939"/>
                      <a:pt x="136119" y="324762"/>
                    </a:cubicBezTo>
                    <a:cubicBezTo>
                      <a:pt x="133866" y="319924"/>
                      <a:pt x="132114" y="315419"/>
                      <a:pt x="131280" y="310580"/>
                    </a:cubicBezTo>
                    <a:cubicBezTo>
                      <a:pt x="128193" y="287139"/>
                      <a:pt x="130362" y="271123"/>
                      <a:pt x="139706" y="263615"/>
                    </a:cubicBezTo>
                    <a:cubicBezTo>
                      <a:pt x="142793" y="260945"/>
                      <a:pt x="146797" y="258776"/>
                      <a:pt x="151636" y="256524"/>
                    </a:cubicBezTo>
                    <a:cubicBezTo>
                      <a:pt x="163149" y="250768"/>
                      <a:pt x="179083" y="243260"/>
                      <a:pt x="174245" y="221571"/>
                    </a:cubicBezTo>
                    <a:cubicBezTo>
                      <a:pt x="169406" y="201216"/>
                      <a:pt x="152136" y="200299"/>
                      <a:pt x="139289" y="199464"/>
                    </a:cubicBezTo>
                    <a:cubicBezTo>
                      <a:pt x="133949" y="199047"/>
                      <a:pt x="129111" y="199047"/>
                      <a:pt x="125523" y="197713"/>
                    </a:cubicBezTo>
                    <a:cubicBezTo>
                      <a:pt x="109589" y="192374"/>
                      <a:pt x="110006" y="183114"/>
                      <a:pt x="112676" y="163594"/>
                    </a:cubicBezTo>
                    <a:lnTo>
                      <a:pt x="113093" y="159172"/>
                    </a:lnTo>
                    <a:cubicBezTo>
                      <a:pt x="114010" y="151164"/>
                      <a:pt x="112676" y="144073"/>
                      <a:pt x="111758" y="137066"/>
                    </a:cubicBezTo>
                    <a:cubicBezTo>
                      <a:pt x="110840" y="131727"/>
                      <a:pt x="110006" y="126889"/>
                      <a:pt x="110423" y="121550"/>
                    </a:cubicBezTo>
                    <a:cubicBezTo>
                      <a:pt x="110840" y="117545"/>
                      <a:pt x="112175" y="114876"/>
                      <a:pt x="113927" y="111372"/>
                    </a:cubicBezTo>
                    <a:cubicBezTo>
                      <a:pt x="116180" y="107868"/>
                      <a:pt x="118349" y="103364"/>
                      <a:pt x="118766" y="98108"/>
                    </a:cubicBezTo>
                    <a:cubicBezTo>
                      <a:pt x="121435" y="81257"/>
                      <a:pt x="107253" y="63155"/>
                      <a:pt x="95740" y="48473"/>
                    </a:cubicBezTo>
                    <a:cubicBezTo>
                      <a:pt x="93070" y="45387"/>
                      <a:pt x="91318" y="42717"/>
                      <a:pt x="89566" y="40048"/>
                    </a:cubicBezTo>
                    <a:cubicBezTo>
                      <a:pt x="90901" y="35210"/>
                      <a:pt x="92236" y="29870"/>
                      <a:pt x="92236" y="24949"/>
                    </a:cubicBezTo>
                    <a:cubicBezTo>
                      <a:pt x="92236" y="21862"/>
                      <a:pt x="91819" y="18776"/>
                      <a:pt x="91819" y="16523"/>
                    </a:cubicBezTo>
                    <a:cubicBezTo>
                      <a:pt x="90901" y="8098"/>
                      <a:pt x="90901" y="8098"/>
                      <a:pt x="98910" y="6763"/>
                    </a:cubicBezTo>
                    <a:cubicBezTo>
                      <a:pt x="101997" y="5845"/>
                      <a:pt x="105084" y="6346"/>
                      <a:pt x="109088" y="7180"/>
                    </a:cubicBezTo>
                    <a:cubicBezTo>
                      <a:pt x="113510" y="7597"/>
                      <a:pt x="117931" y="8098"/>
                      <a:pt x="123271" y="7597"/>
                    </a:cubicBezTo>
                    <a:cubicBezTo>
                      <a:pt x="126358" y="7180"/>
                      <a:pt x="129027" y="6262"/>
                      <a:pt x="132114" y="4928"/>
                    </a:cubicBezTo>
                    <a:cubicBezTo>
                      <a:pt x="135618" y="4010"/>
                      <a:pt x="138288" y="2676"/>
                      <a:pt x="141458" y="3176"/>
                    </a:cubicBezTo>
                    <a:cubicBezTo>
                      <a:pt x="146297" y="3593"/>
                      <a:pt x="151219" y="6262"/>
                      <a:pt x="156058" y="8932"/>
                    </a:cubicBezTo>
                    <a:cubicBezTo>
                      <a:pt x="162732" y="12435"/>
                      <a:pt x="170240" y="16940"/>
                      <a:pt x="179501" y="16940"/>
                    </a:cubicBezTo>
                    <a:cubicBezTo>
                      <a:pt x="179918" y="16940"/>
                      <a:pt x="179918" y="16940"/>
                      <a:pt x="179918" y="16940"/>
                    </a:cubicBezTo>
                    <a:cubicBezTo>
                      <a:pt x="190513" y="16940"/>
                      <a:pt x="197604" y="11601"/>
                      <a:pt x="202943" y="6763"/>
                    </a:cubicBezTo>
                    <a:cubicBezTo>
                      <a:pt x="207365" y="3259"/>
                      <a:pt x="210952" y="590"/>
                      <a:pt x="215374" y="89"/>
                    </a:cubicBezTo>
                    <a:cubicBezTo>
                      <a:pt x="225135" y="-828"/>
                      <a:pt x="237983" y="5428"/>
                      <a:pt x="243322" y="13854"/>
                    </a:cubicBezTo>
                    <a:cubicBezTo>
                      <a:pt x="247326" y="20027"/>
                      <a:pt x="248161" y="28035"/>
                      <a:pt x="249496" y="35960"/>
                    </a:cubicBezTo>
                    <a:cubicBezTo>
                      <a:pt x="250413" y="42133"/>
                      <a:pt x="250830" y="48807"/>
                      <a:pt x="253500" y="55481"/>
                    </a:cubicBezTo>
                    <a:cubicBezTo>
                      <a:pt x="239318" y="69662"/>
                      <a:pt x="236231" y="87347"/>
                      <a:pt x="243322" y="108202"/>
                    </a:cubicBezTo>
                    <a:cubicBezTo>
                      <a:pt x="244657" y="111706"/>
                      <a:pt x="245992" y="115293"/>
                      <a:pt x="247326" y="118797"/>
                    </a:cubicBezTo>
                    <a:cubicBezTo>
                      <a:pt x="252666" y="131643"/>
                      <a:pt x="256670" y="142238"/>
                      <a:pt x="252165" y="155085"/>
                    </a:cubicBezTo>
                    <a:cubicBezTo>
                      <a:pt x="250413" y="160423"/>
                      <a:pt x="247326" y="165262"/>
                      <a:pt x="243739" y="171018"/>
                    </a:cubicBezTo>
                    <a:cubicBezTo>
                      <a:pt x="237983" y="179861"/>
                      <a:pt x="232226" y="188703"/>
                      <a:pt x="231809" y="200215"/>
                    </a:cubicBezTo>
                    <a:cubicBezTo>
                      <a:pt x="230474" y="224574"/>
                      <a:pt x="251748" y="234334"/>
                      <a:pt x="268600" y="242259"/>
                    </a:cubicBezTo>
                    <a:cubicBezTo>
                      <a:pt x="274774" y="244929"/>
                      <a:pt x="280530" y="247598"/>
                      <a:pt x="284535" y="250685"/>
                    </a:cubicBezTo>
                    <a:cubicBezTo>
                      <a:pt x="309730" y="267702"/>
                      <a:pt x="308395" y="295148"/>
                      <a:pt x="304891" y="3265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46803640" name="Полилиния 365"/>
              <p:cNvSpPr/>
              <p:nvPr/>
            </p:nvSpPr>
            <p:spPr bwMode="auto">
              <a:xfrm>
                <a:off x="1959854" y="4403818"/>
                <a:ext cx="260070" cy="310792"/>
              </a:xfrm>
              <a:custGeom>
                <a:avLst/>
                <a:gdLst>
                  <a:gd name="connsiteX0" fmla="*/ 101855 w 292068"/>
                  <a:gd name="connsiteY0" fmla="*/ 349031 h 349031"/>
                  <a:gd name="connsiteX1" fmla="*/ 97016 w 292068"/>
                  <a:gd name="connsiteY1" fmla="*/ 347697 h 349031"/>
                  <a:gd name="connsiteX2" fmla="*/ 61143 w 292068"/>
                  <a:gd name="connsiteY2" fmla="*/ 305653 h 349031"/>
                  <a:gd name="connsiteX3" fmla="*/ 56304 w 292068"/>
                  <a:gd name="connsiteY3" fmla="*/ 292389 h 349031"/>
                  <a:gd name="connsiteX4" fmla="*/ 47461 w 292068"/>
                  <a:gd name="connsiteY4" fmla="*/ 271117 h 349031"/>
                  <a:gd name="connsiteX5" fmla="*/ 20013 w 292068"/>
                  <a:gd name="connsiteY5" fmla="*/ 252931 h 349031"/>
                  <a:gd name="connsiteX6" fmla="*/ 15592 w 292068"/>
                  <a:gd name="connsiteY6" fmla="*/ 251596 h 349031"/>
                  <a:gd name="connsiteX7" fmla="*/ 6248 w 292068"/>
                  <a:gd name="connsiteY7" fmla="*/ 239166 h 349031"/>
                  <a:gd name="connsiteX8" fmla="*/ 7166 w 292068"/>
                  <a:gd name="connsiteY8" fmla="*/ 230741 h 349031"/>
                  <a:gd name="connsiteX9" fmla="*/ 4079 w 292068"/>
                  <a:gd name="connsiteY9" fmla="*/ 207717 h 349031"/>
                  <a:gd name="connsiteX10" fmla="*/ 575 w 292068"/>
                  <a:gd name="connsiteY10" fmla="*/ 197123 h 349031"/>
                  <a:gd name="connsiteX11" fmla="*/ 4079 w 292068"/>
                  <a:gd name="connsiteY11" fmla="*/ 183358 h 349031"/>
                  <a:gd name="connsiteX12" fmla="*/ 8501 w 292068"/>
                  <a:gd name="connsiteY12" fmla="*/ 178937 h 349031"/>
                  <a:gd name="connsiteX13" fmla="*/ 16009 w 292068"/>
                  <a:gd name="connsiteY13" fmla="*/ 173181 h 349031"/>
                  <a:gd name="connsiteX14" fmla="*/ 33278 w 292068"/>
                  <a:gd name="connsiteY14" fmla="*/ 154995 h 349031"/>
                  <a:gd name="connsiteX15" fmla="*/ 30609 w 292068"/>
                  <a:gd name="connsiteY15" fmla="*/ 130219 h 349031"/>
                  <a:gd name="connsiteX16" fmla="*/ 27105 w 292068"/>
                  <a:gd name="connsiteY16" fmla="*/ 124046 h 349031"/>
                  <a:gd name="connsiteX17" fmla="*/ 21348 w 292068"/>
                  <a:gd name="connsiteY17" fmla="*/ 85506 h 349031"/>
                  <a:gd name="connsiteX18" fmla="*/ 52800 w 292068"/>
                  <a:gd name="connsiteY18" fmla="*/ 50970 h 349031"/>
                  <a:gd name="connsiteX19" fmla="*/ 76243 w 292068"/>
                  <a:gd name="connsiteY19" fmla="*/ 35454 h 349031"/>
                  <a:gd name="connsiteX20" fmla="*/ 99269 w 292068"/>
                  <a:gd name="connsiteY20" fmla="*/ 0 h 349031"/>
                  <a:gd name="connsiteX21" fmla="*/ 107278 w 292068"/>
                  <a:gd name="connsiteY21" fmla="*/ 2669 h 349031"/>
                  <a:gd name="connsiteX22" fmla="*/ 131639 w 292068"/>
                  <a:gd name="connsiteY22" fmla="*/ 5339 h 349031"/>
                  <a:gd name="connsiteX23" fmla="*/ 136978 w 292068"/>
                  <a:gd name="connsiteY23" fmla="*/ 4004 h 349031"/>
                  <a:gd name="connsiteX24" fmla="*/ 142317 w 292068"/>
                  <a:gd name="connsiteY24" fmla="*/ 2669 h 349031"/>
                  <a:gd name="connsiteX25" fmla="*/ 160921 w 292068"/>
                  <a:gd name="connsiteY25" fmla="*/ 14599 h 349031"/>
                  <a:gd name="connsiteX26" fmla="*/ 165760 w 292068"/>
                  <a:gd name="connsiteY26" fmla="*/ 21689 h 349031"/>
                  <a:gd name="connsiteX27" fmla="*/ 181278 w 292068"/>
                  <a:gd name="connsiteY27" fmla="*/ 39875 h 349031"/>
                  <a:gd name="connsiteX28" fmla="*/ 211395 w 292068"/>
                  <a:gd name="connsiteY28" fmla="*/ 47383 h 349031"/>
                  <a:gd name="connsiteX29" fmla="*/ 239343 w 292068"/>
                  <a:gd name="connsiteY29" fmla="*/ 31032 h 349031"/>
                  <a:gd name="connsiteX30" fmla="*/ 241095 w 292068"/>
                  <a:gd name="connsiteY30" fmla="*/ 28780 h 349031"/>
                  <a:gd name="connsiteX31" fmla="*/ 245516 w 292068"/>
                  <a:gd name="connsiteY31" fmla="*/ 30115 h 349031"/>
                  <a:gd name="connsiteX32" fmla="*/ 292068 w 292068"/>
                  <a:gd name="connsiteY32" fmla="*/ 57143 h 349031"/>
                  <a:gd name="connsiteX33" fmla="*/ 262869 w 292068"/>
                  <a:gd name="connsiteY33" fmla="*/ 110782 h 349031"/>
                  <a:gd name="connsiteX34" fmla="*/ 263787 w 292068"/>
                  <a:gd name="connsiteY34" fmla="*/ 126299 h 349031"/>
                  <a:gd name="connsiteX35" fmla="*/ 261534 w 292068"/>
                  <a:gd name="connsiteY35" fmla="*/ 151575 h 349031"/>
                  <a:gd name="connsiteX36" fmla="*/ 261951 w 292068"/>
                  <a:gd name="connsiteY36" fmla="*/ 196288 h 349031"/>
                  <a:gd name="connsiteX37" fmla="*/ 263703 w 292068"/>
                  <a:gd name="connsiteY37" fmla="*/ 201127 h 349031"/>
                  <a:gd name="connsiteX38" fmla="*/ 264120 w 292068"/>
                  <a:gd name="connsiteY38" fmla="*/ 252931 h 349031"/>
                  <a:gd name="connsiteX39" fmla="*/ 240677 w 292068"/>
                  <a:gd name="connsiteY39" fmla="*/ 271534 h 349031"/>
                  <a:gd name="connsiteX40" fmla="*/ 222073 w 292068"/>
                  <a:gd name="connsiteY40" fmla="*/ 282629 h 349031"/>
                  <a:gd name="connsiteX41" fmla="*/ 213647 w 292068"/>
                  <a:gd name="connsiteY41" fmla="*/ 288384 h 349031"/>
                  <a:gd name="connsiteX42" fmla="*/ 210143 w 292068"/>
                  <a:gd name="connsiteY42" fmla="*/ 291054 h 349031"/>
                  <a:gd name="connsiteX43" fmla="*/ 208391 w 292068"/>
                  <a:gd name="connsiteY43" fmla="*/ 292389 h 349031"/>
                  <a:gd name="connsiteX44" fmla="*/ 184948 w 292068"/>
                  <a:gd name="connsiteY44" fmla="*/ 302566 h 349031"/>
                  <a:gd name="connsiteX45" fmla="*/ 150827 w 292068"/>
                  <a:gd name="connsiteY45" fmla="*/ 320752 h 349031"/>
                  <a:gd name="connsiteX46" fmla="*/ 129553 w 292068"/>
                  <a:gd name="connsiteY46" fmla="*/ 335350 h 349031"/>
                  <a:gd name="connsiteX47" fmla="*/ 126466 w 292068"/>
                  <a:gd name="connsiteY47" fmla="*/ 336685 h 349031"/>
                  <a:gd name="connsiteX48" fmla="*/ 116288 w 292068"/>
                  <a:gd name="connsiteY48" fmla="*/ 342858 h 349031"/>
                  <a:gd name="connsiteX49" fmla="*/ 110949 w 292068"/>
                  <a:gd name="connsiteY49" fmla="*/ 345945 h 349031"/>
                  <a:gd name="connsiteX50" fmla="*/ 101855 w 292068"/>
                  <a:gd name="connsiteY50" fmla="*/ 349031 h 34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92068" h="349031" extrusionOk="0">
                    <a:moveTo>
                      <a:pt x="101855" y="349031"/>
                    </a:moveTo>
                    <a:cubicBezTo>
                      <a:pt x="100103" y="349031"/>
                      <a:pt x="98768" y="348614"/>
                      <a:pt x="97016" y="347697"/>
                    </a:cubicBezTo>
                    <a:cubicBezTo>
                      <a:pt x="85086" y="342858"/>
                      <a:pt x="70904" y="323338"/>
                      <a:pt x="61143" y="305653"/>
                    </a:cubicBezTo>
                    <a:cubicBezTo>
                      <a:pt x="58890" y="301649"/>
                      <a:pt x="57639" y="297227"/>
                      <a:pt x="56304" y="292389"/>
                    </a:cubicBezTo>
                    <a:cubicBezTo>
                      <a:pt x="54552" y="285715"/>
                      <a:pt x="52800" y="278207"/>
                      <a:pt x="47461" y="271117"/>
                    </a:cubicBezTo>
                    <a:cubicBezTo>
                      <a:pt x="39035" y="259604"/>
                      <a:pt x="30192" y="256518"/>
                      <a:pt x="20013" y="252931"/>
                    </a:cubicBezTo>
                    <a:lnTo>
                      <a:pt x="15592" y="251596"/>
                    </a:lnTo>
                    <a:cubicBezTo>
                      <a:pt x="5414" y="248093"/>
                      <a:pt x="5414" y="248093"/>
                      <a:pt x="6248" y="239166"/>
                    </a:cubicBezTo>
                    <a:lnTo>
                      <a:pt x="7166" y="230741"/>
                    </a:lnTo>
                    <a:cubicBezTo>
                      <a:pt x="8501" y="222316"/>
                      <a:pt x="8501" y="219646"/>
                      <a:pt x="4079" y="207717"/>
                    </a:cubicBezTo>
                    <a:cubicBezTo>
                      <a:pt x="2327" y="203296"/>
                      <a:pt x="992" y="199709"/>
                      <a:pt x="575" y="197123"/>
                    </a:cubicBezTo>
                    <a:cubicBezTo>
                      <a:pt x="-760" y="191784"/>
                      <a:pt x="158" y="188280"/>
                      <a:pt x="4079" y="183358"/>
                    </a:cubicBezTo>
                    <a:cubicBezTo>
                      <a:pt x="4997" y="182023"/>
                      <a:pt x="6749" y="180689"/>
                      <a:pt x="8501" y="178937"/>
                    </a:cubicBezTo>
                    <a:cubicBezTo>
                      <a:pt x="10753" y="176684"/>
                      <a:pt x="13339" y="174933"/>
                      <a:pt x="16009" y="173181"/>
                    </a:cubicBezTo>
                    <a:cubicBezTo>
                      <a:pt x="22183" y="168760"/>
                      <a:pt x="29774" y="163421"/>
                      <a:pt x="33278" y="154995"/>
                    </a:cubicBezTo>
                    <a:cubicBezTo>
                      <a:pt x="39035" y="142566"/>
                      <a:pt x="34196" y="135475"/>
                      <a:pt x="30609" y="130219"/>
                    </a:cubicBezTo>
                    <a:cubicBezTo>
                      <a:pt x="29274" y="127967"/>
                      <a:pt x="27939" y="126716"/>
                      <a:pt x="27105" y="124046"/>
                    </a:cubicBezTo>
                    <a:cubicBezTo>
                      <a:pt x="23100" y="113869"/>
                      <a:pt x="20931" y="96100"/>
                      <a:pt x="21348" y="85506"/>
                    </a:cubicBezTo>
                    <a:cubicBezTo>
                      <a:pt x="21765" y="68238"/>
                      <a:pt x="36449" y="60229"/>
                      <a:pt x="52800" y="50970"/>
                    </a:cubicBezTo>
                    <a:cubicBezTo>
                      <a:pt x="61226" y="46548"/>
                      <a:pt x="69152" y="41627"/>
                      <a:pt x="76243" y="35454"/>
                    </a:cubicBezTo>
                    <a:cubicBezTo>
                      <a:pt x="86421" y="26611"/>
                      <a:pt x="93930" y="14181"/>
                      <a:pt x="99269" y="0"/>
                    </a:cubicBezTo>
                    <a:cubicBezTo>
                      <a:pt x="101939" y="1335"/>
                      <a:pt x="104608" y="1752"/>
                      <a:pt x="107278" y="2669"/>
                    </a:cubicBezTo>
                    <a:cubicBezTo>
                      <a:pt x="114369" y="4922"/>
                      <a:pt x="122795" y="6674"/>
                      <a:pt x="131639" y="5339"/>
                    </a:cubicBezTo>
                    <a:cubicBezTo>
                      <a:pt x="133391" y="4922"/>
                      <a:pt x="135142" y="4421"/>
                      <a:pt x="136978" y="4004"/>
                    </a:cubicBezTo>
                    <a:cubicBezTo>
                      <a:pt x="138730" y="3587"/>
                      <a:pt x="140482" y="3086"/>
                      <a:pt x="142317" y="2669"/>
                    </a:cubicBezTo>
                    <a:cubicBezTo>
                      <a:pt x="150743" y="1752"/>
                      <a:pt x="158252" y="10678"/>
                      <a:pt x="160921" y="14599"/>
                    </a:cubicBezTo>
                    <a:cubicBezTo>
                      <a:pt x="162673" y="16851"/>
                      <a:pt x="164008" y="19437"/>
                      <a:pt x="165760" y="21689"/>
                    </a:cubicBezTo>
                    <a:cubicBezTo>
                      <a:pt x="170182" y="28363"/>
                      <a:pt x="174186" y="34536"/>
                      <a:pt x="181278" y="39875"/>
                    </a:cubicBezTo>
                    <a:cubicBezTo>
                      <a:pt x="189287" y="46548"/>
                      <a:pt x="200299" y="49218"/>
                      <a:pt x="211395" y="47383"/>
                    </a:cubicBezTo>
                    <a:cubicBezTo>
                      <a:pt x="222490" y="46048"/>
                      <a:pt x="232251" y="40292"/>
                      <a:pt x="239343" y="31032"/>
                    </a:cubicBezTo>
                    <a:cubicBezTo>
                      <a:pt x="239760" y="30115"/>
                      <a:pt x="240677" y="28780"/>
                      <a:pt x="241095" y="28780"/>
                    </a:cubicBezTo>
                    <a:cubicBezTo>
                      <a:pt x="241512" y="28363"/>
                      <a:pt x="242429" y="28780"/>
                      <a:pt x="245516" y="30115"/>
                    </a:cubicBezTo>
                    <a:cubicBezTo>
                      <a:pt x="262368" y="38123"/>
                      <a:pt x="277886" y="47383"/>
                      <a:pt x="292068" y="57143"/>
                    </a:cubicBezTo>
                    <a:cubicBezTo>
                      <a:pt x="273881" y="65569"/>
                      <a:pt x="262869" y="85089"/>
                      <a:pt x="262869" y="110782"/>
                    </a:cubicBezTo>
                    <a:cubicBezTo>
                      <a:pt x="262869" y="116538"/>
                      <a:pt x="263286" y="121377"/>
                      <a:pt x="263787" y="126299"/>
                    </a:cubicBezTo>
                    <a:cubicBezTo>
                      <a:pt x="264704" y="135141"/>
                      <a:pt x="265122" y="142232"/>
                      <a:pt x="261534" y="151575"/>
                    </a:cubicBezTo>
                    <a:cubicBezTo>
                      <a:pt x="255778" y="167508"/>
                      <a:pt x="256195" y="178603"/>
                      <a:pt x="261951" y="196288"/>
                    </a:cubicBezTo>
                    <a:lnTo>
                      <a:pt x="263703" y="201127"/>
                    </a:lnTo>
                    <a:cubicBezTo>
                      <a:pt x="270377" y="221064"/>
                      <a:pt x="274298" y="232993"/>
                      <a:pt x="264120" y="252931"/>
                    </a:cubicBezTo>
                    <a:cubicBezTo>
                      <a:pt x="259282" y="263108"/>
                      <a:pt x="252190" y="266195"/>
                      <a:pt x="240677" y="271534"/>
                    </a:cubicBezTo>
                    <a:cubicBezTo>
                      <a:pt x="233586" y="274620"/>
                      <a:pt x="227830" y="278625"/>
                      <a:pt x="222073" y="282629"/>
                    </a:cubicBezTo>
                    <a:cubicBezTo>
                      <a:pt x="219404" y="284380"/>
                      <a:pt x="216734" y="286132"/>
                      <a:pt x="213647" y="288384"/>
                    </a:cubicBezTo>
                    <a:lnTo>
                      <a:pt x="210143" y="291054"/>
                    </a:lnTo>
                    <a:lnTo>
                      <a:pt x="208391" y="292389"/>
                    </a:lnTo>
                    <a:cubicBezTo>
                      <a:pt x="201717" y="297227"/>
                      <a:pt x="193792" y="299480"/>
                      <a:pt x="184948" y="302566"/>
                    </a:cubicBezTo>
                    <a:cubicBezTo>
                      <a:pt x="173018" y="306070"/>
                      <a:pt x="160588" y="310574"/>
                      <a:pt x="150827" y="320752"/>
                    </a:cubicBezTo>
                    <a:cubicBezTo>
                      <a:pt x="142818" y="329595"/>
                      <a:pt x="140232" y="330929"/>
                      <a:pt x="129553" y="335350"/>
                    </a:cubicBezTo>
                    <a:lnTo>
                      <a:pt x="126466" y="336685"/>
                    </a:lnTo>
                    <a:cubicBezTo>
                      <a:pt x="122962" y="338020"/>
                      <a:pt x="119375" y="340189"/>
                      <a:pt x="116288" y="342858"/>
                    </a:cubicBezTo>
                    <a:cubicBezTo>
                      <a:pt x="114536" y="344193"/>
                      <a:pt x="112784" y="345110"/>
                      <a:pt x="110949" y="345945"/>
                    </a:cubicBezTo>
                    <a:cubicBezTo>
                      <a:pt x="108029" y="347697"/>
                      <a:pt x="104525" y="348531"/>
                      <a:pt x="101855" y="34903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73079865" name="Полилиния 366"/>
              <p:cNvSpPr/>
              <p:nvPr/>
            </p:nvSpPr>
            <p:spPr bwMode="auto">
              <a:xfrm>
                <a:off x="1959697" y="3816803"/>
                <a:ext cx="302446" cy="388311"/>
              </a:xfrm>
              <a:custGeom>
                <a:avLst/>
                <a:gdLst>
                  <a:gd name="connsiteX0" fmla="*/ 34706 w 339658"/>
                  <a:gd name="connsiteY0" fmla="*/ 46597 h 436087"/>
                  <a:gd name="connsiteX1" fmla="*/ 47553 w 339658"/>
                  <a:gd name="connsiteY1" fmla="*/ 37754 h 436087"/>
                  <a:gd name="connsiteX2" fmla="*/ 55562 w 339658"/>
                  <a:gd name="connsiteY2" fmla="*/ 22238 h 436087"/>
                  <a:gd name="connsiteX3" fmla="*/ 58649 w 339658"/>
                  <a:gd name="connsiteY3" fmla="*/ 13812 h 436087"/>
                  <a:gd name="connsiteX4" fmla="*/ 58649 w 339658"/>
                  <a:gd name="connsiteY4" fmla="*/ 13395 h 436087"/>
                  <a:gd name="connsiteX5" fmla="*/ 59066 w 339658"/>
                  <a:gd name="connsiteY5" fmla="*/ 13395 h 436087"/>
                  <a:gd name="connsiteX6" fmla="*/ 104284 w 339658"/>
                  <a:gd name="connsiteY6" fmla="*/ 5887 h 436087"/>
                  <a:gd name="connsiteX7" fmla="*/ 109623 w 339658"/>
                  <a:gd name="connsiteY7" fmla="*/ 4135 h 436087"/>
                  <a:gd name="connsiteX8" fmla="*/ 136653 w 339658"/>
                  <a:gd name="connsiteY8" fmla="*/ 4552 h 436087"/>
                  <a:gd name="connsiteX9" fmla="*/ 145997 w 339658"/>
                  <a:gd name="connsiteY9" fmla="*/ 17817 h 436087"/>
                  <a:gd name="connsiteX10" fmla="*/ 167688 w 339658"/>
                  <a:gd name="connsiteY10" fmla="*/ 39506 h 436087"/>
                  <a:gd name="connsiteX11" fmla="*/ 177866 w 339658"/>
                  <a:gd name="connsiteY11" fmla="*/ 43009 h 436087"/>
                  <a:gd name="connsiteX12" fmla="*/ 192466 w 339658"/>
                  <a:gd name="connsiteY12" fmla="*/ 49182 h 436087"/>
                  <a:gd name="connsiteX13" fmla="*/ 199140 w 339658"/>
                  <a:gd name="connsiteY13" fmla="*/ 53604 h 436087"/>
                  <a:gd name="connsiteX14" fmla="*/ 221248 w 339658"/>
                  <a:gd name="connsiteY14" fmla="*/ 64699 h 436087"/>
                  <a:gd name="connsiteX15" fmla="*/ 246526 w 339658"/>
                  <a:gd name="connsiteY15" fmla="*/ 67368 h 436087"/>
                  <a:gd name="connsiteX16" fmla="*/ 272639 w 339658"/>
                  <a:gd name="connsiteY16" fmla="*/ 70872 h 436087"/>
                  <a:gd name="connsiteX17" fmla="*/ 291243 w 339658"/>
                  <a:gd name="connsiteY17" fmla="*/ 76211 h 436087"/>
                  <a:gd name="connsiteX18" fmla="*/ 319608 w 339658"/>
                  <a:gd name="connsiteY18" fmla="*/ 88641 h 436087"/>
                  <a:gd name="connsiteX19" fmla="*/ 330203 w 339658"/>
                  <a:gd name="connsiteY19" fmla="*/ 108578 h 436087"/>
                  <a:gd name="connsiteX20" fmla="*/ 337295 w 339658"/>
                  <a:gd name="connsiteY20" fmla="*/ 124929 h 436087"/>
                  <a:gd name="connsiteX21" fmla="*/ 337295 w 339658"/>
                  <a:gd name="connsiteY21" fmla="*/ 125346 h 436087"/>
                  <a:gd name="connsiteX22" fmla="*/ 337295 w 339658"/>
                  <a:gd name="connsiteY22" fmla="*/ 128015 h 436087"/>
                  <a:gd name="connsiteX23" fmla="*/ 337295 w 339658"/>
                  <a:gd name="connsiteY23" fmla="*/ 128432 h 436087"/>
                  <a:gd name="connsiteX24" fmla="*/ 304091 w 339658"/>
                  <a:gd name="connsiteY24" fmla="*/ 169642 h 436087"/>
                  <a:gd name="connsiteX25" fmla="*/ 297417 w 339658"/>
                  <a:gd name="connsiteY25" fmla="*/ 181571 h 436087"/>
                  <a:gd name="connsiteX26" fmla="*/ 280147 w 339658"/>
                  <a:gd name="connsiteY26" fmla="*/ 244887 h 436087"/>
                  <a:gd name="connsiteX27" fmla="*/ 288573 w 339658"/>
                  <a:gd name="connsiteY27" fmla="*/ 259486 h 436087"/>
                  <a:gd name="connsiteX28" fmla="*/ 294330 w 339658"/>
                  <a:gd name="connsiteY28" fmla="*/ 267911 h 436087"/>
                  <a:gd name="connsiteX29" fmla="*/ 295247 w 339658"/>
                  <a:gd name="connsiteY29" fmla="*/ 273250 h 436087"/>
                  <a:gd name="connsiteX30" fmla="*/ 297917 w 339658"/>
                  <a:gd name="connsiteY30" fmla="*/ 285680 h 436087"/>
                  <a:gd name="connsiteX31" fmla="*/ 304591 w 339658"/>
                  <a:gd name="connsiteY31" fmla="*/ 292770 h 436087"/>
                  <a:gd name="connsiteX32" fmla="*/ 306844 w 339658"/>
                  <a:gd name="connsiteY32" fmla="*/ 294105 h 436087"/>
                  <a:gd name="connsiteX33" fmla="*/ 310348 w 339658"/>
                  <a:gd name="connsiteY33" fmla="*/ 301613 h 436087"/>
                  <a:gd name="connsiteX34" fmla="*/ 320943 w 339658"/>
                  <a:gd name="connsiteY34" fmla="*/ 318464 h 436087"/>
                  <a:gd name="connsiteX35" fmla="*/ 331538 w 339658"/>
                  <a:gd name="connsiteY35" fmla="*/ 325555 h 436087"/>
                  <a:gd name="connsiteX36" fmla="*/ 339547 w 339658"/>
                  <a:gd name="connsiteY36" fmla="*/ 337484 h 436087"/>
                  <a:gd name="connsiteX37" fmla="*/ 330704 w 339658"/>
                  <a:gd name="connsiteY37" fmla="*/ 369351 h 436087"/>
                  <a:gd name="connsiteX38" fmla="*/ 320943 w 339658"/>
                  <a:gd name="connsiteY38" fmla="*/ 398548 h 436087"/>
                  <a:gd name="connsiteX39" fmla="*/ 276643 w 339658"/>
                  <a:gd name="connsiteY39" fmla="*/ 403386 h 436087"/>
                  <a:gd name="connsiteX40" fmla="*/ 267300 w 339658"/>
                  <a:gd name="connsiteY40" fmla="*/ 410060 h 436087"/>
                  <a:gd name="connsiteX41" fmla="*/ 260208 w 339658"/>
                  <a:gd name="connsiteY41" fmla="*/ 414481 h 436087"/>
                  <a:gd name="connsiteX42" fmla="*/ 250030 w 339658"/>
                  <a:gd name="connsiteY42" fmla="*/ 410060 h 436087"/>
                  <a:gd name="connsiteX43" fmla="*/ 228339 w 339658"/>
                  <a:gd name="connsiteY43" fmla="*/ 403386 h 436087"/>
                  <a:gd name="connsiteX44" fmla="*/ 207983 w 339658"/>
                  <a:gd name="connsiteY44" fmla="*/ 410894 h 436087"/>
                  <a:gd name="connsiteX45" fmla="*/ 196887 w 339658"/>
                  <a:gd name="connsiteY45" fmla="*/ 416233 h 436087"/>
                  <a:gd name="connsiteX46" fmla="*/ 167688 w 339658"/>
                  <a:gd name="connsiteY46" fmla="*/ 413564 h 436087"/>
                  <a:gd name="connsiteX47" fmla="*/ 162349 w 339658"/>
                  <a:gd name="connsiteY47" fmla="*/ 411311 h 436087"/>
                  <a:gd name="connsiteX48" fmla="*/ 133566 w 339658"/>
                  <a:gd name="connsiteY48" fmla="*/ 409059 h 436087"/>
                  <a:gd name="connsiteX49" fmla="*/ 121636 w 339658"/>
                  <a:gd name="connsiteY49" fmla="*/ 422323 h 436087"/>
                  <a:gd name="connsiteX50" fmla="*/ 112793 w 339658"/>
                  <a:gd name="connsiteY50" fmla="*/ 432083 h 436087"/>
                  <a:gd name="connsiteX51" fmla="*/ 106119 w 339658"/>
                  <a:gd name="connsiteY51" fmla="*/ 434752 h 436087"/>
                  <a:gd name="connsiteX52" fmla="*/ 101697 w 339658"/>
                  <a:gd name="connsiteY52" fmla="*/ 436087 h 436087"/>
                  <a:gd name="connsiteX53" fmla="*/ 103032 w 339658"/>
                  <a:gd name="connsiteY53" fmla="*/ 426327 h 436087"/>
                  <a:gd name="connsiteX54" fmla="*/ 112793 w 339658"/>
                  <a:gd name="connsiteY54" fmla="*/ 409476 h 436087"/>
                  <a:gd name="connsiteX55" fmla="*/ 120802 w 339658"/>
                  <a:gd name="connsiteY55" fmla="*/ 397547 h 436087"/>
                  <a:gd name="connsiteX56" fmla="*/ 125224 w 339658"/>
                  <a:gd name="connsiteY56" fmla="*/ 360758 h 436087"/>
                  <a:gd name="connsiteX57" fmla="*/ 124807 w 339658"/>
                  <a:gd name="connsiteY57" fmla="*/ 359007 h 436087"/>
                  <a:gd name="connsiteX58" fmla="*/ 124389 w 339658"/>
                  <a:gd name="connsiteY58" fmla="*/ 352833 h 436087"/>
                  <a:gd name="connsiteX59" fmla="*/ 111542 w 339658"/>
                  <a:gd name="connsiteY59" fmla="*/ 319131 h 436087"/>
                  <a:gd name="connsiteX60" fmla="*/ 95190 w 339658"/>
                  <a:gd name="connsiteY60" fmla="*/ 315127 h 436087"/>
                  <a:gd name="connsiteX61" fmla="*/ 84094 w 339658"/>
                  <a:gd name="connsiteY61" fmla="*/ 311123 h 436087"/>
                  <a:gd name="connsiteX62" fmla="*/ 75251 w 339658"/>
                  <a:gd name="connsiteY62" fmla="*/ 299611 h 436087"/>
                  <a:gd name="connsiteX63" fmla="*/ 65073 w 339658"/>
                  <a:gd name="connsiteY63" fmla="*/ 289434 h 436087"/>
                  <a:gd name="connsiteX64" fmla="*/ 70829 w 339658"/>
                  <a:gd name="connsiteY64" fmla="*/ 271749 h 436087"/>
                  <a:gd name="connsiteX65" fmla="*/ 78338 w 339658"/>
                  <a:gd name="connsiteY65" fmla="*/ 257984 h 436087"/>
                  <a:gd name="connsiteX66" fmla="*/ 91603 w 339658"/>
                  <a:gd name="connsiteY66" fmla="*/ 223031 h 436087"/>
                  <a:gd name="connsiteX67" fmla="*/ 65490 w 339658"/>
                  <a:gd name="connsiteY67" fmla="*/ 172562 h 436087"/>
                  <a:gd name="connsiteX68" fmla="*/ 46469 w 339658"/>
                  <a:gd name="connsiteY68" fmla="*/ 164136 h 436087"/>
                  <a:gd name="connsiteX69" fmla="*/ 30534 w 339658"/>
                  <a:gd name="connsiteY69" fmla="*/ 153542 h 436087"/>
                  <a:gd name="connsiteX70" fmla="*/ 6591 w 339658"/>
                  <a:gd name="connsiteY70" fmla="*/ 119006 h 436087"/>
                  <a:gd name="connsiteX71" fmla="*/ 3087 w 339658"/>
                  <a:gd name="connsiteY71" fmla="*/ 114167 h 436087"/>
                  <a:gd name="connsiteX72" fmla="*/ 0 w 339658"/>
                  <a:gd name="connsiteY72" fmla="*/ 107494 h 436087"/>
                  <a:gd name="connsiteX73" fmla="*/ 3504 w 339658"/>
                  <a:gd name="connsiteY73" fmla="*/ 90226 h 436087"/>
                  <a:gd name="connsiteX74" fmla="*/ 8843 w 339658"/>
                  <a:gd name="connsiteY74" fmla="*/ 81383 h 436087"/>
                  <a:gd name="connsiteX75" fmla="*/ 11930 w 339658"/>
                  <a:gd name="connsiteY75" fmla="*/ 76044 h 436087"/>
                  <a:gd name="connsiteX76" fmla="*/ 16769 w 339658"/>
                  <a:gd name="connsiteY76" fmla="*/ 67618 h 436087"/>
                  <a:gd name="connsiteX77" fmla="*/ 28282 w 339658"/>
                  <a:gd name="connsiteY77" fmla="*/ 49934 h 436087"/>
                  <a:gd name="connsiteX78" fmla="*/ 34706 w 339658"/>
                  <a:gd name="connsiteY78" fmla="*/ 46597 h 43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39658" h="436087" extrusionOk="0">
                    <a:moveTo>
                      <a:pt x="34706" y="46597"/>
                    </a:moveTo>
                    <a:cubicBezTo>
                      <a:pt x="39127" y="44344"/>
                      <a:pt x="43549" y="42592"/>
                      <a:pt x="47553" y="37754"/>
                    </a:cubicBezTo>
                    <a:cubicBezTo>
                      <a:pt x="51558" y="33333"/>
                      <a:pt x="53727" y="27160"/>
                      <a:pt x="55562" y="22238"/>
                    </a:cubicBezTo>
                    <a:cubicBezTo>
                      <a:pt x="56480" y="19151"/>
                      <a:pt x="57815" y="16482"/>
                      <a:pt x="58649" y="13812"/>
                    </a:cubicBezTo>
                    <a:lnTo>
                      <a:pt x="58649" y="13395"/>
                    </a:lnTo>
                    <a:lnTo>
                      <a:pt x="59066" y="13395"/>
                    </a:lnTo>
                    <a:cubicBezTo>
                      <a:pt x="75418" y="14313"/>
                      <a:pt x="91436" y="10309"/>
                      <a:pt x="104284" y="5887"/>
                    </a:cubicBezTo>
                    <a:lnTo>
                      <a:pt x="109623" y="4135"/>
                    </a:lnTo>
                    <a:cubicBezTo>
                      <a:pt x="122054" y="-286"/>
                      <a:pt x="129145" y="-2538"/>
                      <a:pt x="136653" y="4552"/>
                    </a:cubicBezTo>
                    <a:cubicBezTo>
                      <a:pt x="141075" y="8974"/>
                      <a:pt x="143327" y="13395"/>
                      <a:pt x="145997" y="17817"/>
                    </a:cubicBezTo>
                    <a:cubicBezTo>
                      <a:pt x="150001" y="25325"/>
                      <a:pt x="154423" y="33750"/>
                      <a:pt x="167688" y="39506"/>
                    </a:cubicBezTo>
                    <a:cubicBezTo>
                      <a:pt x="171192" y="40840"/>
                      <a:pt x="174779" y="42175"/>
                      <a:pt x="177866" y="43009"/>
                    </a:cubicBezTo>
                    <a:cubicBezTo>
                      <a:pt x="183205" y="44761"/>
                      <a:pt x="187627" y="46096"/>
                      <a:pt x="192466" y="49182"/>
                    </a:cubicBezTo>
                    <a:cubicBezTo>
                      <a:pt x="194718" y="50517"/>
                      <a:pt x="196887" y="52269"/>
                      <a:pt x="199140" y="53604"/>
                    </a:cubicBezTo>
                    <a:cubicBezTo>
                      <a:pt x="205313" y="58025"/>
                      <a:pt x="211988" y="62447"/>
                      <a:pt x="221248" y="64699"/>
                    </a:cubicBezTo>
                    <a:cubicBezTo>
                      <a:pt x="230091" y="66951"/>
                      <a:pt x="238517" y="66951"/>
                      <a:pt x="246526" y="67368"/>
                    </a:cubicBezTo>
                    <a:cubicBezTo>
                      <a:pt x="255370" y="67368"/>
                      <a:pt x="264213" y="67368"/>
                      <a:pt x="272639" y="70872"/>
                    </a:cubicBezTo>
                    <a:cubicBezTo>
                      <a:pt x="278812" y="73541"/>
                      <a:pt x="285069" y="74376"/>
                      <a:pt x="291243" y="76211"/>
                    </a:cubicBezTo>
                    <a:cubicBezTo>
                      <a:pt x="302339" y="78880"/>
                      <a:pt x="312517" y="81550"/>
                      <a:pt x="319608" y="88641"/>
                    </a:cubicBezTo>
                    <a:cubicBezTo>
                      <a:pt x="324948" y="93979"/>
                      <a:pt x="327617" y="101070"/>
                      <a:pt x="330203" y="108578"/>
                    </a:cubicBezTo>
                    <a:cubicBezTo>
                      <a:pt x="332456" y="113917"/>
                      <a:pt x="334208" y="119673"/>
                      <a:pt x="337295" y="124929"/>
                    </a:cubicBezTo>
                    <a:lnTo>
                      <a:pt x="337295" y="125346"/>
                    </a:lnTo>
                    <a:cubicBezTo>
                      <a:pt x="337295" y="126263"/>
                      <a:pt x="336878" y="127098"/>
                      <a:pt x="337295" y="128015"/>
                    </a:cubicBezTo>
                    <a:lnTo>
                      <a:pt x="337295" y="128432"/>
                    </a:lnTo>
                    <a:cubicBezTo>
                      <a:pt x="321777" y="137775"/>
                      <a:pt x="311182" y="155461"/>
                      <a:pt x="304091" y="169642"/>
                    </a:cubicBezTo>
                    <a:cubicBezTo>
                      <a:pt x="302339" y="173145"/>
                      <a:pt x="300086" y="177150"/>
                      <a:pt x="297417" y="181571"/>
                    </a:cubicBezTo>
                    <a:cubicBezTo>
                      <a:pt x="286822" y="200174"/>
                      <a:pt x="273974" y="224115"/>
                      <a:pt x="280147" y="244887"/>
                    </a:cubicBezTo>
                    <a:cubicBezTo>
                      <a:pt x="281899" y="251060"/>
                      <a:pt x="285487" y="255482"/>
                      <a:pt x="288573" y="259486"/>
                    </a:cubicBezTo>
                    <a:cubicBezTo>
                      <a:pt x="290826" y="262155"/>
                      <a:pt x="292995" y="264824"/>
                      <a:pt x="294330" y="267911"/>
                    </a:cubicBezTo>
                    <a:cubicBezTo>
                      <a:pt x="294747" y="269246"/>
                      <a:pt x="295247" y="270998"/>
                      <a:pt x="295247" y="273250"/>
                    </a:cubicBezTo>
                    <a:cubicBezTo>
                      <a:pt x="295247" y="276754"/>
                      <a:pt x="295247" y="281259"/>
                      <a:pt x="297917" y="285680"/>
                    </a:cubicBezTo>
                    <a:cubicBezTo>
                      <a:pt x="299252" y="289183"/>
                      <a:pt x="302339" y="291019"/>
                      <a:pt x="304591" y="292770"/>
                    </a:cubicBezTo>
                    <a:cubicBezTo>
                      <a:pt x="305509" y="293187"/>
                      <a:pt x="306343" y="294105"/>
                      <a:pt x="306844" y="294105"/>
                    </a:cubicBezTo>
                    <a:cubicBezTo>
                      <a:pt x="308179" y="296775"/>
                      <a:pt x="309514" y="298944"/>
                      <a:pt x="310348" y="301613"/>
                    </a:cubicBezTo>
                    <a:cubicBezTo>
                      <a:pt x="312600" y="306952"/>
                      <a:pt x="315187" y="312708"/>
                      <a:pt x="320943" y="318464"/>
                    </a:cubicBezTo>
                    <a:cubicBezTo>
                      <a:pt x="324948" y="321968"/>
                      <a:pt x="328451" y="323803"/>
                      <a:pt x="331538" y="325555"/>
                    </a:cubicBezTo>
                    <a:cubicBezTo>
                      <a:pt x="336878" y="328224"/>
                      <a:pt x="338629" y="329058"/>
                      <a:pt x="339547" y="337484"/>
                    </a:cubicBezTo>
                    <a:cubicBezTo>
                      <a:pt x="340465" y="347661"/>
                      <a:pt x="335543" y="358339"/>
                      <a:pt x="330704" y="369351"/>
                    </a:cubicBezTo>
                    <a:cubicBezTo>
                      <a:pt x="326700" y="379111"/>
                      <a:pt x="322278" y="388370"/>
                      <a:pt x="320943" y="398548"/>
                    </a:cubicBezTo>
                    <a:cubicBezTo>
                      <a:pt x="305426" y="397630"/>
                      <a:pt x="289491" y="397630"/>
                      <a:pt x="276643" y="403386"/>
                    </a:cubicBezTo>
                    <a:cubicBezTo>
                      <a:pt x="273139" y="405138"/>
                      <a:pt x="269969" y="407808"/>
                      <a:pt x="267300" y="410060"/>
                    </a:cubicBezTo>
                    <a:cubicBezTo>
                      <a:pt x="264213" y="412729"/>
                      <a:pt x="262461" y="414898"/>
                      <a:pt x="260208" y="414481"/>
                    </a:cubicBezTo>
                    <a:cubicBezTo>
                      <a:pt x="257121" y="414064"/>
                      <a:pt x="254035" y="412229"/>
                      <a:pt x="250030" y="410060"/>
                    </a:cubicBezTo>
                    <a:cubicBezTo>
                      <a:pt x="244691" y="406973"/>
                      <a:pt x="238100" y="402552"/>
                      <a:pt x="228339" y="403386"/>
                    </a:cubicBezTo>
                    <a:cubicBezTo>
                      <a:pt x="220330" y="404304"/>
                      <a:pt x="213740" y="407808"/>
                      <a:pt x="207983" y="410894"/>
                    </a:cubicBezTo>
                    <a:cubicBezTo>
                      <a:pt x="204479" y="413146"/>
                      <a:pt x="200475" y="414898"/>
                      <a:pt x="196887" y="416233"/>
                    </a:cubicBezTo>
                    <a:cubicBezTo>
                      <a:pt x="185792" y="419319"/>
                      <a:pt x="179201" y="417568"/>
                      <a:pt x="167688" y="413564"/>
                    </a:cubicBezTo>
                    <a:cubicBezTo>
                      <a:pt x="165936" y="413146"/>
                      <a:pt x="164184" y="412229"/>
                      <a:pt x="162349" y="411311"/>
                    </a:cubicBezTo>
                    <a:cubicBezTo>
                      <a:pt x="154340" y="408225"/>
                      <a:pt x="143744" y="403803"/>
                      <a:pt x="133566" y="409059"/>
                    </a:cubicBezTo>
                    <a:cubicBezTo>
                      <a:pt x="127393" y="412562"/>
                      <a:pt x="124223" y="417484"/>
                      <a:pt x="121636" y="422323"/>
                    </a:cubicBezTo>
                    <a:cubicBezTo>
                      <a:pt x="118967" y="426744"/>
                      <a:pt x="116798" y="429831"/>
                      <a:pt x="112793" y="432083"/>
                    </a:cubicBezTo>
                    <a:cubicBezTo>
                      <a:pt x="110541" y="433000"/>
                      <a:pt x="108371" y="433835"/>
                      <a:pt x="106119" y="434752"/>
                    </a:cubicBezTo>
                    <a:cubicBezTo>
                      <a:pt x="104784" y="435169"/>
                      <a:pt x="103449" y="435670"/>
                      <a:pt x="101697" y="436087"/>
                    </a:cubicBezTo>
                    <a:cubicBezTo>
                      <a:pt x="102114" y="433000"/>
                      <a:pt x="102615" y="429914"/>
                      <a:pt x="103032" y="426327"/>
                    </a:cubicBezTo>
                    <a:cubicBezTo>
                      <a:pt x="104784" y="419653"/>
                      <a:pt x="108371" y="415232"/>
                      <a:pt x="112793" y="409476"/>
                    </a:cubicBezTo>
                    <a:cubicBezTo>
                      <a:pt x="115463" y="405972"/>
                      <a:pt x="118132" y="402385"/>
                      <a:pt x="120802" y="397547"/>
                    </a:cubicBezTo>
                    <a:cubicBezTo>
                      <a:pt x="127893" y="384700"/>
                      <a:pt x="126558" y="373605"/>
                      <a:pt x="125224" y="360758"/>
                    </a:cubicBezTo>
                    <a:lnTo>
                      <a:pt x="124807" y="359007"/>
                    </a:lnTo>
                    <a:cubicBezTo>
                      <a:pt x="124389" y="357255"/>
                      <a:pt x="124389" y="355002"/>
                      <a:pt x="124389" y="352833"/>
                    </a:cubicBezTo>
                    <a:cubicBezTo>
                      <a:pt x="123472" y="341738"/>
                      <a:pt x="122637" y="326222"/>
                      <a:pt x="111542" y="319131"/>
                    </a:cubicBezTo>
                    <a:cubicBezTo>
                      <a:pt x="105368" y="315127"/>
                      <a:pt x="99612" y="315127"/>
                      <a:pt x="95190" y="315127"/>
                    </a:cubicBezTo>
                    <a:cubicBezTo>
                      <a:pt x="90351" y="314710"/>
                      <a:pt x="87682" y="314710"/>
                      <a:pt x="84094" y="311123"/>
                    </a:cubicBezTo>
                    <a:cubicBezTo>
                      <a:pt x="79673" y="306702"/>
                      <a:pt x="77420" y="302698"/>
                      <a:pt x="75251" y="299611"/>
                    </a:cubicBezTo>
                    <a:cubicBezTo>
                      <a:pt x="72164" y="294272"/>
                      <a:pt x="69077" y="290768"/>
                      <a:pt x="65073" y="289434"/>
                    </a:cubicBezTo>
                    <a:cubicBezTo>
                      <a:pt x="66408" y="283261"/>
                      <a:pt x="68160" y="277505"/>
                      <a:pt x="70829" y="271749"/>
                    </a:cubicBezTo>
                    <a:cubicBezTo>
                      <a:pt x="73082" y="267327"/>
                      <a:pt x="75668" y="262906"/>
                      <a:pt x="78338" y="257984"/>
                    </a:cubicBezTo>
                    <a:cubicBezTo>
                      <a:pt x="85012" y="247390"/>
                      <a:pt x="92520" y="235377"/>
                      <a:pt x="91603" y="223031"/>
                    </a:cubicBezTo>
                    <a:cubicBezTo>
                      <a:pt x="91186" y="208433"/>
                      <a:pt x="77003" y="180987"/>
                      <a:pt x="65490" y="172562"/>
                    </a:cubicBezTo>
                    <a:cubicBezTo>
                      <a:pt x="58399" y="167222"/>
                      <a:pt x="51725" y="165471"/>
                      <a:pt x="46469" y="164136"/>
                    </a:cubicBezTo>
                    <a:cubicBezTo>
                      <a:pt x="39377" y="162384"/>
                      <a:pt x="34956" y="161049"/>
                      <a:pt x="30534" y="153542"/>
                    </a:cubicBezTo>
                    <a:cubicBezTo>
                      <a:pt x="23026" y="141112"/>
                      <a:pt x="15017" y="130517"/>
                      <a:pt x="6591" y="119006"/>
                    </a:cubicBezTo>
                    <a:lnTo>
                      <a:pt x="3087" y="114167"/>
                    </a:lnTo>
                    <a:cubicBezTo>
                      <a:pt x="1335" y="111915"/>
                      <a:pt x="417" y="109746"/>
                      <a:pt x="0" y="107494"/>
                    </a:cubicBezTo>
                    <a:lnTo>
                      <a:pt x="3504" y="90226"/>
                    </a:lnTo>
                    <a:cubicBezTo>
                      <a:pt x="4839" y="87556"/>
                      <a:pt x="6591" y="84887"/>
                      <a:pt x="8843" y="81383"/>
                    </a:cubicBezTo>
                    <a:lnTo>
                      <a:pt x="11930" y="76044"/>
                    </a:lnTo>
                    <a:cubicBezTo>
                      <a:pt x="13265" y="73374"/>
                      <a:pt x="15017" y="70705"/>
                      <a:pt x="16769" y="67618"/>
                    </a:cubicBezTo>
                    <a:cubicBezTo>
                      <a:pt x="20273" y="60945"/>
                      <a:pt x="23860" y="53437"/>
                      <a:pt x="28282" y="49934"/>
                    </a:cubicBezTo>
                    <a:cubicBezTo>
                      <a:pt x="29366" y="48765"/>
                      <a:pt x="32036" y="47931"/>
                      <a:pt x="34706" y="465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3275521" name="Полилиния 367"/>
              <p:cNvSpPr/>
              <p:nvPr/>
            </p:nvSpPr>
            <p:spPr bwMode="auto">
              <a:xfrm>
                <a:off x="1696126" y="4741972"/>
                <a:ext cx="595038" cy="544160"/>
              </a:xfrm>
              <a:custGeom>
                <a:avLst/>
                <a:gdLst>
                  <a:gd name="connsiteX0" fmla="*/ 665579 w 668248"/>
                  <a:gd name="connsiteY0" fmla="*/ 434343 h 611111"/>
                  <a:gd name="connsiteX1" fmla="*/ 668249 w 668248"/>
                  <a:gd name="connsiteY1" fmla="*/ 446773 h 611111"/>
                  <a:gd name="connsiteX2" fmla="*/ 662910 w 668248"/>
                  <a:gd name="connsiteY2" fmla="*/ 452529 h 611111"/>
                  <a:gd name="connsiteX3" fmla="*/ 656236 w 668248"/>
                  <a:gd name="connsiteY3" fmla="*/ 462289 h 611111"/>
                  <a:gd name="connsiteX4" fmla="*/ 633210 w 668248"/>
                  <a:gd name="connsiteY4" fmla="*/ 480474 h 611111"/>
                  <a:gd name="connsiteX5" fmla="*/ 589327 w 668248"/>
                  <a:gd name="connsiteY5" fmla="*/ 484479 h 611111"/>
                  <a:gd name="connsiteX6" fmla="*/ 538854 w 668248"/>
                  <a:gd name="connsiteY6" fmla="*/ 546043 h 611111"/>
                  <a:gd name="connsiteX7" fmla="*/ 534432 w 668248"/>
                  <a:gd name="connsiteY7" fmla="*/ 557138 h 611111"/>
                  <a:gd name="connsiteX8" fmla="*/ 482124 w 668248"/>
                  <a:gd name="connsiteY8" fmla="*/ 597430 h 611111"/>
                  <a:gd name="connsiteX9" fmla="*/ 477285 w 668248"/>
                  <a:gd name="connsiteY9" fmla="*/ 599182 h 611111"/>
                  <a:gd name="connsiteX10" fmla="*/ 454259 w 668248"/>
                  <a:gd name="connsiteY10" fmla="*/ 611111 h 611111"/>
                  <a:gd name="connsiteX11" fmla="*/ 452007 w 668248"/>
                  <a:gd name="connsiteY11" fmla="*/ 600016 h 611111"/>
                  <a:gd name="connsiteX12" fmla="*/ 443581 w 668248"/>
                  <a:gd name="connsiteY12" fmla="*/ 571653 h 611111"/>
                  <a:gd name="connsiteX13" fmla="*/ 402368 w 668248"/>
                  <a:gd name="connsiteY13" fmla="*/ 551716 h 611111"/>
                  <a:gd name="connsiteX14" fmla="*/ 382429 w 668248"/>
                  <a:gd name="connsiteY14" fmla="*/ 561476 h 611111"/>
                  <a:gd name="connsiteX15" fmla="*/ 368663 w 668248"/>
                  <a:gd name="connsiteY15" fmla="*/ 568149 h 611111"/>
                  <a:gd name="connsiteX16" fmla="*/ 351811 w 668248"/>
                  <a:gd name="connsiteY16" fmla="*/ 561976 h 611111"/>
                  <a:gd name="connsiteX17" fmla="*/ 331872 w 668248"/>
                  <a:gd name="connsiteY17" fmla="*/ 554886 h 611111"/>
                  <a:gd name="connsiteX18" fmla="*/ 316355 w 668248"/>
                  <a:gd name="connsiteY18" fmla="*/ 557555 h 611111"/>
                  <a:gd name="connsiteX19" fmla="*/ 310181 w 668248"/>
                  <a:gd name="connsiteY19" fmla="*/ 559307 h 611111"/>
                  <a:gd name="connsiteX20" fmla="*/ 300003 w 668248"/>
                  <a:gd name="connsiteY20" fmla="*/ 558890 h 611111"/>
                  <a:gd name="connsiteX21" fmla="*/ 285820 w 668248"/>
                  <a:gd name="connsiteY21" fmla="*/ 558473 h 611111"/>
                  <a:gd name="connsiteX22" fmla="*/ 266799 w 668248"/>
                  <a:gd name="connsiteY22" fmla="*/ 583249 h 611111"/>
                  <a:gd name="connsiteX23" fmla="*/ 267216 w 668248"/>
                  <a:gd name="connsiteY23" fmla="*/ 589922 h 611111"/>
                  <a:gd name="connsiteX24" fmla="*/ 251282 w 668248"/>
                  <a:gd name="connsiteY24" fmla="*/ 581080 h 611111"/>
                  <a:gd name="connsiteX25" fmla="*/ 241521 w 668248"/>
                  <a:gd name="connsiteY25" fmla="*/ 579745 h 611111"/>
                  <a:gd name="connsiteX26" fmla="*/ 231343 w 668248"/>
                  <a:gd name="connsiteY26" fmla="*/ 577076 h 611111"/>
                  <a:gd name="connsiteX27" fmla="*/ 229090 w 668248"/>
                  <a:gd name="connsiteY27" fmla="*/ 561559 h 611111"/>
                  <a:gd name="connsiteX28" fmla="*/ 214490 w 668248"/>
                  <a:gd name="connsiteY28" fmla="*/ 531444 h 611111"/>
                  <a:gd name="connsiteX29" fmla="*/ 184790 w 668248"/>
                  <a:gd name="connsiteY29" fmla="*/ 557138 h 611111"/>
                  <a:gd name="connsiteX30" fmla="*/ 178116 w 668248"/>
                  <a:gd name="connsiteY30" fmla="*/ 571737 h 611111"/>
                  <a:gd name="connsiteX31" fmla="*/ 166603 w 668248"/>
                  <a:gd name="connsiteY31" fmla="*/ 567315 h 611111"/>
                  <a:gd name="connsiteX32" fmla="*/ 143995 w 668248"/>
                  <a:gd name="connsiteY32" fmla="*/ 557555 h 611111"/>
                  <a:gd name="connsiteX33" fmla="*/ 131147 w 668248"/>
                  <a:gd name="connsiteY33" fmla="*/ 561059 h 611111"/>
                  <a:gd name="connsiteX34" fmla="*/ 121386 w 668248"/>
                  <a:gd name="connsiteY34" fmla="*/ 563311 h 611111"/>
                  <a:gd name="connsiteX35" fmla="*/ 114712 w 668248"/>
                  <a:gd name="connsiteY35" fmla="*/ 560642 h 611111"/>
                  <a:gd name="connsiteX36" fmla="*/ 94356 w 668248"/>
                  <a:gd name="connsiteY36" fmla="*/ 557555 h 611111"/>
                  <a:gd name="connsiteX37" fmla="*/ 65991 w 668248"/>
                  <a:gd name="connsiteY37" fmla="*/ 570402 h 611111"/>
                  <a:gd name="connsiteX38" fmla="*/ 53143 w 668248"/>
                  <a:gd name="connsiteY38" fmla="*/ 566898 h 611111"/>
                  <a:gd name="connsiteX39" fmla="*/ 42548 w 668248"/>
                  <a:gd name="connsiteY39" fmla="*/ 562894 h 611111"/>
                  <a:gd name="connsiteX40" fmla="*/ 39878 w 668248"/>
                  <a:gd name="connsiteY40" fmla="*/ 554886 h 611111"/>
                  <a:gd name="connsiteX41" fmla="*/ 35039 w 668248"/>
                  <a:gd name="connsiteY41" fmla="*/ 541121 h 611111"/>
                  <a:gd name="connsiteX42" fmla="*/ 30618 w 668248"/>
                  <a:gd name="connsiteY42" fmla="*/ 536283 h 611111"/>
                  <a:gd name="connsiteX43" fmla="*/ 27948 w 668248"/>
                  <a:gd name="connsiteY43" fmla="*/ 534031 h 611111"/>
                  <a:gd name="connsiteX44" fmla="*/ 25278 w 668248"/>
                  <a:gd name="connsiteY44" fmla="*/ 522102 h 611111"/>
                  <a:gd name="connsiteX45" fmla="*/ 29283 w 668248"/>
                  <a:gd name="connsiteY45" fmla="*/ 480892 h 611111"/>
                  <a:gd name="connsiteX46" fmla="*/ 30618 w 668248"/>
                  <a:gd name="connsiteY46" fmla="*/ 476053 h 611111"/>
                  <a:gd name="connsiteX47" fmla="*/ 33704 w 668248"/>
                  <a:gd name="connsiteY47" fmla="*/ 457451 h 611111"/>
                  <a:gd name="connsiteX48" fmla="*/ 14183 w 668248"/>
                  <a:gd name="connsiteY48" fmla="*/ 419327 h 611111"/>
                  <a:gd name="connsiteX49" fmla="*/ 1752 w 668248"/>
                  <a:gd name="connsiteY49" fmla="*/ 403394 h 611111"/>
                  <a:gd name="connsiteX50" fmla="*/ 0 w 668248"/>
                  <a:gd name="connsiteY50" fmla="*/ 399891 h 611111"/>
                  <a:gd name="connsiteX51" fmla="*/ 3087 w 668248"/>
                  <a:gd name="connsiteY51" fmla="*/ 397221 h 611111"/>
                  <a:gd name="connsiteX52" fmla="*/ 34122 w 668248"/>
                  <a:gd name="connsiteY52" fmla="*/ 377284 h 611111"/>
                  <a:gd name="connsiteX53" fmla="*/ 51808 w 668248"/>
                  <a:gd name="connsiteY53" fmla="*/ 370193 h 611111"/>
                  <a:gd name="connsiteX54" fmla="*/ 62904 w 668248"/>
                  <a:gd name="connsiteY54" fmla="*/ 375031 h 611111"/>
                  <a:gd name="connsiteX55" fmla="*/ 93438 w 668248"/>
                  <a:gd name="connsiteY55" fmla="*/ 383457 h 611111"/>
                  <a:gd name="connsiteX56" fmla="*/ 119134 w 668248"/>
                  <a:gd name="connsiteY56" fmla="*/ 369692 h 611111"/>
                  <a:gd name="connsiteX57" fmla="*/ 133733 w 668248"/>
                  <a:gd name="connsiteY57" fmla="*/ 347586 h 611111"/>
                  <a:gd name="connsiteX58" fmla="*/ 141742 w 668248"/>
                  <a:gd name="connsiteY58" fmla="*/ 319640 h 611111"/>
                  <a:gd name="connsiteX59" fmla="*/ 136904 w 668248"/>
                  <a:gd name="connsiteY59" fmla="*/ 304124 h 611111"/>
                  <a:gd name="connsiteX60" fmla="*/ 133400 w 668248"/>
                  <a:gd name="connsiteY60" fmla="*/ 293529 h 611111"/>
                  <a:gd name="connsiteX61" fmla="*/ 132982 w 668248"/>
                  <a:gd name="connsiteY61" fmla="*/ 288691 h 611111"/>
                  <a:gd name="connsiteX62" fmla="*/ 132065 w 668248"/>
                  <a:gd name="connsiteY62" fmla="*/ 281600 h 611111"/>
                  <a:gd name="connsiteX63" fmla="*/ 127226 w 668248"/>
                  <a:gd name="connsiteY63" fmla="*/ 267836 h 611111"/>
                  <a:gd name="connsiteX64" fmla="*/ 125474 w 668248"/>
                  <a:gd name="connsiteY64" fmla="*/ 264332 h 611111"/>
                  <a:gd name="connsiteX65" fmla="*/ 123722 w 668248"/>
                  <a:gd name="connsiteY65" fmla="*/ 252820 h 611111"/>
                  <a:gd name="connsiteX66" fmla="*/ 131230 w 668248"/>
                  <a:gd name="connsiteY66" fmla="*/ 246146 h 611111"/>
                  <a:gd name="connsiteX67" fmla="*/ 135235 w 668248"/>
                  <a:gd name="connsiteY67" fmla="*/ 243894 h 611111"/>
                  <a:gd name="connsiteX68" fmla="*/ 146748 w 668248"/>
                  <a:gd name="connsiteY68" fmla="*/ 233717 h 611111"/>
                  <a:gd name="connsiteX69" fmla="*/ 152504 w 668248"/>
                  <a:gd name="connsiteY69" fmla="*/ 227961 h 611111"/>
                  <a:gd name="connsiteX70" fmla="*/ 160513 w 668248"/>
                  <a:gd name="connsiteY70" fmla="*/ 222205 h 611111"/>
                  <a:gd name="connsiteX71" fmla="*/ 172944 w 668248"/>
                  <a:gd name="connsiteY71" fmla="*/ 212027 h 611111"/>
                  <a:gd name="connsiteX72" fmla="*/ 180452 w 668248"/>
                  <a:gd name="connsiteY72" fmla="*/ 200098 h 611111"/>
                  <a:gd name="connsiteX73" fmla="*/ 181787 w 668248"/>
                  <a:gd name="connsiteY73" fmla="*/ 189003 h 611111"/>
                  <a:gd name="connsiteX74" fmla="*/ 179117 w 668248"/>
                  <a:gd name="connsiteY74" fmla="*/ 163310 h 611111"/>
                  <a:gd name="connsiteX75" fmla="*/ 174279 w 668248"/>
                  <a:gd name="connsiteY75" fmla="*/ 147377 h 611111"/>
                  <a:gd name="connsiteX76" fmla="*/ 169857 w 668248"/>
                  <a:gd name="connsiteY76" fmla="*/ 140286 h 611111"/>
                  <a:gd name="connsiteX77" fmla="*/ 167605 w 668248"/>
                  <a:gd name="connsiteY77" fmla="*/ 136282 h 611111"/>
                  <a:gd name="connsiteX78" fmla="*/ 162766 w 668248"/>
                  <a:gd name="connsiteY78" fmla="*/ 112340 h 611111"/>
                  <a:gd name="connsiteX79" fmla="*/ 164101 w 668248"/>
                  <a:gd name="connsiteY79" fmla="*/ 105249 h 611111"/>
                  <a:gd name="connsiteX80" fmla="*/ 165435 w 668248"/>
                  <a:gd name="connsiteY80" fmla="*/ 92820 h 611111"/>
                  <a:gd name="connsiteX81" fmla="*/ 165435 w 668248"/>
                  <a:gd name="connsiteY81" fmla="*/ 92402 h 611111"/>
                  <a:gd name="connsiteX82" fmla="*/ 168939 w 668248"/>
                  <a:gd name="connsiteY82" fmla="*/ 90150 h 611111"/>
                  <a:gd name="connsiteX83" fmla="*/ 179535 w 668248"/>
                  <a:gd name="connsiteY83" fmla="*/ 83476 h 611111"/>
                  <a:gd name="connsiteX84" fmla="*/ 195469 w 668248"/>
                  <a:gd name="connsiteY84" fmla="*/ 68878 h 611111"/>
                  <a:gd name="connsiteX85" fmla="*/ 198556 w 668248"/>
                  <a:gd name="connsiteY85" fmla="*/ 64457 h 611111"/>
                  <a:gd name="connsiteX86" fmla="*/ 205230 w 668248"/>
                  <a:gd name="connsiteY86" fmla="*/ 57783 h 611111"/>
                  <a:gd name="connsiteX87" fmla="*/ 213656 w 668248"/>
                  <a:gd name="connsiteY87" fmla="*/ 48940 h 611111"/>
                  <a:gd name="connsiteX88" fmla="*/ 219830 w 668248"/>
                  <a:gd name="connsiteY88" fmla="*/ 25916 h 611111"/>
                  <a:gd name="connsiteX89" fmla="*/ 230008 w 668248"/>
                  <a:gd name="connsiteY89" fmla="*/ 9065 h 611111"/>
                  <a:gd name="connsiteX90" fmla="*/ 248195 w 668248"/>
                  <a:gd name="connsiteY90" fmla="*/ 9065 h 611111"/>
                  <a:gd name="connsiteX91" fmla="*/ 258790 w 668248"/>
                  <a:gd name="connsiteY91" fmla="*/ 10400 h 611111"/>
                  <a:gd name="connsiteX92" fmla="*/ 286238 w 668248"/>
                  <a:gd name="connsiteY92" fmla="*/ 5061 h 611111"/>
                  <a:gd name="connsiteX93" fmla="*/ 292912 w 668248"/>
                  <a:gd name="connsiteY93" fmla="*/ 2392 h 611111"/>
                  <a:gd name="connsiteX94" fmla="*/ 304842 w 668248"/>
                  <a:gd name="connsiteY94" fmla="*/ 640 h 611111"/>
                  <a:gd name="connsiteX95" fmla="*/ 308346 w 668248"/>
                  <a:gd name="connsiteY95" fmla="*/ 7731 h 611111"/>
                  <a:gd name="connsiteX96" fmla="*/ 316355 w 668248"/>
                  <a:gd name="connsiteY96" fmla="*/ 20994 h 611111"/>
                  <a:gd name="connsiteX97" fmla="*/ 334041 w 668248"/>
                  <a:gd name="connsiteY97" fmla="*/ 29003 h 611111"/>
                  <a:gd name="connsiteX98" fmla="*/ 341549 w 668248"/>
                  <a:gd name="connsiteY98" fmla="*/ 31255 h 611111"/>
                  <a:gd name="connsiteX99" fmla="*/ 359236 w 668248"/>
                  <a:gd name="connsiteY99" fmla="*/ 40598 h 611111"/>
                  <a:gd name="connsiteX100" fmla="*/ 369414 w 668248"/>
                  <a:gd name="connsiteY100" fmla="*/ 46354 h 611111"/>
                  <a:gd name="connsiteX101" fmla="*/ 374753 w 668248"/>
                  <a:gd name="connsiteY101" fmla="*/ 49858 h 611111"/>
                  <a:gd name="connsiteX102" fmla="*/ 383597 w 668248"/>
                  <a:gd name="connsiteY102" fmla="*/ 60953 h 611111"/>
                  <a:gd name="connsiteX103" fmla="*/ 388936 w 668248"/>
                  <a:gd name="connsiteY103" fmla="*/ 78638 h 611111"/>
                  <a:gd name="connsiteX104" fmla="*/ 393775 w 668248"/>
                  <a:gd name="connsiteY104" fmla="*/ 94571 h 611111"/>
                  <a:gd name="connsiteX105" fmla="*/ 429231 w 668248"/>
                  <a:gd name="connsiteY105" fmla="*/ 124686 h 611111"/>
                  <a:gd name="connsiteX106" fmla="*/ 447418 w 668248"/>
                  <a:gd name="connsiteY106" fmla="*/ 130025 h 611111"/>
                  <a:gd name="connsiteX107" fmla="*/ 461184 w 668248"/>
                  <a:gd name="connsiteY107" fmla="*/ 138450 h 611111"/>
                  <a:gd name="connsiteX108" fmla="*/ 470944 w 668248"/>
                  <a:gd name="connsiteY108" fmla="*/ 144624 h 611111"/>
                  <a:gd name="connsiteX109" fmla="*/ 491301 w 668248"/>
                  <a:gd name="connsiteY109" fmla="*/ 151297 h 611111"/>
                  <a:gd name="connsiteX110" fmla="*/ 501896 w 668248"/>
                  <a:gd name="connsiteY110" fmla="*/ 153967 h 611111"/>
                  <a:gd name="connsiteX111" fmla="*/ 522753 w 668248"/>
                  <a:gd name="connsiteY111" fmla="*/ 176991 h 611111"/>
                  <a:gd name="connsiteX112" fmla="*/ 532931 w 668248"/>
                  <a:gd name="connsiteY112" fmla="*/ 192507 h 611111"/>
                  <a:gd name="connsiteX113" fmla="*/ 541357 w 668248"/>
                  <a:gd name="connsiteY113" fmla="*/ 242142 h 611111"/>
                  <a:gd name="connsiteX114" fmla="*/ 532931 w 668248"/>
                  <a:gd name="connsiteY114" fmla="*/ 253237 h 611111"/>
                  <a:gd name="connsiteX115" fmla="*/ 520083 w 668248"/>
                  <a:gd name="connsiteY115" fmla="*/ 286439 h 611111"/>
                  <a:gd name="connsiteX116" fmla="*/ 542191 w 668248"/>
                  <a:gd name="connsiteY116" fmla="*/ 313467 h 611111"/>
                  <a:gd name="connsiteX117" fmla="*/ 564299 w 668248"/>
                  <a:gd name="connsiteY117" fmla="*/ 305959 h 611111"/>
                  <a:gd name="connsiteX118" fmla="*/ 572308 w 668248"/>
                  <a:gd name="connsiteY118" fmla="*/ 301120 h 611111"/>
                  <a:gd name="connsiteX119" fmla="*/ 578065 w 668248"/>
                  <a:gd name="connsiteY119" fmla="*/ 302872 h 611111"/>
                  <a:gd name="connsiteX120" fmla="*/ 578982 w 668248"/>
                  <a:gd name="connsiteY120" fmla="*/ 324144 h 611111"/>
                  <a:gd name="connsiteX121" fmla="*/ 579900 w 668248"/>
                  <a:gd name="connsiteY121" fmla="*/ 346251 h 611111"/>
                  <a:gd name="connsiteX122" fmla="*/ 608682 w 668248"/>
                  <a:gd name="connsiteY122" fmla="*/ 370193 h 611111"/>
                  <a:gd name="connsiteX123" fmla="*/ 625534 w 668248"/>
                  <a:gd name="connsiteY123" fmla="*/ 365354 h 611111"/>
                  <a:gd name="connsiteX124" fmla="*/ 633043 w 668248"/>
                  <a:gd name="connsiteY124" fmla="*/ 362268 h 611111"/>
                  <a:gd name="connsiteX125" fmla="*/ 641886 w 668248"/>
                  <a:gd name="connsiteY125" fmla="*/ 364520 h 611111"/>
                  <a:gd name="connsiteX126" fmla="*/ 646308 w 668248"/>
                  <a:gd name="connsiteY126" fmla="*/ 383123 h 611111"/>
                  <a:gd name="connsiteX127" fmla="*/ 652064 w 668248"/>
                  <a:gd name="connsiteY127" fmla="*/ 407482 h 611111"/>
                  <a:gd name="connsiteX128" fmla="*/ 658238 w 668248"/>
                  <a:gd name="connsiteY128" fmla="*/ 412821 h 611111"/>
                  <a:gd name="connsiteX129" fmla="*/ 659573 w 668248"/>
                  <a:gd name="connsiteY129" fmla="*/ 413738 h 611111"/>
                  <a:gd name="connsiteX130" fmla="*/ 662242 w 668248"/>
                  <a:gd name="connsiteY130" fmla="*/ 426585 h 611111"/>
                  <a:gd name="connsiteX131" fmla="*/ 665579 w 668248"/>
                  <a:gd name="connsiteY131" fmla="*/ 434343 h 611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</a:cxnLst>
                <a:rect l="l" t="t" r="r" b="b"/>
                <a:pathLst>
                  <a:path w="668248" h="611111" extrusionOk="0">
                    <a:moveTo>
                      <a:pt x="665579" y="434343"/>
                    </a:moveTo>
                    <a:cubicBezTo>
                      <a:pt x="666497" y="438347"/>
                      <a:pt x="666914" y="442769"/>
                      <a:pt x="668249" y="446773"/>
                    </a:cubicBezTo>
                    <a:cubicBezTo>
                      <a:pt x="665996" y="448525"/>
                      <a:pt x="664745" y="450276"/>
                      <a:pt x="662910" y="452529"/>
                    </a:cubicBezTo>
                    <a:cubicBezTo>
                      <a:pt x="660240" y="455615"/>
                      <a:pt x="658071" y="458702"/>
                      <a:pt x="656236" y="462289"/>
                    </a:cubicBezTo>
                    <a:cubicBezTo>
                      <a:pt x="649561" y="471632"/>
                      <a:pt x="644723" y="478222"/>
                      <a:pt x="633210" y="480474"/>
                    </a:cubicBezTo>
                    <a:cubicBezTo>
                      <a:pt x="619945" y="483144"/>
                      <a:pt x="605262" y="479557"/>
                      <a:pt x="589327" y="484479"/>
                    </a:cubicBezTo>
                    <a:cubicBezTo>
                      <a:pt x="558292" y="494656"/>
                      <a:pt x="548114" y="520767"/>
                      <a:pt x="538854" y="546043"/>
                    </a:cubicBezTo>
                    <a:cubicBezTo>
                      <a:pt x="537519" y="549547"/>
                      <a:pt x="536184" y="553134"/>
                      <a:pt x="534432" y="557138"/>
                    </a:cubicBezTo>
                    <a:cubicBezTo>
                      <a:pt x="524671" y="580579"/>
                      <a:pt x="506067" y="588170"/>
                      <a:pt x="482124" y="597430"/>
                    </a:cubicBezTo>
                    <a:lnTo>
                      <a:pt x="477285" y="599182"/>
                    </a:lnTo>
                    <a:cubicBezTo>
                      <a:pt x="468442" y="602686"/>
                      <a:pt x="460933" y="606273"/>
                      <a:pt x="454259" y="611111"/>
                    </a:cubicBezTo>
                    <a:cubicBezTo>
                      <a:pt x="453341" y="607608"/>
                      <a:pt x="452924" y="604020"/>
                      <a:pt x="452007" y="600016"/>
                    </a:cubicBezTo>
                    <a:cubicBezTo>
                      <a:pt x="450672" y="590256"/>
                      <a:pt x="449337" y="580496"/>
                      <a:pt x="443581" y="571653"/>
                    </a:cubicBezTo>
                    <a:cubicBezTo>
                      <a:pt x="435154" y="558807"/>
                      <a:pt x="417468" y="549964"/>
                      <a:pt x="402368" y="551716"/>
                    </a:cubicBezTo>
                    <a:cubicBezTo>
                      <a:pt x="393524" y="552633"/>
                      <a:pt x="387267" y="557889"/>
                      <a:pt x="382429" y="561476"/>
                    </a:cubicBezTo>
                    <a:cubicBezTo>
                      <a:pt x="377089" y="565897"/>
                      <a:pt x="374003" y="568149"/>
                      <a:pt x="368663" y="568149"/>
                    </a:cubicBezTo>
                    <a:cubicBezTo>
                      <a:pt x="362907" y="568149"/>
                      <a:pt x="357568" y="565480"/>
                      <a:pt x="351811" y="561976"/>
                    </a:cubicBezTo>
                    <a:cubicBezTo>
                      <a:pt x="345637" y="558890"/>
                      <a:pt x="339380" y="555303"/>
                      <a:pt x="331872" y="554886"/>
                    </a:cubicBezTo>
                    <a:cubicBezTo>
                      <a:pt x="325698" y="553968"/>
                      <a:pt x="320776" y="555803"/>
                      <a:pt x="316355" y="557555"/>
                    </a:cubicBezTo>
                    <a:cubicBezTo>
                      <a:pt x="314102" y="558473"/>
                      <a:pt x="312350" y="558890"/>
                      <a:pt x="310181" y="559307"/>
                    </a:cubicBezTo>
                    <a:cubicBezTo>
                      <a:pt x="307094" y="559724"/>
                      <a:pt x="303507" y="559307"/>
                      <a:pt x="300003" y="558890"/>
                    </a:cubicBezTo>
                    <a:cubicBezTo>
                      <a:pt x="295581" y="558473"/>
                      <a:pt x="290659" y="557555"/>
                      <a:pt x="285820" y="558473"/>
                    </a:cubicBezTo>
                    <a:cubicBezTo>
                      <a:pt x="264964" y="561976"/>
                      <a:pt x="265881" y="574406"/>
                      <a:pt x="266799" y="583249"/>
                    </a:cubicBezTo>
                    <a:cubicBezTo>
                      <a:pt x="267216" y="585501"/>
                      <a:pt x="267216" y="587253"/>
                      <a:pt x="267216" y="589922"/>
                    </a:cubicBezTo>
                    <a:cubicBezTo>
                      <a:pt x="263212" y="586419"/>
                      <a:pt x="258373" y="583249"/>
                      <a:pt x="251282" y="581080"/>
                    </a:cubicBezTo>
                    <a:cubicBezTo>
                      <a:pt x="248195" y="580162"/>
                      <a:pt x="244608" y="580162"/>
                      <a:pt x="241521" y="579745"/>
                    </a:cubicBezTo>
                    <a:cubicBezTo>
                      <a:pt x="236682" y="579328"/>
                      <a:pt x="233512" y="579328"/>
                      <a:pt x="231343" y="577076"/>
                    </a:cubicBezTo>
                    <a:cubicBezTo>
                      <a:pt x="228673" y="574406"/>
                      <a:pt x="228673" y="567732"/>
                      <a:pt x="229090" y="561559"/>
                    </a:cubicBezTo>
                    <a:cubicBezTo>
                      <a:pt x="229507" y="551382"/>
                      <a:pt x="229507" y="535866"/>
                      <a:pt x="214490" y="531444"/>
                    </a:cubicBezTo>
                    <a:cubicBezTo>
                      <a:pt x="194969" y="525271"/>
                      <a:pt x="188795" y="545209"/>
                      <a:pt x="184790" y="557138"/>
                    </a:cubicBezTo>
                    <a:cubicBezTo>
                      <a:pt x="183456" y="562477"/>
                      <a:pt x="180369" y="570903"/>
                      <a:pt x="178116" y="571737"/>
                    </a:cubicBezTo>
                    <a:cubicBezTo>
                      <a:pt x="174612" y="573488"/>
                      <a:pt x="173278" y="573071"/>
                      <a:pt x="166603" y="567315"/>
                    </a:cubicBezTo>
                    <a:cubicBezTo>
                      <a:pt x="161765" y="562894"/>
                      <a:pt x="154173" y="557138"/>
                      <a:pt x="143995" y="557555"/>
                    </a:cubicBezTo>
                    <a:cubicBezTo>
                      <a:pt x="138655" y="557972"/>
                      <a:pt x="134234" y="559807"/>
                      <a:pt x="131147" y="561059"/>
                    </a:cubicBezTo>
                    <a:cubicBezTo>
                      <a:pt x="127643" y="562394"/>
                      <a:pt x="124973" y="563728"/>
                      <a:pt x="121386" y="563311"/>
                    </a:cubicBezTo>
                    <a:cubicBezTo>
                      <a:pt x="118716" y="562894"/>
                      <a:pt x="116964" y="561976"/>
                      <a:pt x="114712" y="560642"/>
                    </a:cubicBezTo>
                    <a:cubicBezTo>
                      <a:pt x="110290" y="558390"/>
                      <a:pt x="104534" y="555303"/>
                      <a:pt x="94356" y="557555"/>
                    </a:cubicBezTo>
                    <a:cubicBezTo>
                      <a:pt x="85012" y="560225"/>
                      <a:pt x="75334" y="564646"/>
                      <a:pt x="65991" y="570402"/>
                    </a:cubicBezTo>
                    <a:cubicBezTo>
                      <a:pt x="61569" y="568149"/>
                      <a:pt x="57147" y="567315"/>
                      <a:pt x="53143" y="566898"/>
                    </a:cubicBezTo>
                    <a:cubicBezTo>
                      <a:pt x="48304" y="565980"/>
                      <a:pt x="44300" y="565563"/>
                      <a:pt x="42548" y="562894"/>
                    </a:cubicBezTo>
                    <a:cubicBezTo>
                      <a:pt x="41213" y="561142"/>
                      <a:pt x="40295" y="558056"/>
                      <a:pt x="39878" y="554886"/>
                    </a:cubicBezTo>
                    <a:cubicBezTo>
                      <a:pt x="38960" y="550465"/>
                      <a:pt x="38543" y="545125"/>
                      <a:pt x="35039" y="541121"/>
                    </a:cubicBezTo>
                    <a:cubicBezTo>
                      <a:pt x="33704" y="539369"/>
                      <a:pt x="32370" y="538035"/>
                      <a:pt x="30618" y="536283"/>
                    </a:cubicBezTo>
                    <a:cubicBezTo>
                      <a:pt x="29700" y="535365"/>
                      <a:pt x="28866" y="534948"/>
                      <a:pt x="27948" y="534031"/>
                    </a:cubicBezTo>
                    <a:cubicBezTo>
                      <a:pt x="25696" y="531361"/>
                      <a:pt x="25278" y="526940"/>
                      <a:pt x="25278" y="522102"/>
                    </a:cubicBezTo>
                    <a:cubicBezTo>
                      <a:pt x="24861" y="507920"/>
                      <a:pt x="26196" y="494156"/>
                      <a:pt x="29283" y="480892"/>
                    </a:cubicBezTo>
                    <a:lnTo>
                      <a:pt x="30618" y="476053"/>
                    </a:lnTo>
                    <a:cubicBezTo>
                      <a:pt x="31953" y="470297"/>
                      <a:pt x="33704" y="464124"/>
                      <a:pt x="33704" y="457451"/>
                    </a:cubicBezTo>
                    <a:cubicBezTo>
                      <a:pt x="34622" y="439765"/>
                      <a:pt x="24861" y="430005"/>
                      <a:pt x="14183" y="419327"/>
                    </a:cubicBezTo>
                    <a:cubicBezTo>
                      <a:pt x="9344" y="414489"/>
                      <a:pt x="5339" y="409150"/>
                      <a:pt x="1752" y="403394"/>
                    </a:cubicBezTo>
                    <a:cubicBezTo>
                      <a:pt x="0" y="400308"/>
                      <a:pt x="0" y="399891"/>
                      <a:pt x="0" y="399891"/>
                    </a:cubicBezTo>
                    <a:cubicBezTo>
                      <a:pt x="417" y="398973"/>
                      <a:pt x="2253" y="397638"/>
                      <a:pt x="3087" y="397221"/>
                    </a:cubicBezTo>
                    <a:lnTo>
                      <a:pt x="34122" y="377284"/>
                    </a:lnTo>
                    <a:cubicBezTo>
                      <a:pt x="40295" y="373279"/>
                      <a:pt x="46552" y="369776"/>
                      <a:pt x="51808" y="370193"/>
                    </a:cubicBezTo>
                    <a:cubicBezTo>
                      <a:pt x="54895" y="370610"/>
                      <a:pt x="57982" y="372445"/>
                      <a:pt x="62904" y="375031"/>
                    </a:cubicBezTo>
                    <a:cubicBezTo>
                      <a:pt x="70913" y="379453"/>
                      <a:pt x="81508" y="384791"/>
                      <a:pt x="93438" y="383457"/>
                    </a:cubicBezTo>
                    <a:cubicBezTo>
                      <a:pt x="102281" y="382539"/>
                      <a:pt x="111625" y="377701"/>
                      <a:pt x="119134" y="369692"/>
                    </a:cubicBezTo>
                    <a:cubicBezTo>
                      <a:pt x="125808" y="362601"/>
                      <a:pt x="130229" y="354593"/>
                      <a:pt x="133733" y="347586"/>
                    </a:cubicBezTo>
                    <a:cubicBezTo>
                      <a:pt x="138155" y="339577"/>
                      <a:pt x="142576" y="329900"/>
                      <a:pt x="141742" y="319640"/>
                    </a:cubicBezTo>
                    <a:cubicBezTo>
                      <a:pt x="140825" y="313884"/>
                      <a:pt x="138655" y="309045"/>
                      <a:pt x="136904" y="304124"/>
                    </a:cubicBezTo>
                    <a:cubicBezTo>
                      <a:pt x="135569" y="300620"/>
                      <a:pt x="133817" y="297033"/>
                      <a:pt x="133400" y="293529"/>
                    </a:cubicBezTo>
                    <a:cubicBezTo>
                      <a:pt x="132982" y="292195"/>
                      <a:pt x="132982" y="290443"/>
                      <a:pt x="132982" y="288691"/>
                    </a:cubicBezTo>
                    <a:cubicBezTo>
                      <a:pt x="132565" y="286439"/>
                      <a:pt x="132565" y="283853"/>
                      <a:pt x="132065" y="281600"/>
                    </a:cubicBezTo>
                    <a:cubicBezTo>
                      <a:pt x="131147" y="276762"/>
                      <a:pt x="129395" y="271840"/>
                      <a:pt x="127226" y="267836"/>
                    </a:cubicBezTo>
                    <a:lnTo>
                      <a:pt x="125474" y="264332"/>
                    </a:lnTo>
                    <a:cubicBezTo>
                      <a:pt x="123221" y="259494"/>
                      <a:pt x="122804" y="255490"/>
                      <a:pt x="123722" y="252820"/>
                    </a:cubicBezTo>
                    <a:cubicBezTo>
                      <a:pt x="124640" y="249734"/>
                      <a:pt x="126809" y="248399"/>
                      <a:pt x="131230" y="246146"/>
                    </a:cubicBezTo>
                    <a:cubicBezTo>
                      <a:pt x="132565" y="245229"/>
                      <a:pt x="133900" y="244812"/>
                      <a:pt x="135235" y="243894"/>
                    </a:cubicBezTo>
                    <a:cubicBezTo>
                      <a:pt x="139657" y="241225"/>
                      <a:pt x="143244" y="237221"/>
                      <a:pt x="146748" y="233717"/>
                    </a:cubicBezTo>
                    <a:cubicBezTo>
                      <a:pt x="149000" y="231464"/>
                      <a:pt x="150252" y="229713"/>
                      <a:pt x="152504" y="227961"/>
                    </a:cubicBezTo>
                    <a:cubicBezTo>
                      <a:pt x="155174" y="225708"/>
                      <a:pt x="157844" y="224457"/>
                      <a:pt x="160513" y="222205"/>
                    </a:cubicBezTo>
                    <a:cubicBezTo>
                      <a:pt x="164935" y="219118"/>
                      <a:pt x="168939" y="216031"/>
                      <a:pt x="172944" y="212027"/>
                    </a:cubicBezTo>
                    <a:cubicBezTo>
                      <a:pt x="176448" y="208524"/>
                      <a:pt x="179117" y="204520"/>
                      <a:pt x="180452" y="200098"/>
                    </a:cubicBezTo>
                    <a:cubicBezTo>
                      <a:pt x="181787" y="196595"/>
                      <a:pt x="181787" y="192090"/>
                      <a:pt x="181787" y="189003"/>
                    </a:cubicBezTo>
                    <a:cubicBezTo>
                      <a:pt x="181370" y="180578"/>
                      <a:pt x="180452" y="171735"/>
                      <a:pt x="179117" y="163310"/>
                    </a:cubicBezTo>
                    <a:cubicBezTo>
                      <a:pt x="178200" y="158471"/>
                      <a:pt x="176865" y="152715"/>
                      <a:pt x="174279" y="147377"/>
                    </a:cubicBezTo>
                    <a:cubicBezTo>
                      <a:pt x="172944" y="145124"/>
                      <a:pt x="171609" y="142538"/>
                      <a:pt x="169857" y="140286"/>
                    </a:cubicBezTo>
                    <a:cubicBezTo>
                      <a:pt x="168939" y="138951"/>
                      <a:pt x="168522" y="137616"/>
                      <a:pt x="167605" y="136282"/>
                    </a:cubicBezTo>
                    <a:cubicBezTo>
                      <a:pt x="163183" y="129191"/>
                      <a:pt x="161431" y="120348"/>
                      <a:pt x="162766" y="112340"/>
                    </a:cubicBezTo>
                    <a:cubicBezTo>
                      <a:pt x="163183" y="110087"/>
                      <a:pt x="163684" y="107502"/>
                      <a:pt x="164101" y="105249"/>
                    </a:cubicBezTo>
                    <a:cubicBezTo>
                      <a:pt x="165018" y="101245"/>
                      <a:pt x="165435" y="96824"/>
                      <a:pt x="165435" y="92820"/>
                    </a:cubicBezTo>
                    <a:cubicBezTo>
                      <a:pt x="165435" y="92402"/>
                      <a:pt x="165435" y="92402"/>
                      <a:pt x="165435" y="92402"/>
                    </a:cubicBezTo>
                    <a:cubicBezTo>
                      <a:pt x="166770" y="91485"/>
                      <a:pt x="167688" y="91068"/>
                      <a:pt x="168939" y="90150"/>
                    </a:cubicBezTo>
                    <a:cubicBezTo>
                      <a:pt x="172443" y="87481"/>
                      <a:pt x="176031" y="85312"/>
                      <a:pt x="179535" y="83476"/>
                    </a:cubicBezTo>
                    <a:cubicBezTo>
                      <a:pt x="188878" y="78638"/>
                      <a:pt x="191965" y="74133"/>
                      <a:pt x="195469" y="68878"/>
                    </a:cubicBezTo>
                    <a:lnTo>
                      <a:pt x="198556" y="64457"/>
                    </a:lnTo>
                    <a:cubicBezTo>
                      <a:pt x="200308" y="62204"/>
                      <a:pt x="202978" y="60035"/>
                      <a:pt x="205230" y="57783"/>
                    </a:cubicBezTo>
                    <a:cubicBezTo>
                      <a:pt x="208317" y="55113"/>
                      <a:pt x="211404" y="52027"/>
                      <a:pt x="213656" y="48940"/>
                    </a:cubicBezTo>
                    <a:cubicBezTo>
                      <a:pt x="218995" y="40932"/>
                      <a:pt x="219413" y="32590"/>
                      <a:pt x="219830" y="25916"/>
                    </a:cubicBezTo>
                    <a:cubicBezTo>
                      <a:pt x="220247" y="16156"/>
                      <a:pt x="220747" y="12152"/>
                      <a:pt x="230008" y="9065"/>
                    </a:cubicBezTo>
                    <a:cubicBezTo>
                      <a:pt x="235347" y="7314"/>
                      <a:pt x="241521" y="8148"/>
                      <a:pt x="248195" y="9065"/>
                    </a:cubicBezTo>
                    <a:cubicBezTo>
                      <a:pt x="251699" y="9483"/>
                      <a:pt x="255286" y="9983"/>
                      <a:pt x="258790" y="10400"/>
                    </a:cubicBezTo>
                    <a:cubicBezTo>
                      <a:pt x="269886" y="10817"/>
                      <a:pt x="277394" y="8148"/>
                      <a:pt x="286238" y="5061"/>
                    </a:cubicBezTo>
                    <a:lnTo>
                      <a:pt x="292912" y="2392"/>
                    </a:lnTo>
                    <a:cubicBezTo>
                      <a:pt x="298668" y="139"/>
                      <a:pt x="302673" y="-695"/>
                      <a:pt x="304842" y="640"/>
                    </a:cubicBezTo>
                    <a:cubicBezTo>
                      <a:pt x="306176" y="1975"/>
                      <a:pt x="307511" y="4143"/>
                      <a:pt x="308346" y="7731"/>
                    </a:cubicBezTo>
                    <a:cubicBezTo>
                      <a:pt x="309680" y="11735"/>
                      <a:pt x="311850" y="17074"/>
                      <a:pt x="316355" y="20994"/>
                    </a:cubicBezTo>
                    <a:cubicBezTo>
                      <a:pt x="321694" y="25416"/>
                      <a:pt x="328285" y="27167"/>
                      <a:pt x="334041" y="29003"/>
                    </a:cubicBezTo>
                    <a:cubicBezTo>
                      <a:pt x="336711" y="29921"/>
                      <a:pt x="339380" y="30338"/>
                      <a:pt x="341549" y="31255"/>
                    </a:cubicBezTo>
                    <a:cubicBezTo>
                      <a:pt x="347723" y="33925"/>
                      <a:pt x="353062" y="37011"/>
                      <a:pt x="359236" y="40598"/>
                    </a:cubicBezTo>
                    <a:cubicBezTo>
                      <a:pt x="362323" y="42851"/>
                      <a:pt x="365910" y="44602"/>
                      <a:pt x="369414" y="46354"/>
                    </a:cubicBezTo>
                    <a:cubicBezTo>
                      <a:pt x="371667" y="47272"/>
                      <a:pt x="373419" y="48607"/>
                      <a:pt x="374753" y="49858"/>
                    </a:cubicBezTo>
                    <a:cubicBezTo>
                      <a:pt x="378758" y="52944"/>
                      <a:pt x="381428" y="56949"/>
                      <a:pt x="383597" y="60953"/>
                    </a:cubicBezTo>
                    <a:cubicBezTo>
                      <a:pt x="385849" y="66292"/>
                      <a:pt x="387101" y="72048"/>
                      <a:pt x="388936" y="78638"/>
                    </a:cubicBezTo>
                    <a:cubicBezTo>
                      <a:pt x="390271" y="83476"/>
                      <a:pt x="391606" y="89232"/>
                      <a:pt x="393775" y="94571"/>
                    </a:cubicBezTo>
                    <a:cubicBezTo>
                      <a:pt x="401784" y="118513"/>
                      <a:pt x="415049" y="121600"/>
                      <a:pt x="429231" y="124686"/>
                    </a:cubicBezTo>
                    <a:cubicBezTo>
                      <a:pt x="434988" y="126021"/>
                      <a:pt x="440744" y="127356"/>
                      <a:pt x="447418" y="130025"/>
                    </a:cubicBezTo>
                    <a:cubicBezTo>
                      <a:pt x="451840" y="132277"/>
                      <a:pt x="456261" y="134863"/>
                      <a:pt x="461184" y="138450"/>
                    </a:cubicBezTo>
                    <a:cubicBezTo>
                      <a:pt x="464270" y="140703"/>
                      <a:pt x="467858" y="142872"/>
                      <a:pt x="470944" y="144624"/>
                    </a:cubicBezTo>
                    <a:cubicBezTo>
                      <a:pt x="478453" y="149045"/>
                      <a:pt x="485127" y="149963"/>
                      <a:pt x="491301" y="151297"/>
                    </a:cubicBezTo>
                    <a:cubicBezTo>
                      <a:pt x="494805" y="152215"/>
                      <a:pt x="498392" y="152632"/>
                      <a:pt x="501896" y="153967"/>
                    </a:cubicBezTo>
                    <a:cubicBezTo>
                      <a:pt x="510322" y="156636"/>
                      <a:pt x="516496" y="166813"/>
                      <a:pt x="522753" y="176991"/>
                    </a:cubicBezTo>
                    <a:cubicBezTo>
                      <a:pt x="525839" y="182330"/>
                      <a:pt x="529427" y="187585"/>
                      <a:pt x="532931" y="192507"/>
                    </a:cubicBezTo>
                    <a:cubicBezTo>
                      <a:pt x="539104" y="200015"/>
                      <a:pt x="552453" y="219952"/>
                      <a:pt x="541357" y="242142"/>
                    </a:cubicBezTo>
                    <a:cubicBezTo>
                      <a:pt x="539104" y="245646"/>
                      <a:pt x="536518" y="249233"/>
                      <a:pt x="532931" y="253237"/>
                    </a:cubicBezTo>
                    <a:cubicBezTo>
                      <a:pt x="525839" y="261663"/>
                      <a:pt x="516996" y="271423"/>
                      <a:pt x="520083" y="286439"/>
                    </a:cubicBezTo>
                    <a:cubicBezTo>
                      <a:pt x="521835" y="296199"/>
                      <a:pt x="531179" y="310797"/>
                      <a:pt x="542191" y="313467"/>
                    </a:cubicBezTo>
                    <a:cubicBezTo>
                      <a:pt x="552786" y="316136"/>
                      <a:pt x="559460" y="310380"/>
                      <a:pt x="564299" y="305959"/>
                    </a:cubicBezTo>
                    <a:cubicBezTo>
                      <a:pt x="567386" y="302872"/>
                      <a:pt x="569638" y="301537"/>
                      <a:pt x="572308" y="301120"/>
                    </a:cubicBezTo>
                    <a:cubicBezTo>
                      <a:pt x="574978" y="301120"/>
                      <a:pt x="577147" y="302038"/>
                      <a:pt x="578065" y="302872"/>
                    </a:cubicBezTo>
                    <a:cubicBezTo>
                      <a:pt x="581151" y="306376"/>
                      <a:pt x="579817" y="316136"/>
                      <a:pt x="578982" y="324144"/>
                    </a:cubicBezTo>
                    <a:cubicBezTo>
                      <a:pt x="578065" y="332570"/>
                      <a:pt x="577230" y="340495"/>
                      <a:pt x="579900" y="346251"/>
                    </a:cubicBezTo>
                    <a:cubicBezTo>
                      <a:pt x="583404" y="355094"/>
                      <a:pt x="596252" y="369275"/>
                      <a:pt x="608682" y="370193"/>
                    </a:cubicBezTo>
                    <a:cubicBezTo>
                      <a:pt x="616191" y="371110"/>
                      <a:pt x="621113" y="367523"/>
                      <a:pt x="625534" y="365354"/>
                    </a:cubicBezTo>
                    <a:cubicBezTo>
                      <a:pt x="628204" y="363603"/>
                      <a:pt x="630373" y="362268"/>
                      <a:pt x="633043" y="362268"/>
                    </a:cubicBezTo>
                    <a:cubicBezTo>
                      <a:pt x="637047" y="361851"/>
                      <a:pt x="640134" y="362685"/>
                      <a:pt x="641886" y="364520"/>
                    </a:cubicBezTo>
                    <a:cubicBezTo>
                      <a:pt x="645390" y="367607"/>
                      <a:pt x="645891" y="375615"/>
                      <a:pt x="646308" y="383123"/>
                    </a:cubicBezTo>
                    <a:cubicBezTo>
                      <a:pt x="646725" y="391966"/>
                      <a:pt x="647643" y="400808"/>
                      <a:pt x="652064" y="407482"/>
                    </a:cubicBezTo>
                    <a:cubicBezTo>
                      <a:pt x="653816" y="410151"/>
                      <a:pt x="656486" y="411486"/>
                      <a:pt x="658238" y="412821"/>
                    </a:cubicBezTo>
                    <a:cubicBezTo>
                      <a:pt x="658655" y="413238"/>
                      <a:pt x="659573" y="413738"/>
                      <a:pt x="659573" y="413738"/>
                    </a:cubicBezTo>
                    <a:cubicBezTo>
                      <a:pt x="661825" y="416825"/>
                      <a:pt x="661825" y="421746"/>
                      <a:pt x="662242" y="426585"/>
                    </a:cubicBezTo>
                    <a:cubicBezTo>
                      <a:pt x="664745" y="429922"/>
                      <a:pt x="665162" y="432091"/>
                      <a:pt x="665579" y="43434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51913068" name="Полилиния 368"/>
              <p:cNvSpPr/>
              <p:nvPr/>
            </p:nvSpPr>
            <p:spPr bwMode="auto">
              <a:xfrm>
                <a:off x="1878278" y="3273504"/>
                <a:ext cx="454300" cy="343820"/>
              </a:xfrm>
              <a:custGeom>
                <a:avLst/>
                <a:gdLst>
                  <a:gd name="connsiteX0" fmla="*/ 77837 w 510195"/>
                  <a:gd name="connsiteY0" fmla="*/ 116257 h 386122"/>
                  <a:gd name="connsiteX1" fmla="*/ 82676 w 510195"/>
                  <a:gd name="connsiteY1" fmla="*/ 73295 h 386122"/>
                  <a:gd name="connsiteX2" fmla="*/ 80006 w 510195"/>
                  <a:gd name="connsiteY2" fmla="*/ 61366 h 386122"/>
                  <a:gd name="connsiteX3" fmla="*/ 86180 w 510195"/>
                  <a:gd name="connsiteY3" fmla="*/ 21908 h 386122"/>
                  <a:gd name="connsiteX4" fmla="*/ 109206 w 510195"/>
                  <a:gd name="connsiteY4" fmla="*/ 19656 h 386122"/>
                  <a:gd name="connsiteX5" fmla="*/ 119384 w 510195"/>
                  <a:gd name="connsiteY5" fmla="*/ 20991 h 386122"/>
                  <a:gd name="connsiteX6" fmla="*/ 124223 w 510195"/>
                  <a:gd name="connsiteY6" fmla="*/ 20991 h 386122"/>
                  <a:gd name="connsiteX7" fmla="*/ 133066 w 510195"/>
                  <a:gd name="connsiteY7" fmla="*/ 19656 h 386122"/>
                  <a:gd name="connsiteX8" fmla="*/ 152588 w 510195"/>
                  <a:gd name="connsiteY8" fmla="*/ 9062 h 386122"/>
                  <a:gd name="connsiteX9" fmla="*/ 168939 w 510195"/>
                  <a:gd name="connsiteY9" fmla="*/ 219 h 386122"/>
                  <a:gd name="connsiteX10" fmla="*/ 180452 w 510195"/>
                  <a:gd name="connsiteY10" fmla="*/ 8227 h 386122"/>
                  <a:gd name="connsiteX11" fmla="*/ 190630 w 510195"/>
                  <a:gd name="connsiteY11" fmla="*/ 20657 h 386122"/>
                  <a:gd name="connsiteX12" fmla="*/ 227839 w 510195"/>
                  <a:gd name="connsiteY12" fmla="*/ 25495 h 386122"/>
                  <a:gd name="connsiteX13" fmla="*/ 233595 w 510195"/>
                  <a:gd name="connsiteY13" fmla="*/ 24578 h 386122"/>
                  <a:gd name="connsiteX14" fmla="*/ 264630 w 510195"/>
                  <a:gd name="connsiteY14" fmla="*/ 32086 h 386122"/>
                  <a:gd name="connsiteX15" fmla="*/ 303173 w 510195"/>
                  <a:gd name="connsiteY15" fmla="*/ 34338 h 386122"/>
                  <a:gd name="connsiteX16" fmla="*/ 317356 w 510195"/>
                  <a:gd name="connsiteY16" fmla="*/ 28999 h 386122"/>
                  <a:gd name="connsiteX17" fmla="*/ 335543 w 510195"/>
                  <a:gd name="connsiteY17" fmla="*/ 34755 h 386122"/>
                  <a:gd name="connsiteX18" fmla="*/ 346138 w 510195"/>
                  <a:gd name="connsiteY18" fmla="*/ 40928 h 386122"/>
                  <a:gd name="connsiteX19" fmla="*/ 351477 w 510195"/>
                  <a:gd name="connsiteY19" fmla="*/ 43180 h 386122"/>
                  <a:gd name="connsiteX20" fmla="*/ 353730 w 510195"/>
                  <a:gd name="connsiteY20" fmla="*/ 44098 h 386122"/>
                  <a:gd name="connsiteX21" fmla="*/ 355065 w 510195"/>
                  <a:gd name="connsiteY21" fmla="*/ 47185 h 386122"/>
                  <a:gd name="connsiteX22" fmla="*/ 352812 w 510195"/>
                  <a:gd name="connsiteY22" fmla="*/ 63118 h 386122"/>
                  <a:gd name="connsiteX23" fmla="*/ 350142 w 510195"/>
                  <a:gd name="connsiteY23" fmla="*/ 79468 h 386122"/>
                  <a:gd name="connsiteX24" fmla="*/ 358151 w 510195"/>
                  <a:gd name="connsiteY24" fmla="*/ 99406 h 386122"/>
                  <a:gd name="connsiteX25" fmla="*/ 391355 w 510195"/>
                  <a:gd name="connsiteY25" fmla="*/ 103827 h 386122"/>
                  <a:gd name="connsiteX26" fmla="*/ 398029 w 510195"/>
                  <a:gd name="connsiteY26" fmla="*/ 102910 h 386122"/>
                  <a:gd name="connsiteX27" fmla="*/ 413964 w 510195"/>
                  <a:gd name="connsiteY27" fmla="*/ 115339 h 386122"/>
                  <a:gd name="connsiteX28" fmla="*/ 429898 w 510195"/>
                  <a:gd name="connsiteY28" fmla="*/ 136194 h 386122"/>
                  <a:gd name="connsiteX29" fmla="*/ 437407 w 510195"/>
                  <a:gd name="connsiteY29" fmla="*/ 145037 h 386122"/>
                  <a:gd name="connsiteX30" fmla="*/ 437824 w 510195"/>
                  <a:gd name="connsiteY30" fmla="*/ 155214 h 386122"/>
                  <a:gd name="connsiteX31" fmla="*/ 447585 w 510195"/>
                  <a:gd name="connsiteY31" fmla="*/ 196007 h 386122"/>
                  <a:gd name="connsiteX32" fmla="*/ 458681 w 510195"/>
                  <a:gd name="connsiteY32" fmla="*/ 207936 h 386122"/>
                  <a:gd name="connsiteX33" fmla="*/ 465355 w 510195"/>
                  <a:gd name="connsiteY33" fmla="*/ 214109 h 386122"/>
                  <a:gd name="connsiteX34" fmla="*/ 471529 w 510195"/>
                  <a:gd name="connsiteY34" fmla="*/ 228291 h 386122"/>
                  <a:gd name="connsiteX35" fmla="*/ 475032 w 510195"/>
                  <a:gd name="connsiteY35" fmla="*/ 238468 h 386122"/>
                  <a:gd name="connsiteX36" fmla="*/ 480789 w 510195"/>
                  <a:gd name="connsiteY36" fmla="*/ 248228 h 386122"/>
                  <a:gd name="connsiteX37" fmla="*/ 480789 w 510195"/>
                  <a:gd name="connsiteY37" fmla="*/ 248645 h 386122"/>
                  <a:gd name="connsiteX38" fmla="*/ 463519 w 510195"/>
                  <a:gd name="connsiteY38" fmla="*/ 289855 h 386122"/>
                  <a:gd name="connsiteX39" fmla="*/ 479037 w 510195"/>
                  <a:gd name="connsiteY39" fmla="*/ 316466 h 386122"/>
                  <a:gd name="connsiteX40" fmla="*/ 485210 w 510195"/>
                  <a:gd name="connsiteY40" fmla="*/ 318718 h 386122"/>
                  <a:gd name="connsiteX41" fmla="*/ 495388 w 510195"/>
                  <a:gd name="connsiteY41" fmla="*/ 328062 h 386122"/>
                  <a:gd name="connsiteX42" fmla="*/ 499393 w 510195"/>
                  <a:gd name="connsiteY42" fmla="*/ 334735 h 386122"/>
                  <a:gd name="connsiteX43" fmla="*/ 509988 w 510195"/>
                  <a:gd name="connsiteY43" fmla="*/ 356008 h 386122"/>
                  <a:gd name="connsiteX44" fmla="*/ 505567 w 510195"/>
                  <a:gd name="connsiteY44" fmla="*/ 379448 h 386122"/>
                  <a:gd name="connsiteX45" fmla="*/ 503314 w 510195"/>
                  <a:gd name="connsiteY45" fmla="*/ 386122 h 386122"/>
                  <a:gd name="connsiteX46" fmla="*/ 502897 w 510195"/>
                  <a:gd name="connsiteY46" fmla="*/ 385705 h 386122"/>
                  <a:gd name="connsiteX47" fmla="*/ 474115 w 510195"/>
                  <a:gd name="connsiteY47" fmla="*/ 370189 h 386122"/>
                  <a:gd name="connsiteX48" fmla="*/ 464354 w 510195"/>
                  <a:gd name="connsiteY48" fmla="*/ 363098 h 386122"/>
                  <a:gd name="connsiteX49" fmla="*/ 445750 w 510195"/>
                  <a:gd name="connsiteY49" fmla="*/ 350668 h 386122"/>
                  <a:gd name="connsiteX50" fmla="*/ 421389 w 510195"/>
                  <a:gd name="connsiteY50" fmla="*/ 350668 h 386122"/>
                  <a:gd name="connsiteX51" fmla="*/ 404120 w 510195"/>
                  <a:gd name="connsiteY51" fmla="*/ 350251 h 386122"/>
                  <a:gd name="connsiteX52" fmla="*/ 397445 w 510195"/>
                  <a:gd name="connsiteY52" fmla="*/ 345830 h 386122"/>
                  <a:gd name="connsiteX53" fmla="*/ 380176 w 510195"/>
                  <a:gd name="connsiteY53" fmla="*/ 337405 h 386122"/>
                  <a:gd name="connsiteX54" fmla="*/ 370832 w 510195"/>
                  <a:gd name="connsiteY54" fmla="*/ 336487 h 386122"/>
                  <a:gd name="connsiteX55" fmla="*/ 361488 w 510195"/>
                  <a:gd name="connsiteY55" fmla="*/ 331649 h 386122"/>
                  <a:gd name="connsiteX56" fmla="*/ 356650 w 510195"/>
                  <a:gd name="connsiteY56" fmla="*/ 320137 h 386122"/>
                  <a:gd name="connsiteX57" fmla="*/ 344219 w 510195"/>
                  <a:gd name="connsiteY57" fmla="*/ 299782 h 386122"/>
                  <a:gd name="connsiteX58" fmla="*/ 340715 w 510195"/>
                  <a:gd name="connsiteY58" fmla="*/ 296696 h 386122"/>
                  <a:gd name="connsiteX59" fmla="*/ 305259 w 510195"/>
                  <a:gd name="connsiteY59" fmla="*/ 276341 h 386122"/>
                  <a:gd name="connsiteX60" fmla="*/ 278229 w 510195"/>
                  <a:gd name="connsiteY60" fmla="*/ 294944 h 386122"/>
                  <a:gd name="connsiteX61" fmla="*/ 271137 w 510195"/>
                  <a:gd name="connsiteY61" fmla="*/ 306873 h 386122"/>
                  <a:gd name="connsiteX62" fmla="*/ 241437 w 510195"/>
                  <a:gd name="connsiteY62" fmla="*/ 313963 h 386122"/>
                  <a:gd name="connsiteX63" fmla="*/ 221915 w 510195"/>
                  <a:gd name="connsiteY63" fmla="*/ 316216 h 386122"/>
                  <a:gd name="connsiteX64" fmla="*/ 185124 w 510195"/>
                  <a:gd name="connsiteY64" fmla="*/ 310043 h 386122"/>
                  <a:gd name="connsiteX65" fmla="*/ 177115 w 510195"/>
                  <a:gd name="connsiteY65" fmla="*/ 305204 h 386122"/>
                  <a:gd name="connsiteX66" fmla="*/ 146998 w 510195"/>
                  <a:gd name="connsiteY66" fmla="*/ 296362 h 386122"/>
                  <a:gd name="connsiteX67" fmla="*/ 129729 w 510195"/>
                  <a:gd name="connsiteY67" fmla="*/ 292858 h 386122"/>
                  <a:gd name="connsiteX68" fmla="*/ 100529 w 510195"/>
                  <a:gd name="connsiteY68" fmla="*/ 284850 h 386122"/>
                  <a:gd name="connsiteX69" fmla="*/ 73499 w 510195"/>
                  <a:gd name="connsiteY69" fmla="*/ 277759 h 386122"/>
                  <a:gd name="connsiteX70" fmla="*/ 56230 w 510195"/>
                  <a:gd name="connsiteY70" fmla="*/ 275090 h 386122"/>
                  <a:gd name="connsiteX71" fmla="*/ 38543 w 510195"/>
                  <a:gd name="connsiteY71" fmla="*/ 271586 h 386122"/>
                  <a:gd name="connsiteX72" fmla="*/ 24778 w 510195"/>
                  <a:gd name="connsiteY72" fmla="*/ 257404 h 386122"/>
                  <a:gd name="connsiteX73" fmla="*/ 0 w 510195"/>
                  <a:gd name="connsiteY73" fmla="*/ 236549 h 386122"/>
                  <a:gd name="connsiteX74" fmla="*/ 0 w 510195"/>
                  <a:gd name="connsiteY74" fmla="*/ 218364 h 386122"/>
                  <a:gd name="connsiteX75" fmla="*/ 1335 w 510195"/>
                  <a:gd name="connsiteY75" fmla="*/ 207269 h 386122"/>
                  <a:gd name="connsiteX76" fmla="*/ 7091 w 510195"/>
                  <a:gd name="connsiteY76" fmla="*/ 204599 h 386122"/>
                  <a:gd name="connsiteX77" fmla="*/ 21691 w 510195"/>
                  <a:gd name="connsiteY77" fmla="*/ 195757 h 386122"/>
                  <a:gd name="connsiteX78" fmla="*/ 28365 w 510195"/>
                  <a:gd name="connsiteY78" fmla="*/ 176236 h 386122"/>
                  <a:gd name="connsiteX79" fmla="*/ 35874 w 510195"/>
                  <a:gd name="connsiteY79" fmla="*/ 160303 h 386122"/>
                  <a:gd name="connsiteX80" fmla="*/ 77837 w 510195"/>
                  <a:gd name="connsiteY80" fmla="*/ 116257 h 386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510195" h="386122" extrusionOk="0">
                    <a:moveTo>
                      <a:pt x="77837" y="116257"/>
                    </a:moveTo>
                    <a:cubicBezTo>
                      <a:pt x="88933" y="98572"/>
                      <a:pt x="86263" y="86559"/>
                      <a:pt x="82676" y="73295"/>
                    </a:cubicBezTo>
                    <a:cubicBezTo>
                      <a:pt x="81758" y="69792"/>
                      <a:pt x="80924" y="65788"/>
                      <a:pt x="80006" y="61366"/>
                    </a:cubicBezTo>
                    <a:cubicBezTo>
                      <a:pt x="77337" y="47185"/>
                      <a:pt x="78671" y="28165"/>
                      <a:pt x="86180" y="21908"/>
                    </a:cubicBezTo>
                    <a:cubicBezTo>
                      <a:pt x="91019" y="17487"/>
                      <a:pt x="99945" y="18822"/>
                      <a:pt x="109206" y="19656"/>
                    </a:cubicBezTo>
                    <a:cubicBezTo>
                      <a:pt x="112293" y="20073"/>
                      <a:pt x="115880" y="20574"/>
                      <a:pt x="119384" y="20991"/>
                    </a:cubicBezTo>
                    <a:lnTo>
                      <a:pt x="124223" y="20991"/>
                    </a:lnTo>
                    <a:cubicBezTo>
                      <a:pt x="127309" y="20574"/>
                      <a:pt x="130396" y="20073"/>
                      <a:pt x="133066" y="19656"/>
                    </a:cubicBezTo>
                    <a:cubicBezTo>
                      <a:pt x="141075" y="17404"/>
                      <a:pt x="147248" y="12982"/>
                      <a:pt x="152588" y="9062"/>
                    </a:cubicBezTo>
                    <a:cubicBezTo>
                      <a:pt x="157927" y="5057"/>
                      <a:pt x="162766" y="1554"/>
                      <a:pt x="168939" y="219"/>
                    </a:cubicBezTo>
                    <a:cubicBezTo>
                      <a:pt x="175113" y="-699"/>
                      <a:pt x="176031" y="1137"/>
                      <a:pt x="180452" y="8227"/>
                    </a:cubicBezTo>
                    <a:cubicBezTo>
                      <a:pt x="183122" y="12649"/>
                      <a:pt x="185792" y="17070"/>
                      <a:pt x="190630" y="20657"/>
                    </a:cubicBezTo>
                    <a:cubicBezTo>
                      <a:pt x="203061" y="30417"/>
                      <a:pt x="216326" y="27748"/>
                      <a:pt x="227839" y="25495"/>
                    </a:cubicBezTo>
                    <a:lnTo>
                      <a:pt x="233595" y="24578"/>
                    </a:lnTo>
                    <a:cubicBezTo>
                      <a:pt x="249947" y="21908"/>
                      <a:pt x="253117" y="22826"/>
                      <a:pt x="264630" y="32086"/>
                    </a:cubicBezTo>
                    <a:cubicBezTo>
                      <a:pt x="280982" y="44515"/>
                      <a:pt x="292578" y="38759"/>
                      <a:pt x="303173" y="34338"/>
                    </a:cubicBezTo>
                    <a:cubicBezTo>
                      <a:pt x="307595" y="32086"/>
                      <a:pt x="312016" y="30334"/>
                      <a:pt x="317356" y="28999"/>
                    </a:cubicBezTo>
                    <a:cubicBezTo>
                      <a:pt x="324030" y="27664"/>
                      <a:pt x="328451" y="30334"/>
                      <a:pt x="335543" y="34755"/>
                    </a:cubicBezTo>
                    <a:cubicBezTo>
                      <a:pt x="338630" y="37007"/>
                      <a:pt x="342217" y="39176"/>
                      <a:pt x="346138" y="40928"/>
                    </a:cubicBezTo>
                    <a:cubicBezTo>
                      <a:pt x="348390" y="41846"/>
                      <a:pt x="349642" y="42263"/>
                      <a:pt x="351477" y="43180"/>
                    </a:cubicBezTo>
                    <a:cubicBezTo>
                      <a:pt x="352395" y="43598"/>
                      <a:pt x="353229" y="44098"/>
                      <a:pt x="353730" y="44098"/>
                    </a:cubicBezTo>
                    <a:cubicBezTo>
                      <a:pt x="353730" y="44098"/>
                      <a:pt x="354147" y="44515"/>
                      <a:pt x="355065" y="47185"/>
                    </a:cubicBezTo>
                    <a:cubicBezTo>
                      <a:pt x="355982" y="50271"/>
                      <a:pt x="354147" y="57362"/>
                      <a:pt x="352812" y="63118"/>
                    </a:cubicBezTo>
                    <a:cubicBezTo>
                      <a:pt x="351477" y="68874"/>
                      <a:pt x="350142" y="74630"/>
                      <a:pt x="350142" y="79468"/>
                    </a:cubicBezTo>
                    <a:cubicBezTo>
                      <a:pt x="350560" y="88311"/>
                      <a:pt x="353229" y="94985"/>
                      <a:pt x="358151" y="99406"/>
                    </a:cubicBezTo>
                    <a:cubicBezTo>
                      <a:pt x="366578" y="106497"/>
                      <a:pt x="379425" y="105162"/>
                      <a:pt x="391355" y="103827"/>
                    </a:cubicBezTo>
                    <a:lnTo>
                      <a:pt x="398029" y="102910"/>
                    </a:lnTo>
                    <a:cubicBezTo>
                      <a:pt x="412212" y="101575"/>
                      <a:pt x="412212" y="101575"/>
                      <a:pt x="413964" y="115339"/>
                    </a:cubicBezTo>
                    <a:cubicBezTo>
                      <a:pt x="415299" y="129521"/>
                      <a:pt x="424142" y="133525"/>
                      <a:pt x="429898" y="136194"/>
                    </a:cubicBezTo>
                    <a:cubicBezTo>
                      <a:pt x="435238" y="138447"/>
                      <a:pt x="436990" y="139281"/>
                      <a:pt x="437407" y="145037"/>
                    </a:cubicBezTo>
                    <a:cubicBezTo>
                      <a:pt x="437824" y="148541"/>
                      <a:pt x="437824" y="151711"/>
                      <a:pt x="437824" y="155214"/>
                    </a:cubicBezTo>
                    <a:cubicBezTo>
                      <a:pt x="438742" y="168478"/>
                      <a:pt x="439159" y="182242"/>
                      <a:pt x="447585" y="196007"/>
                    </a:cubicBezTo>
                    <a:cubicBezTo>
                      <a:pt x="451089" y="201346"/>
                      <a:pt x="455093" y="204849"/>
                      <a:pt x="458681" y="207936"/>
                    </a:cubicBezTo>
                    <a:cubicBezTo>
                      <a:pt x="460933" y="209688"/>
                      <a:pt x="463519" y="211440"/>
                      <a:pt x="465355" y="214109"/>
                    </a:cubicBezTo>
                    <a:cubicBezTo>
                      <a:pt x="468442" y="217613"/>
                      <a:pt x="470194" y="222535"/>
                      <a:pt x="471529" y="228291"/>
                    </a:cubicBezTo>
                    <a:cubicBezTo>
                      <a:pt x="472446" y="231377"/>
                      <a:pt x="473781" y="234964"/>
                      <a:pt x="475032" y="238468"/>
                    </a:cubicBezTo>
                    <a:cubicBezTo>
                      <a:pt x="476367" y="241972"/>
                      <a:pt x="478536" y="245141"/>
                      <a:pt x="480789" y="248228"/>
                    </a:cubicBezTo>
                    <a:lnTo>
                      <a:pt x="480789" y="248645"/>
                    </a:lnTo>
                    <a:cubicBezTo>
                      <a:pt x="475950" y="257071"/>
                      <a:pt x="466189" y="277842"/>
                      <a:pt x="463519" y="289855"/>
                    </a:cubicBezTo>
                    <a:cubicBezTo>
                      <a:pt x="460016" y="305788"/>
                      <a:pt x="463102" y="310710"/>
                      <a:pt x="479037" y="316466"/>
                    </a:cubicBezTo>
                    <a:lnTo>
                      <a:pt x="485210" y="318718"/>
                    </a:lnTo>
                    <a:cubicBezTo>
                      <a:pt x="490550" y="320470"/>
                      <a:pt x="490550" y="320470"/>
                      <a:pt x="495388" y="328062"/>
                    </a:cubicBezTo>
                    <a:cubicBezTo>
                      <a:pt x="496306" y="330314"/>
                      <a:pt x="498058" y="332066"/>
                      <a:pt x="499393" y="334735"/>
                    </a:cubicBezTo>
                    <a:cubicBezTo>
                      <a:pt x="503815" y="341409"/>
                      <a:pt x="509154" y="350251"/>
                      <a:pt x="509988" y="356008"/>
                    </a:cubicBezTo>
                    <a:cubicBezTo>
                      <a:pt x="510906" y="363098"/>
                      <a:pt x="508653" y="371523"/>
                      <a:pt x="505567" y="379448"/>
                    </a:cubicBezTo>
                    <a:cubicBezTo>
                      <a:pt x="504649" y="381701"/>
                      <a:pt x="504232" y="383870"/>
                      <a:pt x="503314" y="386122"/>
                    </a:cubicBezTo>
                    <a:cubicBezTo>
                      <a:pt x="502897" y="386122"/>
                      <a:pt x="502897" y="385705"/>
                      <a:pt x="502897" y="385705"/>
                    </a:cubicBezTo>
                    <a:cubicBezTo>
                      <a:pt x="492302" y="380366"/>
                      <a:pt x="482958" y="375945"/>
                      <a:pt x="474115" y="370189"/>
                    </a:cubicBezTo>
                    <a:cubicBezTo>
                      <a:pt x="471028" y="367937"/>
                      <a:pt x="467941" y="365350"/>
                      <a:pt x="464354" y="363098"/>
                    </a:cubicBezTo>
                    <a:cubicBezTo>
                      <a:pt x="458597" y="358260"/>
                      <a:pt x="452424" y="353338"/>
                      <a:pt x="445750" y="350668"/>
                    </a:cubicBezTo>
                    <a:cubicBezTo>
                      <a:pt x="435989" y="346664"/>
                      <a:pt x="427562" y="348917"/>
                      <a:pt x="421389" y="350668"/>
                    </a:cubicBezTo>
                    <a:cubicBezTo>
                      <a:pt x="415215" y="352420"/>
                      <a:pt x="410293" y="353755"/>
                      <a:pt x="404120" y="350251"/>
                    </a:cubicBezTo>
                    <a:cubicBezTo>
                      <a:pt x="401450" y="348917"/>
                      <a:pt x="399281" y="347165"/>
                      <a:pt x="397445" y="345830"/>
                    </a:cubicBezTo>
                    <a:cubicBezTo>
                      <a:pt x="393024" y="342743"/>
                      <a:pt x="388602" y="339157"/>
                      <a:pt x="380176" y="337405"/>
                    </a:cubicBezTo>
                    <a:cubicBezTo>
                      <a:pt x="376672" y="336487"/>
                      <a:pt x="373502" y="336487"/>
                      <a:pt x="370832" y="336487"/>
                    </a:cubicBezTo>
                    <a:cubicBezTo>
                      <a:pt x="365493" y="336070"/>
                      <a:pt x="364659" y="336070"/>
                      <a:pt x="361488" y="331649"/>
                    </a:cubicBezTo>
                    <a:cubicBezTo>
                      <a:pt x="358819" y="327228"/>
                      <a:pt x="357985" y="323640"/>
                      <a:pt x="356650" y="320137"/>
                    </a:cubicBezTo>
                    <a:cubicBezTo>
                      <a:pt x="355315" y="313963"/>
                      <a:pt x="353146" y="306873"/>
                      <a:pt x="344219" y="299782"/>
                    </a:cubicBezTo>
                    <a:lnTo>
                      <a:pt x="340715" y="296696"/>
                    </a:lnTo>
                    <a:cubicBezTo>
                      <a:pt x="330537" y="288270"/>
                      <a:pt x="318607" y="278093"/>
                      <a:pt x="305259" y="276341"/>
                    </a:cubicBezTo>
                    <a:cubicBezTo>
                      <a:pt x="287072" y="274089"/>
                      <a:pt x="281816" y="286518"/>
                      <a:pt x="278229" y="294944"/>
                    </a:cubicBezTo>
                    <a:cubicBezTo>
                      <a:pt x="275976" y="299782"/>
                      <a:pt x="274725" y="304287"/>
                      <a:pt x="271137" y="306873"/>
                    </a:cubicBezTo>
                    <a:cubicBezTo>
                      <a:pt x="264046" y="312629"/>
                      <a:pt x="252950" y="313546"/>
                      <a:pt x="241437" y="313963"/>
                    </a:cubicBezTo>
                    <a:cubicBezTo>
                      <a:pt x="234763" y="314380"/>
                      <a:pt x="228172" y="314881"/>
                      <a:pt x="221915" y="316216"/>
                    </a:cubicBezTo>
                    <a:cubicBezTo>
                      <a:pt x="202393" y="320637"/>
                      <a:pt x="198890" y="318468"/>
                      <a:pt x="185124" y="310043"/>
                    </a:cubicBezTo>
                    <a:lnTo>
                      <a:pt x="177115" y="305204"/>
                    </a:lnTo>
                    <a:cubicBezTo>
                      <a:pt x="166937" y="299448"/>
                      <a:pt x="156759" y="297696"/>
                      <a:pt x="146998" y="296362"/>
                    </a:cubicBezTo>
                    <a:cubicBezTo>
                      <a:pt x="140824" y="295444"/>
                      <a:pt x="135068" y="294610"/>
                      <a:pt x="129729" y="292858"/>
                    </a:cubicBezTo>
                    <a:cubicBezTo>
                      <a:pt x="119968" y="289771"/>
                      <a:pt x="110207" y="287519"/>
                      <a:pt x="100529" y="284850"/>
                    </a:cubicBezTo>
                    <a:cubicBezTo>
                      <a:pt x="91686" y="282598"/>
                      <a:pt x="82843" y="280429"/>
                      <a:pt x="73499" y="277759"/>
                    </a:cubicBezTo>
                    <a:cubicBezTo>
                      <a:pt x="67325" y="275507"/>
                      <a:pt x="61569" y="275507"/>
                      <a:pt x="56230" y="275090"/>
                    </a:cubicBezTo>
                    <a:cubicBezTo>
                      <a:pt x="49556" y="274673"/>
                      <a:pt x="43799" y="274673"/>
                      <a:pt x="38543" y="271586"/>
                    </a:cubicBezTo>
                    <a:cubicBezTo>
                      <a:pt x="33704" y="268499"/>
                      <a:pt x="29199" y="263160"/>
                      <a:pt x="24778" y="257404"/>
                    </a:cubicBezTo>
                    <a:cubicBezTo>
                      <a:pt x="18604" y="249396"/>
                      <a:pt x="10595" y="240136"/>
                      <a:pt x="0" y="236549"/>
                    </a:cubicBezTo>
                    <a:lnTo>
                      <a:pt x="0" y="218364"/>
                    </a:lnTo>
                    <a:cubicBezTo>
                      <a:pt x="0" y="215277"/>
                      <a:pt x="0" y="208603"/>
                      <a:pt x="1335" y="207269"/>
                    </a:cubicBezTo>
                    <a:cubicBezTo>
                      <a:pt x="2670" y="205934"/>
                      <a:pt x="4422" y="205517"/>
                      <a:pt x="7091" y="204599"/>
                    </a:cubicBezTo>
                    <a:cubicBezTo>
                      <a:pt x="11513" y="203682"/>
                      <a:pt x="17269" y="201930"/>
                      <a:pt x="21691" y="195757"/>
                    </a:cubicBezTo>
                    <a:cubicBezTo>
                      <a:pt x="26530" y="188666"/>
                      <a:pt x="27447" y="181992"/>
                      <a:pt x="28365" y="176236"/>
                    </a:cubicBezTo>
                    <a:cubicBezTo>
                      <a:pt x="29283" y="169563"/>
                      <a:pt x="30117" y="165141"/>
                      <a:pt x="35874" y="160303"/>
                    </a:cubicBezTo>
                    <a:cubicBezTo>
                      <a:pt x="53894" y="145120"/>
                      <a:pt x="66741" y="133608"/>
                      <a:pt x="77837" y="11625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2066364" name="Полилиния 369"/>
              <p:cNvSpPr/>
              <p:nvPr/>
            </p:nvSpPr>
            <p:spPr bwMode="auto">
              <a:xfrm>
                <a:off x="2002412" y="4184776"/>
                <a:ext cx="344224" cy="265986"/>
              </a:xfrm>
              <a:custGeom>
                <a:avLst/>
                <a:gdLst>
                  <a:gd name="connsiteX0" fmla="*/ 45217 w 386576"/>
                  <a:gd name="connsiteY0" fmla="*/ 220714 h 298712"/>
                  <a:gd name="connsiteX1" fmla="*/ 35456 w 386576"/>
                  <a:gd name="connsiteY1" fmla="*/ 208785 h 298712"/>
                  <a:gd name="connsiteX2" fmla="*/ 28782 w 386576"/>
                  <a:gd name="connsiteY2" fmla="*/ 200777 h 298712"/>
                  <a:gd name="connsiteX3" fmla="*/ 19021 w 386576"/>
                  <a:gd name="connsiteY3" fmla="*/ 176418 h 298712"/>
                  <a:gd name="connsiteX4" fmla="*/ 14600 w 386576"/>
                  <a:gd name="connsiteY4" fmla="*/ 162654 h 298712"/>
                  <a:gd name="connsiteX5" fmla="*/ 4422 w 386576"/>
                  <a:gd name="connsiteY5" fmla="*/ 140047 h 298712"/>
                  <a:gd name="connsiteX6" fmla="*/ 0 w 386576"/>
                  <a:gd name="connsiteY6" fmla="*/ 131622 h 298712"/>
                  <a:gd name="connsiteX7" fmla="*/ 27948 w 386576"/>
                  <a:gd name="connsiteY7" fmla="*/ 84656 h 298712"/>
                  <a:gd name="connsiteX8" fmla="*/ 33704 w 386576"/>
                  <a:gd name="connsiteY8" fmla="*/ 72727 h 298712"/>
                  <a:gd name="connsiteX9" fmla="*/ 38543 w 386576"/>
                  <a:gd name="connsiteY9" fmla="*/ 62549 h 298712"/>
                  <a:gd name="connsiteX10" fmla="*/ 42047 w 386576"/>
                  <a:gd name="connsiteY10" fmla="*/ 54541 h 298712"/>
                  <a:gd name="connsiteX11" fmla="*/ 53143 w 386576"/>
                  <a:gd name="connsiteY11" fmla="*/ 39442 h 298712"/>
                  <a:gd name="connsiteX12" fmla="*/ 61569 w 386576"/>
                  <a:gd name="connsiteY12" fmla="*/ 35938 h 298712"/>
                  <a:gd name="connsiteX13" fmla="*/ 69995 w 386576"/>
                  <a:gd name="connsiteY13" fmla="*/ 32852 h 298712"/>
                  <a:gd name="connsiteX14" fmla="*/ 84595 w 386576"/>
                  <a:gd name="connsiteY14" fmla="*/ 17753 h 298712"/>
                  <a:gd name="connsiteX15" fmla="*/ 91686 w 386576"/>
                  <a:gd name="connsiteY15" fmla="*/ 9744 h 298712"/>
                  <a:gd name="connsiteX16" fmla="*/ 108038 w 386576"/>
                  <a:gd name="connsiteY16" fmla="*/ 12414 h 298712"/>
                  <a:gd name="connsiteX17" fmla="*/ 114211 w 386576"/>
                  <a:gd name="connsiteY17" fmla="*/ 14666 h 298712"/>
                  <a:gd name="connsiteX18" fmla="*/ 151837 w 386576"/>
                  <a:gd name="connsiteY18" fmla="*/ 17335 h 298712"/>
                  <a:gd name="connsiteX19" fmla="*/ 165602 w 386576"/>
                  <a:gd name="connsiteY19" fmla="*/ 11162 h 298712"/>
                  <a:gd name="connsiteX20" fmla="*/ 181120 w 386576"/>
                  <a:gd name="connsiteY20" fmla="*/ 4989 h 298712"/>
                  <a:gd name="connsiteX21" fmla="*/ 193550 w 386576"/>
                  <a:gd name="connsiteY21" fmla="*/ 9828 h 298712"/>
                  <a:gd name="connsiteX22" fmla="*/ 210820 w 386576"/>
                  <a:gd name="connsiteY22" fmla="*/ 16001 h 298712"/>
                  <a:gd name="connsiteX23" fmla="*/ 228089 w 386576"/>
                  <a:gd name="connsiteY23" fmla="*/ 7992 h 298712"/>
                  <a:gd name="connsiteX24" fmla="*/ 233428 w 386576"/>
                  <a:gd name="connsiteY24" fmla="*/ 3988 h 298712"/>
                  <a:gd name="connsiteX25" fmla="*/ 272389 w 386576"/>
                  <a:gd name="connsiteY25" fmla="*/ 484 h 298712"/>
                  <a:gd name="connsiteX26" fmla="*/ 282984 w 386576"/>
                  <a:gd name="connsiteY26" fmla="*/ 15083 h 298712"/>
                  <a:gd name="connsiteX27" fmla="*/ 287823 w 386576"/>
                  <a:gd name="connsiteY27" fmla="*/ 19922 h 298712"/>
                  <a:gd name="connsiteX28" fmla="*/ 288740 w 386576"/>
                  <a:gd name="connsiteY28" fmla="*/ 26595 h 298712"/>
                  <a:gd name="connsiteX29" fmla="*/ 298501 w 386576"/>
                  <a:gd name="connsiteY29" fmla="*/ 45198 h 298712"/>
                  <a:gd name="connsiteX30" fmla="*/ 310014 w 386576"/>
                  <a:gd name="connsiteY30" fmla="*/ 49619 h 298712"/>
                  <a:gd name="connsiteX31" fmla="*/ 318023 w 386576"/>
                  <a:gd name="connsiteY31" fmla="*/ 53123 h 298712"/>
                  <a:gd name="connsiteX32" fmla="*/ 322445 w 386576"/>
                  <a:gd name="connsiteY32" fmla="*/ 65552 h 298712"/>
                  <a:gd name="connsiteX33" fmla="*/ 329536 w 386576"/>
                  <a:gd name="connsiteY33" fmla="*/ 83738 h 298712"/>
                  <a:gd name="connsiteX34" fmla="*/ 360988 w 386576"/>
                  <a:gd name="connsiteY34" fmla="*/ 117440 h 298712"/>
                  <a:gd name="connsiteX35" fmla="*/ 357901 w 386576"/>
                  <a:gd name="connsiteY35" fmla="*/ 131204 h 298712"/>
                  <a:gd name="connsiteX36" fmla="*/ 375170 w 386576"/>
                  <a:gd name="connsiteY36" fmla="*/ 159984 h 298712"/>
                  <a:gd name="connsiteX37" fmla="*/ 383597 w 386576"/>
                  <a:gd name="connsiteY37" fmla="*/ 167993 h 298712"/>
                  <a:gd name="connsiteX38" fmla="*/ 386266 w 386576"/>
                  <a:gd name="connsiteY38" fmla="*/ 175084 h 298712"/>
                  <a:gd name="connsiteX39" fmla="*/ 378758 w 386576"/>
                  <a:gd name="connsiteY39" fmla="*/ 183509 h 298712"/>
                  <a:gd name="connsiteX40" fmla="*/ 375671 w 386576"/>
                  <a:gd name="connsiteY40" fmla="*/ 186596 h 298712"/>
                  <a:gd name="connsiteX41" fmla="*/ 373419 w 386576"/>
                  <a:gd name="connsiteY41" fmla="*/ 188848 h 298712"/>
                  <a:gd name="connsiteX42" fmla="*/ 360988 w 386576"/>
                  <a:gd name="connsiteY42" fmla="*/ 210537 h 298712"/>
                  <a:gd name="connsiteX43" fmla="*/ 355649 w 386576"/>
                  <a:gd name="connsiteY43" fmla="*/ 222466 h 298712"/>
                  <a:gd name="connsiteX44" fmla="*/ 333958 w 386576"/>
                  <a:gd name="connsiteY44" fmla="*/ 240652 h 298712"/>
                  <a:gd name="connsiteX45" fmla="*/ 310515 w 386576"/>
                  <a:gd name="connsiteY45" fmla="*/ 258838 h 298712"/>
                  <a:gd name="connsiteX46" fmla="*/ 300337 w 386576"/>
                  <a:gd name="connsiteY46" fmla="*/ 273019 h 298712"/>
                  <a:gd name="connsiteX47" fmla="*/ 286154 w 386576"/>
                  <a:gd name="connsiteY47" fmla="*/ 291622 h 298712"/>
                  <a:gd name="connsiteX48" fmla="*/ 266632 w 386576"/>
                  <a:gd name="connsiteY48" fmla="*/ 298296 h 298712"/>
                  <a:gd name="connsiteX49" fmla="*/ 260459 w 386576"/>
                  <a:gd name="connsiteY49" fmla="*/ 298713 h 298712"/>
                  <a:gd name="connsiteX50" fmla="*/ 260041 w 386576"/>
                  <a:gd name="connsiteY50" fmla="*/ 298713 h 298712"/>
                  <a:gd name="connsiteX51" fmla="*/ 201976 w 386576"/>
                  <a:gd name="connsiteY51" fmla="*/ 263259 h 298712"/>
                  <a:gd name="connsiteX52" fmla="*/ 186042 w 386576"/>
                  <a:gd name="connsiteY52" fmla="*/ 261507 h 298712"/>
                  <a:gd name="connsiteX53" fmla="*/ 177616 w 386576"/>
                  <a:gd name="connsiteY53" fmla="*/ 269933 h 298712"/>
                  <a:gd name="connsiteX54" fmla="*/ 159929 w 386576"/>
                  <a:gd name="connsiteY54" fmla="*/ 279693 h 298712"/>
                  <a:gd name="connsiteX55" fmla="*/ 140407 w 386576"/>
                  <a:gd name="connsiteY55" fmla="*/ 274855 h 298712"/>
                  <a:gd name="connsiteX56" fmla="*/ 128477 w 386576"/>
                  <a:gd name="connsiteY56" fmla="*/ 260256 h 298712"/>
                  <a:gd name="connsiteX57" fmla="*/ 123138 w 386576"/>
                  <a:gd name="connsiteY57" fmla="*/ 252248 h 298712"/>
                  <a:gd name="connsiteX58" fmla="*/ 91269 w 386576"/>
                  <a:gd name="connsiteY58" fmla="*/ 234979 h 298712"/>
                  <a:gd name="connsiteX59" fmla="*/ 83260 w 386576"/>
                  <a:gd name="connsiteY59" fmla="*/ 236731 h 298712"/>
                  <a:gd name="connsiteX60" fmla="*/ 78838 w 386576"/>
                  <a:gd name="connsiteY60" fmla="*/ 237649 h 298712"/>
                  <a:gd name="connsiteX61" fmla="*/ 61152 w 386576"/>
                  <a:gd name="connsiteY61" fmla="*/ 235397 h 298712"/>
                  <a:gd name="connsiteX62" fmla="*/ 54478 w 386576"/>
                  <a:gd name="connsiteY62" fmla="*/ 233144 h 298712"/>
                  <a:gd name="connsiteX63" fmla="*/ 49138 w 386576"/>
                  <a:gd name="connsiteY63" fmla="*/ 230058 h 298712"/>
                  <a:gd name="connsiteX64" fmla="*/ 46052 w 386576"/>
                  <a:gd name="connsiteY64" fmla="*/ 224719 h 298712"/>
                  <a:gd name="connsiteX65" fmla="*/ 45217 w 386576"/>
                  <a:gd name="connsiteY65" fmla="*/ 220714 h 298712"/>
                  <a:gd name="connsiteX66" fmla="*/ 45217 w 386576"/>
                  <a:gd name="connsiteY66" fmla="*/ 220714 h 29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86576" h="298712" extrusionOk="0">
                    <a:moveTo>
                      <a:pt x="45217" y="220714"/>
                    </a:moveTo>
                    <a:cubicBezTo>
                      <a:pt x="42548" y="215876"/>
                      <a:pt x="39044" y="212289"/>
                      <a:pt x="35456" y="208785"/>
                    </a:cubicBezTo>
                    <a:cubicBezTo>
                      <a:pt x="32787" y="206533"/>
                      <a:pt x="30618" y="203947"/>
                      <a:pt x="28782" y="200777"/>
                    </a:cubicBezTo>
                    <a:cubicBezTo>
                      <a:pt x="23943" y="194103"/>
                      <a:pt x="21691" y="185261"/>
                      <a:pt x="19021" y="176418"/>
                    </a:cubicBezTo>
                    <a:cubicBezTo>
                      <a:pt x="17686" y="171580"/>
                      <a:pt x="16352" y="167075"/>
                      <a:pt x="14600" y="162654"/>
                    </a:cubicBezTo>
                    <a:cubicBezTo>
                      <a:pt x="11930" y="154646"/>
                      <a:pt x="7926" y="147138"/>
                      <a:pt x="4422" y="140047"/>
                    </a:cubicBezTo>
                    <a:cubicBezTo>
                      <a:pt x="3087" y="136960"/>
                      <a:pt x="1335" y="134291"/>
                      <a:pt x="0" y="131622"/>
                    </a:cubicBezTo>
                    <a:cubicBezTo>
                      <a:pt x="11513" y="120110"/>
                      <a:pt x="20857" y="100172"/>
                      <a:pt x="27948" y="84656"/>
                    </a:cubicBezTo>
                    <a:cubicBezTo>
                      <a:pt x="30200" y="80234"/>
                      <a:pt x="31953" y="75813"/>
                      <a:pt x="33704" y="72727"/>
                    </a:cubicBezTo>
                    <a:cubicBezTo>
                      <a:pt x="35039" y="69640"/>
                      <a:pt x="36791" y="66053"/>
                      <a:pt x="38543" y="62549"/>
                    </a:cubicBezTo>
                    <a:cubicBezTo>
                      <a:pt x="39878" y="59880"/>
                      <a:pt x="41213" y="57210"/>
                      <a:pt x="42047" y="54541"/>
                    </a:cubicBezTo>
                    <a:cubicBezTo>
                      <a:pt x="45551" y="49202"/>
                      <a:pt x="47386" y="46533"/>
                      <a:pt x="53143" y="39442"/>
                    </a:cubicBezTo>
                    <a:cubicBezTo>
                      <a:pt x="55813" y="38107"/>
                      <a:pt x="57982" y="37189"/>
                      <a:pt x="61569" y="35938"/>
                    </a:cubicBezTo>
                    <a:cubicBezTo>
                      <a:pt x="64239" y="35021"/>
                      <a:pt x="66908" y="34187"/>
                      <a:pt x="69995" y="32852"/>
                    </a:cubicBezTo>
                    <a:cubicBezTo>
                      <a:pt x="78004" y="29348"/>
                      <a:pt x="81925" y="22674"/>
                      <a:pt x="84595" y="17753"/>
                    </a:cubicBezTo>
                    <a:cubicBezTo>
                      <a:pt x="86847" y="14249"/>
                      <a:pt x="88599" y="11079"/>
                      <a:pt x="91686" y="9744"/>
                    </a:cubicBezTo>
                    <a:cubicBezTo>
                      <a:pt x="95691" y="7492"/>
                      <a:pt x="102281" y="10161"/>
                      <a:pt x="108038" y="12414"/>
                    </a:cubicBezTo>
                    <a:cubicBezTo>
                      <a:pt x="110290" y="13331"/>
                      <a:pt x="112459" y="14166"/>
                      <a:pt x="114211" y="14666"/>
                    </a:cubicBezTo>
                    <a:cubicBezTo>
                      <a:pt x="127977" y="19087"/>
                      <a:pt x="137237" y="21757"/>
                      <a:pt x="151837" y="17335"/>
                    </a:cubicBezTo>
                    <a:cubicBezTo>
                      <a:pt x="156676" y="16001"/>
                      <a:pt x="161181" y="13331"/>
                      <a:pt x="165602" y="11162"/>
                    </a:cubicBezTo>
                    <a:cubicBezTo>
                      <a:pt x="170942" y="8493"/>
                      <a:pt x="175780" y="5824"/>
                      <a:pt x="181120" y="4989"/>
                    </a:cubicBezTo>
                    <a:cubicBezTo>
                      <a:pt x="185541" y="4572"/>
                      <a:pt x="189129" y="6324"/>
                      <a:pt x="193550" y="9828"/>
                    </a:cubicBezTo>
                    <a:cubicBezTo>
                      <a:pt x="198389" y="12497"/>
                      <a:pt x="203728" y="16001"/>
                      <a:pt x="210820" y="16001"/>
                    </a:cubicBezTo>
                    <a:cubicBezTo>
                      <a:pt x="218328" y="16418"/>
                      <a:pt x="224084" y="11579"/>
                      <a:pt x="228089" y="7992"/>
                    </a:cubicBezTo>
                    <a:cubicBezTo>
                      <a:pt x="230341" y="6658"/>
                      <a:pt x="231593" y="4906"/>
                      <a:pt x="233428" y="3988"/>
                    </a:cubicBezTo>
                    <a:cubicBezTo>
                      <a:pt x="243606" y="-433"/>
                      <a:pt x="257789" y="-433"/>
                      <a:pt x="272389" y="484"/>
                    </a:cubicBezTo>
                    <a:cubicBezTo>
                      <a:pt x="274141" y="9327"/>
                      <a:pt x="279480" y="12914"/>
                      <a:pt x="282984" y="15083"/>
                    </a:cubicBezTo>
                    <a:cubicBezTo>
                      <a:pt x="285653" y="16418"/>
                      <a:pt x="286988" y="17753"/>
                      <a:pt x="287823" y="19922"/>
                    </a:cubicBezTo>
                    <a:cubicBezTo>
                      <a:pt x="289158" y="22174"/>
                      <a:pt x="288740" y="23926"/>
                      <a:pt x="288740" y="26595"/>
                    </a:cubicBezTo>
                    <a:cubicBezTo>
                      <a:pt x="288323" y="32768"/>
                      <a:pt x="289158" y="39025"/>
                      <a:pt x="298501" y="45198"/>
                    </a:cubicBezTo>
                    <a:cubicBezTo>
                      <a:pt x="302005" y="47867"/>
                      <a:pt x="306510" y="48702"/>
                      <a:pt x="310014" y="49619"/>
                    </a:cubicBezTo>
                    <a:cubicBezTo>
                      <a:pt x="314019" y="50537"/>
                      <a:pt x="316688" y="51371"/>
                      <a:pt x="318023" y="53123"/>
                    </a:cubicBezTo>
                    <a:cubicBezTo>
                      <a:pt x="320276" y="56209"/>
                      <a:pt x="321110" y="60631"/>
                      <a:pt x="322445" y="65552"/>
                    </a:cubicBezTo>
                    <a:cubicBezTo>
                      <a:pt x="323780" y="71309"/>
                      <a:pt x="325531" y="77982"/>
                      <a:pt x="329536" y="83738"/>
                    </a:cubicBezTo>
                    <a:cubicBezTo>
                      <a:pt x="338379" y="96168"/>
                      <a:pt x="349475" y="107680"/>
                      <a:pt x="360988" y="117440"/>
                    </a:cubicBezTo>
                    <a:cubicBezTo>
                      <a:pt x="358735" y="120944"/>
                      <a:pt x="357901" y="125448"/>
                      <a:pt x="357901" y="131204"/>
                    </a:cubicBezTo>
                    <a:cubicBezTo>
                      <a:pt x="358819" y="146304"/>
                      <a:pt x="368079" y="153811"/>
                      <a:pt x="375170" y="159984"/>
                    </a:cubicBezTo>
                    <a:cubicBezTo>
                      <a:pt x="378257" y="162654"/>
                      <a:pt x="381344" y="164823"/>
                      <a:pt x="383597" y="167993"/>
                    </a:cubicBezTo>
                    <a:cubicBezTo>
                      <a:pt x="386266" y="171079"/>
                      <a:pt x="387101" y="172831"/>
                      <a:pt x="386266" y="175084"/>
                    </a:cubicBezTo>
                    <a:cubicBezTo>
                      <a:pt x="385348" y="177336"/>
                      <a:pt x="383180" y="179505"/>
                      <a:pt x="378758" y="183509"/>
                    </a:cubicBezTo>
                    <a:cubicBezTo>
                      <a:pt x="377840" y="184427"/>
                      <a:pt x="376505" y="185761"/>
                      <a:pt x="375671" y="186596"/>
                    </a:cubicBezTo>
                    <a:cubicBezTo>
                      <a:pt x="374753" y="187013"/>
                      <a:pt x="374336" y="187930"/>
                      <a:pt x="373419" y="188848"/>
                    </a:cubicBezTo>
                    <a:cubicBezTo>
                      <a:pt x="366327" y="195939"/>
                      <a:pt x="363657" y="203447"/>
                      <a:pt x="360988" y="210537"/>
                    </a:cubicBezTo>
                    <a:cubicBezTo>
                      <a:pt x="359653" y="214959"/>
                      <a:pt x="357901" y="218546"/>
                      <a:pt x="355649" y="222466"/>
                    </a:cubicBezTo>
                    <a:cubicBezTo>
                      <a:pt x="350810" y="230892"/>
                      <a:pt x="342801" y="235313"/>
                      <a:pt x="333958" y="240652"/>
                    </a:cubicBezTo>
                    <a:cubicBezTo>
                      <a:pt x="325531" y="245491"/>
                      <a:pt x="316688" y="250412"/>
                      <a:pt x="310515" y="258838"/>
                    </a:cubicBezTo>
                    <a:cubicBezTo>
                      <a:pt x="307011" y="263259"/>
                      <a:pt x="303841" y="268598"/>
                      <a:pt x="300337" y="273019"/>
                    </a:cubicBezTo>
                    <a:cubicBezTo>
                      <a:pt x="295915" y="280110"/>
                      <a:pt x="291493" y="286784"/>
                      <a:pt x="286154" y="291622"/>
                    </a:cubicBezTo>
                    <a:cubicBezTo>
                      <a:pt x="280815" y="296961"/>
                      <a:pt x="275058" y="297795"/>
                      <a:pt x="266632" y="298296"/>
                    </a:cubicBezTo>
                    <a:cubicBezTo>
                      <a:pt x="264380" y="298296"/>
                      <a:pt x="262628" y="298713"/>
                      <a:pt x="260459" y="298713"/>
                    </a:cubicBezTo>
                    <a:lnTo>
                      <a:pt x="260041" y="298713"/>
                    </a:lnTo>
                    <a:cubicBezTo>
                      <a:pt x="242772" y="285449"/>
                      <a:pt x="223250" y="273436"/>
                      <a:pt x="201976" y="263259"/>
                    </a:cubicBezTo>
                    <a:cubicBezTo>
                      <a:pt x="198890" y="261925"/>
                      <a:pt x="192633" y="258838"/>
                      <a:pt x="186042" y="261507"/>
                    </a:cubicBezTo>
                    <a:cubicBezTo>
                      <a:pt x="182037" y="263259"/>
                      <a:pt x="179868" y="266346"/>
                      <a:pt x="177616" y="269933"/>
                    </a:cubicBezTo>
                    <a:cubicBezTo>
                      <a:pt x="174112" y="275272"/>
                      <a:pt x="167438" y="278775"/>
                      <a:pt x="159929" y="279693"/>
                    </a:cubicBezTo>
                    <a:cubicBezTo>
                      <a:pt x="152838" y="281028"/>
                      <a:pt x="145747" y="279276"/>
                      <a:pt x="140407" y="274855"/>
                    </a:cubicBezTo>
                    <a:cubicBezTo>
                      <a:pt x="135569" y="271351"/>
                      <a:pt x="131981" y="266012"/>
                      <a:pt x="128477" y="260256"/>
                    </a:cubicBezTo>
                    <a:cubicBezTo>
                      <a:pt x="126725" y="257586"/>
                      <a:pt x="124973" y="254917"/>
                      <a:pt x="123138" y="252248"/>
                    </a:cubicBezTo>
                    <a:cubicBezTo>
                      <a:pt x="113794" y="239818"/>
                      <a:pt x="102782" y="233645"/>
                      <a:pt x="91269" y="234979"/>
                    </a:cubicBezTo>
                    <a:cubicBezTo>
                      <a:pt x="88599" y="235397"/>
                      <a:pt x="85930" y="235897"/>
                      <a:pt x="83260" y="236731"/>
                    </a:cubicBezTo>
                    <a:cubicBezTo>
                      <a:pt x="81925" y="237148"/>
                      <a:pt x="80590" y="237649"/>
                      <a:pt x="78838" y="237649"/>
                    </a:cubicBezTo>
                    <a:cubicBezTo>
                      <a:pt x="73499" y="238567"/>
                      <a:pt x="66908" y="237232"/>
                      <a:pt x="61152" y="235397"/>
                    </a:cubicBezTo>
                    <a:cubicBezTo>
                      <a:pt x="58899" y="234979"/>
                      <a:pt x="56730" y="234062"/>
                      <a:pt x="54478" y="233144"/>
                    </a:cubicBezTo>
                    <a:cubicBezTo>
                      <a:pt x="52225" y="232227"/>
                      <a:pt x="50473" y="230892"/>
                      <a:pt x="49138" y="230058"/>
                    </a:cubicBezTo>
                    <a:cubicBezTo>
                      <a:pt x="47804" y="228723"/>
                      <a:pt x="46886" y="226971"/>
                      <a:pt x="46052" y="224719"/>
                    </a:cubicBezTo>
                    <a:cubicBezTo>
                      <a:pt x="46969" y="223301"/>
                      <a:pt x="46135" y="222049"/>
                      <a:pt x="45217" y="220714"/>
                    </a:cubicBezTo>
                    <a:lnTo>
                      <a:pt x="45217" y="22071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13235801" name="Полилиния 370"/>
              <p:cNvSpPr/>
              <p:nvPr/>
            </p:nvSpPr>
            <p:spPr bwMode="auto">
              <a:xfrm>
                <a:off x="1785494" y="3492985"/>
                <a:ext cx="619507" cy="417157"/>
              </a:xfrm>
              <a:custGeom>
                <a:avLst/>
                <a:gdLst>
                  <a:gd name="connsiteX0" fmla="*/ 93939 w 695728"/>
                  <a:gd name="connsiteY0" fmla="*/ 76 h 468482"/>
                  <a:gd name="connsiteX1" fmla="*/ 106369 w 695728"/>
                  <a:gd name="connsiteY1" fmla="*/ 3163 h 468482"/>
                  <a:gd name="connsiteX2" fmla="*/ 120135 w 695728"/>
                  <a:gd name="connsiteY2" fmla="*/ 17344 h 468482"/>
                  <a:gd name="connsiteX3" fmla="*/ 137404 w 695728"/>
                  <a:gd name="connsiteY3" fmla="*/ 34612 h 468482"/>
                  <a:gd name="connsiteX4" fmla="*/ 161765 w 695728"/>
                  <a:gd name="connsiteY4" fmla="*/ 40785 h 468482"/>
                  <a:gd name="connsiteX5" fmla="*/ 175530 w 695728"/>
                  <a:gd name="connsiteY5" fmla="*/ 42537 h 468482"/>
                  <a:gd name="connsiteX6" fmla="*/ 202978 w 695728"/>
                  <a:gd name="connsiteY6" fmla="*/ 49628 h 468482"/>
                  <a:gd name="connsiteX7" fmla="*/ 231760 w 695728"/>
                  <a:gd name="connsiteY7" fmla="*/ 57636 h 468482"/>
                  <a:gd name="connsiteX8" fmla="*/ 251282 w 695728"/>
                  <a:gd name="connsiteY8" fmla="*/ 61640 h 468482"/>
                  <a:gd name="connsiteX9" fmla="*/ 276560 w 695728"/>
                  <a:gd name="connsiteY9" fmla="*/ 68731 h 468482"/>
                  <a:gd name="connsiteX10" fmla="*/ 284068 w 695728"/>
                  <a:gd name="connsiteY10" fmla="*/ 73153 h 468482"/>
                  <a:gd name="connsiteX11" fmla="*/ 331038 w 695728"/>
                  <a:gd name="connsiteY11" fmla="*/ 81161 h 468482"/>
                  <a:gd name="connsiteX12" fmla="*/ 348307 w 695728"/>
                  <a:gd name="connsiteY12" fmla="*/ 79409 h 468482"/>
                  <a:gd name="connsiteX13" fmla="*/ 386433 w 695728"/>
                  <a:gd name="connsiteY13" fmla="*/ 69232 h 468482"/>
                  <a:gd name="connsiteX14" fmla="*/ 397946 w 695728"/>
                  <a:gd name="connsiteY14" fmla="*/ 51547 h 468482"/>
                  <a:gd name="connsiteX15" fmla="*/ 409876 w 695728"/>
                  <a:gd name="connsiteY15" fmla="*/ 41369 h 468482"/>
                  <a:gd name="connsiteX16" fmla="*/ 437824 w 695728"/>
                  <a:gd name="connsiteY16" fmla="*/ 58637 h 468482"/>
                  <a:gd name="connsiteX17" fmla="*/ 441829 w 695728"/>
                  <a:gd name="connsiteY17" fmla="*/ 61724 h 468482"/>
                  <a:gd name="connsiteX18" fmla="*/ 449837 w 695728"/>
                  <a:gd name="connsiteY18" fmla="*/ 75488 h 468482"/>
                  <a:gd name="connsiteX19" fmla="*/ 456512 w 695728"/>
                  <a:gd name="connsiteY19" fmla="*/ 91422 h 468482"/>
                  <a:gd name="connsiteX20" fmla="*/ 476868 w 695728"/>
                  <a:gd name="connsiteY20" fmla="*/ 102516 h 468482"/>
                  <a:gd name="connsiteX21" fmla="*/ 483959 w 695728"/>
                  <a:gd name="connsiteY21" fmla="*/ 103434 h 468482"/>
                  <a:gd name="connsiteX22" fmla="*/ 495472 w 695728"/>
                  <a:gd name="connsiteY22" fmla="*/ 109190 h 468482"/>
                  <a:gd name="connsiteX23" fmla="*/ 503481 w 695728"/>
                  <a:gd name="connsiteY23" fmla="*/ 114529 h 468482"/>
                  <a:gd name="connsiteX24" fmla="*/ 531429 w 695728"/>
                  <a:gd name="connsiteY24" fmla="*/ 116281 h 468482"/>
                  <a:gd name="connsiteX25" fmla="*/ 546946 w 695728"/>
                  <a:gd name="connsiteY25" fmla="*/ 115864 h 468482"/>
                  <a:gd name="connsiteX26" fmla="*/ 561546 w 695728"/>
                  <a:gd name="connsiteY26" fmla="*/ 126041 h 468482"/>
                  <a:gd name="connsiteX27" fmla="*/ 572642 w 695728"/>
                  <a:gd name="connsiteY27" fmla="*/ 134467 h 468482"/>
                  <a:gd name="connsiteX28" fmla="*/ 602342 w 695728"/>
                  <a:gd name="connsiteY28" fmla="*/ 150400 h 468482"/>
                  <a:gd name="connsiteX29" fmla="*/ 606763 w 695728"/>
                  <a:gd name="connsiteY29" fmla="*/ 152652 h 468482"/>
                  <a:gd name="connsiteX30" fmla="*/ 620529 w 695728"/>
                  <a:gd name="connsiteY30" fmla="*/ 157491 h 468482"/>
                  <a:gd name="connsiteX31" fmla="*/ 667915 w 695728"/>
                  <a:gd name="connsiteY31" fmla="*/ 161912 h 468482"/>
                  <a:gd name="connsiteX32" fmla="*/ 672337 w 695728"/>
                  <a:gd name="connsiteY32" fmla="*/ 161912 h 468482"/>
                  <a:gd name="connsiteX33" fmla="*/ 694445 w 695728"/>
                  <a:gd name="connsiteY33" fmla="*/ 179180 h 468482"/>
                  <a:gd name="connsiteX34" fmla="*/ 695363 w 695728"/>
                  <a:gd name="connsiteY34" fmla="*/ 221725 h 468482"/>
                  <a:gd name="connsiteX35" fmla="*/ 690524 w 695728"/>
                  <a:gd name="connsiteY35" fmla="*/ 224811 h 468482"/>
                  <a:gd name="connsiteX36" fmla="*/ 681681 w 695728"/>
                  <a:gd name="connsiteY36" fmla="*/ 229650 h 468482"/>
                  <a:gd name="connsiteX37" fmla="*/ 671503 w 695728"/>
                  <a:gd name="connsiteY37" fmla="*/ 233654 h 468482"/>
                  <a:gd name="connsiteX38" fmla="*/ 641803 w 695728"/>
                  <a:gd name="connsiteY38" fmla="*/ 268190 h 468482"/>
                  <a:gd name="connsiteX39" fmla="*/ 626285 w 695728"/>
                  <a:gd name="connsiteY39" fmla="*/ 281954 h 468482"/>
                  <a:gd name="connsiteX40" fmla="*/ 605011 w 695728"/>
                  <a:gd name="connsiteY40" fmla="*/ 293883 h 468482"/>
                  <a:gd name="connsiteX41" fmla="*/ 593081 w 695728"/>
                  <a:gd name="connsiteY41" fmla="*/ 328002 h 468482"/>
                  <a:gd name="connsiteX42" fmla="*/ 594833 w 695728"/>
                  <a:gd name="connsiteY42" fmla="*/ 343101 h 468482"/>
                  <a:gd name="connsiteX43" fmla="*/ 595751 w 695728"/>
                  <a:gd name="connsiteY43" fmla="*/ 355531 h 468482"/>
                  <a:gd name="connsiteX44" fmla="*/ 591329 w 695728"/>
                  <a:gd name="connsiteY44" fmla="*/ 362622 h 468482"/>
                  <a:gd name="connsiteX45" fmla="*/ 583320 w 695728"/>
                  <a:gd name="connsiteY45" fmla="*/ 377721 h 468482"/>
                  <a:gd name="connsiteX46" fmla="*/ 592164 w 695728"/>
                  <a:gd name="connsiteY46" fmla="*/ 402079 h 468482"/>
                  <a:gd name="connsiteX47" fmla="*/ 597003 w 695728"/>
                  <a:gd name="connsiteY47" fmla="*/ 409587 h 468482"/>
                  <a:gd name="connsiteX48" fmla="*/ 597920 w 695728"/>
                  <a:gd name="connsiteY48" fmla="*/ 445875 h 468482"/>
                  <a:gd name="connsiteX49" fmla="*/ 591747 w 695728"/>
                  <a:gd name="connsiteY49" fmla="*/ 452048 h 468482"/>
                  <a:gd name="connsiteX50" fmla="*/ 585072 w 695728"/>
                  <a:gd name="connsiteY50" fmla="*/ 449379 h 468482"/>
                  <a:gd name="connsiteX51" fmla="*/ 572225 w 695728"/>
                  <a:gd name="connsiteY51" fmla="*/ 445875 h 468482"/>
                  <a:gd name="connsiteX52" fmla="*/ 541190 w 695728"/>
                  <a:gd name="connsiteY52" fmla="*/ 467147 h 468482"/>
                  <a:gd name="connsiteX53" fmla="*/ 540272 w 695728"/>
                  <a:gd name="connsiteY53" fmla="*/ 468482 h 468482"/>
                  <a:gd name="connsiteX54" fmla="*/ 526507 w 695728"/>
                  <a:gd name="connsiteY54" fmla="*/ 444123 h 468482"/>
                  <a:gd name="connsiteX55" fmla="*/ 491050 w 695728"/>
                  <a:gd name="connsiteY55" fmla="*/ 427773 h 468482"/>
                  <a:gd name="connsiteX56" fmla="*/ 474699 w 695728"/>
                  <a:gd name="connsiteY56" fmla="*/ 422935 h 468482"/>
                  <a:gd name="connsiteX57" fmla="*/ 443247 w 695728"/>
                  <a:gd name="connsiteY57" fmla="*/ 418513 h 468482"/>
                  <a:gd name="connsiteX58" fmla="*/ 421556 w 695728"/>
                  <a:gd name="connsiteY58" fmla="*/ 416261 h 468482"/>
                  <a:gd name="connsiteX59" fmla="*/ 403869 w 695728"/>
                  <a:gd name="connsiteY59" fmla="*/ 406918 h 468482"/>
                  <a:gd name="connsiteX60" fmla="*/ 396778 w 695728"/>
                  <a:gd name="connsiteY60" fmla="*/ 402497 h 468482"/>
                  <a:gd name="connsiteX61" fmla="*/ 379509 w 695728"/>
                  <a:gd name="connsiteY61" fmla="*/ 394989 h 468482"/>
                  <a:gd name="connsiteX62" fmla="*/ 370665 w 695728"/>
                  <a:gd name="connsiteY62" fmla="*/ 391485 h 468482"/>
                  <a:gd name="connsiteX63" fmla="*/ 355565 w 695728"/>
                  <a:gd name="connsiteY63" fmla="*/ 375969 h 468482"/>
                  <a:gd name="connsiteX64" fmla="*/ 343635 w 695728"/>
                  <a:gd name="connsiteY64" fmla="*/ 359118 h 468482"/>
                  <a:gd name="connsiteX65" fmla="*/ 301588 w 695728"/>
                  <a:gd name="connsiteY65" fmla="*/ 355614 h 468482"/>
                  <a:gd name="connsiteX66" fmla="*/ 296749 w 695728"/>
                  <a:gd name="connsiteY66" fmla="*/ 357366 h 468482"/>
                  <a:gd name="connsiteX67" fmla="*/ 265714 w 695728"/>
                  <a:gd name="connsiteY67" fmla="*/ 364457 h 468482"/>
                  <a:gd name="connsiteX68" fmla="*/ 248445 w 695728"/>
                  <a:gd name="connsiteY68" fmla="*/ 363539 h 468482"/>
                  <a:gd name="connsiteX69" fmla="*/ 215241 w 695728"/>
                  <a:gd name="connsiteY69" fmla="*/ 342267 h 468482"/>
                  <a:gd name="connsiteX70" fmla="*/ 207232 w 695728"/>
                  <a:gd name="connsiteY70" fmla="*/ 320995 h 468482"/>
                  <a:gd name="connsiteX71" fmla="*/ 191298 w 695728"/>
                  <a:gd name="connsiteY71" fmla="*/ 289128 h 468482"/>
                  <a:gd name="connsiteX72" fmla="*/ 140825 w 695728"/>
                  <a:gd name="connsiteY72" fmla="*/ 282955 h 468482"/>
                  <a:gd name="connsiteX73" fmla="*/ 133316 w 695728"/>
                  <a:gd name="connsiteY73" fmla="*/ 284707 h 468482"/>
                  <a:gd name="connsiteX74" fmla="*/ 71330 w 695728"/>
                  <a:gd name="connsiteY74" fmla="*/ 252840 h 468482"/>
                  <a:gd name="connsiteX75" fmla="*/ 50974 w 695728"/>
                  <a:gd name="connsiteY75" fmla="*/ 229816 h 468482"/>
                  <a:gd name="connsiteX76" fmla="*/ 23943 w 695728"/>
                  <a:gd name="connsiteY76" fmla="*/ 191276 h 468482"/>
                  <a:gd name="connsiteX77" fmla="*/ 5339 w 695728"/>
                  <a:gd name="connsiteY77" fmla="*/ 164248 h 468482"/>
                  <a:gd name="connsiteX78" fmla="*/ 0 w 695728"/>
                  <a:gd name="connsiteY78" fmla="*/ 157157 h 468482"/>
                  <a:gd name="connsiteX79" fmla="*/ 9761 w 695728"/>
                  <a:gd name="connsiteY79" fmla="*/ 139472 h 468482"/>
                  <a:gd name="connsiteX80" fmla="*/ 24861 w 695728"/>
                  <a:gd name="connsiteY80" fmla="*/ 132381 h 468482"/>
                  <a:gd name="connsiteX81" fmla="*/ 49222 w 695728"/>
                  <a:gd name="connsiteY81" fmla="*/ 118617 h 468482"/>
                  <a:gd name="connsiteX82" fmla="*/ 58065 w 695728"/>
                  <a:gd name="connsiteY82" fmla="*/ 88085 h 468482"/>
                  <a:gd name="connsiteX83" fmla="*/ 60318 w 695728"/>
                  <a:gd name="connsiteY83" fmla="*/ 71734 h 468482"/>
                  <a:gd name="connsiteX84" fmla="*/ 68327 w 695728"/>
                  <a:gd name="connsiteY84" fmla="*/ 52214 h 468482"/>
                  <a:gd name="connsiteX85" fmla="*/ 77670 w 695728"/>
                  <a:gd name="connsiteY85" fmla="*/ 29190 h 468482"/>
                  <a:gd name="connsiteX86" fmla="*/ 80340 w 695728"/>
                  <a:gd name="connsiteY86" fmla="*/ 19430 h 468482"/>
                  <a:gd name="connsiteX87" fmla="*/ 94106 w 695728"/>
                  <a:gd name="connsiteY87" fmla="*/ 1244 h 468482"/>
                  <a:gd name="connsiteX88" fmla="*/ 93939 w 695728"/>
                  <a:gd name="connsiteY88" fmla="*/ 76 h 468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95728" h="468482" extrusionOk="0">
                    <a:moveTo>
                      <a:pt x="93939" y="76"/>
                    </a:moveTo>
                    <a:cubicBezTo>
                      <a:pt x="98777" y="-341"/>
                      <a:pt x="102365" y="994"/>
                      <a:pt x="106369" y="3163"/>
                    </a:cubicBezTo>
                    <a:cubicBezTo>
                      <a:pt x="110791" y="6249"/>
                      <a:pt x="114795" y="11171"/>
                      <a:pt x="120135" y="17344"/>
                    </a:cubicBezTo>
                    <a:cubicBezTo>
                      <a:pt x="124973" y="23517"/>
                      <a:pt x="130313" y="29774"/>
                      <a:pt x="137404" y="34612"/>
                    </a:cubicBezTo>
                    <a:cubicBezTo>
                      <a:pt x="145830" y="39951"/>
                      <a:pt x="154673" y="40368"/>
                      <a:pt x="161765" y="40785"/>
                    </a:cubicBezTo>
                    <a:cubicBezTo>
                      <a:pt x="166603" y="41202"/>
                      <a:pt x="171526" y="41202"/>
                      <a:pt x="175530" y="42537"/>
                    </a:cubicBezTo>
                    <a:cubicBezTo>
                      <a:pt x="184874" y="45207"/>
                      <a:pt x="194134" y="47376"/>
                      <a:pt x="202978" y="49628"/>
                    </a:cubicBezTo>
                    <a:cubicBezTo>
                      <a:pt x="212738" y="52297"/>
                      <a:pt x="221999" y="54466"/>
                      <a:pt x="231760" y="57636"/>
                    </a:cubicBezTo>
                    <a:cubicBezTo>
                      <a:pt x="238434" y="59889"/>
                      <a:pt x="244607" y="60723"/>
                      <a:pt x="251282" y="61640"/>
                    </a:cubicBezTo>
                    <a:cubicBezTo>
                      <a:pt x="260125" y="62975"/>
                      <a:pt x="268968" y="64310"/>
                      <a:pt x="276560" y="68731"/>
                    </a:cubicBezTo>
                    <a:lnTo>
                      <a:pt x="284068" y="73153"/>
                    </a:lnTo>
                    <a:cubicBezTo>
                      <a:pt x="300420" y="83330"/>
                      <a:pt x="307511" y="86416"/>
                      <a:pt x="331038" y="81161"/>
                    </a:cubicBezTo>
                    <a:cubicBezTo>
                      <a:pt x="335876" y="79826"/>
                      <a:pt x="341633" y="79826"/>
                      <a:pt x="348307" y="79409"/>
                    </a:cubicBezTo>
                    <a:cubicBezTo>
                      <a:pt x="361155" y="78491"/>
                      <a:pt x="375337" y="78074"/>
                      <a:pt x="386433" y="69232"/>
                    </a:cubicBezTo>
                    <a:cubicBezTo>
                      <a:pt x="392607" y="64393"/>
                      <a:pt x="395276" y="57303"/>
                      <a:pt x="397946" y="51547"/>
                    </a:cubicBezTo>
                    <a:cubicBezTo>
                      <a:pt x="401450" y="43121"/>
                      <a:pt x="402785" y="40952"/>
                      <a:pt x="409876" y="41369"/>
                    </a:cubicBezTo>
                    <a:cubicBezTo>
                      <a:pt x="418719" y="42704"/>
                      <a:pt x="429815" y="51964"/>
                      <a:pt x="437824" y="58637"/>
                    </a:cubicBezTo>
                    <a:lnTo>
                      <a:pt x="441829" y="61724"/>
                    </a:lnTo>
                    <a:cubicBezTo>
                      <a:pt x="447168" y="66145"/>
                      <a:pt x="448503" y="69732"/>
                      <a:pt x="449837" y="75488"/>
                    </a:cubicBezTo>
                    <a:cubicBezTo>
                      <a:pt x="450755" y="79910"/>
                      <a:pt x="452507" y="85249"/>
                      <a:pt x="456512" y="91422"/>
                    </a:cubicBezTo>
                    <a:cubicBezTo>
                      <a:pt x="463603" y="102016"/>
                      <a:pt x="470277" y="102016"/>
                      <a:pt x="476868" y="102516"/>
                    </a:cubicBezTo>
                    <a:cubicBezTo>
                      <a:pt x="479120" y="102933"/>
                      <a:pt x="481289" y="102933"/>
                      <a:pt x="483959" y="103434"/>
                    </a:cubicBezTo>
                    <a:cubicBezTo>
                      <a:pt x="488798" y="104352"/>
                      <a:pt x="491968" y="106521"/>
                      <a:pt x="495472" y="109190"/>
                    </a:cubicBezTo>
                    <a:cubicBezTo>
                      <a:pt x="498142" y="110942"/>
                      <a:pt x="500311" y="112694"/>
                      <a:pt x="503481" y="114529"/>
                    </a:cubicBezTo>
                    <a:cubicBezTo>
                      <a:pt x="514577" y="120702"/>
                      <a:pt x="523837" y="118033"/>
                      <a:pt x="531429" y="116281"/>
                    </a:cubicBezTo>
                    <a:cubicBezTo>
                      <a:pt x="536768" y="114946"/>
                      <a:pt x="541607" y="113612"/>
                      <a:pt x="546946" y="115864"/>
                    </a:cubicBezTo>
                    <a:cubicBezTo>
                      <a:pt x="551785" y="117616"/>
                      <a:pt x="557124" y="122037"/>
                      <a:pt x="561546" y="126041"/>
                    </a:cubicBezTo>
                    <a:cubicBezTo>
                      <a:pt x="565050" y="129128"/>
                      <a:pt x="569055" y="132214"/>
                      <a:pt x="572642" y="134467"/>
                    </a:cubicBezTo>
                    <a:cubicBezTo>
                      <a:pt x="581986" y="140223"/>
                      <a:pt x="591663" y="145061"/>
                      <a:pt x="602342" y="150400"/>
                    </a:cubicBezTo>
                    <a:cubicBezTo>
                      <a:pt x="603677" y="151317"/>
                      <a:pt x="605429" y="151734"/>
                      <a:pt x="606763" y="152652"/>
                    </a:cubicBezTo>
                    <a:cubicBezTo>
                      <a:pt x="611602" y="154905"/>
                      <a:pt x="616107" y="156156"/>
                      <a:pt x="620529" y="157491"/>
                    </a:cubicBezTo>
                    <a:cubicBezTo>
                      <a:pt x="636463" y="161912"/>
                      <a:pt x="650229" y="161912"/>
                      <a:pt x="667915" y="161912"/>
                    </a:cubicBezTo>
                    <a:lnTo>
                      <a:pt x="672337" y="161912"/>
                    </a:lnTo>
                    <a:cubicBezTo>
                      <a:pt x="686936" y="160994"/>
                      <a:pt x="692693" y="166333"/>
                      <a:pt x="694445" y="179180"/>
                    </a:cubicBezTo>
                    <a:cubicBezTo>
                      <a:pt x="696197" y="192944"/>
                      <a:pt x="695780" y="206625"/>
                      <a:pt x="695363" y="221725"/>
                    </a:cubicBezTo>
                    <a:cubicBezTo>
                      <a:pt x="693611" y="222642"/>
                      <a:pt x="692276" y="223977"/>
                      <a:pt x="690524" y="224811"/>
                    </a:cubicBezTo>
                    <a:cubicBezTo>
                      <a:pt x="687854" y="226563"/>
                      <a:pt x="685185" y="228315"/>
                      <a:pt x="681681" y="229650"/>
                    </a:cubicBezTo>
                    <a:cubicBezTo>
                      <a:pt x="678177" y="230984"/>
                      <a:pt x="674589" y="232319"/>
                      <a:pt x="671503" y="233654"/>
                    </a:cubicBezTo>
                    <a:cubicBezTo>
                      <a:pt x="654650" y="239827"/>
                      <a:pt x="647559" y="243414"/>
                      <a:pt x="641803" y="268190"/>
                    </a:cubicBezTo>
                    <a:cubicBezTo>
                      <a:pt x="639133" y="277950"/>
                      <a:pt x="634711" y="279285"/>
                      <a:pt x="626285" y="281954"/>
                    </a:cubicBezTo>
                    <a:cubicBezTo>
                      <a:pt x="619611" y="284206"/>
                      <a:pt x="611686" y="286375"/>
                      <a:pt x="605011" y="293883"/>
                    </a:cubicBezTo>
                    <a:cubicBezTo>
                      <a:pt x="595250" y="304477"/>
                      <a:pt x="593081" y="325333"/>
                      <a:pt x="593081" y="328002"/>
                    </a:cubicBezTo>
                    <a:cubicBezTo>
                      <a:pt x="592664" y="333341"/>
                      <a:pt x="593999" y="338179"/>
                      <a:pt x="594833" y="343101"/>
                    </a:cubicBezTo>
                    <a:cubicBezTo>
                      <a:pt x="595751" y="347940"/>
                      <a:pt x="596585" y="352444"/>
                      <a:pt x="595751" y="355531"/>
                    </a:cubicBezTo>
                    <a:cubicBezTo>
                      <a:pt x="595334" y="357783"/>
                      <a:pt x="593081" y="359952"/>
                      <a:pt x="591329" y="362622"/>
                    </a:cubicBezTo>
                    <a:cubicBezTo>
                      <a:pt x="588243" y="366626"/>
                      <a:pt x="584238" y="371047"/>
                      <a:pt x="583320" y="377721"/>
                    </a:cubicBezTo>
                    <a:cubicBezTo>
                      <a:pt x="581986" y="387898"/>
                      <a:pt x="587742" y="395906"/>
                      <a:pt x="592164" y="402079"/>
                    </a:cubicBezTo>
                    <a:cubicBezTo>
                      <a:pt x="593916" y="404749"/>
                      <a:pt x="595668" y="406918"/>
                      <a:pt x="597003" y="409587"/>
                    </a:cubicBezTo>
                    <a:cubicBezTo>
                      <a:pt x="600506" y="416678"/>
                      <a:pt x="603176" y="435281"/>
                      <a:pt x="597920" y="445875"/>
                    </a:cubicBezTo>
                    <a:cubicBezTo>
                      <a:pt x="595668" y="450297"/>
                      <a:pt x="593498" y="451214"/>
                      <a:pt x="591747" y="452048"/>
                    </a:cubicBezTo>
                    <a:cubicBezTo>
                      <a:pt x="590412" y="452048"/>
                      <a:pt x="587325" y="450714"/>
                      <a:pt x="585072" y="449379"/>
                    </a:cubicBezTo>
                    <a:cubicBezTo>
                      <a:pt x="581569" y="447627"/>
                      <a:pt x="576646" y="445375"/>
                      <a:pt x="572225" y="445875"/>
                    </a:cubicBezTo>
                    <a:cubicBezTo>
                      <a:pt x="559794" y="445875"/>
                      <a:pt x="547864" y="453884"/>
                      <a:pt x="541190" y="467147"/>
                    </a:cubicBezTo>
                    <a:lnTo>
                      <a:pt x="540272" y="468482"/>
                    </a:lnTo>
                    <a:cubicBezTo>
                      <a:pt x="537185" y="460474"/>
                      <a:pt x="534099" y="451214"/>
                      <a:pt x="526507" y="444123"/>
                    </a:cubicBezTo>
                    <a:cubicBezTo>
                      <a:pt x="516329" y="433529"/>
                      <a:pt x="503481" y="430359"/>
                      <a:pt x="491050" y="427773"/>
                    </a:cubicBezTo>
                    <a:cubicBezTo>
                      <a:pt x="485294" y="426438"/>
                      <a:pt x="479955" y="425104"/>
                      <a:pt x="474699" y="422935"/>
                    </a:cubicBezTo>
                    <a:cubicBezTo>
                      <a:pt x="463603" y="418513"/>
                      <a:pt x="453008" y="418513"/>
                      <a:pt x="443247" y="418513"/>
                    </a:cubicBezTo>
                    <a:cubicBezTo>
                      <a:pt x="435738" y="418513"/>
                      <a:pt x="428647" y="418096"/>
                      <a:pt x="421556" y="416261"/>
                    </a:cubicBezTo>
                    <a:cubicBezTo>
                      <a:pt x="414465" y="414509"/>
                      <a:pt x="409626" y="410922"/>
                      <a:pt x="403869" y="406918"/>
                    </a:cubicBezTo>
                    <a:cubicBezTo>
                      <a:pt x="401200" y="405583"/>
                      <a:pt x="399031" y="403831"/>
                      <a:pt x="396778" y="402497"/>
                    </a:cubicBezTo>
                    <a:cubicBezTo>
                      <a:pt x="390604" y="398993"/>
                      <a:pt x="384848" y="396741"/>
                      <a:pt x="379509" y="394989"/>
                    </a:cubicBezTo>
                    <a:cubicBezTo>
                      <a:pt x="376422" y="394071"/>
                      <a:pt x="373335" y="392737"/>
                      <a:pt x="370665" y="391485"/>
                    </a:cubicBezTo>
                    <a:cubicBezTo>
                      <a:pt x="361822" y="387981"/>
                      <a:pt x="359153" y="383060"/>
                      <a:pt x="355565" y="375969"/>
                    </a:cubicBezTo>
                    <a:cubicBezTo>
                      <a:pt x="352896" y="371130"/>
                      <a:pt x="349809" y="365374"/>
                      <a:pt x="343635" y="359118"/>
                    </a:cubicBezTo>
                    <a:cubicBezTo>
                      <a:pt x="329453" y="345854"/>
                      <a:pt x="314436" y="351109"/>
                      <a:pt x="301588" y="355614"/>
                    </a:cubicBezTo>
                    <a:lnTo>
                      <a:pt x="296749" y="357366"/>
                    </a:lnTo>
                    <a:cubicBezTo>
                      <a:pt x="285236" y="361370"/>
                      <a:pt x="275058" y="363539"/>
                      <a:pt x="265714" y="364457"/>
                    </a:cubicBezTo>
                    <a:cubicBezTo>
                      <a:pt x="259541" y="364874"/>
                      <a:pt x="253784" y="364874"/>
                      <a:pt x="248445" y="363539"/>
                    </a:cubicBezTo>
                    <a:cubicBezTo>
                      <a:pt x="235180" y="360870"/>
                      <a:pt x="224502" y="353779"/>
                      <a:pt x="215241" y="342267"/>
                    </a:cubicBezTo>
                    <a:cubicBezTo>
                      <a:pt x="210402" y="336094"/>
                      <a:pt x="209068" y="329003"/>
                      <a:pt x="207232" y="320995"/>
                    </a:cubicBezTo>
                    <a:cubicBezTo>
                      <a:pt x="204980" y="310400"/>
                      <a:pt x="202811" y="297971"/>
                      <a:pt x="191298" y="289128"/>
                    </a:cubicBezTo>
                    <a:cubicBezTo>
                      <a:pt x="173611" y="274947"/>
                      <a:pt x="156759" y="278951"/>
                      <a:pt x="140825" y="282955"/>
                    </a:cubicBezTo>
                    <a:lnTo>
                      <a:pt x="133316" y="284707"/>
                    </a:lnTo>
                    <a:cubicBezTo>
                      <a:pt x="102782" y="290880"/>
                      <a:pt x="89016" y="274112"/>
                      <a:pt x="71330" y="252840"/>
                    </a:cubicBezTo>
                    <a:cubicBezTo>
                      <a:pt x="65156" y="244832"/>
                      <a:pt x="58482" y="236907"/>
                      <a:pt x="50974" y="229816"/>
                    </a:cubicBezTo>
                    <a:cubicBezTo>
                      <a:pt x="38543" y="217887"/>
                      <a:pt x="32787" y="207710"/>
                      <a:pt x="23943" y="191276"/>
                    </a:cubicBezTo>
                    <a:cubicBezTo>
                      <a:pt x="18604" y="181516"/>
                      <a:pt x="11513" y="173090"/>
                      <a:pt x="5339" y="164248"/>
                    </a:cubicBezTo>
                    <a:cubicBezTo>
                      <a:pt x="3087" y="161578"/>
                      <a:pt x="1835" y="159409"/>
                      <a:pt x="0" y="157157"/>
                    </a:cubicBezTo>
                    <a:cubicBezTo>
                      <a:pt x="2252" y="150066"/>
                      <a:pt x="5339" y="143893"/>
                      <a:pt x="9761" y="139472"/>
                    </a:cubicBezTo>
                    <a:cubicBezTo>
                      <a:pt x="13265" y="135467"/>
                      <a:pt x="18604" y="134133"/>
                      <a:pt x="24861" y="132381"/>
                    </a:cubicBezTo>
                    <a:cubicBezTo>
                      <a:pt x="32870" y="130129"/>
                      <a:pt x="42131" y="127542"/>
                      <a:pt x="49222" y="118617"/>
                    </a:cubicBezTo>
                    <a:cubicBezTo>
                      <a:pt x="57648" y="108022"/>
                      <a:pt x="57648" y="97345"/>
                      <a:pt x="58065" y="88085"/>
                    </a:cubicBezTo>
                    <a:cubicBezTo>
                      <a:pt x="58065" y="82329"/>
                      <a:pt x="58482" y="76990"/>
                      <a:pt x="60318" y="71734"/>
                    </a:cubicBezTo>
                    <a:cubicBezTo>
                      <a:pt x="62570" y="65061"/>
                      <a:pt x="65657" y="58888"/>
                      <a:pt x="68327" y="52214"/>
                    </a:cubicBezTo>
                    <a:cubicBezTo>
                      <a:pt x="71413" y="44706"/>
                      <a:pt x="75001" y="37115"/>
                      <a:pt x="77670" y="29190"/>
                    </a:cubicBezTo>
                    <a:cubicBezTo>
                      <a:pt x="78588" y="26103"/>
                      <a:pt x="79422" y="22516"/>
                      <a:pt x="80340" y="19430"/>
                    </a:cubicBezTo>
                    <a:cubicBezTo>
                      <a:pt x="83010" y="7500"/>
                      <a:pt x="84762" y="2579"/>
                      <a:pt x="94106" y="1244"/>
                    </a:cubicBezTo>
                    <a:cubicBezTo>
                      <a:pt x="92604" y="493"/>
                      <a:pt x="93438" y="76"/>
                      <a:pt x="93939" y="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22196605" name="Полилиния 371"/>
              <p:cNvSpPr/>
              <p:nvPr/>
            </p:nvSpPr>
            <p:spPr bwMode="auto">
              <a:xfrm>
                <a:off x="2219798" y="3946318"/>
                <a:ext cx="279965" cy="334339"/>
              </a:xfrm>
              <a:custGeom>
                <a:avLst/>
                <a:gdLst>
                  <a:gd name="connsiteX0" fmla="*/ 51366 w 314411"/>
                  <a:gd name="connsiteY0" fmla="*/ 229323 h 375475"/>
                  <a:gd name="connsiteX1" fmla="*/ 61127 w 314411"/>
                  <a:gd name="connsiteY1" fmla="*/ 190365 h 375475"/>
                  <a:gd name="connsiteX2" fmla="*/ 46027 w 314411"/>
                  <a:gd name="connsiteY2" fmla="*/ 167341 h 375475"/>
                  <a:gd name="connsiteX3" fmla="*/ 38018 w 314411"/>
                  <a:gd name="connsiteY3" fmla="*/ 162002 h 375475"/>
                  <a:gd name="connsiteX4" fmla="*/ 30927 w 314411"/>
                  <a:gd name="connsiteY4" fmla="*/ 150073 h 375475"/>
                  <a:gd name="connsiteX5" fmla="*/ 26922 w 314411"/>
                  <a:gd name="connsiteY5" fmla="*/ 141231 h 375475"/>
                  <a:gd name="connsiteX6" fmla="*/ 20749 w 314411"/>
                  <a:gd name="connsiteY6" fmla="*/ 135058 h 375475"/>
                  <a:gd name="connsiteX7" fmla="*/ 18496 w 314411"/>
                  <a:gd name="connsiteY7" fmla="*/ 133723 h 375475"/>
                  <a:gd name="connsiteX8" fmla="*/ 17578 w 314411"/>
                  <a:gd name="connsiteY8" fmla="*/ 127550 h 375475"/>
                  <a:gd name="connsiteX9" fmla="*/ 15326 w 314411"/>
                  <a:gd name="connsiteY9" fmla="*/ 116955 h 375475"/>
                  <a:gd name="connsiteX10" fmla="*/ 7317 w 314411"/>
                  <a:gd name="connsiteY10" fmla="*/ 105026 h 375475"/>
                  <a:gd name="connsiteX11" fmla="*/ 1143 w 314411"/>
                  <a:gd name="connsiteY11" fmla="*/ 95266 h 375475"/>
                  <a:gd name="connsiteX12" fmla="*/ 17078 w 314411"/>
                  <a:gd name="connsiteY12" fmla="*/ 43462 h 375475"/>
                  <a:gd name="connsiteX13" fmla="*/ 23752 w 314411"/>
                  <a:gd name="connsiteY13" fmla="*/ 31032 h 375475"/>
                  <a:gd name="connsiteX14" fmla="*/ 45443 w 314411"/>
                  <a:gd name="connsiteY14" fmla="*/ 0 h 375475"/>
                  <a:gd name="connsiteX15" fmla="*/ 59209 w 314411"/>
                  <a:gd name="connsiteY15" fmla="*/ 23941 h 375475"/>
                  <a:gd name="connsiteX16" fmla="*/ 68552 w 314411"/>
                  <a:gd name="connsiteY16" fmla="*/ 35037 h 375475"/>
                  <a:gd name="connsiteX17" fmla="*/ 106178 w 314411"/>
                  <a:gd name="connsiteY17" fmla="*/ 60730 h 375475"/>
                  <a:gd name="connsiteX18" fmla="*/ 122112 w 314411"/>
                  <a:gd name="connsiteY18" fmla="*/ 50135 h 375475"/>
                  <a:gd name="connsiteX19" fmla="*/ 126534 w 314411"/>
                  <a:gd name="connsiteY19" fmla="*/ 45297 h 375475"/>
                  <a:gd name="connsiteX20" fmla="*/ 137129 w 314411"/>
                  <a:gd name="connsiteY20" fmla="*/ 41793 h 375475"/>
                  <a:gd name="connsiteX21" fmla="*/ 140633 w 314411"/>
                  <a:gd name="connsiteY21" fmla="*/ 40876 h 375475"/>
                  <a:gd name="connsiteX22" fmla="*/ 141968 w 314411"/>
                  <a:gd name="connsiteY22" fmla="*/ 78498 h 375475"/>
                  <a:gd name="connsiteX23" fmla="*/ 136211 w 314411"/>
                  <a:gd name="connsiteY23" fmla="*/ 109030 h 375475"/>
                  <a:gd name="connsiteX24" fmla="*/ 169916 w 314411"/>
                  <a:gd name="connsiteY24" fmla="*/ 132472 h 375475"/>
                  <a:gd name="connsiteX25" fmla="*/ 178759 w 314411"/>
                  <a:gd name="connsiteY25" fmla="*/ 134724 h 375475"/>
                  <a:gd name="connsiteX26" fmla="*/ 195111 w 314411"/>
                  <a:gd name="connsiteY26" fmla="*/ 143566 h 375475"/>
                  <a:gd name="connsiteX27" fmla="*/ 200867 w 314411"/>
                  <a:gd name="connsiteY27" fmla="*/ 155496 h 375475"/>
                  <a:gd name="connsiteX28" fmla="*/ 214633 w 314411"/>
                  <a:gd name="connsiteY28" fmla="*/ 177602 h 375475"/>
                  <a:gd name="connsiteX29" fmla="*/ 249589 w 314411"/>
                  <a:gd name="connsiteY29" fmla="*/ 206382 h 375475"/>
                  <a:gd name="connsiteX30" fmla="*/ 262019 w 314411"/>
                  <a:gd name="connsiteY30" fmla="*/ 226737 h 375475"/>
                  <a:gd name="connsiteX31" fmla="*/ 262937 w 314411"/>
                  <a:gd name="connsiteY31" fmla="*/ 231575 h 375475"/>
                  <a:gd name="connsiteX32" fmla="*/ 279288 w 314411"/>
                  <a:gd name="connsiteY32" fmla="*/ 250595 h 375475"/>
                  <a:gd name="connsiteX33" fmla="*/ 286380 w 314411"/>
                  <a:gd name="connsiteY33" fmla="*/ 253264 h 375475"/>
                  <a:gd name="connsiteX34" fmla="*/ 294389 w 314411"/>
                  <a:gd name="connsiteY34" fmla="*/ 256351 h 375475"/>
                  <a:gd name="connsiteX35" fmla="*/ 296641 w 314411"/>
                  <a:gd name="connsiteY35" fmla="*/ 259021 h 375475"/>
                  <a:gd name="connsiteX36" fmla="*/ 303315 w 314411"/>
                  <a:gd name="connsiteY36" fmla="*/ 265194 h 375475"/>
                  <a:gd name="connsiteX37" fmla="*/ 314411 w 314411"/>
                  <a:gd name="connsiteY37" fmla="*/ 270032 h 375475"/>
                  <a:gd name="connsiteX38" fmla="*/ 296725 w 314411"/>
                  <a:gd name="connsiteY38" fmla="*/ 296143 h 375475"/>
                  <a:gd name="connsiteX39" fmla="*/ 259933 w 314411"/>
                  <a:gd name="connsiteY39" fmla="*/ 317415 h 375475"/>
                  <a:gd name="connsiteX40" fmla="*/ 233821 w 314411"/>
                  <a:gd name="connsiteY40" fmla="*/ 321836 h 375475"/>
                  <a:gd name="connsiteX41" fmla="*/ 210378 w 314411"/>
                  <a:gd name="connsiteY41" fmla="*/ 324923 h 375475"/>
                  <a:gd name="connsiteX42" fmla="*/ 186434 w 314411"/>
                  <a:gd name="connsiteY42" fmla="*/ 340439 h 375475"/>
                  <a:gd name="connsiteX43" fmla="*/ 178008 w 314411"/>
                  <a:gd name="connsiteY43" fmla="*/ 348447 h 375475"/>
                  <a:gd name="connsiteX44" fmla="*/ 155900 w 314411"/>
                  <a:gd name="connsiteY44" fmla="*/ 360377 h 375475"/>
                  <a:gd name="connsiteX45" fmla="*/ 138631 w 314411"/>
                  <a:gd name="connsiteY45" fmla="*/ 368802 h 375475"/>
                  <a:gd name="connsiteX46" fmla="*/ 134626 w 314411"/>
                  <a:gd name="connsiteY46" fmla="*/ 371054 h 375475"/>
                  <a:gd name="connsiteX47" fmla="*/ 127118 w 314411"/>
                  <a:gd name="connsiteY47" fmla="*/ 375475 h 375475"/>
                  <a:gd name="connsiteX48" fmla="*/ 97418 w 314411"/>
                  <a:gd name="connsiteY48" fmla="*/ 344026 h 375475"/>
                  <a:gd name="connsiteX49" fmla="*/ 92579 w 314411"/>
                  <a:gd name="connsiteY49" fmla="*/ 330762 h 375475"/>
                  <a:gd name="connsiteX50" fmla="*/ 85905 w 314411"/>
                  <a:gd name="connsiteY50" fmla="*/ 313077 h 375475"/>
                  <a:gd name="connsiteX51" fmla="*/ 69553 w 314411"/>
                  <a:gd name="connsiteY51" fmla="*/ 304234 h 375475"/>
                  <a:gd name="connsiteX52" fmla="*/ 62462 w 314411"/>
                  <a:gd name="connsiteY52" fmla="*/ 301982 h 375475"/>
                  <a:gd name="connsiteX53" fmla="*/ 59375 w 314411"/>
                  <a:gd name="connsiteY53" fmla="*/ 295809 h 375475"/>
                  <a:gd name="connsiteX54" fmla="*/ 57123 w 314411"/>
                  <a:gd name="connsiteY54" fmla="*/ 283379 h 375475"/>
                  <a:gd name="connsiteX55" fmla="*/ 46528 w 314411"/>
                  <a:gd name="connsiteY55" fmla="*/ 271867 h 375475"/>
                  <a:gd name="connsiteX56" fmla="*/ 43858 w 314411"/>
                  <a:gd name="connsiteY56" fmla="*/ 269615 h 375475"/>
                  <a:gd name="connsiteX57" fmla="*/ 42106 w 314411"/>
                  <a:gd name="connsiteY57" fmla="*/ 265194 h 375475"/>
                  <a:gd name="connsiteX58" fmla="*/ 42523 w 314411"/>
                  <a:gd name="connsiteY58" fmla="*/ 255433 h 375475"/>
                  <a:gd name="connsiteX59" fmla="*/ 51366 w 314411"/>
                  <a:gd name="connsiteY59" fmla="*/ 229323 h 37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14411" h="375475" extrusionOk="0">
                    <a:moveTo>
                      <a:pt x="51366" y="229323"/>
                    </a:moveTo>
                    <a:cubicBezTo>
                      <a:pt x="56706" y="216893"/>
                      <a:pt x="62462" y="204046"/>
                      <a:pt x="61127" y="190365"/>
                    </a:cubicBezTo>
                    <a:cubicBezTo>
                      <a:pt x="59793" y="174849"/>
                      <a:pt x="52284" y="170845"/>
                      <a:pt x="46027" y="167341"/>
                    </a:cubicBezTo>
                    <a:cubicBezTo>
                      <a:pt x="43357" y="166007"/>
                      <a:pt x="40688" y="164255"/>
                      <a:pt x="38018" y="162002"/>
                    </a:cubicBezTo>
                    <a:cubicBezTo>
                      <a:pt x="34514" y="158916"/>
                      <a:pt x="32679" y="154912"/>
                      <a:pt x="30927" y="150073"/>
                    </a:cubicBezTo>
                    <a:cubicBezTo>
                      <a:pt x="29592" y="147404"/>
                      <a:pt x="28257" y="144317"/>
                      <a:pt x="26922" y="141231"/>
                    </a:cubicBezTo>
                    <a:cubicBezTo>
                      <a:pt x="25170" y="138144"/>
                      <a:pt x="22501" y="136393"/>
                      <a:pt x="20749" y="135058"/>
                    </a:cubicBezTo>
                    <a:cubicBezTo>
                      <a:pt x="19831" y="134641"/>
                      <a:pt x="18496" y="133723"/>
                      <a:pt x="18496" y="133723"/>
                    </a:cubicBezTo>
                    <a:cubicBezTo>
                      <a:pt x="17578" y="132388"/>
                      <a:pt x="17578" y="130219"/>
                      <a:pt x="17578" y="127550"/>
                    </a:cubicBezTo>
                    <a:cubicBezTo>
                      <a:pt x="17161" y="124463"/>
                      <a:pt x="17161" y="120876"/>
                      <a:pt x="15326" y="116955"/>
                    </a:cubicBezTo>
                    <a:cubicBezTo>
                      <a:pt x="13073" y="112117"/>
                      <a:pt x="10487" y="108113"/>
                      <a:pt x="7317" y="105026"/>
                    </a:cubicBezTo>
                    <a:cubicBezTo>
                      <a:pt x="4647" y="101940"/>
                      <a:pt x="2478" y="98853"/>
                      <a:pt x="1143" y="95266"/>
                    </a:cubicBezTo>
                    <a:cubicBezTo>
                      <a:pt x="-3695" y="80167"/>
                      <a:pt x="7818" y="59812"/>
                      <a:pt x="17078" y="43462"/>
                    </a:cubicBezTo>
                    <a:cubicBezTo>
                      <a:pt x="19748" y="39041"/>
                      <a:pt x="21917" y="34620"/>
                      <a:pt x="23752" y="31032"/>
                    </a:cubicBezTo>
                    <a:cubicBezTo>
                      <a:pt x="29091" y="19937"/>
                      <a:pt x="36183" y="8008"/>
                      <a:pt x="45443" y="0"/>
                    </a:cubicBezTo>
                    <a:cubicBezTo>
                      <a:pt x="47696" y="8842"/>
                      <a:pt x="52117" y="17685"/>
                      <a:pt x="59209" y="23941"/>
                    </a:cubicBezTo>
                    <a:cubicBezTo>
                      <a:pt x="61878" y="26611"/>
                      <a:pt x="64965" y="30615"/>
                      <a:pt x="68552" y="35037"/>
                    </a:cubicBezTo>
                    <a:cubicBezTo>
                      <a:pt x="78313" y="47466"/>
                      <a:pt x="90243" y="62982"/>
                      <a:pt x="106178" y="60730"/>
                    </a:cubicBezTo>
                    <a:cubicBezTo>
                      <a:pt x="115021" y="59395"/>
                      <a:pt x="119026" y="54056"/>
                      <a:pt x="122112" y="50135"/>
                    </a:cubicBezTo>
                    <a:cubicBezTo>
                      <a:pt x="123447" y="47883"/>
                      <a:pt x="124782" y="46632"/>
                      <a:pt x="126534" y="45297"/>
                    </a:cubicBezTo>
                    <a:cubicBezTo>
                      <a:pt x="129621" y="43045"/>
                      <a:pt x="133208" y="42628"/>
                      <a:pt x="137129" y="41793"/>
                    </a:cubicBezTo>
                    <a:cubicBezTo>
                      <a:pt x="138464" y="41376"/>
                      <a:pt x="139382" y="41376"/>
                      <a:pt x="140633" y="40876"/>
                    </a:cubicBezTo>
                    <a:cubicBezTo>
                      <a:pt x="149476" y="54640"/>
                      <a:pt x="152563" y="62982"/>
                      <a:pt x="141968" y="78498"/>
                    </a:cubicBezTo>
                    <a:cubicBezTo>
                      <a:pt x="134877" y="89594"/>
                      <a:pt x="133125" y="99771"/>
                      <a:pt x="136211" y="109030"/>
                    </a:cubicBezTo>
                    <a:cubicBezTo>
                      <a:pt x="140633" y="119625"/>
                      <a:pt x="151729" y="127633"/>
                      <a:pt x="169916" y="132472"/>
                    </a:cubicBezTo>
                    <a:cubicBezTo>
                      <a:pt x="173003" y="133389"/>
                      <a:pt x="176089" y="133806"/>
                      <a:pt x="178759" y="134724"/>
                    </a:cubicBezTo>
                    <a:cubicBezTo>
                      <a:pt x="187602" y="136059"/>
                      <a:pt x="191190" y="137393"/>
                      <a:pt x="195111" y="143566"/>
                    </a:cubicBezTo>
                    <a:cubicBezTo>
                      <a:pt x="197780" y="147988"/>
                      <a:pt x="199532" y="151992"/>
                      <a:pt x="200867" y="155496"/>
                    </a:cubicBezTo>
                    <a:cubicBezTo>
                      <a:pt x="203954" y="162586"/>
                      <a:pt x="207541" y="170094"/>
                      <a:pt x="214633" y="177602"/>
                    </a:cubicBezTo>
                    <a:cubicBezTo>
                      <a:pt x="225728" y="190032"/>
                      <a:pt x="237241" y="197957"/>
                      <a:pt x="249589" y="206382"/>
                    </a:cubicBezTo>
                    <a:cubicBezTo>
                      <a:pt x="259767" y="213473"/>
                      <a:pt x="259767" y="213473"/>
                      <a:pt x="262019" y="226737"/>
                    </a:cubicBezTo>
                    <a:lnTo>
                      <a:pt x="262937" y="231575"/>
                    </a:lnTo>
                    <a:cubicBezTo>
                      <a:pt x="264272" y="243087"/>
                      <a:pt x="266441" y="244839"/>
                      <a:pt x="279288" y="250595"/>
                    </a:cubicBezTo>
                    <a:cubicBezTo>
                      <a:pt x="281958" y="251513"/>
                      <a:pt x="284127" y="252347"/>
                      <a:pt x="286380" y="253264"/>
                    </a:cubicBezTo>
                    <a:cubicBezTo>
                      <a:pt x="289049" y="254182"/>
                      <a:pt x="291719" y="254599"/>
                      <a:pt x="294389" y="256351"/>
                    </a:cubicBezTo>
                    <a:cubicBezTo>
                      <a:pt x="294806" y="256768"/>
                      <a:pt x="295724" y="257686"/>
                      <a:pt x="296641" y="259021"/>
                    </a:cubicBezTo>
                    <a:cubicBezTo>
                      <a:pt x="297976" y="261273"/>
                      <a:pt x="300145" y="263442"/>
                      <a:pt x="303315" y="265194"/>
                    </a:cubicBezTo>
                    <a:cubicBezTo>
                      <a:pt x="306486" y="266946"/>
                      <a:pt x="310407" y="268697"/>
                      <a:pt x="314411" y="270032"/>
                    </a:cubicBezTo>
                    <a:cubicBezTo>
                      <a:pt x="309572" y="280209"/>
                      <a:pt x="303816" y="289052"/>
                      <a:pt x="296725" y="296143"/>
                    </a:cubicBezTo>
                    <a:cubicBezTo>
                      <a:pt x="286964" y="306320"/>
                      <a:pt x="269694" y="313828"/>
                      <a:pt x="259933" y="317415"/>
                    </a:cubicBezTo>
                    <a:cubicBezTo>
                      <a:pt x="251507" y="320501"/>
                      <a:pt x="243081" y="320918"/>
                      <a:pt x="233821" y="321836"/>
                    </a:cubicBezTo>
                    <a:cubicBezTo>
                      <a:pt x="226312" y="322253"/>
                      <a:pt x="218303" y="322754"/>
                      <a:pt x="210378" y="324923"/>
                    </a:cubicBezTo>
                    <a:cubicBezTo>
                      <a:pt x="198448" y="328009"/>
                      <a:pt x="192191" y="334683"/>
                      <a:pt x="186434" y="340439"/>
                    </a:cubicBezTo>
                    <a:cubicBezTo>
                      <a:pt x="183765" y="343108"/>
                      <a:pt x="181596" y="345778"/>
                      <a:pt x="178008" y="348447"/>
                    </a:cubicBezTo>
                    <a:cubicBezTo>
                      <a:pt x="171835" y="353286"/>
                      <a:pt x="164243" y="356873"/>
                      <a:pt x="155900" y="360377"/>
                    </a:cubicBezTo>
                    <a:cubicBezTo>
                      <a:pt x="149727" y="363046"/>
                      <a:pt x="143970" y="365715"/>
                      <a:pt x="138631" y="368802"/>
                    </a:cubicBezTo>
                    <a:lnTo>
                      <a:pt x="134626" y="371054"/>
                    </a:lnTo>
                    <a:cubicBezTo>
                      <a:pt x="131957" y="372389"/>
                      <a:pt x="129788" y="373724"/>
                      <a:pt x="127118" y="375475"/>
                    </a:cubicBezTo>
                    <a:cubicBezTo>
                      <a:pt x="116022" y="366133"/>
                      <a:pt x="105427" y="355538"/>
                      <a:pt x="97418" y="344026"/>
                    </a:cubicBezTo>
                    <a:cubicBezTo>
                      <a:pt x="94748" y="340522"/>
                      <a:pt x="93914" y="335601"/>
                      <a:pt x="92579" y="330762"/>
                    </a:cubicBezTo>
                    <a:cubicBezTo>
                      <a:pt x="91244" y="324589"/>
                      <a:pt x="89909" y="318332"/>
                      <a:pt x="85905" y="313077"/>
                    </a:cubicBezTo>
                    <a:cubicBezTo>
                      <a:pt x="81483" y="306904"/>
                      <a:pt x="74809" y="305069"/>
                      <a:pt x="69553" y="304234"/>
                    </a:cubicBezTo>
                    <a:cubicBezTo>
                      <a:pt x="66884" y="303817"/>
                      <a:pt x="64214" y="302900"/>
                      <a:pt x="62462" y="301982"/>
                    </a:cubicBezTo>
                    <a:cubicBezTo>
                      <a:pt x="59375" y="299730"/>
                      <a:pt x="59375" y="299313"/>
                      <a:pt x="59375" y="295809"/>
                    </a:cubicBezTo>
                    <a:cubicBezTo>
                      <a:pt x="59375" y="292722"/>
                      <a:pt x="59793" y="288718"/>
                      <a:pt x="57123" y="283379"/>
                    </a:cubicBezTo>
                    <a:cubicBezTo>
                      <a:pt x="54036" y="276706"/>
                      <a:pt x="49614" y="273619"/>
                      <a:pt x="46528" y="271867"/>
                    </a:cubicBezTo>
                    <a:cubicBezTo>
                      <a:pt x="45193" y="270950"/>
                      <a:pt x="44275" y="270533"/>
                      <a:pt x="43858" y="269615"/>
                    </a:cubicBezTo>
                    <a:cubicBezTo>
                      <a:pt x="42940" y="268697"/>
                      <a:pt x="42523" y="267363"/>
                      <a:pt x="42106" y="265194"/>
                    </a:cubicBezTo>
                    <a:cubicBezTo>
                      <a:pt x="41689" y="262107"/>
                      <a:pt x="41689" y="258520"/>
                      <a:pt x="42523" y="255433"/>
                    </a:cubicBezTo>
                    <a:cubicBezTo>
                      <a:pt x="44275" y="246174"/>
                      <a:pt x="47862" y="238166"/>
                      <a:pt x="51366" y="22932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70896710" name="Полилиния 372"/>
              <p:cNvSpPr/>
              <p:nvPr/>
            </p:nvSpPr>
            <p:spPr bwMode="auto">
              <a:xfrm>
                <a:off x="2167701" y="4463020"/>
                <a:ext cx="339685" cy="375343"/>
              </a:xfrm>
              <a:custGeom>
                <a:avLst/>
                <a:gdLst>
                  <a:gd name="connsiteX0" fmla="*/ 3087 w 381479"/>
                  <a:gd name="connsiteY0" fmla="*/ 225402 h 421524"/>
                  <a:gd name="connsiteX1" fmla="*/ 0 w 381479"/>
                  <a:gd name="connsiteY1" fmla="*/ 224985 h 421524"/>
                  <a:gd name="connsiteX2" fmla="*/ 13765 w 381479"/>
                  <a:gd name="connsiteY2" fmla="*/ 217477 h 421524"/>
                  <a:gd name="connsiteX3" fmla="*/ 43465 w 381479"/>
                  <a:gd name="connsiteY3" fmla="*/ 192701 h 421524"/>
                  <a:gd name="connsiteX4" fmla="*/ 43882 w 381479"/>
                  <a:gd name="connsiteY4" fmla="*/ 129385 h 421524"/>
                  <a:gd name="connsiteX5" fmla="*/ 42131 w 381479"/>
                  <a:gd name="connsiteY5" fmla="*/ 124547 h 421524"/>
                  <a:gd name="connsiteX6" fmla="*/ 41713 w 381479"/>
                  <a:gd name="connsiteY6" fmla="*/ 89093 h 421524"/>
                  <a:gd name="connsiteX7" fmla="*/ 44383 w 381479"/>
                  <a:gd name="connsiteY7" fmla="*/ 57644 h 421524"/>
                  <a:gd name="connsiteX8" fmla="*/ 43465 w 381479"/>
                  <a:gd name="connsiteY8" fmla="*/ 43879 h 421524"/>
                  <a:gd name="connsiteX9" fmla="*/ 72248 w 381479"/>
                  <a:gd name="connsiteY9" fmla="*/ 0 h 421524"/>
                  <a:gd name="connsiteX10" fmla="*/ 89517 w 381479"/>
                  <a:gd name="connsiteY10" fmla="*/ 18186 h 421524"/>
                  <a:gd name="connsiteX11" fmla="*/ 94856 w 381479"/>
                  <a:gd name="connsiteY11" fmla="*/ 24860 h 421524"/>
                  <a:gd name="connsiteX12" fmla="*/ 142660 w 381479"/>
                  <a:gd name="connsiteY12" fmla="*/ 47884 h 421524"/>
                  <a:gd name="connsiteX13" fmla="*/ 156425 w 381479"/>
                  <a:gd name="connsiteY13" fmla="*/ 47467 h 421524"/>
                  <a:gd name="connsiteX14" fmla="*/ 174612 w 381479"/>
                  <a:gd name="connsiteY14" fmla="*/ 48384 h 421524"/>
                  <a:gd name="connsiteX15" fmla="*/ 193217 w 381479"/>
                  <a:gd name="connsiteY15" fmla="*/ 75412 h 421524"/>
                  <a:gd name="connsiteX16" fmla="*/ 193634 w 381479"/>
                  <a:gd name="connsiteY16" fmla="*/ 80251 h 421524"/>
                  <a:gd name="connsiteX17" fmla="*/ 194968 w 381479"/>
                  <a:gd name="connsiteY17" fmla="*/ 91345 h 421524"/>
                  <a:gd name="connsiteX18" fmla="*/ 201142 w 381479"/>
                  <a:gd name="connsiteY18" fmla="*/ 106445 h 421524"/>
                  <a:gd name="connsiteX19" fmla="*/ 217494 w 381479"/>
                  <a:gd name="connsiteY19" fmla="*/ 137894 h 421524"/>
                  <a:gd name="connsiteX20" fmla="*/ 246693 w 381479"/>
                  <a:gd name="connsiteY20" fmla="*/ 157415 h 421524"/>
                  <a:gd name="connsiteX21" fmla="*/ 262211 w 381479"/>
                  <a:gd name="connsiteY21" fmla="*/ 145903 h 421524"/>
                  <a:gd name="connsiteX22" fmla="*/ 268384 w 381479"/>
                  <a:gd name="connsiteY22" fmla="*/ 139729 h 421524"/>
                  <a:gd name="connsiteX23" fmla="*/ 280815 w 381479"/>
                  <a:gd name="connsiteY23" fmla="*/ 138395 h 421524"/>
                  <a:gd name="connsiteX24" fmla="*/ 287906 w 381479"/>
                  <a:gd name="connsiteY24" fmla="*/ 139312 h 421524"/>
                  <a:gd name="connsiteX25" fmla="*/ 300754 w 381479"/>
                  <a:gd name="connsiteY25" fmla="*/ 145486 h 421524"/>
                  <a:gd name="connsiteX26" fmla="*/ 308763 w 381479"/>
                  <a:gd name="connsiteY26" fmla="*/ 163171 h 421524"/>
                  <a:gd name="connsiteX27" fmla="*/ 309180 w 381479"/>
                  <a:gd name="connsiteY27" fmla="*/ 165840 h 421524"/>
                  <a:gd name="connsiteX28" fmla="*/ 314936 w 381479"/>
                  <a:gd name="connsiteY28" fmla="*/ 179605 h 421524"/>
                  <a:gd name="connsiteX29" fmla="*/ 336210 w 381479"/>
                  <a:gd name="connsiteY29" fmla="*/ 191534 h 421524"/>
                  <a:gd name="connsiteX30" fmla="*/ 351310 w 381479"/>
                  <a:gd name="connsiteY30" fmla="*/ 195538 h 421524"/>
                  <a:gd name="connsiteX31" fmla="*/ 377006 w 381479"/>
                  <a:gd name="connsiteY31" fmla="*/ 194620 h 421524"/>
                  <a:gd name="connsiteX32" fmla="*/ 381427 w 381479"/>
                  <a:gd name="connsiteY32" fmla="*/ 215475 h 421524"/>
                  <a:gd name="connsiteX33" fmla="*/ 379676 w 381479"/>
                  <a:gd name="connsiteY33" fmla="*/ 227404 h 421524"/>
                  <a:gd name="connsiteX34" fmla="*/ 377924 w 381479"/>
                  <a:gd name="connsiteY34" fmla="*/ 238500 h 421524"/>
                  <a:gd name="connsiteX35" fmla="*/ 377506 w 381479"/>
                  <a:gd name="connsiteY35" fmla="*/ 246508 h 421524"/>
                  <a:gd name="connsiteX36" fmla="*/ 376589 w 381479"/>
                  <a:gd name="connsiteY36" fmla="*/ 257102 h 421524"/>
                  <a:gd name="connsiteX37" fmla="*/ 373085 w 381479"/>
                  <a:gd name="connsiteY37" fmla="*/ 266863 h 421524"/>
                  <a:gd name="connsiteX38" fmla="*/ 368246 w 381479"/>
                  <a:gd name="connsiteY38" fmla="*/ 284130 h 421524"/>
                  <a:gd name="connsiteX39" fmla="*/ 374420 w 381479"/>
                  <a:gd name="connsiteY39" fmla="*/ 307572 h 421524"/>
                  <a:gd name="connsiteX40" fmla="*/ 379258 w 381479"/>
                  <a:gd name="connsiteY40" fmla="*/ 322671 h 421524"/>
                  <a:gd name="connsiteX41" fmla="*/ 373085 w 381479"/>
                  <a:gd name="connsiteY41" fmla="*/ 342608 h 421524"/>
                  <a:gd name="connsiteX42" fmla="*/ 354898 w 381479"/>
                  <a:gd name="connsiteY42" fmla="*/ 374975 h 421524"/>
                  <a:gd name="connsiteX43" fmla="*/ 334959 w 381479"/>
                  <a:gd name="connsiteY43" fmla="*/ 410429 h 421524"/>
                  <a:gd name="connsiteX44" fmla="*/ 329620 w 381479"/>
                  <a:gd name="connsiteY44" fmla="*/ 421524 h 421524"/>
                  <a:gd name="connsiteX45" fmla="*/ 324280 w 381479"/>
                  <a:gd name="connsiteY45" fmla="*/ 413099 h 421524"/>
                  <a:gd name="connsiteX46" fmla="*/ 281732 w 381479"/>
                  <a:gd name="connsiteY46" fmla="*/ 379897 h 421524"/>
                  <a:gd name="connsiteX47" fmla="*/ 254285 w 381479"/>
                  <a:gd name="connsiteY47" fmla="*/ 383401 h 421524"/>
                  <a:gd name="connsiteX48" fmla="*/ 233929 w 381479"/>
                  <a:gd name="connsiteY48" fmla="*/ 386905 h 421524"/>
                  <a:gd name="connsiteX49" fmla="*/ 215325 w 381479"/>
                  <a:gd name="connsiteY49" fmla="*/ 377144 h 421524"/>
                  <a:gd name="connsiteX50" fmla="*/ 195803 w 381479"/>
                  <a:gd name="connsiteY50" fmla="*/ 366049 h 421524"/>
                  <a:gd name="connsiteX51" fmla="*/ 180285 w 381479"/>
                  <a:gd name="connsiteY51" fmla="*/ 362546 h 421524"/>
                  <a:gd name="connsiteX52" fmla="*/ 156342 w 381479"/>
                  <a:gd name="connsiteY52" fmla="*/ 354537 h 421524"/>
                  <a:gd name="connsiteX53" fmla="*/ 146581 w 381479"/>
                  <a:gd name="connsiteY53" fmla="*/ 337269 h 421524"/>
                  <a:gd name="connsiteX54" fmla="*/ 133316 w 381479"/>
                  <a:gd name="connsiteY54" fmla="*/ 314662 h 421524"/>
                  <a:gd name="connsiteX55" fmla="*/ 92520 w 381479"/>
                  <a:gd name="connsiteY55" fmla="*/ 302233 h 421524"/>
                  <a:gd name="connsiteX56" fmla="*/ 83177 w 381479"/>
                  <a:gd name="connsiteY56" fmla="*/ 301315 h 421524"/>
                  <a:gd name="connsiteX57" fmla="*/ 62320 w 381479"/>
                  <a:gd name="connsiteY57" fmla="*/ 286716 h 421524"/>
                  <a:gd name="connsiteX58" fmla="*/ 56563 w 381479"/>
                  <a:gd name="connsiteY58" fmla="*/ 276956 h 421524"/>
                  <a:gd name="connsiteX59" fmla="*/ 37042 w 381479"/>
                  <a:gd name="connsiteY59" fmla="*/ 260606 h 421524"/>
                  <a:gd name="connsiteX60" fmla="*/ 24611 w 381479"/>
                  <a:gd name="connsiteY60" fmla="*/ 250846 h 421524"/>
                  <a:gd name="connsiteX61" fmla="*/ 22358 w 381479"/>
                  <a:gd name="connsiteY61" fmla="*/ 244673 h 421524"/>
                  <a:gd name="connsiteX62" fmla="*/ 16185 w 381479"/>
                  <a:gd name="connsiteY62" fmla="*/ 230491 h 421524"/>
                  <a:gd name="connsiteX63" fmla="*/ 3087 w 381479"/>
                  <a:gd name="connsiteY63" fmla="*/ 225402 h 42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81479" h="421524" extrusionOk="0">
                    <a:moveTo>
                      <a:pt x="3087" y="225402"/>
                    </a:moveTo>
                    <a:cubicBezTo>
                      <a:pt x="1752" y="224985"/>
                      <a:pt x="834" y="224985"/>
                      <a:pt x="0" y="224985"/>
                    </a:cubicBezTo>
                    <a:cubicBezTo>
                      <a:pt x="4005" y="222316"/>
                      <a:pt x="8426" y="220147"/>
                      <a:pt x="13765" y="217477"/>
                    </a:cubicBezTo>
                    <a:cubicBezTo>
                      <a:pt x="25696" y="212139"/>
                      <a:pt x="35874" y="206883"/>
                      <a:pt x="43465" y="192701"/>
                    </a:cubicBezTo>
                    <a:cubicBezTo>
                      <a:pt x="56730" y="167425"/>
                      <a:pt x="50974" y="150658"/>
                      <a:pt x="43882" y="129385"/>
                    </a:cubicBezTo>
                    <a:lnTo>
                      <a:pt x="42131" y="124547"/>
                    </a:lnTo>
                    <a:cubicBezTo>
                      <a:pt x="37292" y="109948"/>
                      <a:pt x="37292" y="101523"/>
                      <a:pt x="41713" y="89093"/>
                    </a:cubicBezTo>
                    <a:cubicBezTo>
                      <a:pt x="46135" y="76664"/>
                      <a:pt x="45217" y="66987"/>
                      <a:pt x="44383" y="57644"/>
                    </a:cubicBezTo>
                    <a:cubicBezTo>
                      <a:pt x="43966" y="53223"/>
                      <a:pt x="43465" y="48801"/>
                      <a:pt x="43465" y="43879"/>
                    </a:cubicBezTo>
                    <a:cubicBezTo>
                      <a:pt x="43465" y="31950"/>
                      <a:pt x="46552" y="5756"/>
                      <a:pt x="72248" y="0"/>
                    </a:cubicBezTo>
                    <a:cubicBezTo>
                      <a:pt x="80257" y="6674"/>
                      <a:pt x="83343" y="10177"/>
                      <a:pt x="89517" y="18186"/>
                    </a:cubicBezTo>
                    <a:lnTo>
                      <a:pt x="94856" y="24860"/>
                    </a:lnTo>
                    <a:cubicBezTo>
                      <a:pt x="105952" y="38624"/>
                      <a:pt x="121887" y="46132"/>
                      <a:pt x="142660" y="47884"/>
                    </a:cubicBezTo>
                    <a:cubicBezTo>
                      <a:pt x="147082" y="48301"/>
                      <a:pt x="152004" y="47884"/>
                      <a:pt x="156425" y="47467"/>
                    </a:cubicBezTo>
                    <a:cubicBezTo>
                      <a:pt x="163099" y="47049"/>
                      <a:pt x="169273" y="46549"/>
                      <a:pt x="174612" y="48384"/>
                    </a:cubicBezTo>
                    <a:cubicBezTo>
                      <a:pt x="185708" y="51888"/>
                      <a:pt x="192299" y="64317"/>
                      <a:pt x="193217" y="75412"/>
                    </a:cubicBezTo>
                    <a:cubicBezTo>
                      <a:pt x="193217" y="77164"/>
                      <a:pt x="193634" y="78916"/>
                      <a:pt x="193634" y="80251"/>
                    </a:cubicBezTo>
                    <a:cubicBezTo>
                      <a:pt x="194051" y="83755"/>
                      <a:pt x="194051" y="87759"/>
                      <a:pt x="194968" y="91345"/>
                    </a:cubicBezTo>
                    <a:cubicBezTo>
                      <a:pt x="196303" y="97102"/>
                      <a:pt x="198973" y="101940"/>
                      <a:pt x="201142" y="106445"/>
                    </a:cubicBezTo>
                    <a:lnTo>
                      <a:pt x="217494" y="137894"/>
                    </a:lnTo>
                    <a:cubicBezTo>
                      <a:pt x="228089" y="158249"/>
                      <a:pt x="240520" y="159167"/>
                      <a:pt x="246693" y="157415"/>
                    </a:cubicBezTo>
                    <a:cubicBezTo>
                      <a:pt x="253784" y="155663"/>
                      <a:pt x="258206" y="150324"/>
                      <a:pt x="262211" y="145903"/>
                    </a:cubicBezTo>
                    <a:cubicBezTo>
                      <a:pt x="264463" y="143233"/>
                      <a:pt x="266632" y="141064"/>
                      <a:pt x="268384" y="139729"/>
                    </a:cubicBezTo>
                    <a:cubicBezTo>
                      <a:pt x="271888" y="137477"/>
                      <a:pt x="275058" y="137978"/>
                      <a:pt x="280815" y="138395"/>
                    </a:cubicBezTo>
                    <a:cubicBezTo>
                      <a:pt x="283067" y="138812"/>
                      <a:pt x="285236" y="139312"/>
                      <a:pt x="287906" y="139312"/>
                    </a:cubicBezTo>
                    <a:cubicBezTo>
                      <a:pt x="294997" y="139729"/>
                      <a:pt x="297667" y="140647"/>
                      <a:pt x="300754" y="145486"/>
                    </a:cubicBezTo>
                    <a:cubicBezTo>
                      <a:pt x="304258" y="150825"/>
                      <a:pt x="306927" y="156580"/>
                      <a:pt x="308763" y="163171"/>
                    </a:cubicBezTo>
                    <a:lnTo>
                      <a:pt x="309180" y="165840"/>
                    </a:lnTo>
                    <a:cubicBezTo>
                      <a:pt x="310515" y="170261"/>
                      <a:pt x="311850" y="175600"/>
                      <a:pt x="314936" y="179605"/>
                    </a:cubicBezTo>
                    <a:cubicBezTo>
                      <a:pt x="320276" y="187112"/>
                      <a:pt x="329536" y="189782"/>
                      <a:pt x="336210" y="191534"/>
                    </a:cubicBezTo>
                    <a:lnTo>
                      <a:pt x="351310" y="195538"/>
                    </a:lnTo>
                    <a:cubicBezTo>
                      <a:pt x="356650" y="196872"/>
                      <a:pt x="367662" y="199959"/>
                      <a:pt x="377006" y="194620"/>
                    </a:cubicBezTo>
                    <a:cubicBezTo>
                      <a:pt x="379676" y="201294"/>
                      <a:pt x="381845" y="208802"/>
                      <a:pt x="381427" y="215475"/>
                    </a:cubicBezTo>
                    <a:cubicBezTo>
                      <a:pt x="381427" y="219479"/>
                      <a:pt x="380510" y="223484"/>
                      <a:pt x="379676" y="227404"/>
                    </a:cubicBezTo>
                    <a:cubicBezTo>
                      <a:pt x="378758" y="230908"/>
                      <a:pt x="378341" y="234912"/>
                      <a:pt x="377924" y="238500"/>
                    </a:cubicBezTo>
                    <a:cubicBezTo>
                      <a:pt x="377506" y="241169"/>
                      <a:pt x="377506" y="243838"/>
                      <a:pt x="377506" y="246508"/>
                    </a:cubicBezTo>
                    <a:cubicBezTo>
                      <a:pt x="377506" y="250011"/>
                      <a:pt x="377506" y="253598"/>
                      <a:pt x="376589" y="257102"/>
                    </a:cubicBezTo>
                    <a:cubicBezTo>
                      <a:pt x="375671" y="260189"/>
                      <a:pt x="374336" y="263275"/>
                      <a:pt x="373085" y="266863"/>
                    </a:cubicBezTo>
                    <a:cubicBezTo>
                      <a:pt x="370832" y="271701"/>
                      <a:pt x="368663" y="277457"/>
                      <a:pt x="368246" y="284130"/>
                    </a:cubicBezTo>
                    <a:cubicBezTo>
                      <a:pt x="367829" y="292973"/>
                      <a:pt x="371333" y="300481"/>
                      <a:pt x="374420" y="307572"/>
                    </a:cubicBezTo>
                    <a:cubicBezTo>
                      <a:pt x="376672" y="312910"/>
                      <a:pt x="378841" y="317749"/>
                      <a:pt x="379258" y="322671"/>
                    </a:cubicBezTo>
                    <a:cubicBezTo>
                      <a:pt x="379676" y="329344"/>
                      <a:pt x="376589" y="336435"/>
                      <a:pt x="373085" y="342608"/>
                    </a:cubicBezTo>
                    <a:cubicBezTo>
                      <a:pt x="367328" y="353703"/>
                      <a:pt x="361155" y="364298"/>
                      <a:pt x="354898" y="374975"/>
                    </a:cubicBezTo>
                    <a:cubicBezTo>
                      <a:pt x="348224" y="386487"/>
                      <a:pt x="341132" y="398416"/>
                      <a:pt x="334959" y="410429"/>
                    </a:cubicBezTo>
                    <a:cubicBezTo>
                      <a:pt x="332706" y="413933"/>
                      <a:pt x="331455" y="417937"/>
                      <a:pt x="329620" y="421524"/>
                    </a:cubicBezTo>
                    <a:cubicBezTo>
                      <a:pt x="327867" y="418854"/>
                      <a:pt x="326115" y="416185"/>
                      <a:pt x="324280" y="413099"/>
                    </a:cubicBezTo>
                    <a:cubicBezTo>
                      <a:pt x="316772" y="402004"/>
                      <a:pt x="300837" y="383401"/>
                      <a:pt x="281732" y="379897"/>
                    </a:cubicBezTo>
                    <a:cubicBezTo>
                      <a:pt x="271971" y="378145"/>
                      <a:pt x="263128" y="380815"/>
                      <a:pt x="254285" y="383401"/>
                    </a:cubicBezTo>
                    <a:cubicBezTo>
                      <a:pt x="247194" y="385653"/>
                      <a:pt x="240102" y="387822"/>
                      <a:pt x="233929" y="386905"/>
                    </a:cubicBezTo>
                    <a:cubicBezTo>
                      <a:pt x="227255" y="385987"/>
                      <a:pt x="221498" y="382066"/>
                      <a:pt x="215325" y="377144"/>
                    </a:cubicBezTo>
                    <a:cubicBezTo>
                      <a:pt x="209985" y="373140"/>
                      <a:pt x="203812" y="368302"/>
                      <a:pt x="195803" y="366049"/>
                    </a:cubicBezTo>
                    <a:cubicBezTo>
                      <a:pt x="190964" y="364298"/>
                      <a:pt x="185625" y="363380"/>
                      <a:pt x="180285" y="362546"/>
                    </a:cubicBezTo>
                    <a:cubicBezTo>
                      <a:pt x="170942" y="361211"/>
                      <a:pt x="162599" y="359876"/>
                      <a:pt x="156342" y="354537"/>
                    </a:cubicBezTo>
                    <a:cubicBezTo>
                      <a:pt x="151503" y="350533"/>
                      <a:pt x="149251" y="344360"/>
                      <a:pt x="146581" y="337269"/>
                    </a:cubicBezTo>
                    <a:cubicBezTo>
                      <a:pt x="143911" y="329762"/>
                      <a:pt x="140825" y="321336"/>
                      <a:pt x="133316" y="314662"/>
                    </a:cubicBezTo>
                    <a:cubicBezTo>
                      <a:pt x="121386" y="304485"/>
                      <a:pt x="106286" y="303568"/>
                      <a:pt x="92520" y="302233"/>
                    </a:cubicBezTo>
                    <a:cubicBezTo>
                      <a:pt x="89434" y="301816"/>
                      <a:pt x="86347" y="301816"/>
                      <a:pt x="83177" y="301315"/>
                    </a:cubicBezTo>
                    <a:cubicBezTo>
                      <a:pt x="69411" y="299980"/>
                      <a:pt x="67659" y="296894"/>
                      <a:pt x="62320" y="286716"/>
                    </a:cubicBezTo>
                    <a:cubicBezTo>
                      <a:pt x="60568" y="284047"/>
                      <a:pt x="58816" y="280543"/>
                      <a:pt x="56563" y="276956"/>
                    </a:cubicBezTo>
                    <a:cubicBezTo>
                      <a:pt x="51224" y="268531"/>
                      <a:pt x="43716" y="264527"/>
                      <a:pt x="37042" y="260606"/>
                    </a:cubicBezTo>
                    <a:cubicBezTo>
                      <a:pt x="31702" y="257519"/>
                      <a:pt x="27281" y="254850"/>
                      <a:pt x="24611" y="250846"/>
                    </a:cubicBezTo>
                    <a:cubicBezTo>
                      <a:pt x="23693" y="249511"/>
                      <a:pt x="23276" y="247342"/>
                      <a:pt x="22358" y="244673"/>
                    </a:cubicBezTo>
                    <a:cubicBezTo>
                      <a:pt x="21441" y="240251"/>
                      <a:pt x="20106" y="234912"/>
                      <a:pt x="16185" y="230491"/>
                    </a:cubicBezTo>
                    <a:cubicBezTo>
                      <a:pt x="10679" y="226237"/>
                      <a:pt x="6257" y="225819"/>
                      <a:pt x="3087" y="22540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24175216" name="Полилиния 373"/>
              <p:cNvSpPr/>
              <p:nvPr/>
            </p:nvSpPr>
            <p:spPr bwMode="auto">
              <a:xfrm>
                <a:off x="1963282" y="2968108"/>
                <a:ext cx="596579" cy="516402"/>
              </a:xfrm>
              <a:custGeom>
                <a:avLst/>
                <a:gdLst>
                  <a:gd name="connsiteX0" fmla="*/ 979 w 669979"/>
                  <a:gd name="connsiteY0" fmla="*/ 193032 h 579936"/>
                  <a:gd name="connsiteX1" fmla="*/ 62 w 669979"/>
                  <a:gd name="connsiteY1" fmla="*/ 177099 h 579936"/>
                  <a:gd name="connsiteX2" fmla="*/ 1397 w 669979"/>
                  <a:gd name="connsiteY2" fmla="*/ 153658 h 579936"/>
                  <a:gd name="connsiteX3" fmla="*/ 7570 w 669979"/>
                  <a:gd name="connsiteY3" fmla="*/ 153241 h 579936"/>
                  <a:gd name="connsiteX4" fmla="*/ 36352 w 669979"/>
                  <a:gd name="connsiteY4" fmla="*/ 148402 h 579936"/>
                  <a:gd name="connsiteX5" fmla="*/ 55874 w 669979"/>
                  <a:gd name="connsiteY5" fmla="*/ 129800 h 579936"/>
                  <a:gd name="connsiteX6" fmla="*/ 58544 w 669979"/>
                  <a:gd name="connsiteY6" fmla="*/ 107693 h 579936"/>
                  <a:gd name="connsiteX7" fmla="*/ 74061 w 669979"/>
                  <a:gd name="connsiteY7" fmla="*/ 96181 h 579936"/>
                  <a:gd name="connsiteX8" fmla="*/ 89579 w 669979"/>
                  <a:gd name="connsiteY8" fmla="*/ 110363 h 579936"/>
                  <a:gd name="connsiteX9" fmla="*/ 105513 w 669979"/>
                  <a:gd name="connsiteY9" fmla="*/ 110363 h 579936"/>
                  <a:gd name="connsiteX10" fmla="*/ 119279 w 669979"/>
                  <a:gd name="connsiteY10" fmla="*/ 123209 h 579936"/>
                  <a:gd name="connsiteX11" fmla="*/ 145892 w 669979"/>
                  <a:gd name="connsiteY11" fmla="*/ 144482 h 579936"/>
                  <a:gd name="connsiteX12" fmla="*/ 167583 w 669979"/>
                  <a:gd name="connsiteY12" fmla="*/ 134304 h 579936"/>
                  <a:gd name="connsiteX13" fmla="*/ 183934 w 669979"/>
                  <a:gd name="connsiteY13" fmla="*/ 155577 h 579936"/>
                  <a:gd name="connsiteX14" fmla="*/ 220726 w 669979"/>
                  <a:gd name="connsiteY14" fmla="*/ 201208 h 579936"/>
                  <a:gd name="connsiteX15" fmla="*/ 227400 w 669979"/>
                  <a:gd name="connsiteY15" fmla="*/ 154659 h 579936"/>
                  <a:gd name="connsiteX16" fmla="*/ 207878 w 669979"/>
                  <a:gd name="connsiteY16" fmla="*/ 131635 h 579936"/>
                  <a:gd name="connsiteX17" fmla="*/ 184852 w 669979"/>
                  <a:gd name="connsiteY17" fmla="*/ 111697 h 579936"/>
                  <a:gd name="connsiteX18" fmla="*/ 193695 w 669979"/>
                  <a:gd name="connsiteY18" fmla="*/ 85587 h 579936"/>
                  <a:gd name="connsiteX19" fmla="*/ 189691 w 669979"/>
                  <a:gd name="connsiteY19" fmla="*/ 56390 h 579936"/>
                  <a:gd name="connsiteX20" fmla="*/ 209630 w 669979"/>
                  <a:gd name="connsiteY20" fmla="*/ 32949 h 579936"/>
                  <a:gd name="connsiteX21" fmla="*/ 191943 w 669979"/>
                  <a:gd name="connsiteY21" fmla="*/ 14346 h 579936"/>
                  <a:gd name="connsiteX22" fmla="*/ 172922 w 669979"/>
                  <a:gd name="connsiteY22" fmla="*/ 9924 h 579936"/>
                  <a:gd name="connsiteX23" fmla="*/ 163161 w 669979"/>
                  <a:gd name="connsiteY23" fmla="*/ 12177 h 579936"/>
                  <a:gd name="connsiteX24" fmla="*/ 156487 w 669979"/>
                  <a:gd name="connsiteY24" fmla="*/ 8173 h 579936"/>
                  <a:gd name="connsiteX25" fmla="*/ 297395 w 669979"/>
                  <a:gd name="connsiteY25" fmla="*/ 5503 h 579936"/>
                  <a:gd name="connsiteX26" fmla="*/ 333686 w 669979"/>
                  <a:gd name="connsiteY26" fmla="*/ 9507 h 579936"/>
                  <a:gd name="connsiteX27" fmla="*/ 349203 w 669979"/>
                  <a:gd name="connsiteY27" fmla="*/ 40540 h 579936"/>
                  <a:gd name="connsiteX28" fmla="*/ 364720 w 669979"/>
                  <a:gd name="connsiteY28" fmla="*/ 71989 h 579936"/>
                  <a:gd name="connsiteX29" fmla="*/ 401011 w 669979"/>
                  <a:gd name="connsiteY29" fmla="*/ 164586 h 579936"/>
                  <a:gd name="connsiteX30" fmla="*/ 403681 w 669979"/>
                  <a:gd name="connsiteY30" fmla="*/ 171677 h 579936"/>
                  <a:gd name="connsiteX31" fmla="*/ 411690 w 669979"/>
                  <a:gd name="connsiteY31" fmla="*/ 195118 h 579936"/>
                  <a:gd name="connsiteX32" fmla="*/ 444477 w 669979"/>
                  <a:gd name="connsiteY32" fmla="*/ 271281 h 579936"/>
                  <a:gd name="connsiteX33" fmla="*/ 473259 w 669979"/>
                  <a:gd name="connsiteY33" fmla="*/ 302730 h 579936"/>
                  <a:gd name="connsiteX34" fmla="*/ 509549 w 669979"/>
                  <a:gd name="connsiteY34" fmla="*/ 299227 h 579936"/>
                  <a:gd name="connsiteX35" fmla="*/ 527736 w 669979"/>
                  <a:gd name="connsiteY35" fmla="*/ 294388 h 579936"/>
                  <a:gd name="connsiteX36" fmla="*/ 533076 w 669979"/>
                  <a:gd name="connsiteY36" fmla="*/ 301479 h 579936"/>
                  <a:gd name="connsiteX37" fmla="*/ 546341 w 669979"/>
                  <a:gd name="connsiteY37" fmla="*/ 316078 h 579936"/>
                  <a:gd name="connsiteX38" fmla="*/ 560106 w 669979"/>
                  <a:gd name="connsiteY38" fmla="*/ 312991 h 579936"/>
                  <a:gd name="connsiteX39" fmla="*/ 568949 w 669979"/>
                  <a:gd name="connsiteY39" fmla="*/ 286880 h 579936"/>
                  <a:gd name="connsiteX40" fmla="*/ 568949 w 669979"/>
                  <a:gd name="connsiteY40" fmla="*/ 284211 h 579936"/>
                  <a:gd name="connsiteX41" fmla="*/ 569867 w 669979"/>
                  <a:gd name="connsiteY41" fmla="*/ 280707 h 579936"/>
                  <a:gd name="connsiteX42" fmla="*/ 574289 w 669979"/>
                  <a:gd name="connsiteY42" fmla="*/ 282042 h 579936"/>
                  <a:gd name="connsiteX43" fmla="*/ 599567 w 669979"/>
                  <a:gd name="connsiteY43" fmla="*/ 304649 h 579936"/>
                  <a:gd name="connsiteX44" fmla="*/ 603989 w 669979"/>
                  <a:gd name="connsiteY44" fmla="*/ 313492 h 579936"/>
                  <a:gd name="connsiteX45" fmla="*/ 626597 w 669979"/>
                  <a:gd name="connsiteY45" fmla="*/ 329425 h 579936"/>
                  <a:gd name="connsiteX46" fmla="*/ 648705 w 669979"/>
                  <a:gd name="connsiteY46" fmla="*/ 348028 h 579936"/>
                  <a:gd name="connsiteX47" fmla="*/ 651375 w 669979"/>
                  <a:gd name="connsiteY47" fmla="*/ 355118 h 579936"/>
                  <a:gd name="connsiteX48" fmla="*/ 667309 w 669979"/>
                  <a:gd name="connsiteY48" fmla="*/ 383064 h 579936"/>
                  <a:gd name="connsiteX49" fmla="*/ 669979 w 669979"/>
                  <a:gd name="connsiteY49" fmla="*/ 385734 h 579936"/>
                  <a:gd name="connsiteX50" fmla="*/ 654045 w 669979"/>
                  <a:gd name="connsiteY50" fmla="*/ 394576 h 579936"/>
                  <a:gd name="connsiteX51" fmla="*/ 647371 w 669979"/>
                  <a:gd name="connsiteY51" fmla="*/ 398998 h 579936"/>
                  <a:gd name="connsiteX52" fmla="*/ 627431 w 669979"/>
                  <a:gd name="connsiteY52" fmla="*/ 404337 h 579936"/>
                  <a:gd name="connsiteX53" fmla="*/ 618088 w 669979"/>
                  <a:gd name="connsiteY53" fmla="*/ 405254 h 579936"/>
                  <a:gd name="connsiteX54" fmla="*/ 583132 w 669979"/>
                  <a:gd name="connsiteY54" fmla="*/ 432700 h 579936"/>
                  <a:gd name="connsiteX55" fmla="*/ 571619 w 669979"/>
                  <a:gd name="connsiteY55" fmla="*/ 448633 h 579936"/>
                  <a:gd name="connsiteX56" fmla="*/ 552097 w 669979"/>
                  <a:gd name="connsiteY56" fmla="*/ 462397 h 579936"/>
                  <a:gd name="connsiteX57" fmla="*/ 517141 w 669979"/>
                  <a:gd name="connsiteY57" fmla="*/ 499186 h 579936"/>
                  <a:gd name="connsiteX58" fmla="*/ 514889 w 669979"/>
                  <a:gd name="connsiteY58" fmla="*/ 511615 h 579936"/>
                  <a:gd name="connsiteX59" fmla="*/ 510050 w 669979"/>
                  <a:gd name="connsiteY59" fmla="*/ 526214 h 579936"/>
                  <a:gd name="connsiteX60" fmla="*/ 490528 w 669979"/>
                  <a:gd name="connsiteY60" fmla="*/ 551490 h 579936"/>
                  <a:gd name="connsiteX61" fmla="*/ 482519 w 669979"/>
                  <a:gd name="connsiteY61" fmla="*/ 556829 h 579936"/>
                  <a:gd name="connsiteX62" fmla="*/ 472341 w 669979"/>
                  <a:gd name="connsiteY62" fmla="*/ 563503 h 579936"/>
                  <a:gd name="connsiteX63" fmla="*/ 464332 w 669979"/>
                  <a:gd name="connsiteY63" fmla="*/ 571511 h 579936"/>
                  <a:gd name="connsiteX64" fmla="*/ 447980 w 669979"/>
                  <a:gd name="connsiteY64" fmla="*/ 579937 h 579936"/>
                  <a:gd name="connsiteX65" fmla="*/ 429793 w 669979"/>
                  <a:gd name="connsiteY65" fmla="*/ 576850 h 579936"/>
                  <a:gd name="connsiteX66" fmla="*/ 396589 w 669979"/>
                  <a:gd name="connsiteY66" fmla="*/ 579937 h 579936"/>
                  <a:gd name="connsiteX67" fmla="*/ 394337 w 669979"/>
                  <a:gd name="connsiteY67" fmla="*/ 576433 h 579936"/>
                  <a:gd name="connsiteX68" fmla="*/ 391667 w 669979"/>
                  <a:gd name="connsiteY68" fmla="*/ 568008 h 579936"/>
                  <a:gd name="connsiteX69" fmla="*/ 382324 w 669979"/>
                  <a:gd name="connsiteY69" fmla="*/ 548487 h 579936"/>
                  <a:gd name="connsiteX70" fmla="*/ 373897 w 669979"/>
                  <a:gd name="connsiteY70" fmla="*/ 540479 h 579936"/>
                  <a:gd name="connsiteX71" fmla="*/ 365888 w 669979"/>
                  <a:gd name="connsiteY71" fmla="*/ 532053 h 579936"/>
                  <a:gd name="connsiteX72" fmla="*/ 358380 w 669979"/>
                  <a:gd name="connsiteY72" fmla="*/ 497934 h 579936"/>
                  <a:gd name="connsiteX73" fmla="*/ 357963 w 669979"/>
                  <a:gd name="connsiteY73" fmla="*/ 487340 h 579936"/>
                  <a:gd name="connsiteX74" fmla="*/ 342028 w 669979"/>
                  <a:gd name="connsiteY74" fmla="*/ 466985 h 579936"/>
                  <a:gd name="connsiteX75" fmla="*/ 334019 w 669979"/>
                  <a:gd name="connsiteY75" fmla="*/ 457642 h 579936"/>
                  <a:gd name="connsiteX76" fmla="*/ 302567 w 669979"/>
                  <a:gd name="connsiteY76" fmla="*/ 432366 h 579936"/>
                  <a:gd name="connsiteX77" fmla="*/ 295893 w 669979"/>
                  <a:gd name="connsiteY77" fmla="*/ 433283 h 579936"/>
                  <a:gd name="connsiteX78" fmla="*/ 273785 w 669979"/>
                  <a:gd name="connsiteY78" fmla="*/ 432366 h 579936"/>
                  <a:gd name="connsiteX79" fmla="*/ 270698 w 669979"/>
                  <a:gd name="connsiteY79" fmla="*/ 422606 h 579936"/>
                  <a:gd name="connsiteX80" fmla="*/ 272951 w 669979"/>
                  <a:gd name="connsiteY80" fmla="*/ 409759 h 579936"/>
                  <a:gd name="connsiteX81" fmla="*/ 275203 w 669979"/>
                  <a:gd name="connsiteY81" fmla="*/ 387152 h 579936"/>
                  <a:gd name="connsiteX82" fmla="*/ 262356 w 669979"/>
                  <a:gd name="connsiteY82" fmla="*/ 373388 h 579936"/>
                  <a:gd name="connsiteX83" fmla="*/ 258351 w 669979"/>
                  <a:gd name="connsiteY83" fmla="*/ 372053 h 579936"/>
                  <a:gd name="connsiteX84" fmla="*/ 249925 w 669979"/>
                  <a:gd name="connsiteY84" fmla="*/ 367214 h 579936"/>
                  <a:gd name="connsiteX85" fmla="*/ 220726 w 669979"/>
                  <a:gd name="connsiteY85" fmla="*/ 359707 h 579936"/>
                  <a:gd name="connsiteX86" fmla="*/ 203456 w 669979"/>
                  <a:gd name="connsiteY86" fmla="*/ 365880 h 579936"/>
                  <a:gd name="connsiteX87" fmla="*/ 179513 w 669979"/>
                  <a:gd name="connsiteY87" fmla="*/ 365463 h 579936"/>
                  <a:gd name="connsiteX88" fmla="*/ 137466 w 669979"/>
                  <a:gd name="connsiteY88" fmla="*/ 355285 h 579936"/>
                  <a:gd name="connsiteX89" fmla="*/ 131292 w 669979"/>
                  <a:gd name="connsiteY89" fmla="*/ 356203 h 579936"/>
                  <a:gd name="connsiteX90" fmla="*/ 105180 w 669979"/>
                  <a:gd name="connsiteY90" fmla="*/ 353951 h 579936"/>
                  <a:gd name="connsiteX91" fmla="*/ 98505 w 669979"/>
                  <a:gd name="connsiteY91" fmla="*/ 345108 h 579936"/>
                  <a:gd name="connsiteX92" fmla="*/ 71892 w 669979"/>
                  <a:gd name="connsiteY92" fmla="*/ 330509 h 579936"/>
                  <a:gd name="connsiteX93" fmla="*/ 49784 w 669979"/>
                  <a:gd name="connsiteY93" fmla="*/ 341604 h 579936"/>
                  <a:gd name="connsiteX94" fmla="*/ 35184 w 669979"/>
                  <a:gd name="connsiteY94" fmla="*/ 350030 h 579936"/>
                  <a:gd name="connsiteX95" fmla="*/ 32932 w 669979"/>
                  <a:gd name="connsiteY95" fmla="*/ 344274 h 579936"/>
                  <a:gd name="connsiteX96" fmla="*/ 30262 w 669979"/>
                  <a:gd name="connsiteY96" fmla="*/ 336265 h 579936"/>
                  <a:gd name="connsiteX97" fmla="*/ 28510 w 669979"/>
                  <a:gd name="connsiteY97" fmla="*/ 311490 h 579936"/>
                  <a:gd name="connsiteX98" fmla="*/ 30262 w 669979"/>
                  <a:gd name="connsiteY98" fmla="*/ 266276 h 579936"/>
                  <a:gd name="connsiteX99" fmla="*/ 25841 w 669979"/>
                  <a:gd name="connsiteY99" fmla="*/ 230822 h 579936"/>
                  <a:gd name="connsiteX100" fmla="*/ 12993 w 669979"/>
                  <a:gd name="connsiteY100" fmla="*/ 212636 h 579936"/>
                  <a:gd name="connsiteX101" fmla="*/ 979 w 669979"/>
                  <a:gd name="connsiteY101" fmla="*/ 193032 h 579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669979" h="579936" extrusionOk="0">
                    <a:moveTo>
                      <a:pt x="979" y="193032"/>
                    </a:moveTo>
                    <a:cubicBezTo>
                      <a:pt x="-355" y="188194"/>
                      <a:pt x="62" y="182438"/>
                      <a:pt x="62" y="177099"/>
                    </a:cubicBezTo>
                    <a:lnTo>
                      <a:pt x="1397" y="153658"/>
                    </a:lnTo>
                    <a:cubicBezTo>
                      <a:pt x="3649" y="153658"/>
                      <a:pt x="5401" y="153241"/>
                      <a:pt x="7570" y="153241"/>
                    </a:cubicBezTo>
                    <a:cubicBezTo>
                      <a:pt x="17331" y="152824"/>
                      <a:pt x="26591" y="152323"/>
                      <a:pt x="36352" y="148402"/>
                    </a:cubicBezTo>
                    <a:cubicBezTo>
                      <a:pt x="45196" y="144899"/>
                      <a:pt x="52287" y="138225"/>
                      <a:pt x="55874" y="129800"/>
                    </a:cubicBezTo>
                    <a:cubicBezTo>
                      <a:pt x="58544" y="123126"/>
                      <a:pt x="59378" y="115618"/>
                      <a:pt x="58544" y="107693"/>
                    </a:cubicBezTo>
                    <a:cubicBezTo>
                      <a:pt x="63383" y="102855"/>
                      <a:pt x="67387" y="96598"/>
                      <a:pt x="74061" y="96181"/>
                    </a:cubicBezTo>
                    <a:cubicBezTo>
                      <a:pt x="85574" y="95764"/>
                      <a:pt x="81570" y="105941"/>
                      <a:pt x="89579" y="110363"/>
                    </a:cubicBezTo>
                    <a:cubicBezTo>
                      <a:pt x="94918" y="113866"/>
                      <a:pt x="99757" y="108110"/>
                      <a:pt x="105513" y="110363"/>
                    </a:cubicBezTo>
                    <a:cubicBezTo>
                      <a:pt x="111687" y="113032"/>
                      <a:pt x="115274" y="118371"/>
                      <a:pt x="119279" y="123209"/>
                    </a:cubicBezTo>
                    <a:cubicBezTo>
                      <a:pt x="125035" y="130300"/>
                      <a:pt x="134379" y="146651"/>
                      <a:pt x="145892" y="144482"/>
                    </a:cubicBezTo>
                    <a:cubicBezTo>
                      <a:pt x="158322" y="141812"/>
                      <a:pt x="153400" y="128965"/>
                      <a:pt x="167583" y="134304"/>
                    </a:cubicBezTo>
                    <a:cubicBezTo>
                      <a:pt x="174674" y="136974"/>
                      <a:pt x="180013" y="149821"/>
                      <a:pt x="183934" y="155577"/>
                    </a:cubicBezTo>
                    <a:cubicBezTo>
                      <a:pt x="196365" y="172845"/>
                      <a:pt x="189274" y="206964"/>
                      <a:pt x="220726" y="201208"/>
                    </a:cubicBezTo>
                    <a:cubicBezTo>
                      <a:pt x="247756" y="196369"/>
                      <a:pt x="237995" y="170175"/>
                      <a:pt x="227400" y="154659"/>
                    </a:cubicBezTo>
                    <a:cubicBezTo>
                      <a:pt x="222060" y="146234"/>
                      <a:pt x="214969" y="138309"/>
                      <a:pt x="207878" y="131635"/>
                    </a:cubicBezTo>
                    <a:cubicBezTo>
                      <a:pt x="201204" y="125462"/>
                      <a:pt x="189274" y="119706"/>
                      <a:pt x="184852" y="111697"/>
                    </a:cubicBezTo>
                    <a:cubicBezTo>
                      <a:pt x="177761" y="97099"/>
                      <a:pt x="188356" y="97099"/>
                      <a:pt x="193695" y="85587"/>
                    </a:cubicBezTo>
                    <a:cubicBezTo>
                      <a:pt x="199035" y="73157"/>
                      <a:pt x="188857" y="67902"/>
                      <a:pt x="189691" y="56390"/>
                    </a:cubicBezTo>
                    <a:cubicBezTo>
                      <a:pt x="191026" y="42625"/>
                      <a:pt x="207377" y="43543"/>
                      <a:pt x="209630" y="32949"/>
                    </a:cubicBezTo>
                    <a:cubicBezTo>
                      <a:pt x="211882" y="23188"/>
                      <a:pt x="199035" y="17432"/>
                      <a:pt x="191943" y="14346"/>
                    </a:cubicBezTo>
                    <a:cubicBezTo>
                      <a:pt x="185770" y="11676"/>
                      <a:pt x="179513" y="9507"/>
                      <a:pt x="172922" y="9924"/>
                    </a:cubicBezTo>
                    <a:cubicBezTo>
                      <a:pt x="169835" y="10341"/>
                      <a:pt x="165831" y="12177"/>
                      <a:pt x="163161" y="12177"/>
                    </a:cubicBezTo>
                    <a:cubicBezTo>
                      <a:pt x="160909" y="11760"/>
                      <a:pt x="158322" y="9507"/>
                      <a:pt x="156487" y="8173"/>
                    </a:cubicBezTo>
                    <a:cubicBezTo>
                      <a:pt x="195447" y="-2005"/>
                      <a:pt x="242417" y="-2422"/>
                      <a:pt x="297395" y="5503"/>
                    </a:cubicBezTo>
                    <a:cubicBezTo>
                      <a:pt x="309325" y="7255"/>
                      <a:pt x="321338" y="8590"/>
                      <a:pt x="333686" y="9507"/>
                    </a:cubicBezTo>
                    <a:cubicBezTo>
                      <a:pt x="338524" y="20102"/>
                      <a:pt x="343864" y="30362"/>
                      <a:pt x="349203" y="40540"/>
                    </a:cubicBezTo>
                    <a:cubicBezTo>
                      <a:pt x="354542" y="51134"/>
                      <a:pt x="359798" y="61395"/>
                      <a:pt x="364720" y="71989"/>
                    </a:cubicBezTo>
                    <a:cubicBezTo>
                      <a:pt x="378486" y="102104"/>
                      <a:pt x="389999" y="133971"/>
                      <a:pt x="401011" y="164586"/>
                    </a:cubicBezTo>
                    <a:lnTo>
                      <a:pt x="403681" y="171677"/>
                    </a:lnTo>
                    <a:cubicBezTo>
                      <a:pt x="406350" y="179685"/>
                      <a:pt x="409020" y="187193"/>
                      <a:pt x="411690" y="195118"/>
                    </a:cubicBezTo>
                    <a:cubicBezTo>
                      <a:pt x="420533" y="221229"/>
                      <a:pt x="429376" y="248757"/>
                      <a:pt x="444477" y="271281"/>
                    </a:cubicBezTo>
                    <a:cubicBezTo>
                      <a:pt x="448481" y="277454"/>
                      <a:pt x="462663" y="297892"/>
                      <a:pt x="473259" y="302730"/>
                    </a:cubicBezTo>
                    <a:cubicBezTo>
                      <a:pt x="487024" y="308904"/>
                      <a:pt x="498954" y="303648"/>
                      <a:pt x="509549" y="299227"/>
                    </a:cubicBezTo>
                    <a:cubicBezTo>
                      <a:pt x="516224" y="296557"/>
                      <a:pt x="522397" y="293888"/>
                      <a:pt x="527736" y="294388"/>
                    </a:cubicBezTo>
                    <a:cubicBezTo>
                      <a:pt x="530823" y="294805"/>
                      <a:pt x="531240" y="295306"/>
                      <a:pt x="533076" y="301479"/>
                    </a:cubicBezTo>
                    <a:cubicBezTo>
                      <a:pt x="534411" y="306317"/>
                      <a:pt x="537497" y="314326"/>
                      <a:pt x="546341" y="316078"/>
                    </a:cubicBezTo>
                    <a:cubicBezTo>
                      <a:pt x="553015" y="317412"/>
                      <a:pt x="557436" y="315160"/>
                      <a:pt x="560106" y="312991"/>
                    </a:cubicBezTo>
                    <a:cubicBezTo>
                      <a:pt x="568115" y="306818"/>
                      <a:pt x="568532" y="294388"/>
                      <a:pt x="568949" y="286880"/>
                    </a:cubicBezTo>
                    <a:lnTo>
                      <a:pt x="568949" y="284211"/>
                    </a:lnTo>
                    <a:cubicBezTo>
                      <a:pt x="569366" y="281125"/>
                      <a:pt x="569867" y="280707"/>
                      <a:pt x="569867" y="280707"/>
                    </a:cubicBezTo>
                    <a:cubicBezTo>
                      <a:pt x="570284" y="280707"/>
                      <a:pt x="572120" y="280707"/>
                      <a:pt x="574289" y="282042"/>
                    </a:cubicBezTo>
                    <a:cubicBezTo>
                      <a:pt x="583632" y="287798"/>
                      <a:pt x="593811" y="294889"/>
                      <a:pt x="599567" y="304649"/>
                    </a:cubicBezTo>
                    <a:cubicBezTo>
                      <a:pt x="601819" y="308153"/>
                      <a:pt x="602654" y="311323"/>
                      <a:pt x="603989" y="313492"/>
                    </a:cubicBezTo>
                    <a:cubicBezTo>
                      <a:pt x="608410" y="323252"/>
                      <a:pt x="611997" y="326338"/>
                      <a:pt x="626597" y="329425"/>
                    </a:cubicBezTo>
                    <a:cubicBezTo>
                      <a:pt x="640780" y="332511"/>
                      <a:pt x="643867" y="335181"/>
                      <a:pt x="648705" y="348028"/>
                    </a:cubicBezTo>
                    <a:lnTo>
                      <a:pt x="651375" y="355118"/>
                    </a:lnTo>
                    <a:cubicBezTo>
                      <a:pt x="654879" y="364879"/>
                      <a:pt x="658049" y="373304"/>
                      <a:pt x="667309" y="383064"/>
                    </a:cubicBezTo>
                    <a:cubicBezTo>
                      <a:pt x="668227" y="383982"/>
                      <a:pt x="669062" y="384816"/>
                      <a:pt x="669979" y="385734"/>
                    </a:cubicBezTo>
                    <a:cubicBezTo>
                      <a:pt x="663806" y="387986"/>
                      <a:pt x="659384" y="391073"/>
                      <a:pt x="654045" y="394576"/>
                    </a:cubicBezTo>
                    <a:cubicBezTo>
                      <a:pt x="651792" y="395911"/>
                      <a:pt x="649623" y="397663"/>
                      <a:pt x="647371" y="398998"/>
                    </a:cubicBezTo>
                    <a:cubicBezTo>
                      <a:pt x="640696" y="403419"/>
                      <a:pt x="635440" y="403836"/>
                      <a:pt x="627431" y="404337"/>
                    </a:cubicBezTo>
                    <a:cubicBezTo>
                      <a:pt x="624762" y="404337"/>
                      <a:pt x="621258" y="404754"/>
                      <a:pt x="618088" y="405254"/>
                    </a:cubicBezTo>
                    <a:cubicBezTo>
                      <a:pt x="599483" y="407924"/>
                      <a:pt x="590640" y="421187"/>
                      <a:pt x="583132" y="432700"/>
                    </a:cubicBezTo>
                    <a:cubicBezTo>
                      <a:pt x="579628" y="438456"/>
                      <a:pt x="576041" y="443795"/>
                      <a:pt x="571619" y="448633"/>
                    </a:cubicBezTo>
                    <a:cubicBezTo>
                      <a:pt x="566280" y="453471"/>
                      <a:pt x="559689" y="457976"/>
                      <a:pt x="552097" y="462397"/>
                    </a:cubicBezTo>
                    <a:cubicBezTo>
                      <a:pt x="537915" y="471240"/>
                      <a:pt x="522397" y="481417"/>
                      <a:pt x="517141" y="499186"/>
                    </a:cubicBezTo>
                    <a:cubicBezTo>
                      <a:pt x="515806" y="504024"/>
                      <a:pt x="515389" y="508028"/>
                      <a:pt x="514889" y="511615"/>
                    </a:cubicBezTo>
                    <a:cubicBezTo>
                      <a:pt x="513971" y="516954"/>
                      <a:pt x="513554" y="520458"/>
                      <a:pt x="510050" y="526214"/>
                    </a:cubicBezTo>
                    <a:cubicBezTo>
                      <a:pt x="502041" y="538143"/>
                      <a:pt x="495867" y="546151"/>
                      <a:pt x="490528" y="551490"/>
                    </a:cubicBezTo>
                    <a:cubicBezTo>
                      <a:pt x="488276" y="553743"/>
                      <a:pt x="485689" y="554994"/>
                      <a:pt x="482519" y="556829"/>
                    </a:cubicBezTo>
                    <a:cubicBezTo>
                      <a:pt x="479432" y="558581"/>
                      <a:pt x="475845" y="560333"/>
                      <a:pt x="472341" y="563503"/>
                    </a:cubicBezTo>
                    <a:cubicBezTo>
                      <a:pt x="469254" y="566172"/>
                      <a:pt x="467002" y="568842"/>
                      <a:pt x="464332" y="571511"/>
                    </a:cubicBezTo>
                    <a:cubicBezTo>
                      <a:pt x="459493" y="576850"/>
                      <a:pt x="457241" y="579520"/>
                      <a:pt x="447980" y="579937"/>
                    </a:cubicBezTo>
                    <a:cubicBezTo>
                      <a:pt x="441306" y="579520"/>
                      <a:pt x="435550" y="578602"/>
                      <a:pt x="429793" y="576850"/>
                    </a:cubicBezTo>
                    <a:cubicBezTo>
                      <a:pt x="419615" y="573764"/>
                      <a:pt x="407685" y="570176"/>
                      <a:pt x="396589" y="579937"/>
                    </a:cubicBezTo>
                    <a:cubicBezTo>
                      <a:pt x="395672" y="579019"/>
                      <a:pt x="395255" y="577684"/>
                      <a:pt x="394337" y="576433"/>
                    </a:cubicBezTo>
                    <a:cubicBezTo>
                      <a:pt x="393002" y="573764"/>
                      <a:pt x="392084" y="570677"/>
                      <a:pt x="391667" y="568008"/>
                    </a:cubicBezTo>
                    <a:cubicBezTo>
                      <a:pt x="389415" y="561834"/>
                      <a:pt x="387663" y="555161"/>
                      <a:pt x="382324" y="548487"/>
                    </a:cubicBezTo>
                    <a:cubicBezTo>
                      <a:pt x="379654" y="545401"/>
                      <a:pt x="376984" y="542731"/>
                      <a:pt x="373897" y="540479"/>
                    </a:cubicBezTo>
                    <a:cubicBezTo>
                      <a:pt x="370811" y="537809"/>
                      <a:pt x="367724" y="535640"/>
                      <a:pt x="365888" y="532053"/>
                    </a:cubicBezTo>
                    <a:cubicBezTo>
                      <a:pt x="359214" y="521459"/>
                      <a:pt x="358797" y="510364"/>
                      <a:pt x="358380" y="497934"/>
                    </a:cubicBezTo>
                    <a:cubicBezTo>
                      <a:pt x="357963" y="494431"/>
                      <a:pt x="357963" y="490844"/>
                      <a:pt x="357963" y="487340"/>
                    </a:cubicBezTo>
                    <a:cubicBezTo>
                      <a:pt x="356628" y="473159"/>
                      <a:pt x="347785" y="469154"/>
                      <a:pt x="342028" y="466985"/>
                    </a:cubicBezTo>
                    <a:cubicBezTo>
                      <a:pt x="337190" y="464733"/>
                      <a:pt x="334937" y="463899"/>
                      <a:pt x="334019" y="457642"/>
                    </a:cubicBezTo>
                    <a:cubicBezTo>
                      <a:pt x="331767" y="434618"/>
                      <a:pt x="326010" y="430197"/>
                      <a:pt x="302567" y="432366"/>
                    </a:cubicBezTo>
                    <a:lnTo>
                      <a:pt x="295893" y="433283"/>
                    </a:lnTo>
                    <a:cubicBezTo>
                      <a:pt x="287050" y="434618"/>
                      <a:pt x="277289" y="435536"/>
                      <a:pt x="273785" y="432366"/>
                    </a:cubicBezTo>
                    <a:cubicBezTo>
                      <a:pt x="272033" y="430614"/>
                      <a:pt x="271116" y="427528"/>
                      <a:pt x="270698" y="422606"/>
                    </a:cubicBezTo>
                    <a:cubicBezTo>
                      <a:pt x="270281" y="419519"/>
                      <a:pt x="271616" y="414180"/>
                      <a:pt x="272951" y="409759"/>
                    </a:cubicBezTo>
                    <a:cubicBezTo>
                      <a:pt x="274703" y="401750"/>
                      <a:pt x="276455" y="393826"/>
                      <a:pt x="275203" y="387152"/>
                    </a:cubicBezTo>
                    <a:cubicBezTo>
                      <a:pt x="272534" y="377392"/>
                      <a:pt x="268112" y="375223"/>
                      <a:pt x="262356" y="373388"/>
                    </a:cubicBezTo>
                    <a:cubicBezTo>
                      <a:pt x="261021" y="372970"/>
                      <a:pt x="259686" y="372470"/>
                      <a:pt x="258351" y="372053"/>
                    </a:cubicBezTo>
                    <a:cubicBezTo>
                      <a:pt x="255264" y="370718"/>
                      <a:pt x="252595" y="368966"/>
                      <a:pt x="249925" y="367214"/>
                    </a:cubicBezTo>
                    <a:cubicBezTo>
                      <a:pt x="241916" y="362376"/>
                      <a:pt x="233573" y="357037"/>
                      <a:pt x="220726" y="359707"/>
                    </a:cubicBezTo>
                    <a:cubicBezTo>
                      <a:pt x="214052" y="361041"/>
                      <a:pt x="208295" y="363711"/>
                      <a:pt x="203456" y="365880"/>
                    </a:cubicBezTo>
                    <a:cubicBezTo>
                      <a:pt x="193278" y="370301"/>
                      <a:pt x="188857" y="372553"/>
                      <a:pt x="179513" y="365463"/>
                    </a:cubicBezTo>
                    <a:cubicBezTo>
                      <a:pt x="163995" y="353033"/>
                      <a:pt x="156487" y="352616"/>
                      <a:pt x="137466" y="355285"/>
                    </a:cubicBezTo>
                    <a:lnTo>
                      <a:pt x="131292" y="356203"/>
                    </a:lnTo>
                    <a:cubicBezTo>
                      <a:pt x="121114" y="357955"/>
                      <a:pt x="112688" y="359707"/>
                      <a:pt x="105180" y="353951"/>
                    </a:cubicBezTo>
                    <a:cubicBezTo>
                      <a:pt x="102510" y="351698"/>
                      <a:pt x="100341" y="348612"/>
                      <a:pt x="98505" y="345108"/>
                    </a:cubicBezTo>
                    <a:cubicBezTo>
                      <a:pt x="94084" y="338017"/>
                      <a:pt x="87910" y="327423"/>
                      <a:pt x="71892" y="330509"/>
                    </a:cubicBezTo>
                    <a:cubicBezTo>
                      <a:pt x="62548" y="332261"/>
                      <a:pt x="55541" y="337183"/>
                      <a:pt x="49784" y="341604"/>
                    </a:cubicBezTo>
                    <a:cubicBezTo>
                      <a:pt x="44945" y="345108"/>
                      <a:pt x="40941" y="348278"/>
                      <a:pt x="35184" y="350030"/>
                    </a:cubicBezTo>
                    <a:cubicBezTo>
                      <a:pt x="34767" y="347777"/>
                      <a:pt x="33850" y="346526"/>
                      <a:pt x="32932" y="344274"/>
                    </a:cubicBezTo>
                    <a:cubicBezTo>
                      <a:pt x="32014" y="341604"/>
                      <a:pt x="30679" y="339435"/>
                      <a:pt x="30262" y="336265"/>
                    </a:cubicBezTo>
                    <a:cubicBezTo>
                      <a:pt x="28010" y="328758"/>
                      <a:pt x="28010" y="319915"/>
                      <a:pt x="28510" y="311490"/>
                    </a:cubicBezTo>
                    <a:lnTo>
                      <a:pt x="30262" y="266276"/>
                    </a:lnTo>
                    <a:cubicBezTo>
                      <a:pt x="30679" y="255181"/>
                      <a:pt x="31180" y="242334"/>
                      <a:pt x="25841" y="230822"/>
                    </a:cubicBezTo>
                    <a:cubicBezTo>
                      <a:pt x="22754" y="223731"/>
                      <a:pt x="17414" y="217975"/>
                      <a:pt x="12993" y="212636"/>
                    </a:cubicBezTo>
                    <a:cubicBezTo>
                      <a:pt x="7654" y="205462"/>
                      <a:pt x="2731" y="199706"/>
                      <a:pt x="979" y="19303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0290096" name="Полилиния 374"/>
              <p:cNvSpPr/>
              <p:nvPr/>
            </p:nvSpPr>
            <p:spPr bwMode="auto">
              <a:xfrm>
                <a:off x="2271852" y="3697875"/>
                <a:ext cx="299376" cy="289909"/>
              </a:xfrm>
              <a:custGeom>
                <a:avLst/>
                <a:gdLst>
                  <a:gd name="connsiteX0" fmla="*/ 1335 w 336210"/>
                  <a:gd name="connsiteY0" fmla="*/ 256320 h 325578"/>
                  <a:gd name="connsiteX1" fmla="*/ 2252 w 336210"/>
                  <a:gd name="connsiteY1" fmla="*/ 256320 h 325578"/>
                  <a:gd name="connsiteX2" fmla="*/ 1835 w 336210"/>
                  <a:gd name="connsiteY2" fmla="*/ 255903 h 325578"/>
                  <a:gd name="connsiteX3" fmla="*/ 6257 w 336210"/>
                  <a:gd name="connsiteY3" fmla="*/ 242639 h 325578"/>
                  <a:gd name="connsiteX4" fmla="*/ 24861 w 336210"/>
                  <a:gd name="connsiteY4" fmla="*/ 228875 h 325578"/>
                  <a:gd name="connsiteX5" fmla="*/ 25278 w 336210"/>
                  <a:gd name="connsiteY5" fmla="*/ 228875 h 325578"/>
                  <a:gd name="connsiteX6" fmla="*/ 31953 w 336210"/>
                  <a:gd name="connsiteY6" fmla="*/ 231544 h 325578"/>
                  <a:gd name="connsiteX7" fmla="*/ 48304 w 336210"/>
                  <a:gd name="connsiteY7" fmla="*/ 235048 h 325578"/>
                  <a:gd name="connsiteX8" fmla="*/ 64239 w 336210"/>
                  <a:gd name="connsiteY8" fmla="*/ 221284 h 325578"/>
                  <a:gd name="connsiteX9" fmla="*/ 62904 w 336210"/>
                  <a:gd name="connsiteY9" fmla="*/ 172983 h 325578"/>
                  <a:gd name="connsiteX10" fmla="*/ 57147 w 336210"/>
                  <a:gd name="connsiteY10" fmla="*/ 163640 h 325578"/>
                  <a:gd name="connsiteX11" fmla="*/ 50473 w 336210"/>
                  <a:gd name="connsiteY11" fmla="*/ 149041 h 325578"/>
                  <a:gd name="connsiteX12" fmla="*/ 55312 w 336210"/>
                  <a:gd name="connsiteY12" fmla="*/ 141033 h 325578"/>
                  <a:gd name="connsiteX13" fmla="*/ 62403 w 336210"/>
                  <a:gd name="connsiteY13" fmla="*/ 128603 h 325578"/>
                  <a:gd name="connsiteX14" fmla="*/ 61486 w 336210"/>
                  <a:gd name="connsiteY14" fmla="*/ 110001 h 325578"/>
                  <a:gd name="connsiteX15" fmla="*/ 60151 w 336210"/>
                  <a:gd name="connsiteY15" fmla="*/ 98906 h 325578"/>
                  <a:gd name="connsiteX16" fmla="*/ 68577 w 336210"/>
                  <a:gd name="connsiteY16" fmla="*/ 73212 h 325578"/>
                  <a:gd name="connsiteX17" fmla="*/ 83177 w 336210"/>
                  <a:gd name="connsiteY17" fmla="*/ 65704 h 325578"/>
                  <a:gd name="connsiteX18" fmla="*/ 108455 w 336210"/>
                  <a:gd name="connsiteY18" fmla="*/ 41763 h 325578"/>
                  <a:gd name="connsiteX19" fmla="*/ 129312 w 336210"/>
                  <a:gd name="connsiteY19" fmla="*/ 17404 h 325578"/>
                  <a:gd name="connsiteX20" fmla="*/ 139907 w 336210"/>
                  <a:gd name="connsiteY20" fmla="*/ 12982 h 325578"/>
                  <a:gd name="connsiteX21" fmla="*/ 147916 w 336210"/>
                  <a:gd name="connsiteY21" fmla="*/ 8561 h 325578"/>
                  <a:gd name="connsiteX22" fmla="*/ 151003 w 336210"/>
                  <a:gd name="connsiteY22" fmla="*/ 6309 h 325578"/>
                  <a:gd name="connsiteX23" fmla="*/ 162098 w 336210"/>
                  <a:gd name="connsiteY23" fmla="*/ 970 h 325578"/>
                  <a:gd name="connsiteX24" fmla="*/ 163016 w 336210"/>
                  <a:gd name="connsiteY24" fmla="*/ 553 h 325578"/>
                  <a:gd name="connsiteX25" fmla="*/ 187377 w 336210"/>
                  <a:gd name="connsiteY25" fmla="*/ 1888 h 325578"/>
                  <a:gd name="connsiteX26" fmla="*/ 211737 w 336210"/>
                  <a:gd name="connsiteY26" fmla="*/ 19573 h 325578"/>
                  <a:gd name="connsiteX27" fmla="*/ 232594 w 336210"/>
                  <a:gd name="connsiteY27" fmla="*/ 38176 h 325578"/>
                  <a:gd name="connsiteX28" fmla="*/ 265798 w 336210"/>
                  <a:gd name="connsiteY28" fmla="*/ 42180 h 325578"/>
                  <a:gd name="connsiteX29" fmla="*/ 287489 w 336210"/>
                  <a:gd name="connsiteY29" fmla="*/ 44432 h 325578"/>
                  <a:gd name="connsiteX30" fmla="*/ 308763 w 336210"/>
                  <a:gd name="connsiteY30" fmla="*/ 90480 h 325578"/>
                  <a:gd name="connsiteX31" fmla="*/ 307845 w 336210"/>
                  <a:gd name="connsiteY31" fmla="*/ 105579 h 325578"/>
                  <a:gd name="connsiteX32" fmla="*/ 320276 w 336210"/>
                  <a:gd name="connsiteY32" fmla="*/ 160053 h 325578"/>
                  <a:gd name="connsiteX33" fmla="*/ 336210 w 336210"/>
                  <a:gd name="connsiteY33" fmla="*/ 171982 h 325578"/>
                  <a:gd name="connsiteX34" fmla="*/ 330454 w 336210"/>
                  <a:gd name="connsiteY34" fmla="*/ 187498 h 325578"/>
                  <a:gd name="connsiteX35" fmla="*/ 332206 w 336210"/>
                  <a:gd name="connsiteY35" fmla="*/ 203432 h 325578"/>
                  <a:gd name="connsiteX36" fmla="*/ 333541 w 336210"/>
                  <a:gd name="connsiteY36" fmla="*/ 213609 h 325578"/>
                  <a:gd name="connsiteX37" fmla="*/ 296332 w 336210"/>
                  <a:gd name="connsiteY37" fmla="*/ 232212 h 325578"/>
                  <a:gd name="connsiteX38" fmla="*/ 279981 w 336210"/>
                  <a:gd name="connsiteY38" fmla="*/ 237050 h 325578"/>
                  <a:gd name="connsiteX39" fmla="*/ 254285 w 336210"/>
                  <a:gd name="connsiteY39" fmla="*/ 260491 h 325578"/>
                  <a:gd name="connsiteX40" fmla="*/ 233428 w 336210"/>
                  <a:gd name="connsiteY40" fmla="*/ 277760 h 325578"/>
                  <a:gd name="connsiteX41" fmla="*/ 225002 w 336210"/>
                  <a:gd name="connsiteY41" fmla="*/ 278677 h 325578"/>
                  <a:gd name="connsiteX42" fmla="*/ 199724 w 336210"/>
                  <a:gd name="connsiteY42" fmla="*/ 289271 h 325578"/>
                  <a:gd name="connsiteX43" fmla="*/ 191298 w 336210"/>
                  <a:gd name="connsiteY43" fmla="*/ 301200 h 325578"/>
                  <a:gd name="connsiteX44" fmla="*/ 167855 w 336210"/>
                  <a:gd name="connsiteY44" fmla="*/ 294110 h 325578"/>
                  <a:gd name="connsiteX45" fmla="*/ 153255 w 336210"/>
                  <a:gd name="connsiteY45" fmla="*/ 289688 h 325578"/>
                  <a:gd name="connsiteX46" fmla="*/ 88099 w 336210"/>
                  <a:gd name="connsiteY46" fmla="*/ 302118 h 325578"/>
                  <a:gd name="connsiteX47" fmla="*/ 74333 w 336210"/>
                  <a:gd name="connsiteY47" fmla="*/ 306957 h 325578"/>
                  <a:gd name="connsiteX48" fmla="*/ 61486 w 336210"/>
                  <a:gd name="connsiteY48" fmla="*/ 311795 h 325578"/>
                  <a:gd name="connsiteX49" fmla="*/ 52642 w 336210"/>
                  <a:gd name="connsiteY49" fmla="*/ 320638 h 325578"/>
                  <a:gd name="connsiteX50" fmla="*/ 45968 w 336210"/>
                  <a:gd name="connsiteY50" fmla="*/ 325476 h 325578"/>
                  <a:gd name="connsiteX51" fmla="*/ 21191 w 336210"/>
                  <a:gd name="connsiteY51" fmla="*/ 305121 h 325578"/>
                  <a:gd name="connsiteX52" fmla="*/ 10595 w 336210"/>
                  <a:gd name="connsiteY52" fmla="*/ 292275 h 325578"/>
                  <a:gd name="connsiteX53" fmla="*/ 417 w 336210"/>
                  <a:gd name="connsiteY53" fmla="*/ 271002 h 325578"/>
                  <a:gd name="connsiteX54" fmla="*/ 0 w 336210"/>
                  <a:gd name="connsiteY54" fmla="*/ 267499 h 325578"/>
                  <a:gd name="connsiteX55" fmla="*/ 1335 w 336210"/>
                  <a:gd name="connsiteY55" fmla="*/ 256320 h 32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36210" h="325578" extrusionOk="0">
                    <a:moveTo>
                      <a:pt x="1335" y="256320"/>
                    </a:moveTo>
                    <a:lnTo>
                      <a:pt x="2252" y="256320"/>
                    </a:lnTo>
                    <a:cubicBezTo>
                      <a:pt x="1835" y="256320"/>
                      <a:pt x="1835" y="255903"/>
                      <a:pt x="1835" y="255903"/>
                    </a:cubicBezTo>
                    <a:cubicBezTo>
                      <a:pt x="2753" y="251065"/>
                      <a:pt x="4505" y="246560"/>
                      <a:pt x="6257" y="242639"/>
                    </a:cubicBezTo>
                    <a:cubicBezTo>
                      <a:pt x="10679" y="234214"/>
                      <a:pt x="17353" y="229376"/>
                      <a:pt x="24861" y="228875"/>
                    </a:cubicBezTo>
                    <a:cubicBezTo>
                      <a:pt x="25278" y="228875"/>
                      <a:pt x="25278" y="228875"/>
                      <a:pt x="25278" y="228875"/>
                    </a:cubicBezTo>
                    <a:cubicBezTo>
                      <a:pt x="26613" y="228875"/>
                      <a:pt x="29700" y="230210"/>
                      <a:pt x="31953" y="231544"/>
                    </a:cubicBezTo>
                    <a:cubicBezTo>
                      <a:pt x="36374" y="233797"/>
                      <a:pt x="42131" y="236383"/>
                      <a:pt x="48304" y="235048"/>
                    </a:cubicBezTo>
                    <a:cubicBezTo>
                      <a:pt x="55396" y="233296"/>
                      <a:pt x="60735" y="228374"/>
                      <a:pt x="64239" y="221284"/>
                    </a:cubicBezTo>
                    <a:cubicBezTo>
                      <a:pt x="71330" y="205767"/>
                      <a:pt x="67743" y="182743"/>
                      <a:pt x="62904" y="172983"/>
                    </a:cubicBezTo>
                    <a:cubicBezTo>
                      <a:pt x="61152" y="169897"/>
                      <a:pt x="59400" y="166810"/>
                      <a:pt x="57147" y="163640"/>
                    </a:cubicBezTo>
                    <a:cubicBezTo>
                      <a:pt x="53643" y="158301"/>
                      <a:pt x="50056" y="153463"/>
                      <a:pt x="50473" y="149041"/>
                    </a:cubicBezTo>
                    <a:cubicBezTo>
                      <a:pt x="50890" y="146372"/>
                      <a:pt x="53143" y="144203"/>
                      <a:pt x="55312" y="141033"/>
                    </a:cubicBezTo>
                    <a:cubicBezTo>
                      <a:pt x="57982" y="137530"/>
                      <a:pt x="61486" y="133942"/>
                      <a:pt x="62403" y="128603"/>
                    </a:cubicBezTo>
                    <a:cubicBezTo>
                      <a:pt x="63738" y="121930"/>
                      <a:pt x="62820" y="115757"/>
                      <a:pt x="61486" y="110001"/>
                    </a:cubicBezTo>
                    <a:cubicBezTo>
                      <a:pt x="60568" y="105996"/>
                      <a:pt x="60151" y="101992"/>
                      <a:pt x="60151" y="98906"/>
                    </a:cubicBezTo>
                    <a:cubicBezTo>
                      <a:pt x="61068" y="90063"/>
                      <a:pt x="63655" y="78050"/>
                      <a:pt x="68577" y="73212"/>
                    </a:cubicBezTo>
                    <a:cubicBezTo>
                      <a:pt x="72581" y="68791"/>
                      <a:pt x="77420" y="67039"/>
                      <a:pt x="83177" y="65704"/>
                    </a:cubicBezTo>
                    <a:cubicBezTo>
                      <a:pt x="92520" y="63035"/>
                      <a:pt x="104450" y="59531"/>
                      <a:pt x="108455" y="41763"/>
                    </a:cubicBezTo>
                    <a:cubicBezTo>
                      <a:pt x="112877" y="23577"/>
                      <a:pt x="115129" y="22743"/>
                      <a:pt x="129312" y="17404"/>
                    </a:cubicBezTo>
                    <a:cubicBezTo>
                      <a:pt x="132398" y="16069"/>
                      <a:pt x="135986" y="14734"/>
                      <a:pt x="139907" y="12982"/>
                    </a:cubicBezTo>
                    <a:cubicBezTo>
                      <a:pt x="142994" y="11648"/>
                      <a:pt x="145246" y="10313"/>
                      <a:pt x="147916" y="8561"/>
                    </a:cubicBezTo>
                    <a:cubicBezTo>
                      <a:pt x="148834" y="8144"/>
                      <a:pt x="150168" y="7227"/>
                      <a:pt x="151003" y="6309"/>
                    </a:cubicBezTo>
                    <a:cubicBezTo>
                      <a:pt x="154506" y="4057"/>
                      <a:pt x="158094" y="1888"/>
                      <a:pt x="162098" y="970"/>
                    </a:cubicBezTo>
                    <a:cubicBezTo>
                      <a:pt x="162516" y="970"/>
                      <a:pt x="163016" y="553"/>
                      <a:pt x="163016" y="553"/>
                    </a:cubicBezTo>
                    <a:cubicBezTo>
                      <a:pt x="170107" y="-782"/>
                      <a:pt x="180285" y="553"/>
                      <a:pt x="187377" y="1888"/>
                    </a:cubicBezTo>
                    <a:cubicBezTo>
                      <a:pt x="198890" y="4557"/>
                      <a:pt x="205063" y="11648"/>
                      <a:pt x="211737" y="19573"/>
                    </a:cubicBezTo>
                    <a:cubicBezTo>
                      <a:pt x="217077" y="25746"/>
                      <a:pt x="223667" y="32837"/>
                      <a:pt x="232594" y="38176"/>
                    </a:cubicBezTo>
                    <a:cubicBezTo>
                      <a:pt x="243690" y="44849"/>
                      <a:pt x="255620" y="43014"/>
                      <a:pt x="265798" y="42180"/>
                    </a:cubicBezTo>
                    <a:cubicBezTo>
                      <a:pt x="274641" y="41262"/>
                      <a:pt x="282150" y="39928"/>
                      <a:pt x="287489" y="44432"/>
                    </a:cubicBezTo>
                    <a:cubicBezTo>
                      <a:pt x="301672" y="55027"/>
                      <a:pt x="308763" y="75882"/>
                      <a:pt x="308763" y="90480"/>
                    </a:cubicBezTo>
                    <a:cubicBezTo>
                      <a:pt x="308763" y="95319"/>
                      <a:pt x="308346" y="100658"/>
                      <a:pt x="307845" y="105579"/>
                    </a:cubicBezTo>
                    <a:cubicBezTo>
                      <a:pt x="306510" y="124182"/>
                      <a:pt x="305175" y="145037"/>
                      <a:pt x="320276" y="160053"/>
                    </a:cubicBezTo>
                    <a:cubicBezTo>
                      <a:pt x="325114" y="164891"/>
                      <a:pt x="330454" y="168896"/>
                      <a:pt x="336210" y="171982"/>
                    </a:cubicBezTo>
                    <a:cubicBezTo>
                      <a:pt x="333541" y="176821"/>
                      <a:pt x="331371" y="182160"/>
                      <a:pt x="330454" y="187498"/>
                    </a:cubicBezTo>
                    <a:cubicBezTo>
                      <a:pt x="329536" y="193671"/>
                      <a:pt x="330871" y="199010"/>
                      <a:pt x="332206" y="203432"/>
                    </a:cubicBezTo>
                    <a:cubicBezTo>
                      <a:pt x="333541" y="207853"/>
                      <a:pt x="334458" y="210522"/>
                      <a:pt x="333541" y="213609"/>
                    </a:cubicBezTo>
                    <a:cubicBezTo>
                      <a:pt x="330454" y="223786"/>
                      <a:pt x="310932" y="229125"/>
                      <a:pt x="296332" y="232212"/>
                    </a:cubicBezTo>
                    <a:cubicBezTo>
                      <a:pt x="289658" y="233964"/>
                      <a:pt x="284402" y="235298"/>
                      <a:pt x="279981" y="237050"/>
                    </a:cubicBezTo>
                    <a:cubicBezTo>
                      <a:pt x="267133" y="242389"/>
                      <a:pt x="260459" y="252149"/>
                      <a:pt x="254285" y="260491"/>
                    </a:cubicBezTo>
                    <a:cubicBezTo>
                      <a:pt x="248112" y="269334"/>
                      <a:pt x="243189" y="276425"/>
                      <a:pt x="233428" y="277760"/>
                    </a:cubicBezTo>
                    <a:cubicBezTo>
                      <a:pt x="230342" y="278177"/>
                      <a:pt x="227672" y="278677"/>
                      <a:pt x="225002" y="278677"/>
                    </a:cubicBezTo>
                    <a:cubicBezTo>
                      <a:pt x="216993" y="279094"/>
                      <a:pt x="208651" y="279595"/>
                      <a:pt x="199724" y="289271"/>
                    </a:cubicBezTo>
                    <a:cubicBezTo>
                      <a:pt x="196637" y="292775"/>
                      <a:pt x="193550" y="296779"/>
                      <a:pt x="191298" y="301200"/>
                    </a:cubicBezTo>
                    <a:cubicBezTo>
                      <a:pt x="183289" y="298531"/>
                      <a:pt x="175363" y="296362"/>
                      <a:pt x="167855" y="294110"/>
                    </a:cubicBezTo>
                    <a:cubicBezTo>
                      <a:pt x="163016" y="292775"/>
                      <a:pt x="157677" y="291023"/>
                      <a:pt x="153255" y="289688"/>
                    </a:cubicBezTo>
                    <a:cubicBezTo>
                      <a:pt x="127143" y="281263"/>
                      <a:pt x="108538" y="290106"/>
                      <a:pt x="88099" y="302118"/>
                    </a:cubicBezTo>
                    <a:cubicBezTo>
                      <a:pt x="85846" y="303036"/>
                      <a:pt x="81008" y="305205"/>
                      <a:pt x="74333" y="306957"/>
                    </a:cubicBezTo>
                    <a:cubicBezTo>
                      <a:pt x="69912" y="307874"/>
                      <a:pt x="65490" y="309626"/>
                      <a:pt x="61486" y="311795"/>
                    </a:cubicBezTo>
                    <a:cubicBezTo>
                      <a:pt x="57064" y="314465"/>
                      <a:pt x="54811" y="317968"/>
                      <a:pt x="52642" y="320638"/>
                    </a:cubicBezTo>
                    <a:cubicBezTo>
                      <a:pt x="49973" y="323724"/>
                      <a:pt x="49139" y="325059"/>
                      <a:pt x="45968" y="325476"/>
                    </a:cubicBezTo>
                    <a:cubicBezTo>
                      <a:pt x="37959" y="326811"/>
                      <a:pt x="28699" y="314882"/>
                      <a:pt x="21191" y="305121"/>
                    </a:cubicBezTo>
                    <a:cubicBezTo>
                      <a:pt x="17686" y="300283"/>
                      <a:pt x="14099" y="295361"/>
                      <a:pt x="10595" y="292275"/>
                    </a:cubicBezTo>
                    <a:cubicBezTo>
                      <a:pt x="4839" y="286936"/>
                      <a:pt x="1752" y="279428"/>
                      <a:pt x="417" y="271002"/>
                    </a:cubicBezTo>
                    <a:cubicBezTo>
                      <a:pt x="0" y="269668"/>
                      <a:pt x="0" y="268333"/>
                      <a:pt x="0" y="267499"/>
                    </a:cubicBezTo>
                    <a:cubicBezTo>
                      <a:pt x="417" y="263828"/>
                      <a:pt x="918" y="259824"/>
                      <a:pt x="1335" y="25632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6911824" name="Полилиния 375"/>
              <p:cNvSpPr/>
              <p:nvPr/>
            </p:nvSpPr>
            <p:spPr bwMode="auto">
              <a:xfrm>
                <a:off x="2249417" y="4356352"/>
                <a:ext cx="357765" cy="277831"/>
              </a:xfrm>
              <a:custGeom>
                <a:avLst/>
                <a:gdLst>
                  <a:gd name="connsiteX0" fmla="*/ 394192 w 401783"/>
                  <a:gd name="connsiteY0" fmla="*/ 212305 h 312014"/>
                  <a:gd name="connsiteX1" fmla="*/ 385348 w 401783"/>
                  <a:gd name="connsiteY1" fmla="*/ 234412 h 312014"/>
                  <a:gd name="connsiteX2" fmla="*/ 385766 w 401783"/>
                  <a:gd name="connsiteY2" fmla="*/ 240585 h 312014"/>
                  <a:gd name="connsiteX3" fmla="*/ 385766 w 401783"/>
                  <a:gd name="connsiteY3" fmla="*/ 241919 h 312014"/>
                  <a:gd name="connsiteX4" fmla="*/ 386183 w 401783"/>
                  <a:gd name="connsiteY4" fmla="*/ 248593 h 312014"/>
                  <a:gd name="connsiteX5" fmla="*/ 382679 w 401783"/>
                  <a:gd name="connsiteY5" fmla="*/ 254766 h 312014"/>
                  <a:gd name="connsiteX6" fmla="*/ 381761 w 401783"/>
                  <a:gd name="connsiteY6" fmla="*/ 255684 h 312014"/>
                  <a:gd name="connsiteX7" fmla="*/ 378674 w 401783"/>
                  <a:gd name="connsiteY7" fmla="*/ 258770 h 312014"/>
                  <a:gd name="connsiteX8" fmla="*/ 370665 w 401783"/>
                  <a:gd name="connsiteY8" fmla="*/ 295976 h 312014"/>
                  <a:gd name="connsiteX9" fmla="*/ 371583 w 401783"/>
                  <a:gd name="connsiteY9" fmla="*/ 299063 h 312014"/>
                  <a:gd name="connsiteX10" fmla="*/ 372918 w 401783"/>
                  <a:gd name="connsiteY10" fmla="*/ 306570 h 312014"/>
                  <a:gd name="connsiteX11" fmla="*/ 365827 w 401783"/>
                  <a:gd name="connsiteY11" fmla="*/ 310992 h 312014"/>
                  <a:gd name="connsiteX12" fmla="*/ 334792 w 401783"/>
                  <a:gd name="connsiteY12" fmla="*/ 304318 h 312014"/>
                  <a:gd name="connsiteX13" fmla="*/ 331705 w 401783"/>
                  <a:gd name="connsiteY13" fmla="*/ 301648 h 312014"/>
                  <a:gd name="connsiteX14" fmla="*/ 322361 w 401783"/>
                  <a:gd name="connsiteY14" fmla="*/ 294558 h 312014"/>
                  <a:gd name="connsiteX15" fmla="*/ 307261 w 401783"/>
                  <a:gd name="connsiteY15" fmla="*/ 291054 h 312014"/>
                  <a:gd name="connsiteX16" fmla="*/ 293079 w 401783"/>
                  <a:gd name="connsiteY16" fmla="*/ 291972 h 312014"/>
                  <a:gd name="connsiteX17" fmla="*/ 284652 w 401783"/>
                  <a:gd name="connsiteY17" fmla="*/ 296393 h 312014"/>
                  <a:gd name="connsiteX18" fmla="*/ 281566 w 401783"/>
                  <a:gd name="connsiteY18" fmla="*/ 299897 h 312014"/>
                  <a:gd name="connsiteX19" fmla="*/ 281148 w 401783"/>
                  <a:gd name="connsiteY19" fmla="*/ 300314 h 312014"/>
                  <a:gd name="connsiteX20" fmla="*/ 279814 w 401783"/>
                  <a:gd name="connsiteY20" fmla="*/ 301648 h 312014"/>
                  <a:gd name="connsiteX21" fmla="*/ 263879 w 401783"/>
                  <a:gd name="connsiteY21" fmla="*/ 301648 h 312014"/>
                  <a:gd name="connsiteX22" fmla="*/ 249279 w 401783"/>
                  <a:gd name="connsiteY22" fmla="*/ 297644 h 312014"/>
                  <a:gd name="connsiteX23" fmla="*/ 235514 w 401783"/>
                  <a:gd name="connsiteY23" fmla="*/ 290971 h 312014"/>
                  <a:gd name="connsiteX24" fmla="*/ 232427 w 401783"/>
                  <a:gd name="connsiteY24" fmla="*/ 282545 h 312014"/>
                  <a:gd name="connsiteX25" fmla="*/ 232010 w 401783"/>
                  <a:gd name="connsiteY25" fmla="*/ 279459 h 312014"/>
                  <a:gd name="connsiteX26" fmla="*/ 221832 w 401783"/>
                  <a:gd name="connsiteY26" fmla="*/ 257769 h 312014"/>
                  <a:gd name="connsiteX27" fmla="*/ 197471 w 401783"/>
                  <a:gd name="connsiteY27" fmla="*/ 245339 h 312014"/>
                  <a:gd name="connsiteX28" fmla="*/ 191298 w 401783"/>
                  <a:gd name="connsiteY28" fmla="*/ 244922 h 312014"/>
                  <a:gd name="connsiteX29" fmla="*/ 170024 w 401783"/>
                  <a:gd name="connsiteY29" fmla="*/ 248009 h 312014"/>
                  <a:gd name="connsiteX30" fmla="*/ 160263 w 401783"/>
                  <a:gd name="connsiteY30" fmla="*/ 256852 h 312014"/>
                  <a:gd name="connsiteX31" fmla="*/ 151837 w 401783"/>
                  <a:gd name="connsiteY31" fmla="*/ 263942 h 312014"/>
                  <a:gd name="connsiteX32" fmla="*/ 138989 w 401783"/>
                  <a:gd name="connsiteY32" fmla="*/ 251513 h 312014"/>
                  <a:gd name="connsiteX33" fmla="*/ 122637 w 401783"/>
                  <a:gd name="connsiteY33" fmla="*/ 220063 h 312014"/>
                  <a:gd name="connsiteX34" fmla="*/ 117799 w 401783"/>
                  <a:gd name="connsiteY34" fmla="*/ 208551 h 312014"/>
                  <a:gd name="connsiteX35" fmla="*/ 116881 w 401783"/>
                  <a:gd name="connsiteY35" fmla="*/ 199709 h 312014"/>
                  <a:gd name="connsiteX36" fmla="*/ 116464 w 401783"/>
                  <a:gd name="connsiteY36" fmla="*/ 193953 h 312014"/>
                  <a:gd name="connsiteX37" fmla="*/ 87682 w 401783"/>
                  <a:gd name="connsiteY37" fmla="*/ 154995 h 312014"/>
                  <a:gd name="connsiteX38" fmla="*/ 64239 w 401783"/>
                  <a:gd name="connsiteY38" fmla="*/ 153660 h 312014"/>
                  <a:gd name="connsiteX39" fmla="*/ 52309 w 401783"/>
                  <a:gd name="connsiteY39" fmla="*/ 154077 h 312014"/>
                  <a:gd name="connsiteX40" fmla="*/ 14683 w 401783"/>
                  <a:gd name="connsiteY40" fmla="*/ 136393 h 312014"/>
                  <a:gd name="connsiteX41" fmla="*/ 9344 w 401783"/>
                  <a:gd name="connsiteY41" fmla="*/ 129719 h 312014"/>
                  <a:gd name="connsiteX42" fmla="*/ 0 w 401783"/>
                  <a:gd name="connsiteY42" fmla="*/ 119124 h 312014"/>
                  <a:gd name="connsiteX43" fmla="*/ 20857 w 401783"/>
                  <a:gd name="connsiteY43" fmla="*/ 108947 h 312014"/>
                  <a:gd name="connsiteX44" fmla="*/ 36374 w 401783"/>
                  <a:gd name="connsiteY44" fmla="*/ 88092 h 312014"/>
                  <a:gd name="connsiteX45" fmla="*/ 45718 w 401783"/>
                  <a:gd name="connsiteY45" fmla="*/ 74828 h 312014"/>
                  <a:gd name="connsiteX46" fmla="*/ 65240 w 401783"/>
                  <a:gd name="connsiteY46" fmla="*/ 60229 h 312014"/>
                  <a:gd name="connsiteX47" fmla="*/ 91853 w 401783"/>
                  <a:gd name="connsiteY47" fmla="*/ 37205 h 312014"/>
                  <a:gd name="connsiteX48" fmla="*/ 98527 w 401783"/>
                  <a:gd name="connsiteY48" fmla="*/ 23024 h 312014"/>
                  <a:gd name="connsiteX49" fmla="*/ 107871 w 401783"/>
                  <a:gd name="connsiteY49" fmla="*/ 6173 h 312014"/>
                  <a:gd name="connsiteX50" fmla="*/ 112710 w 401783"/>
                  <a:gd name="connsiteY50" fmla="*/ 1752 h 312014"/>
                  <a:gd name="connsiteX51" fmla="*/ 114462 w 401783"/>
                  <a:gd name="connsiteY51" fmla="*/ 0 h 312014"/>
                  <a:gd name="connsiteX52" fmla="*/ 135735 w 401783"/>
                  <a:gd name="connsiteY52" fmla="*/ 16350 h 312014"/>
                  <a:gd name="connsiteX53" fmla="*/ 139740 w 401783"/>
                  <a:gd name="connsiteY53" fmla="*/ 22524 h 312014"/>
                  <a:gd name="connsiteX54" fmla="*/ 152588 w 401783"/>
                  <a:gd name="connsiteY54" fmla="*/ 38039 h 312014"/>
                  <a:gd name="connsiteX55" fmla="*/ 163683 w 401783"/>
                  <a:gd name="connsiteY55" fmla="*/ 43379 h 312014"/>
                  <a:gd name="connsiteX56" fmla="*/ 173444 w 401783"/>
                  <a:gd name="connsiteY56" fmla="*/ 49135 h 312014"/>
                  <a:gd name="connsiteX57" fmla="*/ 175697 w 401783"/>
                  <a:gd name="connsiteY57" fmla="*/ 53139 h 312014"/>
                  <a:gd name="connsiteX58" fmla="*/ 183205 w 401783"/>
                  <a:gd name="connsiteY58" fmla="*/ 63316 h 312014"/>
                  <a:gd name="connsiteX59" fmla="*/ 189379 w 401783"/>
                  <a:gd name="connsiteY59" fmla="*/ 66402 h 312014"/>
                  <a:gd name="connsiteX60" fmla="*/ 191631 w 401783"/>
                  <a:gd name="connsiteY60" fmla="*/ 67320 h 312014"/>
                  <a:gd name="connsiteX61" fmla="*/ 198723 w 401783"/>
                  <a:gd name="connsiteY61" fmla="*/ 79249 h 312014"/>
                  <a:gd name="connsiteX62" fmla="*/ 208484 w 401783"/>
                  <a:gd name="connsiteY62" fmla="*/ 123545 h 312014"/>
                  <a:gd name="connsiteX63" fmla="*/ 208901 w 401783"/>
                  <a:gd name="connsiteY63" fmla="*/ 125798 h 312014"/>
                  <a:gd name="connsiteX64" fmla="*/ 217744 w 401783"/>
                  <a:gd name="connsiteY64" fmla="*/ 154578 h 312014"/>
                  <a:gd name="connsiteX65" fmla="*/ 222583 w 401783"/>
                  <a:gd name="connsiteY65" fmla="*/ 160334 h 312014"/>
                  <a:gd name="connsiteX66" fmla="*/ 227922 w 401783"/>
                  <a:gd name="connsiteY66" fmla="*/ 167425 h 312014"/>
                  <a:gd name="connsiteX67" fmla="*/ 228840 w 401783"/>
                  <a:gd name="connsiteY67" fmla="*/ 170511 h 312014"/>
                  <a:gd name="connsiteX68" fmla="*/ 231509 w 401783"/>
                  <a:gd name="connsiteY68" fmla="*/ 177185 h 312014"/>
                  <a:gd name="connsiteX69" fmla="*/ 242105 w 401783"/>
                  <a:gd name="connsiteY69" fmla="*/ 187362 h 312014"/>
                  <a:gd name="connsiteX70" fmla="*/ 275809 w 401783"/>
                  <a:gd name="connsiteY70" fmla="*/ 194453 h 312014"/>
                  <a:gd name="connsiteX71" fmla="*/ 288240 w 401783"/>
                  <a:gd name="connsiteY71" fmla="*/ 181606 h 312014"/>
                  <a:gd name="connsiteX72" fmla="*/ 294914 w 401783"/>
                  <a:gd name="connsiteY72" fmla="*/ 173598 h 312014"/>
                  <a:gd name="connsiteX73" fmla="*/ 309096 w 401783"/>
                  <a:gd name="connsiteY73" fmla="*/ 172680 h 312014"/>
                  <a:gd name="connsiteX74" fmla="*/ 326783 w 401783"/>
                  <a:gd name="connsiteY74" fmla="*/ 172263 h 312014"/>
                  <a:gd name="connsiteX75" fmla="*/ 346722 w 401783"/>
                  <a:gd name="connsiteY75" fmla="*/ 157665 h 312014"/>
                  <a:gd name="connsiteX76" fmla="*/ 350726 w 401783"/>
                  <a:gd name="connsiteY76" fmla="*/ 153660 h 312014"/>
                  <a:gd name="connsiteX77" fmla="*/ 365827 w 401783"/>
                  <a:gd name="connsiteY77" fmla="*/ 147487 h 312014"/>
                  <a:gd name="connsiteX78" fmla="*/ 365410 w 401783"/>
                  <a:gd name="connsiteY78" fmla="*/ 150157 h 312014"/>
                  <a:gd name="connsiteX79" fmla="*/ 364992 w 401783"/>
                  <a:gd name="connsiteY79" fmla="*/ 152409 h 312014"/>
                  <a:gd name="connsiteX80" fmla="*/ 384931 w 401783"/>
                  <a:gd name="connsiteY80" fmla="*/ 181606 h 312014"/>
                  <a:gd name="connsiteX81" fmla="*/ 392940 w 401783"/>
                  <a:gd name="connsiteY81" fmla="*/ 186445 h 312014"/>
                  <a:gd name="connsiteX82" fmla="*/ 401784 w 401783"/>
                  <a:gd name="connsiteY82" fmla="*/ 197039 h 312014"/>
                  <a:gd name="connsiteX83" fmla="*/ 401784 w 401783"/>
                  <a:gd name="connsiteY83" fmla="*/ 197957 h 312014"/>
                  <a:gd name="connsiteX84" fmla="*/ 394192 w 401783"/>
                  <a:gd name="connsiteY84" fmla="*/ 212305 h 312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401783" h="312014" extrusionOk="0">
                    <a:moveTo>
                      <a:pt x="394192" y="212305"/>
                    </a:moveTo>
                    <a:cubicBezTo>
                      <a:pt x="390187" y="218478"/>
                      <a:pt x="385766" y="226070"/>
                      <a:pt x="385348" y="234412"/>
                    </a:cubicBezTo>
                    <a:cubicBezTo>
                      <a:pt x="384931" y="236664"/>
                      <a:pt x="385348" y="238416"/>
                      <a:pt x="385766" y="240585"/>
                    </a:cubicBezTo>
                    <a:lnTo>
                      <a:pt x="385766" y="241919"/>
                    </a:lnTo>
                    <a:cubicBezTo>
                      <a:pt x="386183" y="244589"/>
                      <a:pt x="386683" y="246758"/>
                      <a:pt x="386183" y="248593"/>
                    </a:cubicBezTo>
                    <a:cubicBezTo>
                      <a:pt x="385766" y="250845"/>
                      <a:pt x="383930" y="252097"/>
                      <a:pt x="382679" y="254766"/>
                    </a:cubicBezTo>
                    <a:cubicBezTo>
                      <a:pt x="382262" y="255183"/>
                      <a:pt x="381761" y="255684"/>
                      <a:pt x="381761" y="255684"/>
                    </a:cubicBezTo>
                    <a:cubicBezTo>
                      <a:pt x="380844" y="256601"/>
                      <a:pt x="379509" y="257936"/>
                      <a:pt x="378674" y="258770"/>
                    </a:cubicBezTo>
                    <a:cubicBezTo>
                      <a:pt x="370665" y="268948"/>
                      <a:pt x="367579" y="283129"/>
                      <a:pt x="370665" y="295976"/>
                    </a:cubicBezTo>
                    <a:lnTo>
                      <a:pt x="371583" y="299063"/>
                    </a:lnTo>
                    <a:cubicBezTo>
                      <a:pt x="372501" y="302149"/>
                      <a:pt x="373335" y="304818"/>
                      <a:pt x="372918" y="306570"/>
                    </a:cubicBezTo>
                    <a:cubicBezTo>
                      <a:pt x="372000" y="308322"/>
                      <a:pt x="369831" y="309657"/>
                      <a:pt x="365827" y="310992"/>
                    </a:cubicBezTo>
                    <a:cubicBezTo>
                      <a:pt x="355232" y="313661"/>
                      <a:pt x="343218" y="310992"/>
                      <a:pt x="334792" y="304318"/>
                    </a:cubicBezTo>
                    <a:cubicBezTo>
                      <a:pt x="333457" y="303400"/>
                      <a:pt x="332539" y="302566"/>
                      <a:pt x="331705" y="301648"/>
                    </a:cubicBezTo>
                    <a:cubicBezTo>
                      <a:pt x="329035" y="298979"/>
                      <a:pt x="325949" y="296810"/>
                      <a:pt x="322361" y="294558"/>
                    </a:cubicBezTo>
                    <a:cubicBezTo>
                      <a:pt x="317022" y="291888"/>
                      <a:pt x="311766" y="291471"/>
                      <a:pt x="307261" y="291054"/>
                    </a:cubicBezTo>
                    <a:cubicBezTo>
                      <a:pt x="302839" y="290637"/>
                      <a:pt x="297917" y="290136"/>
                      <a:pt x="293079" y="291972"/>
                    </a:cubicBezTo>
                    <a:cubicBezTo>
                      <a:pt x="289992" y="292889"/>
                      <a:pt x="287322" y="294224"/>
                      <a:pt x="284652" y="296393"/>
                    </a:cubicBezTo>
                    <a:cubicBezTo>
                      <a:pt x="283318" y="297311"/>
                      <a:pt x="282400" y="298645"/>
                      <a:pt x="281566" y="299897"/>
                    </a:cubicBezTo>
                    <a:cubicBezTo>
                      <a:pt x="281148" y="300314"/>
                      <a:pt x="281148" y="300314"/>
                      <a:pt x="281148" y="300314"/>
                    </a:cubicBezTo>
                    <a:cubicBezTo>
                      <a:pt x="280731" y="300731"/>
                      <a:pt x="280231" y="301231"/>
                      <a:pt x="279814" y="301648"/>
                    </a:cubicBezTo>
                    <a:cubicBezTo>
                      <a:pt x="276727" y="304735"/>
                      <a:pt x="270053" y="302983"/>
                      <a:pt x="263879" y="301648"/>
                    </a:cubicBezTo>
                    <a:lnTo>
                      <a:pt x="249279" y="297644"/>
                    </a:lnTo>
                    <a:cubicBezTo>
                      <a:pt x="243106" y="296309"/>
                      <a:pt x="238184" y="294558"/>
                      <a:pt x="235514" y="290971"/>
                    </a:cubicBezTo>
                    <a:cubicBezTo>
                      <a:pt x="234179" y="288718"/>
                      <a:pt x="233262" y="285632"/>
                      <a:pt x="232427" y="282545"/>
                    </a:cubicBezTo>
                    <a:lnTo>
                      <a:pt x="232010" y="279459"/>
                    </a:lnTo>
                    <a:cubicBezTo>
                      <a:pt x="229757" y="271450"/>
                      <a:pt x="226671" y="264360"/>
                      <a:pt x="221832" y="257769"/>
                    </a:cubicBezTo>
                    <a:cubicBezTo>
                      <a:pt x="214741" y="247175"/>
                      <a:pt x="205897" y="245339"/>
                      <a:pt x="197471" y="245339"/>
                    </a:cubicBezTo>
                    <a:cubicBezTo>
                      <a:pt x="195219" y="245339"/>
                      <a:pt x="193467" y="244922"/>
                      <a:pt x="191298" y="244922"/>
                    </a:cubicBezTo>
                    <a:cubicBezTo>
                      <a:pt x="185124" y="244005"/>
                      <a:pt x="178033" y="243588"/>
                      <a:pt x="170024" y="248009"/>
                    </a:cubicBezTo>
                    <a:cubicBezTo>
                      <a:pt x="166019" y="250679"/>
                      <a:pt x="162933" y="254182"/>
                      <a:pt x="160263" y="256852"/>
                    </a:cubicBezTo>
                    <a:cubicBezTo>
                      <a:pt x="157176" y="260355"/>
                      <a:pt x="154924" y="263025"/>
                      <a:pt x="151837" y="263942"/>
                    </a:cubicBezTo>
                    <a:cubicBezTo>
                      <a:pt x="147832" y="264860"/>
                      <a:pt x="142493" y="258186"/>
                      <a:pt x="138989" y="251513"/>
                    </a:cubicBezTo>
                    <a:lnTo>
                      <a:pt x="122637" y="220063"/>
                    </a:lnTo>
                    <a:cubicBezTo>
                      <a:pt x="120385" y="216559"/>
                      <a:pt x="118633" y="212055"/>
                      <a:pt x="117799" y="208551"/>
                    </a:cubicBezTo>
                    <a:cubicBezTo>
                      <a:pt x="116881" y="205465"/>
                      <a:pt x="116881" y="202795"/>
                      <a:pt x="116881" y="199709"/>
                    </a:cubicBezTo>
                    <a:cubicBezTo>
                      <a:pt x="116464" y="197456"/>
                      <a:pt x="116464" y="196205"/>
                      <a:pt x="116464" y="193953"/>
                    </a:cubicBezTo>
                    <a:cubicBezTo>
                      <a:pt x="114712" y="178436"/>
                      <a:pt x="105368" y="160751"/>
                      <a:pt x="87682" y="154995"/>
                    </a:cubicBezTo>
                    <a:cubicBezTo>
                      <a:pt x="79673" y="152326"/>
                      <a:pt x="71747" y="152743"/>
                      <a:pt x="64239" y="153660"/>
                    </a:cubicBezTo>
                    <a:cubicBezTo>
                      <a:pt x="60234" y="154077"/>
                      <a:pt x="56230" y="154077"/>
                      <a:pt x="52309" y="154077"/>
                    </a:cubicBezTo>
                    <a:cubicBezTo>
                      <a:pt x="35456" y="152743"/>
                      <a:pt x="23109" y="146987"/>
                      <a:pt x="14683" y="136393"/>
                    </a:cubicBezTo>
                    <a:lnTo>
                      <a:pt x="9344" y="129719"/>
                    </a:lnTo>
                    <a:cubicBezTo>
                      <a:pt x="5840" y="125297"/>
                      <a:pt x="3170" y="122211"/>
                      <a:pt x="0" y="119124"/>
                    </a:cubicBezTo>
                    <a:cubicBezTo>
                      <a:pt x="7091" y="118207"/>
                      <a:pt x="14183" y="116038"/>
                      <a:pt x="20857" y="108947"/>
                    </a:cubicBezTo>
                    <a:cubicBezTo>
                      <a:pt x="27030" y="102774"/>
                      <a:pt x="31953" y="95182"/>
                      <a:pt x="36374" y="88092"/>
                    </a:cubicBezTo>
                    <a:cubicBezTo>
                      <a:pt x="39461" y="83671"/>
                      <a:pt x="42548" y="79249"/>
                      <a:pt x="45718" y="74828"/>
                    </a:cubicBezTo>
                    <a:cubicBezTo>
                      <a:pt x="50557" y="68655"/>
                      <a:pt x="57648" y="64651"/>
                      <a:pt x="65240" y="60229"/>
                    </a:cubicBezTo>
                    <a:cubicBezTo>
                      <a:pt x="75001" y="54473"/>
                      <a:pt x="85179" y="48300"/>
                      <a:pt x="91853" y="37205"/>
                    </a:cubicBezTo>
                    <a:cubicBezTo>
                      <a:pt x="94940" y="32367"/>
                      <a:pt x="96692" y="27028"/>
                      <a:pt x="98527" y="23024"/>
                    </a:cubicBezTo>
                    <a:cubicBezTo>
                      <a:pt x="100780" y="16851"/>
                      <a:pt x="102949" y="11095"/>
                      <a:pt x="107871" y="6173"/>
                    </a:cubicBezTo>
                    <a:cubicBezTo>
                      <a:pt x="109206" y="4838"/>
                      <a:pt x="110958" y="3086"/>
                      <a:pt x="112710" y="1752"/>
                    </a:cubicBezTo>
                    <a:lnTo>
                      <a:pt x="114462" y="0"/>
                    </a:lnTo>
                    <a:cubicBezTo>
                      <a:pt x="122888" y="4004"/>
                      <a:pt x="130396" y="9343"/>
                      <a:pt x="135735" y="16350"/>
                    </a:cubicBezTo>
                    <a:cubicBezTo>
                      <a:pt x="137070" y="18603"/>
                      <a:pt x="138405" y="20355"/>
                      <a:pt x="139740" y="22524"/>
                    </a:cubicBezTo>
                    <a:cubicBezTo>
                      <a:pt x="142827" y="27862"/>
                      <a:pt x="146831" y="33618"/>
                      <a:pt x="152588" y="38039"/>
                    </a:cubicBezTo>
                    <a:cubicBezTo>
                      <a:pt x="156092" y="40709"/>
                      <a:pt x="160096" y="42044"/>
                      <a:pt x="163683" y="43379"/>
                    </a:cubicBezTo>
                    <a:cubicBezTo>
                      <a:pt x="168105" y="45130"/>
                      <a:pt x="171692" y="46465"/>
                      <a:pt x="173444" y="49135"/>
                    </a:cubicBezTo>
                    <a:cubicBezTo>
                      <a:pt x="174362" y="50469"/>
                      <a:pt x="174779" y="51804"/>
                      <a:pt x="175697" y="53139"/>
                    </a:cubicBezTo>
                    <a:cubicBezTo>
                      <a:pt x="177032" y="56225"/>
                      <a:pt x="179201" y="60229"/>
                      <a:pt x="183205" y="63316"/>
                    </a:cubicBezTo>
                    <a:cubicBezTo>
                      <a:pt x="185458" y="64651"/>
                      <a:pt x="187627" y="65568"/>
                      <a:pt x="189379" y="66402"/>
                    </a:cubicBezTo>
                    <a:cubicBezTo>
                      <a:pt x="190297" y="66820"/>
                      <a:pt x="190714" y="66820"/>
                      <a:pt x="191631" y="67320"/>
                    </a:cubicBezTo>
                    <a:cubicBezTo>
                      <a:pt x="195135" y="69072"/>
                      <a:pt x="196971" y="73994"/>
                      <a:pt x="198723" y="79249"/>
                    </a:cubicBezTo>
                    <a:cubicBezTo>
                      <a:pt x="203144" y="93848"/>
                      <a:pt x="206231" y="108447"/>
                      <a:pt x="208484" y="123545"/>
                    </a:cubicBezTo>
                    <a:lnTo>
                      <a:pt x="208901" y="125798"/>
                    </a:lnTo>
                    <a:cubicBezTo>
                      <a:pt x="210236" y="135141"/>
                      <a:pt x="211571" y="145735"/>
                      <a:pt x="217744" y="154578"/>
                    </a:cubicBezTo>
                    <a:cubicBezTo>
                      <a:pt x="219079" y="156831"/>
                      <a:pt x="220831" y="158082"/>
                      <a:pt x="222583" y="160334"/>
                    </a:cubicBezTo>
                    <a:cubicBezTo>
                      <a:pt x="224835" y="163004"/>
                      <a:pt x="227005" y="165173"/>
                      <a:pt x="227922" y="167425"/>
                    </a:cubicBezTo>
                    <a:cubicBezTo>
                      <a:pt x="228339" y="168342"/>
                      <a:pt x="228840" y="169677"/>
                      <a:pt x="228840" y="170511"/>
                    </a:cubicBezTo>
                    <a:cubicBezTo>
                      <a:pt x="229757" y="172764"/>
                      <a:pt x="230175" y="174933"/>
                      <a:pt x="231509" y="177185"/>
                    </a:cubicBezTo>
                    <a:cubicBezTo>
                      <a:pt x="234179" y="182023"/>
                      <a:pt x="238601" y="185194"/>
                      <a:pt x="242105" y="187362"/>
                    </a:cubicBezTo>
                    <a:cubicBezTo>
                      <a:pt x="248278" y="191367"/>
                      <a:pt x="262461" y="201127"/>
                      <a:pt x="275809" y="194453"/>
                    </a:cubicBezTo>
                    <a:cubicBezTo>
                      <a:pt x="281983" y="191367"/>
                      <a:pt x="285570" y="186028"/>
                      <a:pt x="288240" y="181606"/>
                    </a:cubicBezTo>
                    <a:cubicBezTo>
                      <a:pt x="290492" y="178520"/>
                      <a:pt x="292661" y="174933"/>
                      <a:pt x="294914" y="173598"/>
                    </a:cubicBezTo>
                    <a:cubicBezTo>
                      <a:pt x="298418" y="171346"/>
                      <a:pt x="303340" y="172263"/>
                      <a:pt x="309096" y="172680"/>
                    </a:cubicBezTo>
                    <a:cubicBezTo>
                      <a:pt x="314436" y="173598"/>
                      <a:pt x="320609" y="174015"/>
                      <a:pt x="326783" y="172263"/>
                    </a:cubicBezTo>
                    <a:cubicBezTo>
                      <a:pt x="335626" y="169594"/>
                      <a:pt x="341383" y="163421"/>
                      <a:pt x="346722" y="157665"/>
                    </a:cubicBezTo>
                    <a:cubicBezTo>
                      <a:pt x="348057" y="156330"/>
                      <a:pt x="349392" y="154995"/>
                      <a:pt x="350726" y="153660"/>
                    </a:cubicBezTo>
                    <a:cubicBezTo>
                      <a:pt x="360070" y="144818"/>
                      <a:pt x="363574" y="146570"/>
                      <a:pt x="365827" y="147487"/>
                    </a:cubicBezTo>
                    <a:cubicBezTo>
                      <a:pt x="365827" y="147904"/>
                      <a:pt x="365827" y="148405"/>
                      <a:pt x="365410" y="150157"/>
                    </a:cubicBezTo>
                    <a:lnTo>
                      <a:pt x="364992" y="152409"/>
                    </a:lnTo>
                    <a:cubicBezTo>
                      <a:pt x="363657" y="163504"/>
                      <a:pt x="370332" y="173264"/>
                      <a:pt x="384931" y="181606"/>
                    </a:cubicBezTo>
                    <a:cubicBezTo>
                      <a:pt x="387601" y="182941"/>
                      <a:pt x="390271" y="184693"/>
                      <a:pt x="392940" y="186445"/>
                    </a:cubicBezTo>
                    <a:cubicBezTo>
                      <a:pt x="397362" y="189531"/>
                      <a:pt x="400949" y="193118"/>
                      <a:pt x="401784" y="197039"/>
                    </a:cubicBezTo>
                    <a:lnTo>
                      <a:pt x="401784" y="197957"/>
                    </a:lnTo>
                    <a:cubicBezTo>
                      <a:pt x="400866" y="201627"/>
                      <a:pt x="397779" y="206549"/>
                      <a:pt x="394192" y="2123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67254718" name="Полилиния 376"/>
              <p:cNvSpPr/>
              <p:nvPr/>
            </p:nvSpPr>
            <p:spPr bwMode="auto">
              <a:xfrm>
                <a:off x="2353578" y="3964575"/>
                <a:ext cx="279421" cy="210636"/>
              </a:xfrm>
              <a:custGeom>
                <a:avLst/>
                <a:gdLst>
                  <a:gd name="connsiteX0" fmla="*/ 292313 w 313800"/>
                  <a:gd name="connsiteY0" fmla="*/ 106046 h 236552"/>
                  <a:gd name="connsiteX1" fmla="*/ 287475 w 313800"/>
                  <a:gd name="connsiteY1" fmla="*/ 122897 h 236552"/>
                  <a:gd name="connsiteX2" fmla="*/ 302992 w 313800"/>
                  <a:gd name="connsiteY2" fmla="*/ 140165 h 236552"/>
                  <a:gd name="connsiteX3" fmla="*/ 311001 w 313800"/>
                  <a:gd name="connsiteY3" fmla="*/ 145921 h 236552"/>
                  <a:gd name="connsiteX4" fmla="*/ 310584 w 313800"/>
                  <a:gd name="connsiteY4" fmla="*/ 176453 h 236552"/>
                  <a:gd name="connsiteX5" fmla="*/ 307914 w 313800"/>
                  <a:gd name="connsiteY5" fmla="*/ 179957 h 236552"/>
                  <a:gd name="connsiteX6" fmla="*/ 306579 w 313800"/>
                  <a:gd name="connsiteY6" fmla="*/ 182209 h 236552"/>
                  <a:gd name="connsiteX7" fmla="*/ 303075 w 313800"/>
                  <a:gd name="connsiteY7" fmla="*/ 187047 h 236552"/>
                  <a:gd name="connsiteX8" fmla="*/ 300406 w 313800"/>
                  <a:gd name="connsiteY8" fmla="*/ 195890 h 236552"/>
                  <a:gd name="connsiteX9" fmla="*/ 299989 w 313800"/>
                  <a:gd name="connsiteY9" fmla="*/ 200728 h 236552"/>
                  <a:gd name="connsiteX10" fmla="*/ 298654 w 313800"/>
                  <a:gd name="connsiteY10" fmla="*/ 208737 h 236552"/>
                  <a:gd name="connsiteX11" fmla="*/ 278715 w 313800"/>
                  <a:gd name="connsiteY11" fmla="*/ 227339 h 236552"/>
                  <a:gd name="connsiteX12" fmla="*/ 253436 w 313800"/>
                  <a:gd name="connsiteY12" fmla="*/ 217579 h 236552"/>
                  <a:gd name="connsiteX13" fmla="*/ 203797 w 313800"/>
                  <a:gd name="connsiteY13" fmla="*/ 213158 h 236552"/>
                  <a:gd name="connsiteX14" fmla="*/ 196289 w 313800"/>
                  <a:gd name="connsiteY14" fmla="*/ 226422 h 236552"/>
                  <a:gd name="connsiteX15" fmla="*/ 190115 w 313800"/>
                  <a:gd name="connsiteY15" fmla="*/ 235264 h 236552"/>
                  <a:gd name="connsiteX16" fmla="*/ 185694 w 313800"/>
                  <a:gd name="connsiteY16" fmla="*/ 236182 h 236552"/>
                  <a:gd name="connsiteX17" fmla="*/ 171094 w 313800"/>
                  <a:gd name="connsiteY17" fmla="*/ 234847 h 236552"/>
                  <a:gd name="connsiteX18" fmla="*/ 161333 w 313800"/>
                  <a:gd name="connsiteY18" fmla="*/ 231344 h 236552"/>
                  <a:gd name="connsiteX19" fmla="*/ 158663 w 313800"/>
                  <a:gd name="connsiteY19" fmla="*/ 228674 h 236552"/>
                  <a:gd name="connsiteX20" fmla="*/ 152907 w 313800"/>
                  <a:gd name="connsiteY20" fmla="*/ 223335 h 236552"/>
                  <a:gd name="connsiteX21" fmla="*/ 141811 w 313800"/>
                  <a:gd name="connsiteY21" fmla="*/ 218914 h 236552"/>
                  <a:gd name="connsiteX22" fmla="*/ 135137 w 313800"/>
                  <a:gd name="connsiteY22" fmla="*/ 216245 h 236552"/>
                  <a:gd name="connsiteX23" fmla="*/ 128463 w 313800"/>
                  <a:gd name="connsiteY23" fmla="*/ 213158 h 236552"/>
                  <a:gd name="connsiteX24" fmla="*/ 127545 w 313800"/>
                  <a:gd name="connsiteY24" fmla="*/ 208737 h 236552"/>
                  <a:gd name="connsiteX25" fmla="*/ 126628 w 313800"/>
                  <a:gd name="connsiteY25" fmla="*/ 203398 h 236552"/>
                  <a:gd name="connsiteX26" fmla="*/ 108023 w 313800"/>
                  <a:gd name="connsiteY26" fmla="*/ 173283 h 236552"/>
                  <a:gd name="connsiteX27" fmla="*/ 76154 w 313800"/>
                  <a:gd name="connsiteY27" fmla="*/ 147173 h 236552"/>
                  <a:gd name="connsiteX28" fmla="*/ 65059 w 313800"/>
                  <a:gd name="connsiteY28" fmla="*/ 128570 h 236552"/>
                  <a:gd name="connsiteX29" fmla="*/ 58384 w 313800"/>
                  <a:gd name="connsiteY29" fmla="*/ 114805 h 236552"/>
                  <a:gd name="connsiteX30" fmla="*/ 32689 w 313800"/>
                  <a:gd name="connsiteY30" fmla="*/ 98872 h 236552"/>
                  <a:gd name="connsiteX31" fmla="*/ 24680 w 313800"/>
                  <a:gd name="connsiteY31" fmla="*/ 97120 h 236552"/>
                  <a:gd name="connsiteX32" fmla="*/ 737 w 313800"/>
                  <a:gd name="connsiteY32" fmla="*/ 82522 h 236552"/>
                  <a:gd name="connsiteX33" fmla="*/ 5158 w 313800"/>
                  <a:gd name="connsiteY33" fmla="*/ 64836 h 236552"/>
                  <a:gd name="connsiteX34" fmla="*/ 5158 w 313800"/>
                  <a:gd name="connsiteY34" fmla="*/ 13449 h 236552"/>
                  <a:gd name="connsiteX35" fmla="*/ 57884 w 313800"/>
                  <a:gd name="connsiteY35" fmla="*/ 2855 h 236552"/>
                  <a:gd name="connsiteX36" fmla="*/ 73401 w 313800"/>
                  <a:gd name="connsiteY36" fmla="*/ 7276 h 236552"/>
                  <a:gd name="connsiteX37" fmla="*/ 95092 w 313800"/>
                  <a:gd name="connsiteY37" fmla="*/ 13950 h 236552"/>
                  <a:gd name="connsiteX38" fmla="*/ 108357 w 313800"/>
                  <a:gd name="connsiteY38" fmla="*/ 19289 h 236552"/>
                  <a:gd name="connsiteX39" fmla="*/ 115448 w 313800"/>
                  <a:gd name="connsiteY39" fmla="*/ 22375 h 236552"/>
                  <a:gd name="connsiteX40" fmla="*/ 126961 w 313800"/>
                  <a:gd name="connsiteY40" fmla="*/ 30384 h 236552"/>
                  <a:gd name="connsiteX41" fmla="*/ 142062 w 313800"/>
                  <a:gd name="connsiteY41" fmla="*/ 40561 h 236552"/>
                  <a:gd name="connsiteX42" fmla="*/ 167757 w 313800"/>
                  <a:gd name="connsiteY42" fmla="*/ 43648 h 236552"/>
                  <a:gd name="connsiteX43" fmla="*/ 182357 w 313800"/>
                  <a:gd name="connsiteY43" fmla="*/ 44065 h 236552"/>
                  <a:gd name="connsiteX44" fmla="*/ 188530 w 313800"/>
                  <a:gd name="connsiteY44" fmla="*/ 45400 h 236552"/>
                  <a:gd name="connsiteX45" fmla="*/ 206717 w 313800"/>
                  <a:gd name="connsiteY45" fmla="*/ 47652 h 236552"/>
                  <a:gd name="connsiteX46" fmla="*/ 215561 w 313800"/>
                  <a:gd name="connsiteY46" fmla="*/ 46317 h 236552"/>
                  <a:gd name="connsiteX47" fmla="*/ 233247 w 313800"/>
                  <a:gd name="connsiteY47" fmla="*/ 45400 h 236552"/>
                  <a:gd name="connsiteX48" fmla="*/ 238086 w 313800"/>
                  <a:gd name="connsiteY48" fmla="*/ 55577 h 236552"/>
                  <a:gd name="connsiteX49" fmla="*/ 242924 w 313800"/>
                  <a:gd name="connsiteY49" fmla="*/ 71093 h 236552"/>
                  <a:gd name="connsiteX50" fmla="*/ 272124 w 313800"/>
                  <a:gd name="connsiteY50" fmla="*/ 87443 h 236552"/>
                  <a:gd name="connsiteX51" fmla="*/ 278298 w 313800"/>
                  <a:gd name="connsiteY51" fmla="*/ 89195 h 236552"/>
                  <a:gd name="connsiteX52" fmla="*/ 280967 w 313800"/>
                  <a:gd name="connsiteY52" fmla="*/ 89612 h 236552"/>
                  <a:gd name="connsiteX53" fmla="*/ 295150 w 313800"/>
                  <a:gd name="connsiteY53" fmla="*/ 97621 h 236552"/>
                  <a:gd name="connsiteX54" fmla="*/ 292313 w 313800"/>
                  <a:gd name="connsiteY54" fmla="*/ 106046 h 23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13800" h="236552" extrusionOk="0">
                    <a:moveTo>
                      <a:pt x="292313" y="106046"/>
                    </a:moveTo>
                    <a:cubicBezTo>
                      <a:pt x="290061" y="109550"/>
                      <a:pt x="286140" y="114889"/>
                      <a:pt x="287475" y="122897"/>
                    </a:cubicBezTo>
                    <a:cubicBezTo>
                      <a:pt x="288809" y="133074"/>
                      <a:pt x="297235" y="137079"/>
                      <a:pt x="302992" y="140165"/>
                    </a:cubicBezTo>
                    <a:cubicBezTo>
                      <a:pt x="306496" y="142418"/>
                      <a:pt x="309666" y="143669"/>
                      <a:pt x="311001" y="145921"/>
                    </a:cubicBezTo>
                    <a:cubicBezTo>
                      <a:pt x="315423" y="153012"/>
                      <a:pt x="314088" y="168528"/>
                      <a:pt x="310584" y="176453"/>
                    </a:cubicBezTo>
                    <a:cubicBezTo>
                      <a:pt x="310167" y="177371"/>
                      <a:pt x="308832" y="178705"/>
                      <a:pt x="307914" y="179957"/>
                    </a:cubicBezTo>
                    <a:cubicBezTo>
                      <a:pt x="307497" y="180374"/>
                      <a:pt x="306996" y="181292"/>
                      <a:pt x="306579" y="182209"/>
                    </a:cubicBezTo>
                    <a:cubicBezTo>
                      <a:pt x="305244" y="183544"/>
                      <a:pt x="303910" y="185296"/>
                      <a:pt x="303075" y="187047"/>
                    </a:cubicBezTo>
                    <a:cubicBezTo>
                      <a:pt x="301740" y="190134"/>
                      <a:pt x="300823" y="193221"/>
                      <a:pt x="300406" y="195890"/>
                    </a:cubicBezTo>
                    <a:cubicBezTo>
                      <a:pt x="299989" y="197642"/>
                      <a:pt x="299989" y="199394"/>
                      <a:pt x="299989" y="200728"/>
                    </a:cubicBezTo>
                    <a:cubicBezTo>
                      <a:pt x="299571" y="203815"/>
                      <a:pt x="299071" y="206484"/>
                      <a:pt x="298654" y="208737"/>
                    </a:cubicBezTo>
                    <a:cubicBezTo>
                      <a:pt x="295567" y="217162"/>
                      <a:pt x="286724" y="225087"/>
                      <a:pt x="278715" y="227339"/>
                    </a:cubicBezTo>
                    <a:cubicBezTo>
                      <a:pt x="272541" y="228674"/>
                      <a:pt x="262780" y="223335"/>
                      <a:pt x="253436" y="217579"/>
                    </a:cubicBezTo>
                    <a:cubicBezTo>
                      <a:pt x="238336" y="208737"/>
                      <a:pt x="219315" y="197642"/>
                      <a:pt x="203797" y="213158"/>
                    </a:cubicBezTo>
                    <a:cubicBezTo>
                      <a:pt x="199376" y="217579"/>
                      <a:pt x="197624" y="222501"/>
                      <a:pt x="196289" y="226422"/>
                    </a:cubicBezTo>
                    <a:cubicBezTo>
                      <a:pt x="194537" y="231260"/>
                      <a:pt x="193619" y="233513"/>
                      <a:pt x="190115" y="235264"/>
                    </a:cubicBezTo>
                    <a:cubicBezTo>
                      <a:pt x="188781" y="235681"/>
                      <a:pt x="187029" y="236182"/>
                      <a:pt x="185694" y="236182"/>
                    </a:cubicBezTo>
                    <a:cubicBezTo>
                      <a:pt x="181272" y="237100"/>
                      <a:pt x="175933" y="236182"/>
                      <a:pt x="171094" y="234847"/>
                    </a:cubicBezTo>
                    <a:cubicBezTo>
                      <a:pt x="167590" y="233930"/>
                      <a:pt x="164003" y="232595"/>
                      <a:pt x="161333" y="231344"/>
                    </a:cubicBezTo>
                    <a:cubicBezTo>
                      <a:pt x="160415" y="230927"/>
                      <a:pt x="159998" y="230009"/>
                      <a:pt x="158663" y="228674"/>
                    </a:cubicBezTo>
                    <a:cubicBezTo>
                      <a:pt x="157329" y="226922"/>
                      <a:pt x="155577" y="224670"/>
                      <a:pt x="152907" y="223335"/>
                    </a:cubicBezTo>
                    <a:cubicBezTo>
                      <a:pt x="148485" y="220666"/>
                      <a:pt x="144898" y="219832"/>
                      <a:pt x="141811" y="218914"/>
                    </a:cubicBezTo>
                    <a:cubicBezTo>
                      <a:pt x="140059" y="217997"/>
                      <a:pt x="138307" y="217579"/>
                      <a:pt x="135137" y="216245"/>
                    </a:cubicBezTo>
                    <a:cubicBezTo>
                      <a:pt x="132050" y="214910"/>
                      <a:pt x="128964" y="213575"/>
                      <a:pt x="128463" y="213158"/>
                    </a:cubicBezTo>
                    <a:cubicBezTo>
                      <a:pt x="128046" y="212741"/>
                      <a:pt x="128046" y="210489"/>
                      <a:pt x="127545" y="208737"/>
                    </a:cubicBezTo>
                    <a:lnTo>
                      <a:pt x="126628" y="203398"/>
                    </a:lnTo>
                    <a:cubicBezTo>
                      <a:pt x="123958" y="187465"/>
                      <a:pt x="123124" y="183461"/>
                      <a:pt x="108023" y="173283"/>
                    </a:cubicBezTo>
                    <a:cubicBezTo>
                      <a:pt x="96093" y="165275"/>
                      <a:pt x="85915" y="158184"/>
                      <a:pt x="76154" y="147173"/>
                    </a:cubicBezTo>
                    <a:cubicBezTo>
                      <a:pt x="70815" y="140999"/>
                      <a:pt x="68145" y="135243"/>
                      <a:pt x="65059" y="128570"/>
                    </a:cubicBezTo>
                    <a:cubicBezTo>
                      <a:pt x="63307" y="124148"/>
                      <a:pt x="61555" y="119727"/>
                      <a:pt x="58384" y="114805"/>
                    </a:cubicBezTo>
                    <a:cubicBezTo>
                      <a:pt x="51293" y="102376"/>
                      <a:pt x="41115" y="100624"/>
                      <a:pt x="32689" y="98872"/>
                    </a:cubicBezTo>
                    <a:cubicBezTo>
                      <a:pt x="30019" y="98455"/>
                      <a:pt x="27350" y="97955"/>
                      <a:pt x="24680" y="97120"/>
                    </a:cubicBezTo>
                    <a:cubicBezTo>
                      <a:pt x="11832" y="93617"/>
                      <a:pt x="2989" y="88278"/>
                      <a:pt x="737" y="82522"/>
                    </a:cubicBezTo>
                    <a:cubicBezTo>
                      <a:pt x="-1016" y="77683"/>
                      <a:pt x="319" y="71927"/>
                      <a:pt x="5158" y="64836"/>
                    </a:cubicBezTo>
                    <a:cubicBezTo>
                      <a:pt x="19341" y="43147"/>
                      <a:pt x="14502" y="28549"/>
                      <a:pt x="5158" y="13449"/>
                    </a:cubicBezTo>
                    <a:cubicBezTo>
                      <a:pt x="22845" y="2855"/>
                      <a:pt x="37528" y="-4236"/>
                      <a:pt x="57884" y="2855"/>
                    </a:cubicBezTo>
                    <a:cubicBezTo>
                      <a:pt x="62723" y="4190"/>
                      <a:pt x="68062" y="5941"/>
                      <a:pt x="73401" y="7276"/>
                    </a:cubicBezTo>
                    <a:cubicBezTo>
                      <a:pt x="80492" y="9529"/>
                      <a:pt x="88001" y="11697"/>
                      <a:pt x="95092" y="13950"/>
                    </a:cubicBezTo>
                    <a:cubicBezTo>
                      <a:pt x="99514" y="15702"/>
                      <a:pt x="103935" y="17454"/>
                      <a:pt x="108357" y="19289"/>
                    </a:cubicBezTo>
                    <a:cubicBezTo>
                      <a:pt x="111027" y="20206"/>
                      <a:pt x="113196" y="21541"/>
                      <a:pt x="115448" y="22375"/>
                    </a:cubicBezTo>
                    <a:cubicBezTo>
                      <a:pt x="119453" y="24628"/>
                      <a:pt x="122957" y="27214"/>
                      <a:pt x="126961" y="30384"/>
                    </a:cubicBezTo>
                    <a:cubicBezTo>
                      <a:pt x="131383" y="33887"/>
                      <a:pt x="136722" y="37475"/>
                      <a:pt x="142062" y="40561"/>
                    </a:cubicBezTo>
                    <a:cubicBezTo>
                      <a:pt x="151405" y="44983"/>
                      <a:pt x="160249" y="44565"/>
                      <a:pt x="167757" y="43648"/>
                    </a:cubicBezTo>
                    <a:cubicBezTo>
                      <a:pt x="172596" y="43231"/>
                      <a:pt x="177518" y="43231"/>
                      <a:pt x="182357" y="44065"/>
                    </a:cubicBezTo>
                    <a:cubicBezTo>
                      <a:pt x="185026" y="44482"/>
                      <a:pt x="186778" y="44983"/>
                      <a:pt x="188530" y="45400"/>
                    </a:cubicBezTo>
                    <a:cubicBezTo>
                      <a:pt x="193870" y="46734"/>
                      <a:pt x="198291" y="48069"/>
                      <a:pt x="206717" y="47652"/>
                    </a:cubicBezTo>
                    <a:cubicBezTo>
                      <a:pt x="209387" y="47235"/>
                      <a:pt x="212057" y="46734"/>
                      <a:pt x="215561" y="46317"/>
                    </a:cubicBezTo>
                    <a:cubicBezTo>
                      <a:pt x="220900" y="45400"/>
                      <a:pt x="229743" y="43648"/>
                      <a:pt x="233247" y="45400"/>
                    </a:cubicBezTo>
                    <a:cubicBezTo>
                      <a:pt x="236334" y="46734"/>
                      <a:pt x="236751" y="48903"/>
                      <a:pt x="238086" y="55577"/>
                    </a:cubicBezTo>
                    <a:cubicBezTo>
                      <a:pt x="239003" y="60415"/>
                      <a:pt x="239421" y="65754"/>
                      <a:pt x="242924" y="71093"/>
                    </a:cubicBezTo>
                    <a:cubicBezTo>
                      <a:pt x="250016" y="82605"/>
                      <a:pt x="261946" y="85274"/>
                      <a:pt x="272124" y="87443"/>
                    </a:cubicBezTo>
                    <a:cubicBezTo>
                      <a:pt x="274377" y="87861"/>
                      <a:pt x="276546" y="88361"/>
                      <a:pt x="278298" y="89195"/>
                    </a:cubicBezTo>
                    <a:lnTo>
                      <a:pt x="280967" y="89612"/>
                    </a:lnTo>
                    <a:cubicBezTo>
                      <a:pt x="286306" y="90947"/>
                      <a:pt x="294733" y="93116"/>
                      <a:pt x="295150" y="97621"/>
                    </a:cubicBezTo>
                    <a:cubicBezTo>
                      <a:pt x="294983" y="101625"/>
                      <a:pt x="294482" y="102543"/>
                      <a:pt x="292313" y="1060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5989725" name="Полилиния 377"/>
              <p:cNvSpPr/>
              <p:nvPr/>
            </p:nvSpPr>
            <p:spPr bwMode="auto">
              <a:xfrm>
                <a:off x="2046465" y="4671232"/>
                <a:ext cx="624438" cy="578886"/>
              </a:xfrm>
              <a:custGeom>
                <a:avLst/>
                <a:gdLst>
                  <a:gd name="connsiteX0" fmla="*/ 700952 w 701265"/>
                  <a:gd name="connsiteY0" fmla="*/ 502275 h 650109"/>
                  <a:gd name="connsiteX1" fmla="*/ 700952 w 701265"/>
                  <a:gd name="connsiteY1" fmla="*/ 523547 h 650109"/>
                  <a:gd name="connsiteX2" fmla="*/ 689439 w 701265"/>
                  <a:gd name="connsiteY2" fmla="*/ 529303 h 650109"/>
                  <a:gd name="connsiteX3" fmla="*/ 652648 w 701265"/>
                  <a:gd name="connsiteY3" fmla="*/ 539897 h 650109"/>
                  <a:gd name="connsiteX4" fmla="*/ 624700 w 701265"/>
                  <a:gd name="connsiteY4" fmla="*/ 548740 h 650109"/>
                  <a:gd name="connsiteX5" fmla="*/ 569805 w 701265"/>
                  <a:gd name="connsiteY5" fmla="*/ 550992 h 650109"/>
                  <a:gd name="connsiteX6" fmla="*/ 498892 w 701265"/>
                  <a:gd name="connsiteY6" fmla="*/ 555831 h 650109"/>
                  <a:gd name="connsiteX7" fmla="*/ 474949 w 701265"/>
                  <a:gd name="connsiteY7" fmla="*/ 561170 h 650109"/>
                  <a:gd name="connsiteX8" fmla="*/ 402284 w 701265"/>
                  <a:gd name="connsiteY8" fmla="*/ 598792 h 650109"/>
                  <a:gd name="connsiteX9" fmla="*/ 393441 w 701265"/>
                  <a:gd name="connsiteY9" fmla="*/ 615143 h 650109"/>
                  <a:gd name="connsiteX10" fmla="*/ 354481 w 701265"/>
                  <a:gd name="connsiteY10" fmla="*/ 650096 h 650109"/>
                  <a:gd name="connsiteX11" fmla="*/ 339881 w 701265"/>
                  <a:gd name="connsiteY11" fmla="*/ 643422 h 650109"/>
                  <a:gd name="connsiteX12" fmla="*/ 333207 w 701265"/>
                  <a:gd name="connsiteY12" fmla="*/ 601795 h 650109"/>
                  <a:gd name="connsiteX13" fmla="*/ 334124 w 701265"/>
                  <a:gd name="connsiteY13" fmla="*/ 594705 h 650109"/>
                  <a:gd name="connsiteX14" fmla="*/ 331872 w 701265"/>
                  <a:gd name="connsiteY14" fmla="*/ 537979 h 650109"/>
                  <a:gd name="connsiteX15" fmla="*/ 307094 w 701265"/>
                  <a:gd name="connsiteY15" fmla="*/ 515372 h 650109"/>
                  <a:gd name="connsiteX16" fmla="*/ 286738 w 701265"/>
                  <a:gd name="connsiteY16" fmla="*/ 518458 h 650109"/>
                  <a:gd name="connsiteX17" fmla="*/ 285403 w 701265"/>
                  <a:gd name="connsiteY17" fmla="*/ 511785 h 650109"/>
                  <a:gd name="connsiteX18" fmla="*/ 284486 w 701265"/>
                  <a:gd name="connsiteY18" fmla="*/ 505612 h 650109"/>
                  <a:gd name="connsiteX19" fmla="*/ 280064 w 701265"/>
                  <a:gd name="connsiteY19" fmla="*/ 487009 h 650109"/>
                  <a:gd name="connsiteX20" fmla="*/ 273390 w 701265"/>
                  <a:gd name="connsiteY20" fmla="*/ 481253 h 650109"/>
                  <a:gd name="connsiteX21" fmla="*/ 272055 w 701265"/>
                  <a:gd name="connsiteY21" fmla="*/ 480335 h 650109"/>
                  <a:gd name="connsiteX22" fmla="*/ 268968 w 701265"/>
                  <a:gd name="connsiteY22" fmla="*/ 463067 h 650109"/>
                  <a:gd name="connsiteX23" fmla="*/ 259624 w 701265"/>
                  <a:gd name="connsiteY23" fmla="*/ 434287 h 650109"/>
                  <a:gd name="connsiteX24" fmla="*/ 240102 w 701265"/>
                  <a:gd name="connsiteY24" fmla="*/ 428948 h 650109"/>
                  <a:gd name="connsiteX25" fmla="*/ 226337 w 701265"/>
                  <a:gd name="connsiteY25" fmla="*/ 433787 h 650109"/>
                  <a:gd name="connsiteX26" fmla="*/ 217911 w 701265"/>
                  <a:gd name="connsiteY26" fmla="*/ 436456 h 650109"/>
                  <a:gd name="connsiteX27" fmla="*/ 201059 w 701265"/>
                  <a:gd name="connsiteY27" fmla="*/ 421357 h 650109"/>
                  <a:gd name="connsiteX28" fmla="*/ 201476 w 701265"/>
                  <a:gd name="connsiteY28" fmla="*/ 405841 h 650109"/>
                  <a:gd name="connsiteX29" fmla="*/ 197054 w 701265"/>
                  <a:gd name="connsiteY29" fmla="*/ 373974 h 650109"/>
                  <a:gd name="connsiteX30" fmla="*/ 180703 w 701265"/>
                  <a:gd name="connsiteY30" fmla="*/ 367300 h 650109"/>
                  <a:gd name="connsiteX31" fmla="*/ 163016 w 701265"/>
                  <a:gd name="connsiteY31" fmla="*/ 375726 h 650109"/>
                  <a:gd name="connsiteX32" fmla="*/ 153255 w 701265"/>
                  <a:gd name="connsiteY32" fmla="*/ 380147 h 650109"/>
                  <a:gd name="connsiteX33" fmla="*/ 141742 w 701265"/>
                  <a:gd name="connsiteY33" fmla="*/ 364214 h 650109"/>
                  <a:gd name="connsiteX34" fmla="*/ 151503 w 701265"/>
                  <a:gd name="connsiteY34" fmla="*/ 342942 h 650109"/>
                  <a:gd name="connsiteX35" fmla="*/ 161681 w 701265"/>
                  <a:gd name="connsiteY35" fmla="*/ 328760 h 650109"/>
                  <a:gd name="connsiteX36" fmla="*/ 151503 w 701265"/>
                  <a:gd name="connsiteY36" fmla="*/ 263609 h 650109"/>
                  <a:gd name="connsiteX37" fmla="*/ 142159 w 701265"/>
                  <a:gd name="connsiteY37" fmla="*/ 249844 h 650109"/>
                  <a:gd name="connsiteX38" fmla="*/ 114211 w 701265"/>
                  <a:gd name="connsiteY38" fmla="*/ 220647 h 650109"/>
                  <a:gd name="connsiteX39" fmla="*/ 101364 w 701265"/>
                  <a:gd name="connsiteY39" fmla="*/ 217561 h 650109"/>
                  <a:gd name="connsiteX40" fmla="*/ 85012 w 701265"/>
                  <a:gd name="connsiteY40" fmla="*/ 212722 h 650109"/>
                  <a:gd name="connsiteX41" fmla="*/ 76169 w 701265"/>
                  <a:gd name="connsiteY41" fmla="*/ 206966 h 650109"/>
                  <a:gd name="connsiteX42" fmla="*/ 60234 w 701265"/>
                  <a:gd name="connsiteY42" fmla="*/ 197206 h 650109"/>
                  <a:gd name="connsiteX43" fmla="*/ 39878 w 701265"/>
                  <a:gd name="connsiteY43" fmla="*/ 191033 h 650109"/>
                  <a:gd name="connsiteX44" fmla="*/ 14183 w 701265"/>
                  <a:gd name="connsiteY44" fmla="*/ 170178 h 650109"/>
                  <a:gd name="connsiteX45" fmla="*/ 9761 w 701265"/>
                  <a:gd name="connsiteY45" fmla="*/ 155079 h 650109"/>
                  <a:gd name="connsiteX46" fmla="*/ 0 w 701265"/>
                  <a:gd name="connsiteY46" fmla="*/ 128968 h 650109"/>
                  <a:gd name="connsiteX47" fmla="*/ 918 w 701265"/>
                  <a:gd name="connsiteY47" fmla="*/ 128050 h 650109"/>
                  <a:gd name="connsiteX48" fmla="*/ 7091 w 701265"/>
                  <a:gd name="connsiteY48" fmla="*/ 120042 h 650109"/>
                  <a:gd name="connsiteX49" fmla="*/ 15517 w 701265"/>
                  <a:gd name="connsiteY49" fmla="*/ 71325 h 650109"/>
                  <a:gd name="connsiteX50" fmla="*/ 14600 w 701265"/>
                  <a:gd name="connsiteY50" fmla="*/ 60730 h 650109"/>
                  <a:gd name="connsiteX51" fmla="*/ 14600 w 701265"/>
                  <a:gd name="connsiteY51" fmla="*/ 59812 h 650109"/>
                  <a:gd name="connsiteX52" fmla="*/ 26530 w 701265"/>
                  <a:gd name="connsiteY52" fmla="*/ 53139 h 650109"/>
                  <a:gd name="connsiteX53" fmla="*/ 34956 w 701265"/>
                  <a:gd name="connsiteY53" fmla="*/ 48300 h 650109"/>
                  <a:gd name="connsiteX54" fmla="*/ 38043 w 701265"/>
                  <a:gd name="connsiteY54" fmla="*/ 46966 h 650109"/>
                  <a:gd name="connsiteX55" fmla="*/ 64155 w 701265"/>
                  <a:gd name="connsiteY55" fmla="*/ 28780 h 650109"/>
                  <a:gd name="connsiteX56" fmla="*/ 92103 w 701265"/>
                  <a:gd name="connsiteY56" fmla="*/ 14599 h 650109"/>
                  <a:gd name="connsiteX57" fmla="*/ 119551 w 701265"/>
                  <a:gd name="connsiteY57" fmla="*/ 2669 h 650109"/>
                  <a:gd name="connsiteX58" fmla="*/ 123055 w 701265"/>
                  <a:gd name="connsiteY58" fmla="*/ 0 h 650109"/>
                  <a:gd name="connsiteX59" fmla="*/ 128811 w 701265"/>
                  <a:gd name="connsiteY59" fmla="*/ 3503 h 650109"/>
                  <a:gd name="connsiteX60" fmla="*/ 137654 w 701265"/>
                  <a:gd name="connsiteY60" fmla="*/ 5756 h 650109"/>
                  <a:gd name="connsiteX61" fmla="*/ 141158 w 701265"/>
                  <a:gd name="connsiteY61" fmla="*/ 7091 h 650109"/>
                  <a:gd name="connsiteX62" fmla="*/ 143828 w 701265"/>
                  <a:gd name="connsiteY62" fmla="*/ 14181 h 650109"/>
                  <a:gd name="connsiteX63" fmla="*/ 148249 w 701265"/>
                  <a:gd name="connsiteY63" fmla="*/ 26110 h 650109"/>
                  <a:gd name="connsiteX64" fmla="*/ 165102 w 701265"/>
                  <a:gd name="connsiteY64" fmla="*/ 39875 h 650109"/>
                  <a:gd name="connsiteX65" fmla="*/ 179701 w 701265"/>
                  <a:gd name="connsiteY65" fmla="*/ 51804 h 650109"/>
                  <a:gd name="connsiteX66" fmla="*/ 185041 w 701265"/>
                  <a:gd name="connsiteY66" fmla="*/ 60646 h 650109"/>
                  <a:gd name="connsiteX67" fmla="*/ 216493 w 701265"/>
                  <a:gd name="connsiteY67" fmla="*/ 82336 h 650109"/>
                  <a:gd name="connsiteX68" fmla="*/ 226671 w 701265"/>
                  <a:gd name="connsiteY68" fmla="*/ 83254 h 650109"/>
                  <a:gd name="connsiteX69" fmla="*/ 258540 w 701265"/>
                  <a:gd name="connsiteY69" fmla="*/ 92096 h 650109"/>
                  <a:gd name="connsiteX70" fmla="*/ 267883 w 701265"/>
                  <a:gd name="connsiteY70" fmla="*/ 108947 h 650109"/>
                  <a:gd name="connsiteX71" fmla="*/ 282066 w 701265"/>
                  <a:gd name="connsiteY71" fmla="*/ 131971 h 650109"/>
                  <a:gd name="connsiteX72" fmla="*/ 313101 w 701265"/>
                  <a:gd name="connsiteY72" fmla="*/ 143066 h 650109"/>
                  <a:gd name="connsiteX73" fmla="*/ 326866 w 701265"/>
                  <a:gd name="connsiteY73" fmla="*/ 146152 h 650109"/>
                  <a:gd name="connsiteX74" fmla="*/ 342384 w 701265"/>
                  <a:gd name="connsiteY74" fmla="*/ 154995 h 650109"/>
                  <a:gd name="connsiteX75" fmla="*/ 368079 w 701265"/>
                  <a:gd name="connsiteY75" fmla="*/ 167425 h 650109"/>
                  <a:gd name="connsiteX76" fmla="*/ 394192 w 701265"/>
                  <a:gd name="connsiteY76" fmla="*/ 163004 h 650109"/>
                  <a:gd name="connsiteX77" fmla="*/ 415466 w 701265"/>
                  <a:gd name="connsiteY77" fmla="*/ 159917 h 650109"/>
                  <a:gd name="connsiteX78" fmla="*/ 448670 w 701265"/>
                  <a:gd name="connsiteY78" fmla="*/ 187363 h 650109"/>
                  <a:gd name="connsiteX79" fmla="*/ 455761 w 701265"/>
                  <a:gd name="connsiteY79" fmla="*/ 197957 h 650109"/>
                  <a:gd name="connsiteX80" fmla="*/ 459265 w 701265"/>
                  <a:gd name="connsiteY80" fmla="*/ 203296 h 650109"/>
                  <a:gd name="connsiteX81" fmla="*/ 469443 w 701265"/>
                  <a:gd name="connsiteY81" fmla="*/ 217477 h 650109"/>
                  <a:gd name="connsiteX82" fmla="*/ 529260 w 701265"/>
                  <a:gd name="connsiteY82" fmla="*/ 254683 h 650109"/>
                  <a:gd name="connsiteX83" fmla="*/ 550534 w 701265"/>
                  <a:gd name="connsiteY83" fmla="*/ 254266 h 650109"/>
                  <a:gd name="connsiteX84" fmla="*/ 573560 w 701265"/>
                  <a:gd name="connsiteY84" fmla="*/ 255183 h 650109"/>
                  <a:gd name="connsiteX85" fmla="*/ 581068 w 701265"/>
                  <a:gd name="connsiteY85" fmla="*/ 263192 h 650109"/>
                  <a:gd name="connsiteX86" fmla="*/ 585072 w 701265"/>
                  <a:gd name="connsiteY86" fmla="*/ 272952 h 650109"/>
                  <a:gd name="connsiteX87" fmla="*/ 586824 w 701265"/>
                  <a:gd name="connsiteY87" fmla="*/ 278291 h 650109"/>
                  <a:gd name="connsiteX88" fmla="*/ 592998 w 701265"/>
                  <a:gd name="connsiteY88" fmla="*/ 290220 h 650109"/>
                  <a:gd name="connsiteX89" fmla="*/ 595250 w 701265"/>
                  <a:gd name="connsiteY89" fmla="*/ 293307 h 650109"/>
                  <a:gd name="connsiteX90" fmla="*/ 604594 w 701265"/>
                  <a:gd name="connsiteY90" fmla="*/ 310992 h 650109"/>
                  <a:gd name="connsiteX91" fmla="*/ 605512 w 701265"/>
                  <a:gd name="connsiteY91" fmla="*/ 317665 h 650109"/>
                  <a:gd name="connsiteX92" fmla="*/ 608599 w 701265"/>
                  <a:gd name="connsiteY92" fmla="*/ 332264 h 650109"/>
                  <a:gd name="connsiteX93" fmla="*/ 626285 w 701265"/>
                  <a:gd name="connsiteY93" fmla="*/ 351784 h 650109"/>
                  <a:gd name="connsiteX94" fmla="*/ 640885 w 701265"/>
                  <a:gd name="connsiteY94" fmla="*/ 367300 h 650109"/>
                  <a:gd name="connsiteX95" fmla="*/ 647976 w 701265"/>
                  <a:gd name="connsiteY95" fmla="*/ 389407 h 650109"/>
                  <a:gd name="connsiteX96" fmla="*/ 659072 w 701265"/>
                  <a:gd name="connsiteY96" fmla="*/ 419939 h 650109"/>
                  <a:gd name="connsiteX97" fmla="*/ 664411 w 701265"/>
                  <a:gd name="connsiteY97" fmla="*/ 427447 h 650109"/>
                  <a:gd name="connsiteX98" fmla="*/ 672420 w 701265"/>
                  <a:gd name="connsiteY98" fmla="*/ 441628 h 650109"/>
                  <a:gd name="connsiteX99" fmla="*/ 672420 w 701265"/>
                  <a:gd name="connsiteY99" fmla="*/ 450054 h 650109"/>
                  <a:gd name="connsiteX100" fmla="*/ 673755 w 701265"/>
                  <a:gd name="connsiteY100" fmla="*/ 465987 h 650109"/>
                  <a:gd name="connsiteX101" fmla="*/ 689690 w 701265"/>
                  <a:gd name="connsiteY101" fmla="*/ 484173 h 650109"/>
                  <a:gd name="connsiteX102" fmla="*/ 700952 w 701265"/>
                  <a:gd name="connsiteY102" fmla="*/ 502275 h 65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701265" h="650109" extrusionOk="0">
                    <a:moveTo>
                      <a:pt x="700952" y="502275"/>
                    </a:moveTo>
                    <a:cubicBezTo>
                      <a:pt x="701369" y="509366"/>
                      <a:pt x="701369" y="516456"/>
                      <a:pt x="700952" y="523547"/>
                    </a:cubicBezTo>
                    <a:cubicBezTo>
                      <a:pt x="696531" y="524882"/>
                      <a:pt x="692943" y="526634"/>
                      <a:pt x="689439" y="529303"/>
                    </a:cubicBezTo>
                    <a:cubicBezTo>
                      <a:pt x="677009" y="530638"/>
                      <a:pt x="665079" y="535476"/>
                      <a:pt x="652648" y="539897"/>
                    </a:cubicBezTo>
                    <a:cubicBezTo>
                      <a:pt x="642887" y="543401"/>
                      <a:pt x="633627" y="546988"/>
                      <a:pt x="624700" y="548740"/>
                    </a:cubicBezTo>
                    <a:cubicBezTo>
                      <a:pt x="606513" y="551827"/>
                      <a:pt x="588410" y="551410"/>
                      <a:pt x="569805" y="550992"/>
                    </a:cubicBezTo>
                    <a:cubicBezTo>
                      <a:pt x="546779" y="550075"/>
                      <a:pt x="523253" y="549658"/>
                      <a:pt x="498892" y="555831"/>
                    </a:cubicBezTo>
                    <a:cubicBezTo>
                      <a:pt x="490883" y="558083"/>
                      <a:pt x="482958" y="559335"/>
                      <a:pt x="474949" y="561170"/>
                    </a:cubicBezTo>
                    <a:cubicBezTo>
                      <a:pt x="447501" y="566509"/>
                      <a:pt x="419136" y="571764"/>
                      <a:pt x="402284" y="598792"/>
                    </a:cubicBezTo>
                    <a:cubicBezTo>
                      <a:pt x="399197" y="603631"/>
                      <a:pt x="396111" y="609387"/>
                      <a:pt x="393441" y="615143"/>
                    </a:cubicBezTo>
                    <a:cubicBezTo>
                      <a:pt x="382345" y="637333"/>
                      <a:pt x="373919" y="650596"/>
                      <a:pt x="354481" y="650096"/>
                    </a:cubicBezTo>
                    <a:cubicBezTo>
                      <a:pt x="347806" y="649679"/>
                      <a:pt x="343385" y="647427"/>
                      <a:pt x="339881" y="643422"/>
                    </a:cubicBezTo>
                    <a:cubicBezTo>
                      <a:pt x="333207" y="635914"/>
                      <a:pt x="331038" y="621232"/>
                      <a:pt x="333207" y="601795"/>
                    </a:cubicBezTo>
                    <a:lnTo>
                      <a:pt x="334124" y="594705"/>
                    </a:lnTo>
                    <a:cubicBezTo>
                      <a:pt x="336377" y="576519"/>
                      <a:pt x="338963" y="556581"/>
                      <a:pt x="331872" y="537979"/>
                    </a:cubicBezTo>
                    <a:cubicBezTo>
                      <a:pt x="327033" y="525549"/>
                      <a:pt x="318107" y="517624"/>
                      <a:pt x="307094" y="515372"/>
                    </a:cubicBezTo>
                    <a:cubicBezTo>
                      <a:pt x="300420" y="514454"/>
                      <a:pt x="293329" y="515372"/>
                      <a:pt x="286738" y="518458"/>
                    </a:cubicBezTo>
                    <a:cubicBezTo>
                      <a:pt x="286321" y="516206"/>
                      <a:pt x="285820" y="514037"/>
                      <a:pt x="285403" y="511785"/>
                    </a:cubicBezTo>
                    <a:cubicBezTo>
                      <a:pt x="284986" y="509532"/>
                      <a:pt x="284986" y="507780"/>
                      <a:pt x="284486" y="505612"/>
                    </a:cubicBezTo>
                    <a:cubicBezTo>
                      <a:pt x="284068" y="499438"/>
                      <a:pt x="283568" y="492765"/>
                      <a:pt x="280064" y="487009"/>
                    </a:cubicBezTo>
                    <a:cubicBezTo>
                      <a:pt x="277811" y="483922"/>
                      <a:pt x="275225" y="482171"/>
                      <a:pt x="273390" y="481253"/>
                    </a:cubicBezTo>
                    <a:cubicBezTo>
                      <a:pt x="272973" y="480836"/>
                      <a:pt x="272055" y="480335"/>
                      <a:pt x="272055" y="480335"/>
                    </a:cubicBezTo>
                    <a:cubicBezTo>
                      <a:pt x="269385" y="476832"/>
                      <a:pt x="269385" y="469741"/>
                      <a:pt x="268968" y="463067"/>
                    </a:cubicBezTo>
                    <a:cubicBezTo>
                      <a:pt x="268050" y="452890"/>
                      <a:pt x="267633" y="441378"/>
                      <a:pt x="259624" y="434287"/>
                    </a:cubicBezTo>
                    <a:cubicBezTo>
                      <a:pt x="254785" y="430283"/>
                      <a:pt x="248528" y="428531"/>
                      <a:pt x="240102" y="428948"/>
                    </a:cubicBezTo>
                    <a:cubicBezTo>
                      <a:pt x="234346" y="429365"/>
                      <a:pt x="229924" y="432035"/>
                      <a:pt x="226337" y="433787"/>
                    </a:cubicBezTo>
                    <a:cubicBezTo>
                      <a:pt x="222833" y="436039"/>
                      <a:pt x="220998" y="436873"/>
                      <a:pt x="217911" y="436456"/>
                    </a:cubicBezTo>
                    <a:cubicBezTo>
                      <a:pt x="212572" y="436039"/>
                      <a:pt x="203728" y="427614"/>
                      <a:pt x="201059" y="421357"/>
                    </a:cubicBezTo>
                    <a:cubicBezTo>
                      <a:pt x="200141" y="418687"/>
                      <a:pt x="200642" y="411597"/>
                      <a:pt x="201476" y="405841"/>
                    </a:cubicBezTo>
                    <a:cubicBezTo>
                      <a:pt x="202811" y="394746"/>
                      <a:pt x="204145" y="381899"/>
                      <a:pt x="197054" y="373974"/>
                    </a:cubicBezTo>
                    <a:cubicBezTo>
                      <a:pt x="193550" y="369553"/>
                      <a:pt x="187710" y="367300"/>
                      <a:pt x="180703" y="367300"/>
                    </a:cubicBezTo>
                    <a:cubicBezTo>
                      <a:pt x="171859" y="366883"/>
                      <a:pt x="166937" y="372139"/>
                      <a:pt x="163016" y="375726"/>
                    </a:cubicBezTo>
                    <a:cubicBezTo>
                      <a:pt x="158594" y="379730"/>
                      <a:pt x="156842" y="381065"/>
                      <a:pt x="153255" y="380147"/>
                    </a:cubicBezTo>
                    <a:cubicBezTo>
                      <a:pt x="149251" y="379230"/>
                      <a:pt x="142660" y="369970"/>
                      <a:pt x="141742" y="364214"/>
                    </a:cubicBezTo>
                    <a:cubicBezTo>
                      <a:pt x="140407" y="356206"/>
                      <a:pt x="144412" y="351367"/>
                      <a:pt x="151503" y="342942"/>
                    </a:cubicBezTo>
                    <a:cubicBezTo>
                      <a:pt x="155007" y="338520"/>
                      <a:pt x="159012" y="334099"/>
                      <a:pt x="161681" y="328760"/>
                    </a:cubicBezTo>
                    <a:cubicBezTo>
                      <a:pt x="171859" y="307905"/>
                      <a:pt x="168355" y="284464"/>
                      <a:pt x="151503" y="263609"/>
                    </a:cubicBezTo>
                    <a:cubicBezTo>
                      <a:pt x="148416" y="260105"/>
                      <a:pt x="145330" y="255183"/>
                      <a:pt x="142159" y="249844"/>
                    </a:cubicBezTo>
                    <a:cubicBezTo>
                      <a:pt x="135068" y="238332"/>
                      <a:pt x="127059" y="225485"/>
                      <a:pt x="114211" y="220647"/>
                    </a:cubicBezTo>
                    <a:cubicBezTo>
                      <a:pt x="109790" y="219312"/>
                      <a:pt x="105368" y="217978"/>
                      <a:pt x="101364" y="217561"/>
                    </a:cubicBezTo>
                    <a:cubicBezTo>
                      <a:pt x="95607" y="216643"/>
                      <a:pt x="90768" y="215308"/>
                      <a:pt x="85012" y="212722"/>
                    </a:cubicBezTo>
                    <a:cubicBezTo>
                      <a:pt x="81925" y="210970"/>
                      <a:pt x="78838" y="209218"/>
                      <a:pt x="76169" y="206966"/>
                    </a:cubicBezTo>
                    <a:cubicBezTo>
                      <a:pt x="71330" y="203463"/>
                      <a:pt x="65991" y="200293"/>
                      <a:pt x="60234" y="197206"/>
                    </a:cubicBezTo>
                    <a:cubicBezTo>
                      <a:pt x="52726" y="194119"/>
                      <a:pt x="46052" y="192368"/>
                      <a:pt x="39878" y="191033"/>
                    </a:cubicBezTo>
                    <a:cubicBezTo>
                      <a:pt x="26613" y="187946"/>
                      <a:pt x="19939" y="186194"/>
                      <a:pt x="14183" y="170178"/>
                    </a:cubicBezTo>
                    <a:cubicBezTo>
                      <a:pt x="12431" y="164839"/>
                      <a:pt x="11096" y="160000"/>
                      <a:pt x="9761" y="155079"/>
                    </a:cubicBezTo>
                    <a:cubicBezTo>
                      <a:pt x="7091" y="145735"/>
                      <a:pt x="4922" y="136893"/>
                      <a:pt x="0" y="128968"/>
                    </a:cubicBezTo>
                    <a:lnTo>
                      <a:pt x="918" y="128050"/>
                    </a:lnTo>
                    <a:cubicBezTo>
                      <a:pt x="3170" y="125381"/>
                      <a:pt x="5339" y="123212"/>
                      <a:pt x="7091" y="120042"/>
                    </a:cubicBezTo>
                    <a:cubicBezTo>
                      <a:pt x="17269" y="104109"/>
                      <a:pt x="16852" y="84588"/>
                      <a:pt x="15517" y="71325"/>
                    </a:cubicBezTo>
                    <a:cubicBezTo>
                      <a:pt x="15100" y="67821"/>
                      <a:pt x="14600" y="64234"/>
                      <a:pt x="14600" y="60730"/>
                    </a:cubicBezTo>
                    <a:lnTo>
                      <a:pt x="14600" y="59812"/>
                    </a:lnTo>
                    <a:cubicBezTo>
                      <a:pt x="19021" y="58061"/>
                      <a:pt x="23026" y="55391"/>
                      <a:pt x="26530" y="53139"/>
                    </a:cubicBezTo>
                    <a:cubicBezTo>
                      <a:pt x="29199" y="51387"/>
                      <a:pt x="31869" y="49635"/>
                      <a:pt x="34956" y="48300"/>
                    </a:cubicBezTo>
                    <a:lnTo>
                      <a:pt x="38043" y="46966"/>
                    </a:lnTo>
                    <a:cubicBezTo>
                      <a:pt x="49555" y="42127"/>
                      <a:pt x="53977" y="39875"/>
                      <a:pt x="64155" y="28780"/>
                    </a:cubicBezTo>
                    <a:cubicBezTo>
                      <a:pt x="71246" y="20772"/>
                      <a:pt x="81425" y="18186"/>
                      <a:pt x="92103" y="14599"/>
                    </a:cubicBezTo>
                    <a:cubicBezTo>
                      <a:pt x="101447" y="11929"/>
                      <a:pt x="110707" y="8843"/>
                      <a:pt x="119551" y="2669"/>
                    </a:cubicBezTo>
                    <a:lnTo>
                      <a:pt x="123055" y="0"/>
                    </a:lnTo>
                    <a:cubicBezTo>
                      <a:pt x="124807" y="1335"/>
                      <a:pt x="126558" y="2669"/>
                      <a:pt x="128811" y="3503"/>
                    </a:cubicBezTo>
                    <a:cubicBezTo>
                      <a:pt x="132315" y="5255"/>
                      <a:pt x="135485" y="5756"/>
                      <a:pt x="137654" y="5756"/>
                    </a:cubicBezTo>
                    <a:cubicBezTo>
                      <a:pt x="139907" y="6173"/>
                      <a:pt x="140324" y="6173"/>
                      <a:pt x="141158" y="7091"/>
                    </a:cubicBezTo>
                    <a:cubicBezTo>
                      <a:pt x="142493" y="8426"/>
                      <a:pt x="142910" y="11512"/>
                      <a:pt x="143828" y="14181"/>
                    </a:cubicBezTo>
                    <a:cubicBezTo>
                      <a:pt x="144746" y="17685"/>
                      <a:pt x="145163" y="22190"/>
                      <a:pt x="148249" y="26110"/>
                    </a:cubicBezTo>
                    <a:cubicBezTo>
                      <a:pt x="153088" y="32784"/>
                      <a:pt x="158845" y="36288"/>
                      <a:pt x="165102" y="39875"/>
                    </a:cubicBezTo>
                    <a:cubicBezTo>
                      <a:pt x="170858" y="42962"/>
                      <a:pt x="176197" y="46048"/>
                      <a:pt x="179701" y="51804"/>
                    </a:cubicBezTo>
                    <a:cubicBezTo>
                      <a:pt x="181954" y="54891"/>
                      <a:pt x="183205" y="57977"/>
                      <a:pt x="185041" y="60646"/>
                    </a:cubicBezTo>
                    <a:cubicBezTo>
                      <a:pt x="191715" y="72576"/>
                      <a:pt x="196971" y="80167"/>
                      <a:pt x="216493" y="82336"/>
                    </a:cubicBezTo>
                    <a:cubicBezTo>
                      <a:pt x="219579" y="82753"/>
                      <a:pt x="223167" y="83254"/>
                      <a:pt x="226671" y="83254"/>
                    </a:cubicBezTo>
                    <a:cubicBezTo>
                      <a:pt x="239101" y="84171"/>
                      <a:pt x="250614" y="85005"/>
                      <a:pt x="258540" y="92096"/>
                    </a:cubicBezTo>
                    <a:cubicBezTo>
                      <a:pt x="262961" y="96100"/>
                      <a:pt x="265214" y="102274"/>
                      <a:pt x="267883" y="108947"/>
                    </a:cubicBezTo>
                    <a:cubicBezTo>
                      <a:pt x="270553" y="116955"/>
                      <a:pt x="274057" y="125297"/>
                      <a:pt x="282066" y="131971"/>
                    </a:cubicBezTo>
                    <a:cubicBezTo>
                      <a:pt x="290909" y="139479"/>
                      <a:pt x="302422" y="141731"/>
                      <a:pt x="313101" y="143066"/>
                    </a:cubicBezTo>
                    <a:cubicBezTo>
                      <a:pt x="317522" y="143984"/>
                      <a:pt x="322445" y="144401"/>
                      <a:pt x="326866" y="146152"/>
                    </a:cubicBezTo>
                    <a:cubicBezTo>
                      <a:pt x="332206" y="147904"/>
                      <a:pt x="337044" y="151492"/>
                      <a:pt x="342384" y="154995"/>
                    </a:cubicBezTo>
                    <a:cubicBezTo>
                      <a:pt x="349475" y="159834"/>
                      <a:pt x="356983" y="166090"/>
                      <a:pt x="368079" y="167425"/>
                    </a:cubicBezTo>
                    <a:cubicBezTo>
                      <a:pt x="377840" y="168342"/>
                      <a:pt x="386266" y="165673"/>
                      <a:pt x="394192" y="163004"/>
                    </a:cubicBezTo>
                    <a:cubicBezTo>
                      <a:pt x="401700" y="160751"/>
                      <a:pt x="408791" y="158582"/>
                      <a:pt x="415466" y="159917"/>
                    </a:cubicBezTo>
                    <a:cubicBezTo>
                      <a:pt x="430065" y="162586"/>
                      <a:pt x="443414" y="179855"/>
                      <a:pt x="448670" y="187363"/>
                    </a:cubicBezTo>
                    <a:cubicBezTo>
                      <a:pt x="451339" y="190866"/>
                      <a:pt x="453508" y="194453"/>
                      <a:pt x="455761" y="197957"/>
                    </a:cubicBezTo>
                    <a:cubicBezTo>
                      <a:pt x="457096" y="199709"/>
                      <a:pt x="458013" y="201461"/>
                      <a:pt x="459265" y="203296"/>
                    </a:cubicBezTo>
                    <a:cubicBezTo>
                      <a:pt x="462351" y="208134"/>
                      <a:pt x="465939" y="213056"/>
                      <a:pt x="469443" y="217477"/>
                    </a:cubicBezTo>
                    <a:cubicBezTo>
                      <a:pt x="483625" y="235663"/>
                      <a:pt x="499977" y="250679"/>
                      <a:pt x="529260" y="254683"/>
                    </a:cubicBezTo>
                    <a:cubicBezTo>
                      <a:pt x="536351" y="255600"/>
                      <a:pt x="543442" y="255100"/>
                      <a:pt x="550534" y="254266"/>
                    </a:cubicBezTo>
                    <a:cubicBezTo>
                      <a:pt x="558960" y="253348"/>
                      <a:pt x="566885" y="252931"/>
                      <a:pt x="573560" y="255183"/>
                    </a:cubicBezTo>
                    <a:cubicBezTo>
                      <a:pt x="577063" y="256518"/>
                      <a:pt x="579316" y="259187"/>
                      <a:pt x="581068" y="263192"/>
                    </a:cubicBezTo>
                    <a:cubicBezTo>
                      <a:pt x="582403" y="265861"/>
                      <a:pt x="583738" y="268948"/>
                      <a:pt x="585072" y="272952"/>
                    </a:cubicBezTo>
                    <a:cubicBezTo>
                      <a:pt x="585490" y="274704"/>
                      <a:pt x="586407" y="276455"/>
                      <a:pt x="586824" y="278291"/>
                    </a:cubicBezTo>
                    <a:cubicBezTo>
                      <a:pt x="588159" y="282712"/>
                      <a:pt x="590328" y="286716"/>
                      <a:pt x="592998" y="290220"/>
                    </a:cubicBezTo>
                    <a:lnTo>
                      <a:pt x="595250" y="293307"/>
                    </a:lnTo>
                    <a:cubicBezTo>
                      <a:pt x="599672" y="299480"/>
                      <a:pt x="603259" y="303901"/>
                      <a:pt x="604594" y="310992"/>
                    </a:cubicBezTo>
                    <a:cubicBezTo>
                      <a:pt x="605011" y="313244"/>
                      <a:pt x="605011" y="315413"/>
                      <a:pt x="605512" y="317665"/>
                    </a:cubicBezTo>
                    <a:cubicBezTo>
                      <a:pt x="605929" y="322087"/>
                      <a:pt x="605929" y="327426"/>
                      <a:pt x="608599" y="332264"/>
                    </a:cubicBezTo>
                    <a:cubicBezTo>
                      <a:pt x="612603" y="340689"/>
                      <a:pt x="619194" y="346445"/>
                      <a:pt x="626285" y="351784"/>
                    </a:cubicBezTo>
                    <a:cubicBezTo>
                      <a:pt x="632459" y="356623"/>
                      <a:pt x="637798" y="361544"/>
                      <a:pt x="640885" y="367300"/>
                    </a:cubicBezTo>
                    <a:cubicBezTo>
                      <a:pt x="644389" y="373974"/>
                      <a:pt x="646224" y="381482"/>
                      <a:pt x="647976" y="389407"/>
                    </a:cubicBezTo>
                    <a:cubicBezTo>
                      <a:pt x="650646" y="399584"/>
                      <a:pt x="652815" y="410679"/>
                      <a:pt x="659072" y="419939"/>
                    </a:cubicBezTo>
                    <a:cubicBezTo>
                      <a:pt x="660824" y="422608"/>
                      <a:pt x="662576" y="424777"/>
                      <a:pt x="664411" y="427447"/>
                    </a:cubicBezTo>
                    <a:cubicBezTo>
                      <a:pt x="667915" y="431868"/>
                      <a:pt x="671085" y="435872"/>
                      <a:pt x="672420" y="441628"/>
                    </a:cubicBezTo>
                    <a:cubicBezTo>
                      <a:pt x="672837" y="443881"/>
                      <a:pt x="672837" y="446967"/>
                      <a:pt x="672420" y="450054"/>
                    </a:cubicBezTo>
                    <a:cubicBezTo>
                      <a:pt x="672003" y="454892"/>
                      <a:pt x="671503" y="460648"/>
                      <a:pt x="673755" y="465987"/>
                    </a:cubicBezTo>
                    <a:cubicBezTo>
                      <a:pt x="677259" y="475330"/>
                      <a:pt x="683933" y="480169"/>
                      <a:pt x="689690" y="484173"/>
                    </a:cubicBezTo>
                    <a:cubicBezTo>
                      <a:pt x="695696" y="489428"/>
                      <a:pt x="700118" y="492515"/>
                      <a:pt x="700952" y="5022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60355622" name="Полилиния 378"/>
              <p:cNvSpPr/>
              <p:nvPr/>
            </p:nvSpPr>
            <p:spPr bwMode="auto">
              <a:xfrm>
                <a:off x="2605252" y="4411024"/>
                <a:ext cx="205773" cy="201670"/>
              </a:xfrm>
              <a:custGeom>
                <a:avLst/>
                <a:gdLst>
                  <a:gd name="connsiteX0" fmla="*/ 146581 w 231092"/>
                  <a:gd name="connsiteY0" fmla="*/ 180105 h 226483"/>
                  <a:gd name="connsiteX1" fmla="*/ 151920 w 231092"/>
                  <a:gd name="connsiteY1" fmla="*/ 195621 h 226483"/>
                  <a:gd name="connsiteX2" fmla="*/ 155424 w 231092"/>
                  <a:gd name="connsiteY2" fmla="*/ 205799 h 226483"/>
                  <a:gd name="connsiteX3" fmla="*/ 140825 w 231092"/>
                  <a:gd name="connsiteY3" fmla="*/ 221732 h 226483"/>
                  <a:gd name="connsiteX4" fmla="*/ 100529 w 231092"/>
                  <a:gd name="connsiteY4" fmla="*/ 222650 h 226483"/>
                  <a:gd name="connsiteX5" fmla="*/ 97860 w 231092"/>
                  <a:gd name="connsiteY5" fmla="*/ 221315 h 226483"/>
                  <a:gd name="connsiteX6" fmla="*/ 65073 w 231092"/>
                  <a:gd name="connsiteY6" fmla="*/ 217811 h 226483"/>
                  <a:gd name="connsiteX7" fmla="*/ 55312 w 231092"/>
                  <a:gd name="connsiteY7" fmla="*/ 221815 h 226483"/>
                  <a:gd name="connsiteX8" fmla="*/ 54895 w 231092"/>
                  <a:gd name="connsiteY8" fmla="*/ 222233 h 226483"/>
                  <a:gd name="connsiteX9" fmla="*/ 40712 w 231092"/>
                  <a:gd name="connsiteY9" fmla="*/ 223150 h 226483"/>
                  <a:gd name="connsiteX10" fmla="*/ 38043 w 231092"/>
                  <a:gd name="connsiteY10" fmla="*/ 221815 h 226483"/>
                  <a:gd name="connsiteX11" fmla="*/ 25195 w 231092"/>
                  <a:gd name="connsiteY11" fmla="*/ 207634 h 226483"/>
                  <a:gd name="connsiteX12" fmla="*/ 8843 w 231092"/>
                  <a:gd name="connsiteY12" fmla="*/ 189949 h 226483"/>
                  <a:gd name="connsiteX13" fmla="*/ 834 w 231092"/>
                  <a:gd name="connsiteY13" fmla="*/ 185945 h 226483"/>
                  <a:gd name="connsiteX14" fmla="*/ 417 w 231092"/>
                  <a:gd name="connsiteY14" fmla="*/ 179771 h 226483"/>
                  <a:gd name="connsiteX15" fmla="*/ 0 w 231092"/>
                  <a:gd name="connsiteY15" fmla="*/ 174933 h 226483"/>
                  <a:gd name="connsiteX16" fmla="*/ 6674 w 231092"/>
                  <a:gd name="connsiteY16" fmla="*/ 159834 h 226483"/>
                  <a:gd name="connsiteX17" fmla="*/ 15100 w 231092"/>
                  <a:gd name="connsiteY17" fmla="*/ 133723 h 226483"/>
                  <a:gd name="connsiteX18" fmla="*/ 11096 w 231092"/>
                  <a:gd name="connsiteY18" fmla="*/ 123963 h 226483"/>
                  <a:gd name="connsiteX19" fmla="*/ 18604 w 231092"/>
                  <a:gd name="connsiteY19" fmla="*/ 113786 h 226483"/>
                  <a:gd name="connsiteX20" fmla="*/ 33704 w 231092"/>
                  <a:gd name="connsiteY20" fmla="*/ 103608 h 226483"/>
                  <a:gd name="connsiteX21" fmla="*/ 60735 w 231092"/>
                  <a:gd name="connsiteY21" fmla="*/ 75245 h 226483"/>
                  <a:gd name="connsiteX22" fmla="*/ 58482 w 231092"/>
                  <a:gd name="connsiteY22" fmla="*/ 52221 h 226483"/>
                  <a:gd name="connsiteX23" fmla="*/ 61986 w 231092"/>
                  <a:gd name="connsiteY23" fmla="*/ 30532 h 226483"/>
                  <a:gd name="connsiteX24" fmla="*/ 78838 w 231092"/>
                  <a:gd name="connsiteY24" fmla="*/ 19938 h 226483"/>
                  <a:gd name="connsiteX25" fmla="*/ 104117 w 231092"/>
                  <a:gd name="connsiteY25" fmla="*/ 0 h 226483"/>
                  <a:gd name="connsiteX26" fmla="*/ 109456 w 231092"/>
                  <a:gd name="connsiteY26" fmla="*/ 417 h 226483"/>
                  <a:gd name="connsiteX27" fmla="*/ 128978 w 231092"/>
                  <a:gd name="connsiteY27" fmla="*/ 3504 h 226483"/>
                  <a:gd name="connsiteX28" fmla="*/ 132482 w 231092"/>
                  <a:gd name="connsiteY28" fmla="*/ 6173 h 226483"/>
                  <a:gd name="connsiteX29" fmla="*/ 140908 w 231092"/>
                  <a:gd name="connsiteY29" fmla="*/ 11512 h 226483"/>
                  <a:gd name="connsiteX30" fmla="*/ 157260 w 231092"/>
                  <a:gd name="connsiteY30" fmla="*/ 12847 h 226483"/>
                  <a:gd name="connsiteX31" fmla="*/ 204229 w 231092"/>
                  <a:gd name="connsiteY31" fmla="*/ 16351 h 226483"/>
                  <a:gd name="connsiteX32" fmla="*/ 207733 w 231092"/>
                  <a:gd name="connsiteY32" fmla="*/ 19020 h 226483"/>
                  <a:gd name="connsiteX33" fmla="*/ 206398 w 231092"/>
                  <a:gd name="connsiteY33" fmla="*/ 25193 h 226483"/>
                  <a:gd name="connsiteX34" fmla="*/ 205480 w 231092"/>
                  <a:gd name="connsiteY34" fmla="*/ 44713 h 226483"/>
                  <a:gd name="connsiteX35" fmla="*/ 209902 w 231092"/>
                  <a:gd name="connsiteY35" fmla="*/ 55809 h 226483"/>
                  <a:gd name="connsiteX36" fmla="*/ 217410 w 231092"/>
                  <a:gd name="connsiteY36" fmla="*/ 62482 h 226483"/>
                  <a:gd name="connsiteX37" fmla="*/ 220914 w 231092"/>
                  <a:gd name="connsiteY37" fmla="*/ 65569 h 226483"/>
                  <a:gd name="connsiteX38" fmla="*/ 224418 w 231092"/>
                  <a:gd name="connsiteY38" fmla="*/ 77998 h 226483"/>
                  <a:gd name="connsiteX39" fmla="*/ 222166 w 231092"/>
                  <a:gd name="connsiteY39" fmla="*/ 89510 h 226483"/>
                  <a:gd name="connsiteX40" fmla="*/ 220831 w 231092"/>
                  <a:gd name="connsiteY40" fmla="*/ 96184 h 226483"/>
                  <a:gd name="connsiteX41" fmla="*/ 223500 w 231092"/>
                  <a:gd name="connsiteY41" fmla="*/ 116539 h 226483"/>
                  <a:gd name="connsiteX42" fmla="*/ 228840 w 231092"/>
                  <a:gd name="connsiteY42" fmla="*/ 128968 h 226483"/>
                  <a:gd name="connsiteX43" fmla="*/ 231092 w 231092"/>
                  <a:gd name="connsiteY43" fmla="*/ 132472 h 226483"/>
                  <a:gd name="connsiteX44" fmla="*/ 222249 w 231092"/>
                  <a:gd name="connsiteY44" fmla="*/ 134724 h 226483"/>
                  <a:gd name="connsiteX45" fmla="*/ 196137 w 231092"/>
                  <a:gd name="connsiteY45" fmla="*/ 147154 h 226483"/>
                  <a:gd name="connsiteX46" fmla="*/ 179284 w 231092"/>
                  <a:gd name="connsiteY46" fmla="*/ 155579 h 226483"/>
                  <a:gd name="connsiteX47" fmla="*/ 172193 w 231092"/>
                  <a:gd name="connsiteY47" fmla="*/ 158249 h 226483"/>
                  <a:gd name="connsiteX48" fmla="*/ 146581 w 231092"/>
                  <a:gd name="connsiteY48" fmla="*/ 180105 h 22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31092" h="226483" extrusionOk="0">
                    <a:moveTo>
                      <a:pt x="146581" y="180105"/>
                    </a:moveTo>
                    <a:cubicBezTo>
                      <a:pt x="146164" y="186779"/>
                      <a:pt x="149668" y="191617"/>
                      <a:pt x="151920" y="195621"/>
                    </a:cubicBezTo>
                    <a:cubicBezTo>
                      <a:pt x="155007" y="200043"/>
                      <a:pt x="156342" y="202295"/>
                      <a:pt x="155424" y="205799"/>
                    </a:cubicBezTo>
                    <a:cubicBezTo>
                      <a:pt x="153672" y="214641"/>
                      <a:pt x="146581" y="219563"/>
                      <a:pt x="140825" y="221732"/>
                    </a:cubicBezTo>
                    <a:cubicBezTo>
                      <a:pt x="128394" y="227905"/>
                      <a:pt x="110707" y="227905"/>
                      <a:pt x="100529" y="222650"/>
                    </a:cubicBezTo>
                    <a:lnTo>
                      <a:pt x="97860" y="221315"/>
                    </a:lnTo>
                    <a:cubicBezTo>
                      <a:pt x="85930" y="215142"/>
                      <a:pt x="80173" y="212472"/>
                      <a:pt x="65073" y="217811"/>
                    </a:cubicBezTo>
                    <a:cubicBezTo>
                      <a:pt x="61569" y="219146"/>
                      <a:pt x="57982" y="220481"/>
                      <a:pt x="55312" y="221815"/>
                    </a:cubicBezTo>
                    <a:cubicBezTo>
                      <a:pt x="54895" y="221815"/>
                      <a:pt x="54895" y="222233"/>
                      <a:pt x="54895" y="222233"/>
                    </a:cubicBezTo>
                    <a:cubicBezTo>
                      <a:pt x="48721" y="224902"/>
                      <a:pt x="46052" y="226237"/>
                      <a:pt x="40712" y="223150"/>
                    </a:cubicBezTo>
                    <a:cubicBezTo>
                      <a:pt x="39795" y="222733"/>
                      <a:pt x="38960" y="222233"/>
                      <a:pt x="38043" y="221815"/>
                    </a:cubicBezTo>
                    <a:cubicBezTo>
                      <a:pt x="33204" y="218312"/>
                      <a:pt x="29199" y="212973"/>
                      <a:pt x="25195" y="207634"/>
                    </a:cubicBezTo>
                    <a:cubicBezTo>
                      <a:pt x="20773" y="201461"/>
                      <a:pt x="15851" y="194787"/>
                      <a:pt x="8843" y="189949"/>
                    </a:cubicBezTo>
                    <a:cubicBezTo>
                      <a:pt x="6174" y="188614"/>
                      <a:pt x="4005" y="187279"/>
                      <a:pt x="834" y="185945"/>
                    </a:cubicBezTo>
                    <a:cubicBezTo>
                      <a:pt x="834" y="183692"/>
                      <a:pt x="417" y="181523"/>
                      <a:pt x="417" y="179771"/>
                    </a:cubicBezTo>
                    <a:cubicBezTo>
                      <a:pt x="0" y="178020"/>
                      <a:pt x="0" y="176268"/>
                      <a:pt x="0" y="174933"/>
                    </a:cubicBezTo>
                    <a:cubicBezTo>
                      <a:pt x="417" y="170095"/>
                      <a:pt x="3504" y="165173"/>
                      <a:pt x="6674" y="159834"/>
                    </a:cubicBezTo>
                    <a:cubicBezTo>
                      <a:pt x="11513" y="152326"/>
                      <a:pt x="16852" y="143900"/>
                      <a:pt x="15100" y="133723"/>
                    </a:cubicBezTo>
                    <a:cubicBezTo>
                      <a:pt x="14183" y="130219"/>
                      <a:pt x="12848" y="126633"/>
                      <a:pt x="11096" y="123963"/>
                    </a:cubicBezTo>
                    <a:cubicBezTo>
                      <a:pt x="13348" y="120877"/>
                      <a:pt x="15517" y="117289"/>
                      <a:pt x="18604" y="113786"/>
                    </a:cubicBezTo>
                    <a:cubicBezTo>
                      <a:pt x="22108" y="110282"/>
                      <a:pt x="27948" y="107112"/>
                      <a:pt x="33704" y="103608"/>
                    </a:cubicBezTo>
                    <a:cubicBezTo>
                      <a:pt x="44800" y="97435"/>
                      <a:pt x="57648" y="90762"/>
                      <a:pt x="60735" y="75245"/>
                    </a:cubicBezTo>
                    <a:cubicBezTo>
                      <a:pt x="62487" y="66403"/>
                      <a:pt x="60318" y="58895"/>
                      <a:pt x="58482" y="52221"/>
                    </a:cubicBezTo>
                    <a:cubicBezTo>
                      <a:pt x="56230" y="42878"/>
                      <a:pt x="54978" y="38040"/>
                      <a:pt x="61986" y="30532"/>
                    </a:cubicBezTo>
                    <a:cubicBezTo>
                      <a:pt x="66408" y="26111"/>
                      <a:pt x="72581" y="23441"/>
                      <a:pt x="78838" y="19938"/>
                    </a:cubicBezTo>
                    <a:cubicBezTo>
                      <a:pt x="87682" y="15099"/>
                      <a:pt x="97860" y="10177"/>
                      <a:pt x="104117" y="0"/>
                    </a:cubicBezTo>
                    <a:cubicBezTo>
                      <a:pt x="105869" y="417"/>
                      <a:pt x="107621" y="417"/>
                      <a:pt x="109456" y="417"/>
                    </a:cubicBezTo>
                    <a:cubicBezTo>
                      <a:pt x="116547" y="417"/>
                      <a:pt x="123639" y="834"/>
                      <a:pt x="128978" y="3504"/>
                    </a:cubicBezTo>
                    <a:cubicBezTo>
                      <a:pt x="130313" y="4422"/>
                      <a:pt x="131230" y="5256"/>
                      <a:pt x="132482" y="6173"/>
                    </a:cubicBezTo>
                    <a:cubicBezTo>
                      <a:pt x="135151" y="8426"/>
                      <a:pt x="137321" y="10177"/>
                      <a:pt x="140908" y="11512"/>
                    </a:cubicBezTo>
                    <a:cubicBezTo>
                      <a:pt x="146664" y="13764"/>
                      <a:pt x="152838" y="12847"/>
                      <a:pt x="157260" y="12847"/>
                    </a:cubicBezTo>
                    <a:cubicBezTo>
                      <a:pt x="173194" y="10595"/>
                      <a:pt x="190464" y="9760"/>
                      <a:pt x="204229" y="16351"/>
                    </a:cubicBezTo>
                    <a:cubicBezTo>
                      <a:pt x="207316" y="17685"/>
                      <a:pt x="207733" y="19020"/>
                      <a:pt x="207733" y="19020"/>
                    </a:cubicBezTo>
                    <a:cubicBezTo>
                      <a:pt x="208150" y="19938"/>
                      <a:pt x="207316" y="22106"/>
                      <a:pt x="206398" y="25193"/>
                    </a:cubicBezTo>
                    <a:cubicBezTo>
                      <a:pt x="205063" y="31366"/>
                      <a:pt x="204145" y="38040"/>
                      <a:pt x="205480" y="44713"/>
                    </a:cubicBezTo>
                    <a:cubicBezTo>
                      <a:pt x="206398" y="49135"/>
                      <a:pt x="207733" y="52722"/>
                      <a:pt x="209902" y="55809"/>
                    </a:cubicBezTo>
                    <a:cubicBezTo>
                      <a:pt x="212154" y="58895"/>
                      <a:pt x="215241" y="60647"/>
                      <a:pt x="217410" y="62482"/>
                    </a:cubicBezTo>
                    <a:cubicBezTo>
                      <a:pt x="218745" y="63400"/>
                      <a:pt x="220080" y="64234"/>
                      <a:pt x="220914" y="65569"/>
                    </a:cubicBezTo>
                    <a:cubicBezTo>
                      <a:pt x="224418" y="69072"/>
                      <a:pt x="224418" y="74912"/>
                      <a:pt x="224418" y="77998"/>
                    </a:cubicBezTo>
                    <a:cubicBezTo>
                      <a:pt x="224001" y="82003"/>
                      <a:pt x="223500" y="86007"/>
                      <a:pt x="222166" y="89510"/>
                    </a:cubicBezTo>
                    <a:cubicBezTo>
                      <a:pt x="221749" y="91763"/>
                      <a:pt x="221248" y="93932"/>
                      <a:pt x="220831" y="96184"/>
                    </a:cubicBezTo>
                    <a:cubicBezTo>
                      <a:pt x="219496" y="103275"/>
                      <a:pt x="221749" y="110783"/>
                      <a:pt x="223500" y="116539"/>
                    </a:cubicBezTo>
                    <a:cubicBezTo>
                      <a:pt x="224835" y="120960"/>
                      <a:pt x="226587" y="124964"/>
                      <a:pt x="228840" y="128968"/>
                    </a:cubicBezTo>
                    <a:cubicBezTo>
                      <a:pt x="229757" y="130303"/>
                      <a:pt x="230175" y="131221"/>
                      <a:pt x="231092" y="132472"/>
                    </a:cubicBezTo>
                    <a:cubicBezTo>
                      <a:pt x="228006" y="132889"/>
                      <a:pt x="224919" y="133807"/>
                      <a:pt x="222249" y="134724"/>
                    </a:cubicBezTo>
                    <a:cubicBezTo>
                      <a:pt x="212071" y="137811"/>
                      <a:pt x="204062" y="142733"/>
                      <a:pt x="196137" y="147154"/>
                    </a:cubicBezTo>
                    <a:cubicBezTo>
                      <a:pt x="190797" y="150240"/>
                      <a:pt x="185541" y="153327"/>
                      <a:pt x="179284" y="155579"/>
                    </a:cubicBezTo>
                    <a:cubicBezTo>
                      <a:pt x="177032" y="156497"/>
                      <a:pt x="174863" y="157331"/>
                      <a:pt x="172193" y="158249"/>
                    </a:cubicBezTo>
                    <a:cubicBezTo>
                      <a:pt x="162516" y="159750"/>
                      <a:pt x="146581" y="164172"/>
                      <a:pt x="146581" y="1801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90420516" name="Полилиния 379"/>
              <p:cNvSpPr/>
              <p:nvPr/>
            </p:nvSpPr>
            <p:spPr bwMode="auto">
              <a:xfrm>
                <a:off x="2469604" y="4587813"/>
                <a:ext cx="362297" cy="310569"/>
              </a:xfrm>
              <a:custGeom>
                <a:avLst/>
                <a:gdLst>
                  <a:gd name="connsiteX0" fmla="*/ 376839 w 406872"/>
                  <a:gd name="connsiteY0" fmla="*/ 147237 h 348781"/>
                  <a:gd name="connsiteX1" fmla="*/ 370165 w 406872"/>
                  <a:gd name="connsiteY1" fmla="*/ 162754 h 348781"/>
                  <a:gd name="connsiteX2" fmla="*/ 387851 w 406872"/>
                  <a:gd name="connsiteY2" fmla="*/ 187530 h 348781"/>
                  <a:gd name="connsiteX3" fmla="*/ 392273 w 406872"/>
                  <a:gd name="connsiteY3" fmla="*/ 191033 h 348781"/>
                  <a:gd name="connsiteX4" fmla="*/ 396695 w 406872"/>
                  <a:gd name="connsiteY4" fmla="*/ 195455 h 348781"/>
                  <a:gd name="connsiteX5" fmla="*/ 406873 w 406872"/>
                  <a:gd name="connsiteY5" fmla="*/ 205214 h 348781"/>
                  <a:gd name="connsiteX6" fmla="*/ 391355 w 406872"/>
                  <a:gd name="connsiteY6" fmla="*/ 250429 h 348781"/>
                  <a:gd name="connsiteX7" fmla="*/ 338630 w 406872"/>
                  <a:gd name="connsiteY7" fmla="*/ 280543 h 348781"/>
                  <a:gd name="connsiteX8" fmla="*/ 310682 w 406872"/>
                  <a:gd name="connsiteY8" fmla="*/ 259271 h 348781"/>
                  <a:gd name="connsiteX9" fmla="*/ 275225 w 406872"/>
                  <a:gd name="connsiteY9" fmla="*/ 233577 h 348781"/>
                  <a:gd name="connsiteX10" fmla="*/ 257038 w 406872"/>
                  <a:gd name="connsiteY10" fmla="*/ 236664 h 348781"/>
                  <a:gd name="connsiteX11" fmla="*/ 245942 w 406872"/>
                  <a:gd name="connsiteY11" fmla="*/ 237999 h 348781"/>
                  <a:gd name="connsiteX12" fmla="*/ 239769 w 406872"/>
                  <a:gd name="connsiteY12" fmla="*/ 232243 h 348781"/>
                  <a:gd name="connsiteX13" fmla="*/ 224251 w 406872"/>
                  <a:gd name="connsiteY13" fmla="*/ 221648 h 348781"/>
                  <a:gd name="connsiteX14" fmla="*/ 190547 w 406872"/>
                  <a:gd name="connsiteY14" fmla="*/ 230074 h 348781"/>
                  <a:gd name="connsiteX15" fmla="*/ 185208 w 406872"/>
                  <a:gd name="connsiteY15" fmla="*/ 234078 h 348781"/>
                  <a:gd name="connsiteX16" fmla="*/ 172360 w 406872"/>
                  <a:gd name="connsiteY16" fmla="*/ 234996 h 348781"/>
                  <a:gd name="connsiteX17" fmla="*/ 138238 w 406872"/>
                  <a:gd name="connsiteY17" fmla="*/ 238500 h 348781"/>
                  <a:gd name="connsiteX18" fmla="*/ 118716 w 406872"/>
                  <a:gd name="connsiteY18" fmla="*/ 273453 h 348781"/>
                  <a:gd name="connsiteX19" fmla="*/ 124890 w 406872"/>
                  <a:gd name="connsiteY19" fmla="*/ 314662 h 348781"/>
                  <a:gd name="connsiteX20" fmla="*/ 130229 w 406872"/>
                  <a:gd name="connsiteY20" fmla="*/ 323505 h 348781"/>
                  <a:gd name="connsiteX21" fmla="*/ 135569 w 406872"/>
                  <a:gd name="connsiteY21" fmla="*/ 342108 h 348781"/>
                  <a:gd name="connsiteX22" fmla="*/ 125391 w 406872"/>
                  <a:gd name="connsiteY22" fmla="*/ 346529 h 348781"/>
                  <a:gd name="connsiteX23" fmla="*/ 116547 w 406872"/>
                  <a:gd name="connsiteY23" fmla="*/ 348781 h 348781"/>
                  <a:gd name="connsiteX24" fmla="*/ 102782 w 406872"/>
                  <a:gd name="connsiteY24" fmla="*/ 336352 h 348781"/>
                  <a:gd name="connsiteX25" fmla="*/ 73082 w 406872"/>
                  <a:gd name="connsiteY25" fmla="*/ 334099 h 348781"/>
                  <a:gd name="connsiteX26" fmla="*/ 55813 w 406872"/>
                  <a:gd name="connsiteY26" fmla="*/ 334516 h 348781"/>
                  <a:gd name="connsiteX27" fmla="*/ 0 w 406872"/>
                  <a:gd name="connsiteY27" fmla="*/ 295059 h 348781"/>
                  <a:gd name="connsiteX28" fmla="*/ 8426 w 406872"/>
                  <a:gd name="connsiteY28" fmla="*/ 276039 h 348781"/>
                  <a:gd name="connsiteX29" fmla="*/ 27948 w 406872"/>
                  <a:gd name="connsiteY29" fmla="*/ 241085 h 348781"/>
                  <a:gd name="connsiteX30" fmla="*/ 46552 w 406872"/>
                  <a:gd name="connsiteY30" fmla="*/ 208301 h 348781"/>
                  <a:gd name="connsiteX31" fmla="*/ 54561 w 406872"/>
                  <a:gd name="connsiteY31" fmla="*/ 180856 h 348781"/>
                  <a:gd name="connsiteX32" fmla="*/ 48388 w 406872"/>
                  <a:gd name="connsiteY32" fmla="*/ 160918 h 348781"/>
                  <a:gd name="connsiteX33" fmla="*/ 43549 w 406872"/>
                  <a:gd name="connsiteY33" fmla="*/ 144067 h 348781"/>
                  <a:gd name="connsiteX34" fmla="*/ 47553 w 406872"/>
                  <a:gd name="connsiteY34" fmla="*/ 131638 h 348781"/>
                  <a:gd name="connsiteX35" fmla="*/ 51975 w 406872"/>
                  <a:gd name="connsiteY35" fmla="*/ 119708 h 348781"/>
                  <a:gd name="connsiteX36" fmla="*/ 52893 w 406872"/>
                  <a:gd name="connsiteY36" fmla="*/ 106445 h 348781"/>
                  <a:gd name="connsiteX37" fmla="*/ 53310 w 406872"/>
                  <a:gd name="connsiteY37" fmla="*/ 99354 h 348781"/>
                  <a:gd name="connsiteX38" fmla="*/ 55062 w 406872"/>
                  <a:gd name="connsiteY38" fmla="*/ 89594 h 348781"/>
                  <a:gd name="connsiteX39" fmla="*/ 57314 w 406872"/>
                  <a:gd name="connsiteY39" fmla="*/ 74995 h 348781"/>
                  <a:gd name="connsiteX40" fmla="*/ 51141 w 406872"/>
                  <a:gd name="connsiteY40" fmla="*/ 47049 h 348781"/>
                  <a:gd name="connsiteX41" fmla="*/ 50223 w 406872"/>
                  <a:gd name="connsiteY41" fmla="*/ 44797 h 348781"/>
                  <a:gd name="connsiteX42" fmla="*/ 58232 w 406872"/>
                  <a:gd name="connsiteY42" fmla="*/ 44797 h 348781"/>
                  <a:gd name="connsiteX43" fmla="*/ 68410 w 406872"/>
                  <a:gd name="connsiteY43" fmla="*/ 47049 h 348781"/>
                  <a:gd name="connsiteX44" fmla="*/ 74584 w 406872"/>
                  <a:gd name="connsiteY44" fmla="*/ 51888 h 348781"/>
                  <a:gd name="connsiteX45" fmla="*/ 78088 w 406872"/>
                  <a:gd name="connsiteY45" fmla="*/ 54974 h 348781"/>
                  <a:gd name="connsiteX46" fmla="*/ 109539 w 406872"/>
                  <a:gd name="connsiteY46" fmla="*/ 65569 h 348781"/>
                  <a:gd name="connsiteX47" fmla="*/ 121470 w 406872"/>
                  <a:gd name="connsiteY47" fmla="*/ 64234 h 348781"/>
                  <a:gd name="connsiteX48" fmla="*/ 138739 w 406872"/>
                  <a:gd name="connsiteY48" fmla="*/ 50469 h 348781"/>
                  <a:gd name="connsiteX49" fmla="*/ 137821 w 406872"/>
                  <a:gd name="connsiteY49" fmla="*/ 34536 h 348781"/>
                  <a:gd name="connsiteX50" fmla="*/ 136904 w 406872"/>
                  <a:gd name="connsiteY50" fmla="*/ 31867 h 348781"/>
                  <a:gd name="connsiteX51" fmla="*/ 142243 w 406872"/>
                  <a:gd name="connsiteY51" fmla="*/ 7508 h 348781"/>
                  <a:gd name="connsiteX52" fmla="*/ 144913 w 406872"/>
                  <a:gd name="connsiteY52" fmla="*/ 4839 h 348781"/>
                  <a:gd name="connsiteX53" fmla="*/ 149334 w 406872"/>
                  <a:gd name="connsiteY53" fmla="*/ 0 h 348781"/>
                  <a:gd name="connsiteX54" fmla="*/ 153756 w 406872"/>
                  <a:gd name="connsiteY54" fmla="*/ 2253 h 348781"/>
                  <a:gd name="connsiteX55" fmla="*/ 166604 w 406872"/>
                  <a:gd name="connsiteY55" fmla="*/ 16434 h 348781"/>
                  <a:gd name="connsiteX56" fmla="*/ 182955 w 406872"/>
                  <a:gd name="connsiteY56" fmla="*/ 34119 h 348781"/>
                  <a:gd name="connsiteX57" fmla="*/ 193550 w 406872"/>
                  <a:gd name="connsiteY57" fmla="*/ 38958 h 348781"/>
                  <a:gd name="connsiteX58" fmla="*/ 207316 w 406872"/>
                  <a:gd name="connsiteY58" fmla="*/ 69990 h 348781"/>
                  <a:gd name="connsiteX59" fmla="*/ 228590 w 406872"/>
                  <a:gd name="connsiteY59" fmla="*/ 67321 h 348781"/>
                  <a:gd name="connsiteX60" fmla="*/ 235681 w 406872"/>
                  <a:gd name="connsiteY60" fmla="*/ 64651 h 348781"/>
                  <a:gd name="connsiteX61" fmla="*/ 257789 w 406872"/>
                  <a:gd name="connsiteY61" fmla="*/ 69490 h 348781"/>
                  <a:gd name="connsiteX62" fmla="*/ 283902 w 406872"/>
                  <a:gd name="connsiteY62" fmla="*/ 89844 h 348781"/>
                  <a:gd name="connsiteX63" fmla="*/ 294497 w 406872"/>
                  <a:gd name="connsiteY63" fmla="*/ 101356 h 348781"/>
                  <a:gd name="connsiteX64" fmla="*/ 354731 w 406872"/>
                  <a:gd name="connsiteY64" fmla="*/ 123045 h 348781"/>
                  <a:gd name="connsiteX65" fmla="*/ 378675 w 406872"/>
                  <a:gd name="connsiteY65" fmla="*/ 131888 h 348781"/>
                  <a:gd name="connsiteX66" fmla="*/ 380927 w 406872"/>
                  <a:gd name="connsiteY66" fmla="*/ 140731 h 348781"/>
                  <a:gd name="connsiteX67" fmla="*/ 376839 w 406872"/>
                  <a:gd name="connsiteY67" fmla="*/ 147237 h 34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406872" h="348781" extrusionOk="0">
                    <a:moveTo>
                      <a:pt x="376839" y="147237"/>
                    </a:moveTo>
                    <a:cubicBezTo>
                      <a:pt x="373752" y="150741"/>
                      <a:pt x="370165" y="155663"/>
                      <a:pt x="370165" y="162754"/>
                    </a:cubicBezTo>
                    <a:cubicBezTo>
                      <a:pt x="370582" y="173348"/>
                      <a:pt x="380343" y="181357"/>
                      <a:pt x="387851" y="187530"/>
                    </a:cubicBezTo>
                    <a:cubicBezTo>
                      <a:pt x="389603" y="188864"/>
                      <a:pt x="390938" y="190199"/>
                      <a:pt x="392273" y="191033"/>
                    </a:cubicBezTo>
                    <a:lnTo>
                      <a:pt x="396695" y="195455"/>
                    </a:lnTo>
                    <a:cubicBezTo>
                      <a:pt x="400199" y="198541"/>
                      <a:pt x="403786" y="201628"/>
                      <a:pt x="406873" y="205214"/>
                    </a:cubicBezTo>
                    <a:cubicBezTo>
                      <a:pt x="404620" y="222483"/>
                      <a:pt x="400199" y="239751"/>
                      <a:pt x="391355" y="250429"/>
                    </a:cubicBezTo>
                    <a:cubicBezTo>
                      <a:pt x="380760" y="263275"/>
                      <a:pt x="350143" y="283213"/>
                      <a:pt x="338630" y="280543"/>
                    </a:cubicBezTo>
                    <a:cubicBezTo>
                      <a:pt x="328452" y="278291"/>
                      <a:pt x="320025" y="269031"/>
                      <a:pt x="310682" y="259271"/>
                    </a:cubicBezTo>
                    <a:cubicBezTo>
                      <a:pt x="300504" y="248176"/>
                      <a:pt x="289825" y="236247"/>
                      <a:pt x="275225" y="233577"/>
                    </a:cubicBezTo>
                    <a:cubicBezTo>
                      <a:pt x="267717" y="232243"/>
                      <a:pt x="261460" y="234912"/>
                      <a:pt x="257038" y="236664"/>
                    </a:cubicBezTo>
                    <a:cubicBezTo>
                      <a:pt x="252199" y="238917"/>
                      <a:pt x="249947" y="239751"/>
                      <a:pt x="245942" y="237999"/>
                    </a:cubicBezTo>
                    <a:cubicBezTo>
                      <a:pt x="243690" y="237081"/>
                      <a:pt x="241938" y="234912"/>
                      <a:pt x="239769" y="232243"/>
                    </a:cubicBezTo>
                    <a:cubicBezTo>
                      <a:pt x="236265" y="228239"/>
                      <a:pt x="231760" y="223400"/>
                      <a:pt x="224251" y="221648"/>
                    </a:cubicBezTo>
                    <a:cubicBezTo>
                      <a:pt x="209652" y="218145"/>
                      <a:pt x="199891" y="223901"/>
                      <a:pt x="190547" y="230074"/>
                    </a:cubicBezTo>
                    <a:cubicBezTo>
                      <a:pt x="188295" y="231409"/>
                      <a:pt x="187043" y="233160"/>
                      <a:pt x="185208" y="234078"/>
                    </a:cubicBezTo>
                    <a:cubicBezTo>
                      <a:pt x="180786" y="237582"/>
                      <a:pt x="180786" y="237582"/>
                      <a:pt x="172360" y="234996"/>
                    </a:cubicBezTo>
                    <a:cubicBezTo>
                      <a:pt x="159512" y="231492"/>
                      <a:pt x="147582" y="232743"/>
                      <a:pt x="138238" y="238500"/>
                    </a:cubicBezTo>
                    <a:cubicBezTo>
                      <a:pt x="127643" y="245173"/>
                      <a:pt x="120969" y="257519"/>
                      <a:pt x="118716" y="273453"/>
                    </a:cubicBezTo>
                    <a:cubicBezTo>
                      <a:pt x="116965" y="287217"/>
                      <a:pt x="119134" y="301399"/>
                      <a:pt x="124890" y="314662"/>
                    </a:cubicBezTo>
                    <a:cubicBezTo>
                      <a:pt x="126225" y="317332"/>
                      <a:pt x="127977" y="320835"/>
                      <a:pt x="130229" y="323505"/>
                    </a:cubicBezTo>
                    <a:cubicBezTo>
                      <a:pt x="135569" y="331931"/>
                      <a:pt x="138656" y="337686"/>
                      <a:pt x="135569" y="342108"/>
                    </a:cubicBezTo>
                    <a:cubicBezTo>
                      <a:pt x="133817" y="344360"/>
                      <a:pt x="130730" y="345194"/>
                      <a:pt x="125391" y="346529"/>
                    </a:cubicBezTo>
                    <a:cubicBezTo>
                      <a:pt x="122721" y="346946"/>
                      <a:pt x="119634" y="347446"/>
                      <a:pt x="116547" y="348781"/>
                    </a:cubicBezTo>
                    <a:cubicBezTo>
                      <a:pt x="113460" y="343442"/>
                      <a:pt x="109456" y="339021"/>
                      <a:pt x="102782" y="336352"/>
                    </a:cubicBezTo>
                    <a:cubicBezTo>
                      <a:pt x="93021" y="332348"/>
                      <a:pt x="82843" y="333265"/>
                      <a:pt x="73082" y="334099"/>
                    </a:cubicBezTo>
                    <a:cubicBezTo>
                      <a:pt x="66908" y="335017"/>
                      <a:pt x="60651" y="335434"/>
                      <a:pt x="55813" y="334516"/>
                    </a:cubicBezTo>
                    <a:cubicBezTo>
                      <a:pt x="27865" y="330095"/>
                      <a:pt x="13765" y="314996"/>
                      <a:pt x="0" y="295059"/>
                    </a:cubicBezTo>
                    <a:cubicBezTo>
                      <a:pt x="2253" y="288885"/>
                      <a:pt x="5339" y="282629"/>
                      <a:pt x="8426" y="276039"/>
                    </a:cubicBezTo>
                    <a:cubicBezTo>
                      <a:pt x="14600" y="264109"/>
                      <a:pt x="21274" y="252598"/>
                      <a:pt x="27948" y="241085"/>
                    </a:cubicBezTo>
                    <a:cubicBezTo>
                      <a:pt x="34622" y="230491"/>
                      <a:pt x="40796" y="219396"/>
                      <a:pt x="46552" y="208301"/>
                    </a:cubicBezTo>
                    <a:cubicBezTo>
                      <a:pt x="50974" y="200293"/>
                      <a:pt x="54978" y="191033"/>
                      <a:pt x="54561" y="180856"/>
                    </a:cubicBezTo>
                    <a:cubicBezTo>
                      <a:pt x="54144" y="173348"/>
                      <a:pt x="51475" y="166674"/>
                      <a:pt x="48388" y="160918"/>
                    </a:cubicBezTo>
                    <a:cubicBezTo>
                      <a:pt x="45718" y="154745"/>
                      <a:pt x="43048" y="149406"/>
                      <a:pt x="43549" y="144067"/>
                    </a:cubicBezTo>
                    <a:cubicBezTo>
                      <a:pt x="43966" y="140564"/>
                      <a:pt x="45801" y="136059"/>
                      <a:pt x="47553" y="131638"/>
                    </a:cubicBezTo>
                    <a:cubicBezTo>
                      <a:pt x="48888" y="128134"/>
                      <a:pt x="50640" y="123629"/>
                      <a:pt x="51975" y="119708"/>
                    </a:cubicBezTo>
                    <a:cubicBezTo>
                      <a:pt x="52893" y="114870"/>
                      <a:pt x="52893" y="110866"/>
                      <a:pt x="52893" y="106445"/>
                    </a:cubicBezTo>
                    <a:cubicBezTo>
                      <a:pt x="52893" y="104193"/>
                      <a:pt x="52893" y="101606"/>
                      <a:pt x="53310" y="99354"/>
                    </a:cubicBezTo>
                    <a:cubicBezTo>
                      <a:pt x="53727" y="96268"/>
                      <a:pt x="54227" y="92680"/>
                      <a:pt x="55062" y="89594"/>
                    </a:cubicBezTo>
                    <a:cubicBezTo>
                      <a:pt x="55979" y="84755"/>
                      <a:pt x="56814" y="79834"/>
                      <a:pt x="57314" y="74995"/>
                    </a:cubicBezTo>
                    <a:cubicBezTo>
                      <a:pt x="57314" y="64818"/>
                      <a:pt x="54227" y="55475"/>
                      <a:pt x="51141" y="47049"/>
                    </a:cubicBezTo>
                    <a:lnTo>
                      <a:pt x="50223" y="44797"/>
                    </a:lnTo>
                    <a:cubicBezTo>
                      <a:pt x="52893" y="44380"/>
                      <a:pt x="55562" y="44380"/>
                      <a:pt x="58232" y="44797"/>
                    </a:cubicBezTo>
                    <a:cubicBezTo>
                      <a:pt x="61319" y="45214"/>
                      <a:pt x="65323" y="45715"/>
                      <a:pt x="68410" y="47049"/>
                    </a:cubicBezTo>
                    <a:cubicBezTo>
                      <a:pt x="70663" y="47967"/>
                      <a:pt x="72832" y="49719"/>
                      <a:pt x="74584" y="51888"/>
                    </a:cubicBezTo>
                    <a:cubicBezTo>
                      <a:pt x="75918" y="52805"/>
                      <a:pt x="77253" y="54140"/>
                      <a:pt x="78088" y="54974"/>
                    </a:cubicBezTo>
                    <a:cubicBezTo>
                      <a:pt x="86931" y="62065"/>
                      <a:pt x="98444" y="65569"/>
                      <a:pt x="109539" y="65569"/>
                    </a:cubicBezTo>
                    <a:cubicBezTo>
                      <a:pt x="113544" y="65569"/>
                      <a:pt x="117549" y="65152"/>
                      <a:pt x="121470" y="64234"/>
                    </a:cubicBezTo>
                    <a:cubicBezTo>
                      <a:pt x="130313" y="61982"/>
                      <a:pt x="136069" y="57143"/>
                      <a:pt x="138739" y="50469"/>
                    </a:cubicBezTo>
                    <a:cubicBezTo>
                      <a:pt x="140991" y="44296"/>
                      <a:pt x="139156" y="38958"/>
                      <a:pt x="137821" y="34536"/>
                    </a:cubicBezTo>
                    <a:lnTo>
                      <a:pt x="136904" y="31867"/>
                    </a:lnTo>
                    <a:cubicBezTo>
                      <a:pt x="134651" y="23441"/>
                      <a:pt x="136904" y="14181"/>
                      <a:pt x="142243" y="7508"/>
                    </a:cubicBezTo>
                    <a:cubicBezTo>
                      <a:pt x="143161" y="6591"/>
                      <a:pt x="143995" y="5256"/>
                      <a:pt x="144913" y="4839"/>
                    </a:cubicBezTo>
                    <a:cubicBezTo>
                      <a:pt x="146247" y="3504"/>
                      <a:pt x="147582" y="1752"/>
                      <a:pt x="149334" y="0"/>
                    </a:cubicBezTo>
                    <a:cubicBezTo>
                      <a:pt x="150669" y="417"/>
                      <a:pt x="152421" y="1335"/>
                      <a:pt x="153756" y="2253"/>
                    </a:cubicBezTo>
                    <a:cubicBezTo>
                      <a:pt x="158594" y="5756"/>
                      <a:pt x="162599" y="11095"/>
                      <a:pt x="166604" y="16434"/>
                    </a:cubicBezTo>
                    <a:cubicBezTo>
                      <a:pt x="171025" y="22607"/>
                      <a:pt x="175947" y="29281"/>
                      <a:pt x="182955" y="34119"/>
                    </a:cubicBezTo>
                    <a:cubicBezTo>
                      <a:pt x="186960" y="36789"/>
                      <a:pt x="190464" y="38540"/>
                      <a:pt x="193550" y="38958"/>
                    </a:cubicBezTo>
                    <a:cubicBezTo>
                      <a:pt x="193550" y="52722"/>
                      <a:pt x="196220" y="65068"/>
                      <a:pt x="207316" y="69990"/>
                    </a:cubicBezTo>
                    <a:cubicBezTo>
                      <a:pt x="215325" y="73494"/>
                      <a:pt x="223250" y="69990"/>
                      <a:pt x="228590" y="67321"/>
                    </a:cubicBezTo>
                    <a:cubicBezTo>
                      <a:pt x="231259" y="65986"/>
                      <a:pt x="233929" y="64651"/>
                      <a:pt x="235681" y="64651"/>
                    </a:cubicBezTo>
                    <a:cubicBezTo>
                      <a:pt x="242355" y="64234"/>
                      <a:pt x="251615" y="67321"/>
                      <a:pt x="257789" y="69490"/>
                    </a:cubicBezTo>
                    <a:cubicBezTo>
                      <a:pt x="269719" y="73911"/>
                      <a:pt x="276393" y="81419"/>
                      <a:pt x="283902" y="89844"/>
                    </a:cubicBezTo>
                    <a:cubicBezTo>
                      <a:pt x="286988" y="93348"/>
                      <a:pt x="290576" y="97853"/>
                      <a:pt x="294497" y="101356"/>
                    </a:cubicBezTo>
                    <a:cubicBezTo>
                      <a:pt x="312183" y="118624"/>
                      <a:pt x="331288" y="121294"/>
                      <a:pt x="354731" y="123045"/>
                    </a:cubicBezTo>
                    <a:cubicBezTo>
                      <a:pt x="366244" y="123963"/>
                      <a:pt x="375087" y="127050"/>
                      <a:pt x="378675" y="131888"/>
                    </a:cubicBezTo>
                    <a:cubicBezTo>
                      <a:pt x="380927" y="134140"/>
                      <a:pt x="381344" y="136727"/>
                      <a:pt x="380927" y="140731"/>
                    </a:cubicBezTo>
                    <a:cubicBezTo>
                      <a:pt x="380426" y="142816"/>
                      <a:pt x="378591" y="144985"/>
                      <a:pt x="376839" y="1472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171960" name="Полилиния 380"/>
              <p:cNvSpPr/>
              <p:nvPr/>
            </p:nvSpPr>
            <p:spPr bwMode="auto">
              <a:xfrm>
                <a:off x="2334921" y="4123071"/>
                <a:ext cx="610114" cy="393260"/>
              </a:xfrm>
              <a:custGeom>
                <a:avLst/>
                <a:gdLst>
                  <a:gd name="connsiteX0" fmla="*/ 404036 w 685179"/>
                  <a:gd name="connsiteY0" fmla="*/ 230617 h 441645"/>
                  <a:gd name="connsiteX1" fmla="*/ 404954 w 685179"/>
                  <a:gd name="connsiteY1" fmla="*/ 237707 h 441645"/>
                  <a:gd name="connsiteX2" fmla="*/ 404036 w 685179"/>
                  <a:gd name="connsiteY2" fmla="*/ 260732 h 441645"/>
                  <a:gd name="connsiteX3" fmla="*/ 401366 w 685179"/>
                  <a:gd name="connsiteY3" fmla="*/ 285090 h 441645"/>
                  <a:gd name="connsiteX4" fmla="*/ 399114 w 685179"/>
                  <a:gd name="connsiteY4" fmla="*/ 307697 h 441645"/>
                  <a:gd name="connsiteX5" fmla="*/ 398196 w 685179"/>
                  <a:gd name="connsiteY5" fmla="*/ 310784 h 441645"/>
                  <a:gd name="connsiteX6" fmla="*/ 389770 w 685179"/>
                  <a:gd name="connsiteY6" fmla="*/ 321378 h 441645"/>
                  <a:gd name="connsiteX7" fmla="*/ 376505 w 685179"/>
                  <a:gd name="connsiteY7" fmla="*/ 329386 h 441645"/>
                  <a:gd name="connsiteX8" fmla="*/ 356566 w 685179"/>
                  <a:gd name="connsiteY8" fmla="*/ 342233 h 441645"/>
                  <a:gd name="connsiteX9" fmla="*/ 349058 w 685179"/>
                  <a:gd name="connsiteY9" fmla="*/ 377186 h 441645"/>
                  <a:gd name="connsiteX10" fmla="*/ 350393 w 685179"/>
                  <a:gd name="connsiteY10" fmla="*/ 393537 h 441645"/>
                  <a:gd name="connsiteX11" fmla="*/ 330454 w 685179"/>
                  <a:gd name="connsiteY11" fmla="*/ 412140 h 441645"/>
                  <a:gd name="connsiteX12" fmla="*/ 312266 w 685179"/>
                  <a:gd name="connsiteY12" fmla="*/ 424986 h 441645"/>
                  <a:gd name="connsiteX13" fmla="*/ 304258 w 685179"/>
                  <a:gd name="connsiteY13" fmla="*/ 435164 h 441645"/>
                  <a:gd name="connsiteX14" fmla="*/ 295414 w 685179"/>
                  <a:gd name="connsiteY14" fmla="*/ 429408 h 441645"/>
                  <a:gd name="connsiteX15" fmla="*/ 282567 w 685179"/>
                  <a:gd name="connsiteY15" fmla="*/ 412140 h 441645"/>
                  <a:gd name="connsiteX16" fmla="*/ 282567 w 685179"/>
                  <a:gd name="connsiteY16" fmla="*/ 404131 h 441645"/>
                  <a:gd name="connsiteX17" fmla="*/ 274558 w 685179"/>
                  <a:gd name="connsiteY17" fmla="*/ 394371 h 441645"/>
                  <a:gd name="connsiteX18" fmla="*/ 244023 w 685179"/>
                  <a:gd name="connsiteY18" fmla="*/ 403214 h 441645"/>
                  <a:gd name="connsiteX19" fmla="*/ 239602 w 685179"/>
                  <a:gd name="connsiteY19" fmla="*/ 407635 h 441645"/>
                  <a:gd name="connsiteX20" fmla="*/ 225836 w 685179"/>
                  <a:gd name="connsiteY20" fmla="*/ 418229 h 441645"/>
                  <a:gd name="connsiteX21" fmla="*/ 213406 w 685179"/>
                  <a:gd name="connsiteY21" fmla="*/ 418229 h 441645"/>
                  <a:gd name="connsiteX22" fmla="*/ 190380 w 685179"/>
                  <a:gd name="connsiteY22" fmla="*/ 420899 h 441645"/>
                  <a:gd name="connsiteX23" fmla="*/ 178867 w 685179"/>
                  <a:gd name="connsiteY23" fmla="*/ 432828 h 441645"/>
                  <a:gd name="connsiteX24" fmla="*/ 172193 w 685179"/>
                  <a:gd name="connsiteY24" fmla="*/ 440836 h 441645"/>
                  <a:gd name="connsiteX25" fmla="*/ 152254 w 685179"/>
                  <a:gd name="connsiteY25" fmla="*/ 434663 h 441645"/>
                  <a:gd name="connsiteX26" fmla="*/ 146080 w 685179"/>
                  <a:gd name="connsiteY26" fmla="*/ 429324 h 441645"/>
                  <a:gd name="connsiteX27" fmla="*/ 144746 w 685179"/>
                  <a:gd name="connsiteY27" fmla="*/ 425821 h 441645"/>
                  <a:gd name="connsiteX28" fmla="*/ 143411 w 685179"/>
                  <a:gd name="connsiteY28" fmla="*/ 421399 h 441645"/>
                  <a:gd name="connsiteX29" fmla="*/ 135402 w 685179"/>
                  <a:gd name="connsiteY29" fmla="*/ 410304 h 441645"/>
                  <a:gd name="connsiteX30" fmla="*/ 131397 w 685179"/>
                  <a:gd name="connsiteY30" fmla="*/ 405883 h 441645"/>
                  <a:gd name="connsiteX31" fmla="*/ 124723 w 685179"/>
                  <a:gd name="connsiteY31" fmla="*/ 383276 h 441645"/>
                  <a:gd name="connsiteX32" fmla="*/ 124306 w 685179"/>
                  <a:gd name="connsiteY32" fmla="*/ 381024 h 441645"/>
                  <a:gd name="connsiteX33" fmla="*/ 114128 w 685179"/>
                  <a:gd name="connsiteY33" fmla="*/ 334976 h 441645"/>
                  <a:gd name="connsiteX34" fmla="*/ 99945 w 685179"/>
                  <a:gd name="connsiteY34" fmla="*/ 314121 h 441645"/>
                  <a:gd name="connsiteX35" fmla="*/ 96441 w 685179"/>
                  <a:gd name="connsiteY35" fmla="*/ 312786 h 441645"/>
                  <a:gd name="connsiteX36" fmla="*/ 93772 w 685179"/>
                  <a:gd name="connsiteY36" fmla="*/ 311868 h 441645"/>
                  <a:gd name="connsiteX37" fmla="*/ 91102 w 685179"/>
                  <a:gd name="connsiteY37" fmla="*/ 307447 h 441645"/>
                  <a:gd name="connsiteX38" fmla="*/ 87598 w 685179"/>
                  <a:gd name="connsiteY38" fmla="*/ 300773 h 441645"/>
                  <a:gd name="connsiteX39" fmla="*/ 71664 w 685179"/>
                  <a:gd name="connsiteY39" fmla="*/ 290179 h 441645"/>
                  <a:gd name="connsiteX40" fmla="*/ 63655 w 685179"/>
                  <a:gd name="connsiteY40" fmla="*/ 286675 h 441645"/>
                  <a:gd name="connsiteX41" fmla="*/ 54811 w 685179"/>
                  <a:gd name="connsiteY41" fmla="*/ 275580 h 441645"/>
                  <a:gd name="connsiteX42" fmla="*/ 49973 w 685179"/>
                  <a:gd name="connsiteY42" fmla="*/ 268490 h 441645"/>
                  <a:gd name="connsiteX43" fmla="*/ 26947 w 685179"/>
                  <a:gd name="connsiteY43" fmla="*/ 248969 h 441645"/>
                  <a:gd name="connsiteX44" fmla="*/ 22525 w 685179"/>
                  <a:gd name="connsiteY44" fmla="*/ 227280 h 441645"/>
                  <a:gd name="connsiteX45" fmla="*/ 11930 w 685179"/>
                  <a:gd name="connsiteY45" fmla="*/ 217102 h 441645"/>
                  <a:gd name="connsiteX46" fmla="*/ 0 w 685179"/>
                  <a:gd name="connsiteY46" fmla="*/ 198917 h 441645"/>
                  <a:gd name="connsiteX47" fmla="*/ 417 w 685179"/>
                  <a:gd name="connsiteY47" fmla="*/ 194912 h 441645"/>
                  <a:gd name="connsiteX48" fmla="*/ 11012 w 685179"/>
                  <a:gd name="connsiteY48" fmla="*/ 185153 h 441645"/>
                  <a:gd name="connsiteX49" fmla="*/ 13265 w 685179"/>
                  <a:gd name="connsiteY49" fmla="*/ 183818 h 441645"/>
                  <a:gd name="connsiteX50" fmla="*/ 17686 w 685179"/>
                  <a:gd name="connsiteY50" fmla="*/ 181148 h 441645"/>
                  <a:gd name="connsiteX51" fmla="*/ 33621 w 685179"/>
                  <a:gd name="connsiteY51" fmla="*/ 173640 h 441645"/>
                  <a:gd name="connsiteX52" fmla="*/ 58899 w 685179"/>
                  <a:gd name="connsiteY52" fmla="*/ 159876 h 441645"/>
                  <a:gd name="connsiteX53" fmla="*/ 69077 w 685179"/>
                  <a:gd name="connsiteY53" fmla="*/ 150533 h 441645"/>
                  <a:gd name="connsiteX54" fmla="*/ 86347 w 685179"/>
                  <a:gd name="connsiteY54" fmla="*/ 138604 h 441645"/>
                  <a:gd name="connsiteX55" fmla="*/ 107203 w 685179"/>
                  <a:gd name="connsiteY55" fmla="*/ 135934 h 441645"/>
                  <a:gd name="connsiteX56" fmla="*/ 137320 w 685179"/>
                  <a:gd name="connsiteY56" fmla="*/ 130596 h 441645"/>
                  <a:gd name="connsiteX57" fmla="*/ 179368 w 685179"/>
                  <a:gd name="connsiteY57" fmla="*/ 106237 h 441645"/>
                  <a:gd name="connsiteX58" fmla="*/ 201476 w 685179"/>
                  <a:gd name="connsiteY58" fmla="*/ 72535 h 441645"/>
                  <a:gd name="connsiteX59" fmla="*/ 203228 w 685179"/>
                  <a:gd name="connsiteY59" fmla="*/ 72535 h 441645"/>
                  <a:gd name="connsiteX60" fmla="*/ 216993 w 685179"/>
                  <a:gd name="connsiteY60" fmla="*/ 69865 h 441645"/>
                  <a:gd name="connsiteX61" fmla="*/ 231176 w 685179"/>
                  <a:gd name="connsiteY61" fmla="*/ 52597 h 441645"/>
                  <a:gd name="connsiteX62" fmla="*/ 235180 w 685179"/>
                  <a:gd name="connsiteY62" fmla="*/ 44589 h 441645"/>
                  <a:gd name="connsiteX63" fmla="*/ 267967 w 685179"/>
                  <a:gd name="connsiteY63" fmla="*/ 51263 h 441645"/>
                  <a:gd name="connsiteX64" fmla="*/ 303841 w 685179"/>
                  <a:gd name="connsiteY64" fmla="*/ 62357 h 441645"/>
                  <a:gd name="connsiteX65" fmla="*/ 333040 w 685179"/>
                  <a:gd name="connsiteY65" fmla="*/ 34912 h 441645"/>
                  <a:gd name="connsiteX66" fmla="*/ 335292 w 685179"/>
                  <a:gd name="connsiteY66" fmla="*/ 23400 h 441645"/>
                  <a:gd name="connsiteX67" fmla="*/ 336210 w 685179"/>
                  <a:gd name="connsiteY67" fmla="*/ 17644 h 441645"/>
                  <a:gd name="connsiteX68" fmla="*/ 380093 w 685179"/>
                  <a:gd name="connsiteY68" fmla="*/ 18979 h 441645"/>
                  <a:gd name="connsiteX69" fmla="*/ 417301 w 685179"/>
                  <a:gd name="connsiteY69" fmla="*/ 18562 h 441645"/>
                  <a:gd name="connsiteX70" fmla="*/ 436823 w 685179"/>
                  <a:gd name="connsiteY70" fmla="*/ 20814 h 441645"/>
                  <a:gd name="connsiteX71" fmla="*/ 449671 w 685179"/>
                  <a:gd name="connsiteY71" fmla="*/ 23066 h 441645"/>
                  <a:gd name="connsiteX72" fmla="*/ 492635 w 685179"/>
                  <a:gd name="connsiteY72" fmla="*/ 9802 h 441645"/>
                  <a:gd name="connsiteX73" fmla="*/ 536935 w 685179"/>
                  <a:gd name="connsiteY73" fmla="*/ 16476 h 441645"/>
                  <a:gd name="connsiteX74" fmla="*/ 572391 w 685179"/>
                  <a:gd name="connsiteY74" fmla="*/ 39083 h 441645"/>
                  <a:gd name="connsiteX75" fmla="*/ 580818 w 685179"/>
                  <a:gd name="connsiteY75" fmla="*/ 40001 h 441645"/>
                  <a:gd name="connsiteX76" fmla="*/ 598504 w 685179"/>
                  <a:gd name="connsiteY76" fmla="*/ 50178 h 441645"/>
                  <a:gd name="connsiteX77" fmla="*/ 603343 w 685179"/>
                  <a:gd name="connsiteY77" fmla="*/ 55017 h 441645"/>
                  <a:gd name="connsiteX78" fmla="*/ 608182 w 685179"/>
                  <a:gd name="connsiteY78" fmla="*/ 60355 h 441645"/>
                  <a:gd name="connsiteX79" fmla="*/ 613521 w 685179"/>
                  <a:gd name="connsiteY79" fmla="*/ 65694 h 441645"/>
                  <a:gd name="connsiteX80" fmla="*/ 626369 w 685179"/>
                  <a:gd name="connsiteY80" fmla="*/ 78124 h 441645"/>
                  <a:gd name="connsiteX81" fmla="*/ 657821 w 685179"/>
                  <a:gd name="connsiteY81" fmla="*/ 106487 h 441645"/>
                  <a:gd name="connsiteX82" fmla="*/ 666664 w 685179"/>
                  <a:gd name="connsiteY82" fmla="*/ 112660 h 441645"/>
                  <a:gd name="connsiteX83" fmla="*/ 684851 w 685179"/>
                  <a:gd name="connsiteY83" fmla="*/ 135684 h 441645"/>
                  <a:gd name="connsiteX84" fmla="*/ 648060 w 685179"/>
                  <a:gd name="connsiteY84" fmla="*/ 166716 h 441645"/>
                  <a:gd name="connsiteX85" fmla="*/ 617943 w 685179"/>
                  <a:gd name="connsiteY85" fmla="*/ 161378 h 441645"/>
                  <a:gd name="connsiteX86" fmla="*/ 602425 w 685179"/>
                  <a:gd name="connsiteY86" fmla="*/ 154704 h 441645"/>
                  <a:gd name="connsiteX87" fmla="*/ 550116 w 685179"/>
                  <a:gd name="connsiteY87" fmla="*/ 183901 h 441645"/>
                  <a:gd name="connsiteX88" fmla="*/ 532847 w 685179"/>
                  <a:gd name="connsiteY88" fmla="*/ 205591 h 441645"/>
                  <a:gd name="connsiteX89" fmla="*/ 517747 w 685179"/>
                  <a:gd name="connsiteY89" fmla="*/ 206508 h 441645"/>
                  <a:gd name="connsiteX90" fmla="*/ 516412 w 685179"/>
                  <a:gd name="connsiteY90" fmla="*/ 206091 h 441645"/>
                  <a:gd name="connsiteX91" fmla="*/ 515995 w 685179"/>
                  <a:gd name="connsiteY91" fmla="*/ 205674 h 441645"/>
                  <a:gd name="connsiteX92" fmla="*/ 502230 w 685179"/>
                  <a:gd name="connsiteY92" fmla="*/ 198166 h 441645"/>
                  <a:gd name="connsiteX93" fmla="*/ 460599 w 685179"/>
                  <a:gd name="connsiteY93" fmla="*/ 189741 h 441645"/>
                  <a:gd name="connsiteX94" fmla="*/ 449504 w 685179"/>
                  <a:gd name="connsiteY94" fmla="*/ 200335 h 441645"/>
                  <a:gd name="connsiteX95" fmla="*/ 444665 w 685179"/>
                  <a:gd name="connsiteY95" fmla="*/ 205674 h 441645"/>
                  <a:gd name="connsiteX96" fmla="*/ 434487 w 685179"/>
                  <a:gd name="connsiteY96" fmla="*/ 206091 h 441645"/>
                  <a:gd name="connsiteX97" fmla="*/ 418970 w 685179"/>
                  <a:gd name="connsiteY97" fmla="*/ 204756 h 441645"/>
                  <a:gd name="connsiteX98" fmla="*/ 404036 w 685179"/>
                  <a:gd name="connsiteY98" fmla="*/ 230617 h 441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685179" h="441645" extrusionOk="0">
                    <a:moveTo>
                      <a:pt x="404036" y="230617"/>
                    </a:moveTo>
                    <a:lnTo>
                      <a:pt x="404954" y="237707"/>
                    </a:lnTo>
                    <a:cubicBezTo>
                      <a:pt x="405872" y="246550"/>
                      <a:pt x="406289" y="251472"/>
                      <a:pt x="404036" y="260732"/>
                    </a:cubicBezTo>
                    <a:cubicBezTo>
                      <a:pt x="401784" y="268740"/>
                      <a:pt x="401784" y="277082"/>
                      <a:pt x="401366" y="285090"/>
                    </a:cubicBezTo>
                    <a:cubicBezTo>
                      <a:pt x="400949" y="293516"/>
                      <a:pt x="400949" y="301024"/>
                      <a:pt x="399114" y="307697"/>
                    </a:cubicBezTo>
                    <a:cubicBezTo>
                      <a:pt x="398697" y="308615"/>
                      <a:pt x="398697" y="309950"/>
                      <a:pt x="398196" y="310784"/>
                    </a:cubicBezTo>
                    <a:cubicBezTo>
                      <a:pt x="396444" y="315622"/>
                      <a:pt x="393358" y="318792"/>
                      <a:pt x="389770" y="321378"/>
                    </a:cubicBezTo>
                    <a:cubicBezTo>
                      <a:pt x="386266" y="324465"/>
                      <a:pt x="381344" y="326717"/>
                      <a:pt x="376505" y="329386"/>
                    </a:cubicBezTo>
                    <a:cubicBezTo>
                      <a:pt x="369414" y="332890"/>
                      <a:pt x="362323" y="336477"/>
                      <a:pt x="356566" y="342233"/>
                    </a:cubicBezTo>
                    <a:cubicBezTo>
                      <a:pt x="342801" y="355080"/>
                      <a:pt x="346388" y="367510"/>
                      <a:pt x="349058" y="377186"/>
                    </a:cubicBezTo>
                    <a:cubicBezTo>
                      <a:pt x="350393" y="382943"/>
                      <a:pt x="351727" y="387781"/>
                      <a:pt x="350393" y="393537"/>
                    </a:cubicBezTo>
                    <a:cubicBezTo>
                      <a:pt x="348641" y="402379"/>
                      <a:pt x="340214" y="407301"/>
                      <a:pt x="330454" y="412140"/>
                    </a:cubicBezTo>
                    <a:cubicBezTo>
                      <a:pt x="323779" y="415643"/>
                      <a:pt x="317606" y="419231"/>
                      <a:pt x="312266" y="424986"/>
                    </a:cubicBezTo>
                    <a:cubicBezTo>
                      <a:pt x="309180" y="428073"/>
                      <a:pt x="306093" y="431660"/>
                      <a:pt x="304258" y="435164"/>
                    </a:cubicBezTo>
                    <a:cubicBezTo>
                      <a:pt x="301171" y="432911"/>
                      <a:pt x="298084" y="431160"/>
                      <a:pt x="295414" y="429408"/>
                    </a:cubicBezTo>
                    <a:cubicBezTo>
                      <a:pt x="290075" y="426321"/>
                      <a:pt x="281649" y="420565"/>
                      <a:pt x="282567" y="412140"/>
                    </a:cubicBezTo>
                    <a:cubicBezTo>
                      <a:pt x="282984" y="409887"/>
                      <a:pt x="283484" y="407301"/>
                      <a:pt x="282567" y="404131"/>
                    </a:cubicBezTo>
                    <a:cubicBezTo>
                      <a:pt x="281232" y="398375"/>
                      <a:pt x="277728" y="396123"/>
                      <a:pt x="274558" y="394371"/>
                    </a:cubicBezTo>
                    <a:cubicBezTo>
                      <a:pt x="264797" y="389533"/>
                      <a:pt x="254619" y="392619"/>
                      <a:pt x="244023" y="403214"/>
                    </a:cubicBezTo>
                    <a:cubicBezTo>
                      <a:pt x="242689" y="404548"/>
                      <a:pt x="240937" y="405883"/>
                      <a:pt x="239602" y="407635"/>
                    </a:cubicBezTo>
                    <a:cubicBezTo>
                      <a:pt x="235180" y="412473"/>
                      <a:pt x="231176" y="416978"/>
                      <a:pt x="225836" y="418229"/>
                    </a:cubicBezTo>
                    <a:cubicBezTo>
                      <a:pt x="222333" y="419147"/>
                      <a:pt x="217827" y="418646"/>
                      <a:pt x="213406" y="418229"/>
                    </a:cubicBezTo>
                    <a:cubicBezTo>
                      <a:pt x="206314" y="417312"/>
                      <a:pt x="197888" y="415977"/>
                      <a:pt x="190380" y="420899"/>
                    </a:cubicBezTo>
                    <a:cubicBezTo>
                      <a:pt x="185041" y="423985"/>
                      <a:pt x="181954" y="428907"/>
                      <a:pt x="178867" y="432828"/>
                    </a:cubicBezTo>
                    <a:cubicBezTo>
                      <a:pt x="176615" y="436332"/>
                      <a:pt x="174445" y="439502"/>
                      <a:pt x="172193" y="440836"/>
                    </a:cubicBezTo>
                    <a:cubicBezTo>
                      <a:pt x="166854" y="443506"/>
                      <a:pt x="158928" y="439084"/>
                      <a:pt x="152254" y="434663"/>
                    </a:cubicBezTo>
                    <a:cubicBezTo>
                      <a:pt x="150001" y="433329"/>
                      <a:pt x="147415" y="431577"/>
                      <a:pt x="146080" y="429324"/>
                    </a:cubicBezTo>
                    <a:cubicBezTo>
                      <a:pt x="145663" y="428407"/>
                      <a:pt x="145163" y="427072"/>
                      <a:pt x="144746" y="425821"/>
                    </a:cubicBezTo>
                    <a:cubicBezTo>
                      <a:pt x="144328" y="424486"/>
                      <a:pt x="143828" y="422734"/>
                      <a:pt x="143411" y="421399"/>
                    </a:cubicBezTo>
                    <a:cubicBezTo>
                      <a:pt x="141158" y="416561"/>
                      <a:pt x="138572" y="413391"/>
                      <a:pt x="135402" y="410304"/>
                    </a:cubicBezTo>
                    <a:cubicBezTo>
                      <a:pt x="134067" y="408970"/>
                      <a:pt x="132732" y="407218"/>
                      <a:pt x="131397" y="405883"/>
                    </a:cubicBezTo>
                    <a:cubicBezTo>
                      <a:pt x="127393" y="399710"/>
                      <a:pt x="126058" y="391702"/>
                      <a:pt x="124723" y="383276"/>
                    </a:cubicBezTo>
                    <a:lnTo>
                      <a:pt x="124306" y="381024"/>
                    </a:lnTo>
                    <a:cubicBezTo>
                      <a:pt x="122053" y="365507"/>
                      <a:pt x="118549" y="349992"/>
                      <a:pt x="114128" y="334976"/>
                    </a:cubicBezTo>
                    <a:cubicBezTo>
                      <a:pt x="112793" y="329637"/>
                      <a:pt x="109289" y="319042"/>
                      <a:pt x="99945" y="314121"/>
                    </a:cubicBezTo>
                    <a:cubicBezTo>
                      <a:pt x="98610" y="313704"/>
                      <a:pt x="97276" y="313203"/>
                      <a:pt x="96441" y="312786"/>
                    </a:cubicBezTo>
                    <a:cubicBezTo>
                      <a:pt x="95524" y="312369"/>
                      <a:pt x="94189" y="311868"/>
                      <a:pt x="93772" y="311868"/>
                    </a:cubicBezTo>
                    <a:cubicBezTo>
                      <a:pt x="92854" y="310950"/>
                      <a:pt x="92020" y="309199"/>
                      <a:pt x="91102" y="307447"/>
                    </a:cubicBezTo>
                    <a:cubicBezTo>
                      <a:pt x="90184" y="305195"/>
                      <a:pt x="88850" y="303026"/>
                      <a:pt x="87598" y="300773"/>
                    </a:cubicBezTo>
                    <a:cubicBezTo>
                      <a:pt x="83177" y="294600"/>
                      <a:pt x="77003" y="292348"/>
                      <a:pt x="71664" y="290179"/>
                    </a:cubicBezTo>
                    <a:cubicBezTo>
                      <a:pt x="68577" y="288844"/>
                      <a:pt x="65907" y="287926"/>
                      <a:pt x="63655" y="286675"/>
                    </a:cubicBezTo>
                    <a:cubicBezTo>
                      <a:pt x="60151" y="284006"/>
                      <a:pt x="57481" y="280001"/>
                      <a:pt x="54811" y="275580"/>
                    </a:cubicBezTo>
                    <a:cubicBezTo>
                      <a:pt x="53476" y="272911"/>
                      <a:pt x="51725" y="270742"/>
                      <a:pt x="49973" y="268490"/>
                    </a:cubicBezTo>
                    <a:cubicBezTo>
                      <a:pt x="43799" y="260064"/>
                      <a:pt x="35790" y="253891"/>
                      <a:pt x="26947" y="248969"/>
                    </a:cubicBezTo>
                    <a:cubicBezTo>
                      <a:pt x="29617" y="242796"/>
                      <a:pt x="29617" y="236123"/>
                      <a:pt x="22525" y="227280"/>
                    </a:cubicBezTo>
                    <a:cubicBezTo>
                      <a:pt x="19021" y="222858"/>
                      <a:pt x="15434" y="220189"/>
                      <a:pt x="11930" y="217102"/>
                    </a:cubicBezTo>
                    <a:cubicBezTo>
                      <a:pt x="4421" y="210929"/>
                      <a:pt x="0" y="206925"/>
                      <a:pt x="0" y="198917"/>
                    </a:cubicBezTo>
                    <a:cubicBezTo>
                      <a:pt x="0" y="197582"/>
                      <a:pt x="0" y="195830"/>
                      <a:pt x="417" y="194912"/>
                    </a:cubicBezTo>
                    <a:cubicBezTo>
                      <a:pt x="1335" y="190908"/>
                      <a:pt x="3921" y="188739"/>
                      <a:pt x="11012" y="185153"/>
                    </a:cubicBezTo>
                    <a:cubicBezTo>
                      <a:pt x="11930" y="184235"/>
                      <a:pt x="12347" y="184235"/>
                      <a:pt x="13265" y="183818"/>
                    </a:cubicBezTo>
                    <a:lnTo>
                      <a:pt x="17686" y="181148"/>
                    </a:lnTo>
                    <a:cubicBezTo>
                      <a:pt x="22525" y="178479"/>
                      <a:pt x="27864" y="175809"/>
                      <a:pt x="33621" y="173640"/>
                    </a:cubicBezTo>
                    <a:cubicBezTo>
                      <a:pt x="42047" y="170137"/>
                      <a:pt x="51308" y="165632"/>
                      <a:pt x="58899" y="159876"/>
                    </a:cubicBezTo>
                    <a:cubicBezTo>
                      <a:pt x="62904" y="156790"/>
                      <a:pt x="65991" y="153703"/>
                      <a:pt x="69077" y="150533"/>
                    </a:cubicBezTo>
                    <a:cubicBezTo>
                      <a:pt x="74417" y="145194"/>
                      <a:pt x="78838" y="140773"/>
                      <a:pt x="86347" y="138604"/>
                    </a:cubicBezTo>
                    <a:cubicBezTo>
                      <a:pt x="93021" y="136852"/>
                      <a:pt x="100112" y="136352"/>
                      <a:pt x="107203" y="135934"/>
                    </a:cubicBezTo>
                    <a:cubicBezTo>
                      <a:pt x="116964" y="135017"/>
                      <a:pt x="127142" y="134600"/>
                      <a:pt x="137320" y="130596"/>
                    </a:cubicBezTo>
                    <a:cubicBezTo>
                      <a:pt x="150585" y="125757"/>
                      <a:pt x="168355" y="117331"/>
                      <a:pt x="179368" y="106237"/>
                    </a:cubicBezTo>
                    <a:cubicBezTo>
                      <a:pt x="188211" y="97394"/>
                      <a:pt x="195719" y="84964"/>
                      <a:pt x="201476" y="72535"/>
                    </a:cubicBezTo>
                    <a:lnTo>
                      <a:pt x="203228" y="72535"/>
                    </a:lnTo>
                    <a:cubicBezTo>
                      <a:pt x="208066" y="72535"/>
                      <a:pt x="212989" y="71617"/>
                      <a:pt x="216993" y="69865"/>
                    </a:cubicBezTo>
                    <a:cubicBezTo>
                      <a:pt x="226754" y="65861"/>
                      <a:pt x="229424" y="58353"/>
                      <a:pt x="231176" y="52597"/>
                    </a:cubicBezTo>
                    <a:cubicBezTo>
                      <a:pt x="232511" y="49511"/>
                      <a:pt x="233428" y="46424"/>
                      <a:pt x="235180" y="44589"/>
                    </a:cubicBezTo>
                    <a:cubicBezTo>
                      <a:pt x="242271" y="37498"/>
                      <a:pt x="252449" y="42336"/>
                      <a:pt x="267967" y="51263"/>
                    </a:cubicBezTo>
                    <a:cubicBezTo>
                      <a:pt x="279897" y="58353"/>
                      <a:pt x="291910" y="65444"/>
                      <a:pt x="303841" y="62357"/>
                    </a:cubicBezTo>
                    <a:cubicBezTo>
                      <a:pt x="316271" y="58854"/>
                      <a:pt x="328201" y="47258"/>
                      <a:pt x="333040" y="34912"/>
                    </a:cubicBezTo>
                    <a:cubicBezTo>
                      <a:pt x="334375" y="30908"/>
                      <a:pt x="335292" y="26904"/>
                      <a:pt x="335292" y="23400"/>
                    </a:cubicBezTo>
                    <a:cubicBezTo>
                      <a:pt x="335710" y="21148"/>
                      <a:pt x="335710" y="19396"/>
                      <a:pt x="336210" y="17644"/>
                    </a:cubicBezTo>
                    <a:cubicBezTo>
                      <a:pt x="350810" y="18061"/>
                      <a:pt x="365410" y="18562"/>
                      <a:pt x="380093" y="18979"/>
                    </a:cubicBezTo>
                    <a:cubicBezTo>
                      <a:pt x="391188" y="19396"/>
                      <a:pt x="403118" y="19396"/>
                      <a:pt x="417301" y="18562"/>
                    </a:cubicBezTo>
                    <a:cubicBezTo>
                      <a:pt x="423975" y="18144"/>
                      <a:pt x="430149" y="19479"/>
                      <a:pt x="436823" y="20814"/>
                    </a:cubicBezTo>
                    <a:cubicBezTo>
                      <a:pt x="440827" y="21732"/>
                      <a:pt x="445249" y="22566"/>
                      <a:pt x="449671" y="23066"/>
                    </a:cubicBezTo>
                    <a:cubicBezTo>
                      <a:pt x="466022" y="25319"/>
                      <a:pt x="480205" y="16893"/>
                      <a:pt x="492635" y="9802"/>
                    </a:cubicBezTo>
                    <a:cubicBezTo>
                      <a:pt x="512157" y="-1292"/>
                      <a:pt x="523170" y="-7465"/>
                      <a:pt x="536935" y="16476"/>
                    </a:cubicBezTo>
                    <a:cubicBezTo>
                      <a:pt x="548448" y="36413"/>
                      <a:pt x="555539" y="37748"/>
                      <a:pt x="572391" y="39083"/>
                    </a:cubicBezTo>
                    <a:cubicBezTo>
                      <a:pt x="575061" y="39500"/>
                      <a:pt x="577731" y="39500"/>
                      <a:pt x="580818" y="40001"/>
                    </a:cubicBezTo>
                    <a:cubicBezTo>
                      <a:pt x="588826" y="40919"/>
                      <a:pt x="593665" y="44839"/>
                      <a:pt x="598504" y="50178"/>
                    </a:cubicBezTo>
                    <a:cubicBezTo>
                      <a:pt x="600256" y="51513"/>
                      <a:pt x="601591" y="53265"/>
                      <a:pt x="603343" y="55017"/>
                    </a:cubicBezTo>
                    <a:cubicBezTo>
                      <a:pt x="605095" y="56768"/>
                      <a:pt x="606430" y="58520"/>
                      <a:pt x="608182" y="60355"/>
                    </a:cubicBezTo>
                    <a:cubicBezTo>
                      <a:pt x="609933" y="62107"/>
                      <a:pt x="611268" y="63859"/>
                      <a:pt x="613521" y="65694"/>
                    </a:cubicBezTo>
                    <a:cubicBezTo>
                      <a:pt x="617943" y="69699"/>
                      <a:pt x="621947" y="74120"/>
                      <a:pt x="626369" y="78124"/>
                    </a:cubicBezTo>
                    <a:cubicBezTo>
                      <a:pt x="636547" y="87884"/>
                      <a:pt x="647225" y="97644"/>
                      <a:pt x="657821" y="106487"/>
                    </a:cubicBezTo>
                    <a:cubicBezTo>
                      <a:pt x="660073" y="108739"/>
                      <a:pt x="663160" y="110491"/>
                      <a:pt x="666664" y="112660"/>
                    </a:cubicBezTo>
                    <a:cubicBezTo>
                      <a:pt x="678177" y="120668"/>
                      <a:pt x="687020" y="127259"/>
                      <a:pt x="684851" y="135684"/>
                    </a:cubicBezTo>
                    <a:cubicBezTo>
                      <a:pt x="682598" y="142775"/>
                      <a:pt x="658238" y="162712"/>
                      <a:pt x="648060" y="166716"/>
                    </a:cubicBezTo>
                    <a:cubicBezTo>
                      <a:pt x="636964" y="170721"/>
                      <a:pt x="628538" y="166299"/>
                      <a:pt x="617943" y="161378"/>
                    </a:cubicBezTo>
                    <a:cubicBezTo>
                      <a:pt x="613104" y="159125"/>
                      <a:pt x="608182" y="156539"/>
                      <a:pt x="602425" y="154704"/>
                    </a:cubicBezTo>
                    <a:cubicBezTo>
                      <a:pt x="571891" y="144527"/>
                      <a:pt x="559460" y="167134"/>
                      <a:pt x="550116" y="183901"/>
                    </a:cubicBezTo>
                    <a:cubicBezTo>
                      <a:pt x="543943" y="194495"/>
                      <a:pt x="539521" y="202504"/>
                      <a:pt x="532847" y="205591"/>
                    </a:cubicBezTo>
                    <a:cubicBezTo>
                      <a:pt x="528843" y="208260"/>
                      <a:pt x="524004" y="208260"/>
                      <a:pt x="517747" y="206508"/>
                    </a:cubicBezTo>
                    <a:cubicBezTo>
                      <a:pt x="517330" y="206091"/>
                      <a:pt x="516829" y="206091"/>
                      <a:pt x="516412" y="206091"/>
                    </a:cubicBezTo>
                    <a:cubicBezTo>
                      <a:pt x="516412" y="206091"/>
                      <a:pt x="516412" y="205674"/>
                      <a:pt x="515995" y="205674"/>
                    </a:cubicBezTo>
                    <a:cubicBezTo>
                      <a:pt x="511573" y="204339"/>
                      <a:pt x="507152" y="201253"/>
                      <a:pt x="502230" y="198166"/>
                    </a:cubicBezTo>
                    <a:cubicBezTo>
                      <a:pt x="491134" y="191075"/>
                      <a:pt x="477452" y="182233"/>
                      <a:pt x="460599" y="189741"/>
                    </a:cubicBezTo>
                    <a:cubicBezTo>
                      <a:pt x="455260" y="192410"/>
                      <a:pt x="451756" y="196831"/>
                      <a:pt x="449504" y="200335"/>
                    </a:cubicBezTo>
                    <a:cubicBezTo>
                      <a:pt x="447752" y="202587"/>
                      <a:pt x="446417" y="204756"/>
                      <a:pt x="444665" y="205674"/>
                    </a:cubicBezTo>
                    <a:cubicBezTo>
                      <a:pt x="441578" y="207926"/>
                      <a:pt x="439326" y="207008"/>
                      <a:pt x="434487" y="206091"/>
                    </a:cubicBezTo>
                    <a:cubicBezTo>
                      <a:pt x="430482" y="204756"/>
                      <a:pt x="425143" y="203422"/>
                      <a:pt x="418970" y="204756"/>
                    </a:cubicBezTo>
                    <a:cubicBezTo>
                      <a:pt x="401366" y="208927"/>
                      <a:pt x="402701" y="221774"/>
                      <a:pt x="404036" y="23061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54804526" name="Полилиния 381"/>
              <p:cNvSpPr/>
              <p:nvPr/>
            </p:nvSpPr>
            <p:spPr bwMode="auto">
              <a:xfrm>
                <a:off x="2577989" y="4787407"/>
                <a:ext cx="388255" cy="346077"/>
              </a:xfrm>
              <a:custGeom>
                <a:avLst/>
                <a:gdLst>
                  <a:gd name="connsiteX0" fmla="*/ 140825 w 436025"/>
                  <a:gd name="connsiteY0" fmla="*/ 385570 h 388656"/>
                  <a:gd name="connsiteX1" fmla="*/ 118216 w 436025"/>
                  <a:gd name="connsiteY1" fmla="*/ 388656 h 388656"/>
                  <a:gd name="connsiteX2" fmla="*/ 117799 w 436025"/>
                  <a:gd name="connsiteY2" fmla="*/ 370471 h 388656"/>
                  <a:gd name="connsiteX3" fmla="*/ 100112 w 436025"/>
                  <a:gd name="connsiteY3" fmla="*/ 342525 h 388656"/>
                  <a:gd name="connsiteX4" fmla="*/ 88599 w 436025"/>
                  <a:gd name="connsiteY4" fmla="*/ 330095 h 388656"/>
                  <a:gd name="connsiteX5" fmla="*/ 88182 w 436025"/>
                  <a:gd name="connsiteY5" fmla="*/ 320752 h 388656"/>
                  <a:gd name="connsiteX6" fmla="*/ 87765 w 436025"/>
                  <a:gd name="connsiteY6" fmla="*/ 307905 h 388656"/>
                  <a:gd name="connsiteX7" fmla="*/ 77170 w 436025"/>
                  <a:gd name="connsiteY7" fmla="*/ 287968 h 388656"/>
                  <a:gd name="connsiteX8" fmla="*/ 72331 w 436025"/>
                  <a:gd name="connsiteY8" fmla="*/ 281294 h 388656"/>
                  <a:gd name="connsiteX9" fmla="*/ 62987 w 436025"/>
                  <a:gd name="connsiteY9" fmla="*/ 255183 h 388656"/>
                  <a:gd name="connsiteX10" fmla="*/ 54978 w 436025"/>
                  <a:gd name="connsiteY10" fmla="*/ 229907 h 388656"/>
                  <a:gd name="connsiteX11" fmla="*/ 36791 w 436025"/>
                  <a:gd name="connsiteY11" fmla="*/ 209552 h 388656"/>
                  <a:gd name="connsiteX12" fmla="*/ 23026 w 436025"/>
                  <a:gd name="connsiteY12" fmla="*/ 194954 h 388656"/>
                  <a:gd name="connsiteX13" fmla="*/ 21691 w 436025"/>
                  <a:gd name="connsiteY13" fmla="*/ 185611 h 388656"/>
                  <a:gd name="connsiteX14" fmla="*/ 20356 w 436025"/>
                  <a:gd name="connsiteY14" fmla="*/ 176768 h 388656"/>
                  <a:gd name="connsiteX15" fmla="*/ 8426 w 436025"/>
                  <a:gd name="connsiteY15" fmla="*/ 153744 h 388656"/>
                  <a:gd name="connsiteX16" fmla="*/ 6174 w 436025"/>
                  <a:gd name="connsiteY16" fmla="*/ 151075 h 388656"/>
                  <a:gd name="connsiteX17" fmla="*/ 0 w 436025"/>
                  <a:gd name="connsiteY17" fmla="*/ 137310 h 388656"/>
                  <a:gd name="connsiteX18" fmla="*/ 6174 w 436025"/>
                  <a:gd name="connsiteY18" fmla="*/ 135558 h 388656"/>
                  <a:gd name="connsiteX19" fmla="*/ 24778 w 436025"/>
                  <a:gd name="connsiteY19" fmla="*/ 125798 h 388656"/>
                  <a:gd name="connsiteX20" fmla="*/ 19438 w 436025"/>
                  <a:gd name="connsiteY20" fmla="*/ 91262 h 388656"/>
                  <a:gd name="connsiteX21" fmla="*/ 15017 w 436025"/>
                  <a:gd name="connsiteY21" fmla="*/ 84171 h 388656"/>
                  <a:gd name="connsiteX22" fmla="*/ 10178 w 436025"/>
                  <a:gd name="connsiteY22" fmla="*/ 50469 h 388656"/>
                  <a:gd name="connsiteX23" fmla="*/ 23443 w 436025"/>
                  <a:gd name="connsiteY23" fmla="*/ 25193 h 388656"/>
                  <a:gd name="connsiteX24" fmla="*/ 46052 w 436025"/>
                  <a:gd name="connsiteY24" fmla="*/ 22941 h 388656"/>
                  <a:gd name="connsiteX25" fmla="*/ 71747 w 436025"/>
                  <a:gd name="connsiteY25" fmla="*/ 19437 h 388656"/>
                  <a:gd name="connsiteX26" fmla="*/ 76586 w 436025"/>
                  <a:gd name="connsiteY26" fmla="*/ 15933 h 388656"/>
                  <a:gd name="connsiteX27" fmla="*/ 98277 w 436025"/>
                  <a:gd name="connsiteY27" fmla="*/ 9760 h 388656"/>
                  <a:gd name="connsiteX28" fmla="*/ 106703 w 436025"/>
                  <a:gd name="connsiteY28" fmla="*/ 16434 h 388656"/>
                  <a:gd name="connsiteX29" fmla="*/ 117799 w 436025"/>
                  <a:gd name="connsiteY29" fmla="*/ 25276 h 388656"/>
                  <a:gd name="connsiteX30" fmla="*/ 139907 w 436025"/>
                  <a:gd name="connsiteY30" fmla="*/ 24359 h 388656"/>
                  <a:gd name="connsiteX31" fmla="*/ 150085 w 436025"/>
                  <a:gd name="connsiteY31" fmla="*/ 22106 h 388656"/>
                  <a:gd name="connsiteX32" fmla="*/ 177532 w 436025"/>
                  <a:gd name="connsiteY32" fmla="*/ 43379 h 388656"/>
                  <a:gd name="connsiteX33" fmla="*/ 212989 w 436025"/>
                  <a:gd name="connsiteY33" fmla="*/ 69072 h 388656"/>
                  <a:gd name="connsiteX34" fmla="*/ 279396 w 436025"/>
                  <a:gd name="connsiteY34" fmla="*/ 34119 h 388656"/>
                  <a:gd name="connsiteX35" fmla="*/ 294914 w 436025"/>
                  <a:gd name="connsiteY35" fmla="*/ 0 h 388656"/>
                  <a:gd name="connsiteX36" fmla="*/ 298418 w 436025"/>
                  <a:gd name="connsiteY36" fmla="*/ 5339 h 388656"/>
                  <a:gd name="connsiteX37" fmla="*/ 308596 w 436025"/>
                  <a:gd name="connsiteY37" fmla="*/ 13347 h 388656"/>
                  <a:gd name="connsiteX38" fmla="*/ 315687 w 436025"/>
                  <a:gd name="connsiteY38" fmla="*/ 18186 h 388656"/>
                  <a:gd name="connsiteX39" fmla="*/ 321444 w 436025"/>
                  <a:gd name="connsiteY39" fmla="*/ 25276 h 388656"/>
                  <a:gd name="connsiteX40" fmla="*/ 344052 w 436025"/>
                  <a:gd name="connsiteY40" fmla="*/ 39875 h 388656"/>
                  <a:gd name="connsiteX41" fmla="*/ 369748 w 436025"/>
                  <a:gd name="connsiteY41" fmla="*/ 36371 h 388656"/>
                  <a:gd name="connsiteX42" fmla="*/ 395443 w 436025"/>
                  <a:gd name="connsiteY42" fmla="*/ 33285 h 388656"/>
                  <a:gd name="connsiteX43" fmla="*/ 429565 w 436025"/>
                  <a:gd name="connsiteY43" fmla="*/ 69573 h 388656"/>
                  <a:gd name="connsiteX44" fmla="*/ 434403 w 436025"/>
                  <a:gd name="connsiteY44" fmla="*/ 120543 h 388656"/>
                  <a:gd name="connsiteX45" fmla="*/ 421139 w 436025"/>
                  <a:gd name="connsiteY45" fmla="*/ 151992 h 388656"/>
                  <a:gd name="connsiteX46" fmla="*/ 410543 w 436025"/>
                  <a:gd name="connsiteY46" fmla="*/ 171930 h 388656"/>
                  <a:gd name="connsiteX47" fmla="*/ 388852 w 436025"/>
                  <a:gd name="connsiteY47" fmla="*/ 195871 h 388656"/>
                  <a:gd name="connsiteX48" fmla="*/ 376005 w 436025"/>
                  <a:gd name="connsiteY48" fmla="*/ 205214 h 388656"/>
                  <a:gd name="connsiteX49" fmla="*/ 357400 w 436025"/>
                  <a:gd name="connsiteY49" fmla="*/ 233577 h 388656"/>
                  <a:gd name="connsiteX50" fmla="*/ 347222 w 436025"/>
                  <a:gd name="connsiteY50" fmla="*/ 251763 h 388656"/>
                  <a:gd name="connsiteX51" fmla="*/ 307762 w 436025"/>
                  <a:gd name="connsiteY51" fmla="*/ 283213 h 388656"/>
                  <a:gd name="connsiteX52" fmla="*/ 293996 w 436025"/>
                  <a:gd name="connsiteY52" fmla="*/ 284547 h 388656"/>
                  <a:gd name="connsiteX53" fmla="*/ 286905 w 436025"/>
                  <a:gd name="connsiteY53" fmla="*/ 284547 h 388656"/>
                  <a:gd name="connsiteX54" fmla="*/ 265631 w 436025"/>
                  <a:gd name="connsiteY54" fmla="*/ 293890 h 388656"/>
                  <a:gd name="connsiteX55" fmla="*/ 259457 w 436025"/>
                  <a:gd name="connsiteY55" fmla="*/ 300981 h 388656"/>
                  <a:gd name="connsiteX56" fmla="*/ 247945 w 436025"/>
                  <a:gd name="connsiteY56" fmla="*/ 309824 h 388656"/>
                  <a:gd name="connsiteX57" fmla="*/ 240853 w 436025"/>
                  <a:gd name="connsiteY57" fmla="*/ 312076 h 388656"/>
                  <a:gd name="connsiteX58" fmla="*/ 220497 w 436025"/>
                  <a:gd name="connsiteY58" fmla="*/ 320919 h 388656"/>
                  <a:gd name="connsiteX59" fmla="*/ 200975 w 436025"/>
                  <a:gd name="connsiteY59" fmla="*/ 347947 h 388656"/>
                  <a:gd name="connsiteX60" fmla="*/ 183706 w 436025"/>
                  <a:gd name="connsiteY60" fmla="*/ 372306 h 388656"/>
                  <a:gd name="connsiteX61" fmla="*/ 140825 w 436025"/>
                  <a:gd name="connsiteY61" fmla="*/ 385570 h 388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436025" h="388656" extrusionOk="0">
                    <a:moveTo>
                      <a:pt x="140825" y="385570"/>
                    </a:moveTo>
                    <a:cubicBezTo>
                      <a:pt x="133316" y="386487"/>
                      <a:pt x="125724" y="387321"/>
                      <a:pt x="118216" y="388656"/>
                    </a:cubicBezTo>
                    <a:cubicBezTo>
                      <a:pt x="118633" y="382483"/>
                      <a:pt x="118633" y="376227"/>
                      <a:pt x="117799" y="370471"/>
                    </a:cubicBezTo>
                    <a:cubicBezTo>
                      <a:pt x="116464" y="354537"/>
                      <a:pt x="107203" y="347446"/>
                      <a:pt x="100112" y="342525"/>
                    </a:cubicBezTo>
                    <a:cubicBezTo>
                      <a:pt x="95273" y="339021"/>
                      <a:pt x="90768" y="335851"/>
                      <a:pt x="88599" y="330095"/>
                    </a:cubicBezTo>
                    <a:cubicBezTo>
                      <a:pt x="87681" y="327843"/>
                      <a:pt x="87681" y="324339"/>
                      <a:pt x="88182" y="320752"/>
                    </a:cubicBezTo>
                    <a:cubicBezTo>
                      <a:pt x="88599" y="316331"/>
                      <a:pt x="89100" y="312326"/>
                      <a:pt x="87765" y="307905"/>
                    </a:cubicBezTo>
                    <a:cubicBezTo>
                      <a:pt x="85513" y="299063"/>
                      <a:pt x="81091" y="293307"/>
                      <a:pt x="77170" y="287968"/>
                    </a:cubicBezTo>
                    <a:cubicBezTo>
                      <a:pt x="75835" y="285715"/>
                      <a:pt x="74083" y="283963"/>
                      <a:pt x="72331" y="281294"/>
                    </a:cubicBezTo>
                    <a:cubicBezTo>
                      <a:pt x="67492" y="273786"/>
                      <a:pt x="65240" y="264944"/>
                      <a:pt x="62987" y="255183"/>
                    </a:cubicBezTo>
                    <a:cubicBezTo>
                      <a:pt x="61235" y="246758"/>
                      <a:pt x="58983" y="237915"/>
                      <a:pt x="54978" y="229907"/>
                    </a:cubicBezTo>
                    <a:cubicBezTo>
                      <a:pt x="50557" y="221064"/>
                      <a:pt x="43048" y="214808"/>
                      <a:pt x="36791" y="209552"/>
                    </a:cubicBezTo>
                    <a:cubicBezTo>
                      <a:pt x="31035" y="205131"/>
                      <a:pt x="25696" y="200710"/>
                      <a:pt x="23026" y="194954"/>
                    </a:cubicBezTo>
                    <a:cubicBezTo>
                      <a:pt x="21691" y="192701"/>
                      <a:pt x="21691" y="189615"/>
                      <a:pt x="21691" y="185611"/>
                    </a:cubicBezTo>
                    <a:cubicBezTo>
                      <a:pt x="21274" y="182524"/>
                      <a:pt x="21274" y="179438"/>
                      <a:pt x="20356" y="176768"/>
                    </a:cubicBezTo>
                    <a:cubicBezTo>
                      <a:pt x="18104" y="167008"/>
                      <a:pt x="13682" y="160835"/>
                      <a:pt x="8426" y="153744"/>
                    </a:cubicBezTo>
                    <a:lnTo>
                      <a:pt x="6174" y="151075"/>
                    </a:lnTo>
                    <a:cubicBezTo>
                      <a:pt x="3504" y="147571"/>
                      <a:pt x="1752" y="142649"/>
                      <a:pt x="0" y="137310"/>
                    </a:cubicBezTo>
                    <a:cubicBezTo>
                      <a:pt x="1752" y="136393"/>
                      <a:pt x="4005" y="135975"/>
                      <a:pt x="6174" y="135558"/>
                    </a:cubicBezTo>
                    <a:cubicBezTo>
                      <a:pt x="12347" y="134224"/>
                      <a:pt x="19939" y="132889"/>
                      <a:pt x="24778" y="125798"/>
                    </a:cubicBezTo>
                    <a:cubicBezTo>
                      <a:pt x="33621" y="113368"/>
                      <a:pt x="25195" y="100105"/>
                      <a:pt x="19438" y="91262"/>
                    </a:cubicBezTo>
                    <a:cubicBezTo>
                      <a:pt x="18104" y="88593"/>
                      <a:pt x="16352" y="86424"/>
                      <a:pt x="15017" y="84171"/>
                    </a:cubicBezTo>
                    <a:cubicBezTo>
                      <a:pt x="10178" y="73577"/>
                      <a:pt x="8343" y="61564"/>
                      <a:pt x="10178" y="50469"/>
                    </a:cubicBezTo>
                    <a:cubicBezTo>
                      <a:pt x="11930" y="38540"/>
                      <a:pt x="16352" y="30115"/>
                      <a:pt x="23443" y="25193"/>
                    </a:cubicBezTo>
                    <a:cubicBezTo>
                      <a:pt x="29199" y="21189"/>
                      <a:pt x="37208" y="20772"/>
                      <a:pt x="46052" y="22941"/>
                    </a:cubicBezTo>
                    <a:cubicBezTo>
                      <a:pt x="59817" y="26444"/>
                      <a:pt x="62403" y="26027"/>
                      <a:pt x="71747" y="19437"/>
                    </a:cubicBezTo>
                    <a:cubicBezTo>
                      <a:pt x="73082" y="18520"/>
                      <a:pt x="74417" y="17185"/>
                      <a:pt x="76586" y="15933"/>
                    </a:cubicBezTo>
                    <a:cubicBezTo>
                      <a:pt x="85012" y="10177"/>
                      <a:pt x="90351" y="7508"/>
                      <a:pt x="98277" y="9760"/>
                    </a:cubicBezTo>
                    <a:cubicBezTo>
                      <a:pt x="101364" y="10678"/>
                      <a:pt x="103616" y="12847"/>
                      <a:pt x="106703" y="16434"/>
                    </a:cubicBezTo>
                    <a:cubicBezTo>
                      <a:pt x="109372" y="19520"/>
                      <a:pt x="112877" y="23108"/>
                      <a:pt x="117799" y="25276"/>
                    </a:cubicBezTo>
                    <a:cubicBezTo>
                      <a:pt x="127142" y="29698"/>
                      <a:pt x="134651" y="26611"/>
                      <a:pt x="139907" y="24359"/>
                    </a:cubicBezTo>
                    <a:cubicBezTo>
                      <a:pt x="144328" y="22607"/>
                      <a:pt x="146998" y="21689"/>
                      <a:pt x="150085" y="22106"/>
                    </a:cubicBezTo>
                    <a:cubicBezTo>
                      <a:pt x="159846" y="23858"/>
                      <a:pt x="168272" y="33201"/>
                      <a:pt x="177532" y="43379"/>
                    </a:cubicBezTo>
                    <a:cubicBezTo>
                      <a:pt x="187710" y="54473"/>
                      <a:pt x="198389" y="65986"/>
                      <a:pt x="212989" y="69072"/>
                    </a:cubicBezTo>
                    <a:cubicBezTo>
                      <a:pt x="233345" y="73494"/>
                      <a:pt x="269218" y="46048"/>
                      <a:pt x="279396" y="34119"/>
                    </a:cubicBezTo>
                    <a:cubicBezTo>
                      <a:pt x="286905" y="25276"/>
                      <a:pt x="291827" y="12847"/>
                      <a:pt x="294914" y="0"/>
                    </a:cubicBezTo>
                    <a:cubicBezTo>
                      <a:pt x="295831" y="1752"/>
                      <a:pt x="297166" y="3504"/>
                      <a:pt x="298418" y="5339"/>
                    </a:cubicBezTo>
                    <a:cubicBezTo>
                      <a:pt x="301505" y="8426"/>
                      <a:pt x="305509" y="11095"/>
                      <a:pt x="308596" y="13347"/>
                    </a:cubicBezTo>
                    <a:cubicBezTo>
                      <a:pt x="311265" y="14682"/>
                      <a:pt x="313935" y="16434"/>
                      <a:pt x="315687" y="18186"/>
                    </a:cubicBezTo>
                    <a:cubicBezTo>
                      <a:pt x="318357" y="20438"/>
                      <a:pt x="320109" y="23024"/>
                      <a:pt x="321444" y="25276"/>
                    </a:cubicBezTo>
                    <a:cubicBezTo>
                      <a:pt x="325865" y="31450"/>
                      <a:pt x="331205" y="38540"/>
                      <a:pt x="344052" y="39875"/>
                    </a:cubicBezTo>
                    <a:cubicBezTo>
                      <a:pt x="352896" y="40793"/>
                      <a:pt x="361739" y="38540"/>
                      <a:pt x="369748" y="36371"/>
                    </a:cubicBezTo>
                    <a:cubicBezTo>
                      <a:pt x="378591" y="33702"/>
                      <a:pt x="387017" y="31533"/>
                      <a:pt x="395443" y="33285"/>
                    </a:cubicBezTo>
                    <a:cubicBezTo>
                      <a:pt x="407874" y="35954"/>
                      <a:pt x="421139" y="53639"/>
                      <a:pt x="429565" y="69573"/>
                    </a:cubicBezTo>
                    <a:cubicBezTo>
                      <a:pt x="437073" y="84171"/>
                      <a:pt x="437073" y="105443"/>
                      <a:pt x="434403" y="120543"/>
                    </a:cubicBezTo>
                    <a:cubicBezTo>
                      <a:pt x="432151" y="132472"/>
                      <a:pt x="426895" y="142232"/>
                      <a:pt x="421139" y="151992"/>
                    </a:cubicBezTo>
                    <a:cubicBezTo>
                      <a:pt x="417635" y="158165"/>
                      <a:pt x="413630" y="164422"/>
                      <a:pt x="410543" y="171930"/>
                    </a:cubicBezTo>
                    <a:cubicBezTo>
                      <a:pt x="405705" y="184359"/>
                      <a:pt x="399031" y="189198"/>
                      <a:pt x="388852" y="195871"/>
                    </a:cubicBezTo>
                    <a:cubicBezTo>
                      <a:pt x="385348" y="198541"/>
                      <a:pt x="380844" y="201210"/>
                      <a:pt x="376005" y="205214"/>
                    </a:cubicBezTo>
                    <a:cubicBezTo>
                      <a:pt x="365827" y="214057"/>
                      <a:pt x="361405" y="223817"/>
                      <a:pt x="357400" y="233577"/>
                    </a:cubicBezTo>
                    <a:cubicBezTo>
                      <a:pt x="354731" y="240251"/>
                      <a:pt x="352061" y="246424"/>
                      <a:pt x="347222" y="251763"/>
                    </a:cubicBezTo>
                    <a:cubicBezTo>
                      <a:pt x="338379" y="262358"/>
                      <a:pt x="322862" y="277457"/>
                      <a:pt x="307762" y="283213"/>
                    </a:cubicBezTo>
                    <a:cubicBezTo>
                      <a:pt x="302923" y="284965"/>
                      <a:pt x="299336" y="284965"/>
                      <a:pt x="293996" y="284547"/>
                    </a:cubicBezTo>
                    <a:lnTo>
                      <a:pt x="286905" y="284547"/>
                    </a:lnTo>
                    <a:cubicBezTo>
                      <a:pt x="274474" y="284965"/>
                      <a:pt x="272305" y="286800"/>
                      <a:pt x="265631" y="293890"/>
                    </a:cubicBezTo>
                    <a:lnTo>
                      <a:pt x="259457" y="300981"/>
                    </a:lnTo>
                    <a:cubicBezTo>
                      <a:pt x="255954" y="305403"/>
                      <a:pt x="254118" y="307655"/>
                      <a:pt x="247945" y="309824"/>
                    </a:cubicBezTo>
                    <a:cubicBezTo>
                      <a:pt x="245275" y="310741"/>
                      <a:pt x="243106" y="311159"/>
                      <a:pt x="240853" y="312076"/>
                    </a:cubicBezTo>
                    <a:cubicBezTo>
                      <a:pt x="234179" y="313411"/>
                      <a:pt x="227088" y="315163"/>
                      <a:pt x="220497" y="320919"/>
                    </a:cubicBezTo>
                    <a:cubicBezTo>
                      <a:pt x="211654" y="328427"/>
                      <a:pt x="206315" y="338187"/>
                      <a:pt x="200975" y="347947"/>
                    </a:cubicBezTo>
                    <a:cubicBezTo>
                      <a:pt x="196136" y="357290"/>
                      <a:pt x="191214" y="366133"/>
                      <a:pt x="183706" y="372306"/>
                    </a:cubicBezTo>
                    <a:cubicBezTo>
                      <a:pt x="175363" y="381065"/>
                      <a:pt x="157677" y="383317"/>
                      <a:pt x="140825" y="38557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87197156" name="Полилиния 382"/>
              <p:cNvSpPr/>
              <p:nvPr/>
            </p:nvSpPr>
            <p:spPr bwMode="auto">
              <a:xfrm>
                <a:off x="2702790" y="4302252"/>
                <a:ext cx="309053" cy="222420"/>
              </a:xfrm>
              <a:custGeom>
                <a:avLst/>
                <a:gdLst>
                  <a:gd name="connsiteX0" fmla="*/ 127810 w 347078"/>
                  <a:gd name="connsiteY0" fmla="*/ 213249 h 249786"/>
                  <a:gd name="connsiteX1" fmla="*/ 130062 w 347078"/>
                  <a:gd name="connsiteY1" fmla="*/ 199485 h 249786"/>
                  <a:gd name="connsiteX2" fmla="*/ 122554 w 347078"/>
                  <a:gd name="connsiteY2" fmla="*/ 176460 h 249786"/>
                  <a:gd name="connsiteX3" fmla="*/ 116798 w 347078"/>
                  <a:gd name="connsiteY3" fmla="*/ 171622 h 249786"/>
                  <a:gd name="connsiteX4" fmla="*/ 112376 w 347078"/>
                  <a:gd name="connsiteY4" fmla="*/ 168118 h 249786"/>
                  <a:gd name="connsiteX5" fmla="*/ 110624 w 347078"/>
                  <a:gd name="connsiteY5" fmla="*/ 163280 h 249786"/>
                  <a:gd name="connsiteX6" fmla="*/ 111542 w 347078"/>
                  <a:gd name="connsiteY6" fmla="*/ 148682 h 249786"/>
                  <a:gd name="connsiteX7" fmla="*/ 112459 w 347078"/>
                  <a:gd name="connsiteY7" fmla="*/ 136252 h 249786"/>
                  <a:gd name="connsiteX8" fmla="*/ 101864 w 347078"/>
                  <a:gd name="connsiteY8" fmla="*/ 125157 h 249786"/>
                  <a:gd name="connsiteX9" fmla="*/ 46469 w 347078"/>
                  <a:gd name="connsiteY9" fmla="*/ 119818 h 249786"/>
                  <a:gd name="connsiteX10" fmla="*/ 36708 w 347078"/>
                  <a:gd name="connsiteY10" fmla="*/ 119401 h 249786"/>
                  <a:gd name="connsiteX11" fmla="*/ 31869 w 347078"/>
                  <a:gd name="connsiteY11" fmla="*/ 116314 h 249786"/>
                  <a:gd name="connsiteX12" fmla="*/ 27030 w 347078"/>
                  <a:gd name="connsiteY12" fmla="*/ 112811 h 249786"/>
                  <a:gd name="connsiteX13" fmla="*/ 417 w 347078"/>
                  <a:gd name="connsiteY13" fmla="*/ 107472 h 249786"/>
                  <a:gd name="connsiteX14" fmla="*/ 0 w 347078"/>
                  <a:gd name="connsiteY14" fmla="*/ 107472 h 249786"/>
                  <a:gd name="connsiteX15" fmla="*/ 2252 w 347078"/>
                  <a:gd name="connsiteY15" fmla="*/ 84865 h 249786"/>
                  <a:gd name="connsiteX16" fmla="*/ 4505 w 347078"/>
                  <a:gd name="connsiteY16" fmla="*/ 63176 h 249786"/>
                  <a:gd name="connsiteX17" fmla="*/ 5840 w 347078"/>
                  <a:gd name="connsiteY17" fmla="*/ 34813 h 249786"/>
                  <a:gd name="connsiteX18" fmla="*/ 4922 w 347078"/>
                  <a:gd name="connsiteY18" fmla="*/ 28139 h 249786"/>
                  <a:gd name="connsiteX19" fmla="*/ 8927 w 347078"/>
                  <a:gd name="connsiteY19" fmla="*/ 17544 h 249786"/>
                  <a:gd name="connsiteX20" fmla="*/ 17353 w 347078"/>
                  <a:gd name="connsiteY20" fmla="*/ 18462 h 249786"/>
                  <a:gd name="connsiteX21" fmla="*/ 39044 w 347078"/>
                  <a:gd name="connsiteY21" fmla="*/ 16710 h 249786"/>
                  <a:gd name="connsiteX22" fmla="*/ 47887 w 347078"/>
                  <a:gd name="connsiteY22" fmla="*/ 7868 h 249786"/>
                  <a:gd name="connsiteX23" fmla="*/ 54061 w 347078"/>
                  <a:gd name="connsiteY23" fmla="*/ 1694 h 249786"/>
                  <a:gd name="connsiteX24" fmla="*/ 82009 w 347078"/>
                  <a:gd name="connsiteY24" fmla="*/ 9202 h 249786"/>
                  <a:gd name="connsiteX25" fmla="*/ 100613 w 347078"/>
                  <a:gd name="connsiteY25" fmla="*/ 18963 h 249786"/>
                  <a:gd name="connsiteX26" fmla="*/ 113460 w 347078"/>
                  <a:gd name="connsiteY26" fmla="*/ 21215 h 249786"/>
                  <a:gd name="connsiteX27" fmla="*/ 138739 w 347078"/>
                  <a:gd name="connsiteY27" fmla="*/ 58838 h 249786"/>
                  <a:gd name="connsiteX28" fmla="*/ 185708 w 347078"/>
                  <a:gd name="connsiteY28" fmla="*/ 78775 h 249786"/>
                  <a:gd name="connsiteX29" fmla="*/ 201225 w 347078"/>
                  <a:gd name="connsiteY29" fmla="*/ 79693 h 249786"/>
                  <a:gd name="connsiteX30" fmla="*/ 252199 w 347078"/>
                  <a:gd name="connsiteY30" fmla="*/ 91205 h 249786"/>
                  <a:gd name="connsiteX31" fmla="*/ 263295 w 347078"/>
                  <a:gd name="connsiteY31" fmla="*/ 96961 h 249786"/>
                  <a:gd name="connsiteX32" fmla="*/ 273473 w 347078"/>
                  <a:gd name="connsiteY32" fmla="*/ 102717 h 249786"/>
                  <a:gd name="connsiteX33" fmla="*/ 288073 w 347078"/>
                  <a:gd name="connsiteY33" fmla="*/ 106221 h 249786"/>
                  <a:gd name="connsiteX34" fmla="*/ 301338 w 347078"/>
                  <a:gd name="connsiteY34" fmla="*/ 109724 h 249786"/>
                  <a:gd name="connsiteX35" fmla="*/ 307094 w 347078"/>
                  <a:gd name="connsiteY35" fmla="*/ 119484 h 249786"/>
                  <a:gd name="connsiteX36" fmla="*/ 308846 w 347078"/>
                  <a:gd name="connsiteY36" fmla="*/ 129661 h 249786"/>
                  <a:gd name="connsiteX37" fmla="*/ 323446 w 347078"/>
                  <a:gd name="connsiteY37" fmla="*/ 145178 h 249786"/>
                  <a:gd name="connsiteX38" fmla="*/ 329202 w 347078"/>
                  <a:gd name="connsiteY38" fmla="*/ 147847 h 249786"/>
                  <a:gd name="connsiteX39" fmla="*/ 332706 w 347078"/>
                  <a:gd name="connsiteY39" fmla="*/ 150099 h 249786"/>
                  <a:gd name="connsiteX40" fmla="*/ 342467 w 347078"/>
                  <a:gd name="connsiteY40" fmla="*/ 158525 h 249786"/>
                  <a:gd name="connsiteX41" fmla="*/ 338046 w 347078"/>
                  <a:gd name="connsiteY41" fmla="*/ 166951 h 249786"/>
                  <a:gd name="connsiteX42" fmla="*/ 331371 w 347078"/>
                  <a:gd name="connsiteY42" fmla="*/ 185970 h 249786"/>
                  <a:gd name="connsiteX43" fmla="*/ 341132 w 347078"/>
                  <a:gd name="connsiteY43" fmla="*/ 198817 h 249786"/>
                  <a:gd name="connsiteX44" fmla="*/ 346472 w 347078"/>
                  <a:gd name="connsiteY44" fmla="*/ 204573 h 249786"/>
                  <a:gd name="connsiteX45" fmla="*/ 344219 w 347078"/>
                  <a:gd name="connsiteY45" fmla="*/ 215167 h 249786"/>
                  <a:gd name="connsiteX46" fmla="*/ 339380 w 347078"/>
                  <a:gd name="connsiteY46" fmla="*/ 226263 h 249786"/>
                  <a:gd name="connsiteX47" fmla="*/ 338963 w 347078"/>
                  <a:gd name="connsiteY47" fmla="*/ 232436 h 249786"/>
                  <a:gd name="connsiteX48" fmla="*/ 332790 w 347078"/>
                  <a:gd name="connsiteY48" fmla="*/ 236440 h 249786"/>
                  <a:gd name="connsiteX49" fmla="*/ 308429 w 347078"/>
                  <a:gd name="connsiteY49" fmla="*/ 231101 h 249786"/>
                  <a:gd name="connsiteX50" fmla="*/ 305759 w 347078"/>
                  <a:gd name="connsiteY50" fmla="*/ 228849 h 249786"/>
                  <a:gd name="connsiteX51" fmla="*/ 272055 w 347078"/>
                  <a:gd name="connsiteY51" fmla="*/ 220423 h 249786"/>
                  <a:gd name="connsiteX52" fmla="*/ 264046 w 347078"/>
                  <a:gd name="connsiteY52" fmla="*/ 224427 h 249786"/>
                  <a:gd name="connsiteX53" fmla="*/ 259207 w 347078"/>
                  <a:gd name="connsiteY53" fmla="*/ 226680 h 249786"/>
                  <a:gd name="connsiteX54" fmla="*/ 250781 w 347078"/>
                  <a:gd name="connsiteY54" fmla="*/ 223593 h 249786"/>
                  <a:gd name="connsiteX55" fmla="*/ 240186 w 347078"/>
                  <a:gd name="connsiteY55" fmla="*/ 219172 h 249786"/>
                  <a:gd name="connsiteX56" fmla="*/ 211404 w 347078"/>
                  <a:gd name="connsiteY56" fmla="*/ 227180 h 249786"/>
                  <a:gd name="connsiteX57" fmla="*/ 203395 w 347078"/>
                  <a:gd name="connsiteY57" fmla="*/ 232519 h 249786"/>
                  <a:gd name="connsiteX58" fmla="*/ 164434 w 347078"/>
                  <a:gd name="connsiteY58" fmla="*/ 244448 h 249786"/>
                  <a:gd name="connsiteX59" fmla="*/ 148917 w 347078"/>
                  <a:gd name="connsiteY59" fmla="*/ 247535 h 249786"/>
                  <a:gd name="connsiteX60" fmla="*/ 137404 w 347078"/>
                  <a:gd name="connsiteY60" fmla="*/ 249787 h 249786"/>
                  <a:gd name="connsiteX61" fmla="*/ 133399 w 347078"/>
                  <a:gd name="connsiteY61" fmla="*/ 242696 h 249786"/>
                  <a:gd name="connsiteX62" fmla="*/ 128978 w 347078"/>
                  <a:gd name="connsiteY62" fmla="*/ 232936 h 249786"/>
                  <a:gd name="connsiteX63" fmla="*/ 126725 w 347078"/>
                  <a:gd name="connsiteY63" fmla="*/ 218755 h 249786"/>
                  <a:gd name="connsiteX64" fmla="*/ 127810 w 347078"/>
                  <a:gd name="connsiteY64" fmla="*/ 213249 h 249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47078" h="249786" extrusionOk="0">
                    <a:moveTo>
                      <a:pt x="127810" y="213249"/>
                    </a:moveTo>
                    <a:cubicBezTo>
                      <a:pt x="128728" y="208828"/>
                      <a:pt x="130062" y="204406"/>
                      <a:pt x="130062" y="199485"/>
                    </a:cubicBezTo>
                    <a:cubicBezTo>
                      <a:pt x="130479" y="189724"/>
                      <a:pt x="127810" y="181799"/>
                      <a:pt x="122554" y="176460"/>
                    </a:cubicBezTo>
                    <a:cubicBezTo>
                      <a:pt x="120802" y="174208"/>
                      <a:pt x="119050" y="173374"/>
                      <a:pt x="116798" y="171622"/>
                    </a:cubicBezTo>
                    <a:cubicBezTo>
                      <a:pt x="115046" y="170287"/>
                      <a:pt x="113711" y="168953"/>
                      <a:pt x="112376" y="168118"/>
                    </a:cubicBezTo>
                    <a:cubicBezTo>
                      <a:pt x="111458" y="167201"/>
                      <a:pt x="111041" y="165449"/>
                      <a:pt x="110624" y="163280"/>
                    </a:cubicBezTo>
                    <a:cubicBezTo>
                      <a:pt x="109706" y="158859"/>
                      <a:pt x="109706" y="154438"/>
                      <a:pt x="111542" y="148682"/>
                    </a:cubicBezTo>
                    <a:cubicBezTo>
                      <a:pt x="112459" y="145595"/>
                      <a:pt x="113794" y="140673"/>
                      <a:pt x="112459" y="136252"/>
                    </a:cubicBezTo>
                    <a:cubicBezTo>
                      <a:pt x="110207" y="129578"/>
                      <a:pt x="104033" y="126492"/>
                      <a:pt x="101864" y="125157"/>
                    </a:cubicBezTo>
                    <a:cubicBezTo>
                      <a:pt x="84595" y="116731"/>
                      <a:pt x="65073" y="118066"/>
                      <a:pt x="46469" y="119818"/>
                    </a:cubicBezTo>
                    <a:cubicBezTo>
                      <a:pt x="42965" y="120235"/>
                      <a:pt x="39377" y="120736"/>
                      <a:pt x="36708" y="119401"/>
                    </a:cubicBezTo>
                    <a:cubicBezTo>
                      <a:pt x="35373" y="118984"/>
                      <a:pt x="33621" y="117649"/>
                      <a:pt x="31869" y="116314"/>
                    </a:cubicBezTo>
                    <a:cubicBezTo>
                      <a:pt x="30117" y="114980"/>
                      <a:pt x="28782" y="113645"/>
                      <a:pt x="27030" y="112811"/>
                    </a:cubicBezTo>
                    <a:cubicBezTo>
                      <a:pt x="18604" y="107972"/>
                      <a:pt x="8843" y="107972"/>
                      <a:pt x="417" y="107472"/>
                    </a:cubicBezTo>
                    <a:cubicBezTo>
                      <a:pt x="0" y="107472"/>
                      <a:pt x="0" y="107472"/>
                      <a:pt x="0" y="107472"/>
                    </a:cubicBezTo>
                    <a:cubicBezTo>
                      <a:pt x="1752" y="100381"/>
                      <a:pt x="2252" y="92373"/>
                      <a:pt x="2252" y="84865"/>
                    </a:cubicBezTo>
                    <a:cubicBezTo>
                      <a:pt x="2670" y="76856"/>
                      <a:pt x="2670" y="69766"/>
                      <a:pt x="4505" y="63176"/>
                    </a:cubicBezTo>
                    <a:cubicBezTo>
                      <a:pt x="7592" y="51246"/>
                      <a:pt x="6757" y="44155"/>
                      <a:pt x="5840" y="34813"/>
                    </a:cubicBezTo>
                    <a:lnTo>
                      <a:pt x="4922" y="28139"/>
                    </a:lnTo>
                    <a:cubicBezTo>
                      <a:pt x="4005" y="18379"/>
                      <a:pt x="4505" y="18379"/>
                      <a:pt x="8927" y="17544"/>
                    </a:cubicBezTo>
                    <a:cubicBezTo>
                      <a:pt x="11596" y="17127"/>
                      <a:pt x="13765" y="17544"/>
                      <a:pt x="17353" y="18462"/>
                    </a:cubicBezTo>
                    <a:cubicBezTo>
                      <a:pt x="22692" y="20214"/>
                      <a:pt x="30200" y="21966"/>
                      <a:pt x="39044" y="16710"/>
                    </a:cubicBezTo>
                    <a:cubicBezTo>
                      <a:pt x="43048" y="14041"/>
                      <a:pt x="45718" y="10954"/>
                      <a:pt x="47887" y="7868"/>
                    </a:cubicBezTo>
                    <a:cubicBezTo>
                      <a:pt x="50139" y="5198"/>
                      <a:pt x="51391" y="3029"/>
                      <a:pt x="54061" y="1694"/>
                    </a:cubicBezTo>
                    <a:cubicBezTo>
                      <a:pt x="62904" y="-2727"/>
                      <a:pt x="70412" y="2112"/>
                      <a:pt x="82009" y="9202"/>
                    </a:cubicBezTo>
                    <a:cubicBezTo>
                      <a:pt x="88182" y="12706"/>
                      <a:pt x="93938" y="16710"/>
                      <a:pt x="100613" y="18963"/>
                    </a:cubicBezTo>
                    <a:cubicBezTo>
                      <a:pt x="105451" y="20297"/>
                      <a:pt x="109456" y="21215"/>
                      <a:pt x="113460" y="21215"/>
                    </a:cubicBezTo>
                    <a:cubicBezTo>
                      <a:pt x="121469" y="33645"/>
                      <a:pt x="129395" y="46909"/>
                      <a:pt x="138739" y="58838"/>
                    </a:cubicBezTo>
                    <a:cubicBezTo>
                      <a:pt x="152921" y="78358"/>
                      <a:pt x="169774" y="78358"/>
                      <a:pt x="185708" y="78775"/>
                    </a:cubicBezTo>
                    <a:cubicBezTo>
                      <a:pt x="190547" y="79192"/>
                      <a:pt x="195469" y="79192"/>
                      <a:pt x="201225" y="79693"/>
                    </a:cubicBezTo>
                    <a:cubicBezTo>
                      <a:pt x="216743" y="81445"/>
                      <a:pt x="236682" y="86783"/>
                      <a:pt x="252199" y="91205"/>
                    </a:cubicBezTo>
                    <a:cubicBezTo>
                      <a:pt x="255703" y="92539"/>
                      <a:pt x="259291" y="94708"/>
                      <a:pt x="263295" y="96961"/>
                    </a:cubicBezTo>
                    <a:cubicBezTo>
                      <a:pt x="266382" y="99213"/>
                      <a:pt x="269969" y="100965"/>
                      <a:pt x="273473" y="102717"/>
                    </a:cubicBezTo>
                    <a:cubicBezTo>
                      <a:pt x="278312" y="104969"/>
                      <a:pt x="283234" y="105804"/>
                      <a:pt x="288073" y="106221"/>
                    </a:cubicBezTo>
                    <a:cubicBezTo>
                      <a:pt x="293412" y="107138"/>
                      <a:pt x="298251" y="107972"/>
                      <a:pt x="301338" y="109724"/>
                    </a:cubicBezTo>
                    <a:cubicBezTo>
                      <a:pt x="306176" y="112811"/>
                      <a:pt x="306677" y="114146"/>
                      <a:pt x="307094" y="119484"/>
                    </a:cubicBezTo>
                    <a:cubicBezTo>
                      <a:pt x="307511" y="122154"/>
                      <a:pt x="307511" y="125657"/>
                      <a:pt x="308846" y="129661"/>
                    </a:cubicBezTo>
                    <a:cubicBezTo>
                      <a:pt x="312350" y="139839"/>
                      <a:pt x="317272" y="142509"/>
                      <a:pt x="323446" y="145178"/>
                    </a:cubicBezTo>
                    <a:cubicBezTo>
                      <a:pt x="325198" y="146095"/>
                      <a:pt x="326950" y="146513"/>
                      <a:pt x="329202" y="147847"/>
                    </a:cubicBezTo>
                    <a:lnTo>
                      <a:pt x="332706" y="150099"/>
                    </a:lnTo>
                    <a:cubicBezTo>
                      <a:pt x="338880" y="153186"/>
                      <a:pt x="341549" y="154938"/>
                      <a:pt x="342467" y="158525"/>
                    </a:cubicBezTo>
                    <a:cubicBezTo>
                      <a:pt x="342884" y="160778"/>
                      <a:pt x="341132" y="162947"/>
                      <a:pt x="338046" y="166951"/>
                    </a:cubicBezTo>
                    <a:cubicBezTo>
                      <a:pt x="334542" y="171372"/>
                      <a:pt x="329202" y="177545"/>
                      <a:pt x="331371" y="185970"/>
                    </a:cubicBezTo>
                    <a:cubicBezTo>
                      <a:pt x="332706" y="192644"/>
                      <a:pt x="337545" y="196148"/>
                      <a:pt x="341132" y="198817"/>
                    </a:cubicBezTo>
                    <a:cubicBezTo>
                      <a:pt x="343802" y="200569"/>
                      <a:pt x="345971" y="202321"/>
                      <a:pt x="346472" y="204573"/>
                    </a:cubicBezTo>
                    <a:cubicBezTo>
                      <a:pt x="347806" y="208577"/>
                      <a:pt x="346889" y="210746"/>
                      <a:pt x="344219" y="215167"/>
                    </a:cubicBezTo>
                    <a:cubicBezTo>
                      <a:pt x="342467" y="218254"/>
                      <a:pt x="340715" y="221841"/>
                      <a:pt x="339380" y="226263"/>
                    </a:cubicBezTo>
                    <a:cubicBezTo>
                      <a:pt x="338963" y="228932"/>
                      <a:pt x="338963" y="230684"/>
                      <a:pt x="338963" y="232436"/>
                    </a:cubicBezTo>
                    <a:cubicBezTo>
                      <a:pt x="336711" y="233771"/>
                      <a:pt x="334542" y="235105"/>
                      <a:pt x="332790" y="236440"/>
                    </a:cubicBezTo>
                    <a:cubicBezTo>
                      <a:pt x="322194" y="243113"/>
                      <a:pt x="319942" y="240861"/>
                      <a:pt x="308429" y="231101"/>
                    </a:cubicBezTo>
                    <a:lnTo>
                      <a:pt x="305759" y="228849"/>
                    </a:lnTo>
                    <a:cubicBezTo>
                      <a:pt x="293829" y="218254"/>
                      <a:pt x="287572" y="216002"/>
                      <a:pt x="272055" y="220423"/>
                    </a:cubicBezTo>
                    <a:cubicBezTo>
                      <a:pt x="268968" y="221341"/>
                      <a:pt x="266298" y="223092"/>
                      <a:pt x="264046" y="224427"/>
                    </a:cubicBezTo>
                    <a:cubicBezTo>
                      <a:pt x="261793" y="225762"/>
                      <a:pt x="260542" y="226680"/>
                      <a:pt x="259207" y="226680"/>
                    </a:cubicBezTo>
                    <a:cubicBezTo>
                      <a:pt x="256955" y="227097"/>
                      <a:pt x="253868" y="225345"/>
                      <a:pt x="250781" y="223593"/>
                    </a:cubicBezTo>
                    <a:cubicBezTo>
                      <a:pt x="247694" y="222258"/>
                      <a:pt x="244107" y="220090"/>
                      <a:pt x="240186" y="219172"/>
                    </a:cubicBezTo>
                    <a:cubicBezTo>
                      <a:pt x="226003" y="216502"/>
                      <a:pt x="218078" y="222258"/>
                      <a:pt x="211404" y="227180"/>
                    </a:cubicBezTo>
                    <a:cubicBezTo>
                      <a:pt x="208734" y="228932"/>
                      <a:pt x="206565" y="230684"/>
                      <a:pt x="203395" y="232519"/>
                    </a:cubicBezTo>
                    <a:cubicBezTo>
                      <a:pt x="192299" y="239193"/>
                      <a:pt x="178116" y="241862"/>
                      <a:pt x="164434" y="244448"/>
                    </a:cubicBezTo>
                    <a:lnTo>
                      <a:pt x="148917" y="247535"/>
                    </a:lnTo>
                    <a:cubicBezTo>
                      <a:pt x="145413" y="248453"/>
                      <a:pt x="141408" y="248870"/>
                      <a:pt x="137404" y="249787"/>
                    </a:cubicBezTo>
                    <a:cubicBezTo>
                      <a:pt x="136069" y="247535"/>
                      <a:pt x="134734" y="244949"/>
                      <a:pt x="133399" y="242696"/>
                    </a:cubicBezTo>
                    <a:cubicBezTo>
                      <a:pt x="131147" y="239193"/>
                      <a:pt x="129896" y="236023"/>
                      <a:pt x="128978" y="232936"/>
                    </a:cubicBezTo>
                    <a:cubicBezTo>
                      <a:pt x="127643" y="228515"/>
                      <a:pt x="126308" y="222759"/>
                      <a:pt x="126725" y="218755"/>
                    </a:cubicBezTo>
                    <a:cubicBezTo>
                      <a:pt x="126892" y="217170"/>
                      <a:pt x="127393" y="215418"/>
                      <a:pt x="127810" y="21324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71120513" name="Полилиния 383"/>
              <p:cNvSpPr/>
              <p:nvPr/>
            </p:nvSpPr>
            <p:spPr bwMode="auto">
              <a:xfrm>
                <a:off x="2454746" y="3835251"/>
                <a:ext cx="594741" cy="325145"/>
              </a:xfrm>
              <a:custGeom>
                <a:avLst/>
                <a:gdLst>
                  <a:gd name="connsiteX0" fmla="*/ 490133 w 667915"/>
                  <a:gd name="connsiteY0" fmla="*/ 353638 h 365149"/>
                  <a:gd name="connsiteX1" fmla="*/ 475033 w 667915"/>
                  <a:gd name="connsiteY1" fmla="*/ 365150 h 365149"/>
                  <a:gd name="connsiteX2" fmla="*/ 447085 w 667915"/>
                  <a:gd name="connsiteY2" fmla="*/ 349633 h 365149"/>
                  <a:gd name="connsiteX3" fmla="*/ 438241 w 667915"/>
                  <a:gd name="connsiteY3" fmla="*/ 348716 h 365149"/>
                  <a:gd name="connsiteX4" fmla="*/ 413881 w 667915"/>
                  <a:gd name="connsiteY4" fmla="*/ 333200 h 365149"/>
                  <a:gd name="connsiteX5" fmla="*/ 350560 w 667915"/>
                  <a:gd name="connsiteY5" fmla="*/ 321270 h 365149"/>
                  <a:gd name="connsiteX6" fmla="*/ 316021 w 667915"/>
                  <a:gd name="connsiteY6" fmla="*/ 332783 h 365149"/>
                  <a:gd name="connsiteX7" fmla="*/ 304091 w 667915"/>
                  <a:gd name="connsiteY7" fmla="*/ 330530 h 365149"/>
                  <a:gd name="connsiteX8" fmla="*/ 281065 w 667915"/>
                  <a:gd name="connsiteY8" fmla="*/ 328278 h 365149"/>
                  <a:gd name="connsiteX9" fmla="*/ 245192 w 667915"/>
                  <a:gd name="connsiteY9" fmla="*/ 328695 h 365149"/>
                  <a:gd name="connsiteX10" fmla="*/ 209735 w 667915"/>
                  <a:gd name="connsiteY10" fmla="*/ 327360 h 365149"/>
                  <a:gd name="connsiteX11" fmla="*/ 209735 w 667915"/>
                  <a:gd name="connsiteY11" fmla="*/ 283064 h 365149"/>
                  <a:gd name="connsiteX12" fmla="*/ 195970 w 667915"/>
                  <a:gd name="connsiteY12" fmla="*/ 271969 h 365149"/>
                  <a:gd name="connsiteX13" fmla="*/ 187544 w 667915"/>
                  <a:gd name="connsiteY13" fmla="*/ 264878 h 365149"/>
                  <a:gd name="connsiteX14" fmla="*/ 190213 w 667915"/>
                  <a:gd name="connsiteY14" fmla="*/ 258705 h 365149"/>
                  <a:gd name="connsiteX15" fmla="*/ 195052 w 667915"/>
                  <a:gd name="connsiteY15" fmla="*/ 241854 h 365149"/>
                  <a:gd name="connsiteX16" fmla="*/ 170274 w 667915"/>
                  <a:gd name="connsiteY16" fmla="*/ 222834 h 365149"/>
                  <a:gd name="connsiteX17" fmla="*/ 168022 w 667915"/>
                  <a:gd name="connsiteY17" fmla="*/ 221917 h 365149"/>
                  <a:gd name="connsiteX18" fmla="*/ 160930 w 667915"/>
                  <a:gd name="connsiteY18" fmla="*/ 220165 h 365149"/>
                  <a:gd name="connsiteX19" fmla="*/ 140574 w 667915"/>
                  <a:gd name="connsiteY19" fmla="*/ 209570 h 365149"/>
                  <a:gd name="connsiteX20" fmla="*/ 137905 w 667915"/>
                  <a:gd name="connsiteY20" fmla="*/ 199810 h 365149"/>
                  <a:gd name="connsiteX21" fmla="*/ 125975 w 667915"/>
                  <a:gd name="connsiteY21" fmla="*/ 179456 h 365149"/>
                  <a:gd name="connsiteX22" fmla="*/ 98944 w 667915"/>
                  <a:gd name="connsiteY22" fmla="*/ 178538 h 365149"/>
                  <a:gd name="connsiteX23" fmla="*/ 91853 w 667915"/>
                  <a:gd name="connsiteY23" fmla="*/ 179456 h 365149"/>
                  <a:gd name="connsiteX24" fmla="*/ 78088 w 667915"/>
                  <a:gd name="connsiteY24" fmla="*/ 178121 h 365149"/>
                  <a:gd name="connsiteX25" fmla="*/ 70996 w 667915"/>
                  <a:gd name="connsiteY25" fmla="*/ 175869 h 365149"/>
                  <a:gd name="connsiteX26" fmla="*/ 52392 w 667915"/>
                  <a:gd name="connsiteY26" fmla="*/ 175452 h 365149"/>
                  <a:gd name="connsiteX27" fmla="*/ 34205 w 667915"/>
                  <a:gd name="connsiteY27" fmla="*/ 173199 h 365149"/>
                  <a:gd name="connsiteX28" fmla="*/ 21774 w 667915"/>
                  <a:gd name="connsiteY28" fmla="*/ 164357 h 365149"/>
                  <a:gd name="connsiteX29" fmla="*/ 8009 w 667915"/>
                  <a:gd name="connsiteY29" fmla="*/ 155014 h 365149"/>
                  <a:gd name="connsiteX30" fmla="*/ 0 w 667915"/>
                  <a:gd name="connsiteY30" fmla="*/ 151510 h 365149"/>
                  <a:gd name="connsiteX31" fmla="*/ 5339 w 667915"/>
                  <a:gd name="connsiteY31" fmla="*/ 143502 h 365149"/>
                  <a:gd name="connsiteX32" fmla="*/ 20857 w 667915"/>
                  <a:gd name="connsiteY32" fmla="*/ 137745 h 365149"/>
                  <a:gd name="connsiteX33" fmla="*/ 30618 w 667915"/>
                  <a:gd name="connsiteY33" fmla="*/ 136828 h 365149"/>
                  <a:gd name="connsiteX34" fmla="*/ 61152 w 667915"/>
                  <a:gd name="connsiteY34" fmla="*/ 113804 h 365149"/>
                  <a:gd name="connsiteX35" fmla="*/ 80674 w 667915"/>
                  <a:gd name="connsiteY35" fmla="*/ 95201 h 365149"/>
                  <a:gd name="connsiteX36" fmla="*/ 95274 w 667915"/>
                  <a:gd name="connsiteY36" fmla="*/ 90780 h 365149"/>
                  <a:gd name="connsiteX37" fmla="*/ 142243 w 667915"/>
                  <a:gd name="connsiteY37" fmla="*/ 62000 h 365149"/>
                  <a:gd name="connsiteX38" fmla="*/ 140908 w 667915"/>
                  <a:gd name="connsiteY38" fmla="*/ 44314 h 365149"/>
                  <a:gd name="connsiteX39" fmla="*/ 139573 w 667915"/>
                  <a:gd name="connsiteY39" fmla="*/ 34554 h 365149"/>
                  <a:gd name="connsiteX40" fmla="*/ 144412 w 667915"/>
                  <a:gd name="connsiteY40" fmla="*/ 22625 h 365149"/>
                  <a:gd name="connsiteX41" fmla="*/ 183372 w 667915"/>
                  <a:gd name="connsiteY41" fmla="*/ 21291 h 365149"/>
                  <a:gd name="connsiteX42" fmla="*/ 199724 w 667915"/>
                  <a:gd name="connsiteY42" fmla="*/ 13783 h 365149"/>
                  <a:gd name="connsiteX43" fmla="*/ 238267 w 667915"/>
                  <a:gd name="connsiteY43" fmla="*/ 5357 h 365149"/>
                  <a:gd name="connsiteX44" fmla="*/ 248862 w 667915"/>
                  <a:gd name="connsiteY44" fmla="*/ 8861 h 365149"/>
                  <a:gd name="connsiteX45" fmla="*/ 273223 w 667915"/>
                  <a:gd name="connsiteY45" fmla="*/ 14617 h 365149"/>
                  <a:gd name="connsiteX46" fmla="*/ 292745 w 667915"/>
                  <a:gd name="connsiteY46" fmla="*/ 6191 h 365149"/>
                  <a:gd name="connsiteX47" fmla="*/ 303841 w 667915"/>
                  <a:gd name="connsiteY47" fmla="*/ 435 h 365149"/>
                  <a:gd name="connsiteX48" fmla="*/ 339297 w 667915"/>
                  <a:gd name="connsiteY48" fmla="*/ 30133 h 365149"/>
                  <a:gd name="connsiteX49" fmla="*/ 343301 w 667915"/>
                  <a:gd name="connsiteY49" fmla="*/ 37224 h 365149"/>
                  <a:gd name="connsiteX50" fmla="*/ 367245 w 667915"/>
                  <a:gd name="connsiteY50" fmla="*/ 63334 h 365149"/>
                  <a:gd name="connsiteX51" fmla="*/ 383597 w 667915"/>
                  <a:gd name="connsiteY51" fmla="*/ 79268 h 365149"/>
                  <a:gd name="connsiteX52" fmla="*/ 410627 w 667915"/>
                  <a:gd name="connsiteY52" fmla="*/ 104961 h 365149"/>
                  <a:gd name="connsiteX53" fmla="*/ 433653 w 667915"/>
                  <a:gd name="connsiteY53" fmla="*/ 126233 h 365149"/>
                  <a:gd name="connsiteX54" fmla="*/ 445583 w 667915"/>
                  <a:gd name="connsiteY54" fmla="*/ 142584 h 365149"/>
                  <a:gd name="connsiteX55" fmla="*/ 483208 w 667915"/>
                  <a:gd name="connsiteY55" fmla="*/ 175785 h 365149"/>
                  <a:gd name="connsiteX56" fmla="*/ 492552 w 667915"/>
                  <a:gd name="connsiteY56" fmla="*/ 177537 h 365149"/>
                  <a:gd name="connsiteX57" fmla="*/ 514243 w 667915"/>
                  <a:gd name="connsiteY57" fmla="*/ 185045 h 365149"/>
                  <a:gd name="connsiteX58" fmla="*/ 521334 w 667915"/>
                  <a:gd name="connsiteY58" fmla="*/ 191719 h 365149"/>
                  <a:gd name="connsiteX59" fmla="*/ 528426 w 667915"/>
                  <a:gd name="connsiteY59" fmla="*/ 198392 h 365149"/>
                  <a:gd name="connsiteX60" fmla="*/ 528009 w 667915"/>
                  <a:gd name="connsiteY60" fmla="*/ 199310 h 365149"/>
                  <a:gd name="connsiteX61" fmla="*/ 533765 w 667915"/>
                  <a:gd name="connsiteY61" fmla="*/ 202396 h 365149"/>
                  <a:gd name="connsiteX62" fmla="*/ 537269 w 667915"/>
                  <a:gd name="connsiteY62" fmla="*/ 195723 h 365149"/>
                  <a:gd name="connsiteX63" fmla="*/ 536351 w 667915"/>
                  <a:gd name="connsiteY63" fmla="*/ 202813 h 365149"/>
                  <a:gd name="connsiteX64" fmla="*/ 536768 w 667915"/>
                  <a:gd name="connsiteY64" fmla="*/ 202813 h 365149"/>
                  <a:gd name="connsiteX65" fmla="*/ 543860 w 667915"/>
                  <a:gd name="connsiteY65" fmla="*/ 204565 h 365149"/>
                  <a:gd name="connsiteX66" fmla="*/ 550033 w 667915"/>
                  <a:gd name="connsiteY66" fmla="*/ 206818 h 365149"/>
                  <a:gd name="connsiteX67" fmla="*/ 561129 w 667915"/>
                  <a:gd name="connsiteY67" fmla="*/ 209904 h 365149"/>
                  <a:gd name="connsiteX68" fmla="*/ 599672 w 667915"/>
                  <a:gd name="connsiteY68" fmla="*/ 209904 h 365149"/>
                  <a:gd name="connsiteX69" fmla="*/ 620028 w 667915"/>
                  <a:gd name="connsiteY69" fmla="*/ 197975 h 365149"/>
                  <a:gd name="connsiteX70" fmla="*/ 647059 w 667915"/>
                  <a:gd name="connsiteY70" fmla="*/ 193554 h 365149"/>
                  <a:gd name="connsiteX71" fmla="*/ 667915 w 667915"/>
                  <a:gd name="connsiteY71" fmla="*/ 209487 h 365149"/>
                  <a:gd name="connsiteX72" fmla="*/ 645807 w 667915"/>
                  <a:gd name="connsiteY72" fmla="*/ 250280 h 365149"/>
                  <a:gd name="connsiteX73" fmla="*/ 644472 w 667915"/>
                  <a:gd name="connsiteY73" fmla="*/ 275973 h 365149"/>
                  <a:gd name="connsiteX74" fmla="*/ 644055 w 667915"/>
                  <a:gd name="connsiteY74" fmla="*/ 292324 h 365149"/>
                  <a:gd name="connsiteX75" fmla="*/ 635629 w 667915"/>
                  <a:gd name="connsiteY75" fmla="*/ 315765 h 365149"/>
                  <a:gd name="connsiteX76" fmla="*/ 612186 w 667915"/>
                  <a:gd name="connsiteY76" fmla="*/ 321104 h 365149"/>
                  <a:gd name="connsiteX77" fmla="*/ 606013 w 667915"/>
                  <a:gd name="connsiteY77" fmla="*/ 320687 h 365149"/>
                  <a:gd name="connsiteX78" fmla="*/ 580317 w 667915"/>
                  <a:gd name="connsiteY78" fmla="*/ 322022 h 365149"/>
                  <a:gd name="connsiteX79" fmla="*/ 574561 w 667915"/>
                  <a:gd name="connsiteY79" fmla="*/ 323773 h 365149"/>
                  <a:gd name="connsiteX80" fmla="*/ 566135 w 667915"/>
                  <a:gd name="connsiteY80" fmla="*/ 326026 h 365149"/>
                  <a:gd name="connsiteX81" fmla="*/ 560378 w 667915"/>
                  <a:gd name="connsiteY81" fmla="*/ 325108 h 365149"/>
                  <a:gd name="connsiteX82" fmla="*/ 556874 w 667915"/>
                  <a:gd name="connsiteY82" fmla="*/ 324691 h 365149"/>
                  <a:gd name="connsiteX83" fmla="*/ 519666 w 667915"/>
                  <a:gd name="connsiteY83" fmla="*/ 332699 h 365149"/>
                  <a:gd name="connsiteX84" fmla="*/ 492218 w 667915"/>
                  <a:gd name="connsiteY84" fmla="*/ 351719 h 365149"/>
                  <a:gd name="connsiteX85" fmla="*/ 490133 w 667915"/>
                  <a:gd name="connsiteY85" fmla="*/ 353638 h 365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667915" h="365149" extrusionOk="0">
                    <a:moveTo>
                      <a:pt x="490133" y="353638"/>
                    </a:moveTo>
                    <a:cubicBezTo>
                      <a:pt x="485294" y="357642"/>
                      <a:pt x="479955" y="361646"/>
                      <a:pt x="475033" y="365150"/>
                    </a:cubicBezTo>
                    <a:cubicBezTo>
                      <a:pt x="468358" y="358059"/>
                      <a:pt x="460433" y="350968"/>
                      <a:pt x="447085" y="349633"/>
                    </a:cubicBezTo>
                    <a:cubicBezTo>
                      <a:pt x="443998" y="349216"/>
                      <a:pt x="440911" y="349216"/>
                      <a:pt x="438241" y="348716"/>
                    </a:cubicBezTo>
                    <a:cubicBezTo>
                      <a:pt x="424059" y="347798"/>
                      <a:pt x="422307" y="347798"/>
                      <a:pt x="413881" y="333200"/>
                    </a:cubicBezTo>
                    <a:cubicBezTo>
                      <a:pt x="393024" y="297329"/>
                      <a:pt x="369581" y="310593"/>
                      <a:pt x="350560" y="321270"/>
                    </a:cubicBezTo>
                    <a:cubicBezTo>
                      <a:pt x="339464" y="327944"/>
                      <a:pt x="327951" y="334118"/>
                      <a:pt x="316021" y="332783"/>
                    </a:cubicBezTo>
                    <a:cubicBezTo>
                      <a:pt x="311599" y="332366"/>
                      <a:pt x="308012" y="331448"/>
                      <a:pt x="304091" y="330530"/>
                    </a:cubicBezTo>
                    <a:cubicBezTo>
                      <a:pt x="297000" y="329195"/>
                      <a:pt x="289491" y="327861"/>
                      <a:pt x="281065" y="328278"/>
                    </a:cubicBezTo>
                    <a:cubicBezTo>
                      <a:pt x="267300" y="328695"/>
                      <a:pt x="255787" y="329195"/>
                      <a:pt x="245192" y="328695"/>
                    </a:cubicBezTo>
                    <a:cubicBezTo>
                      <a:pt x="233262" y="328278"/>
                      <a:pt x="221248" y="327777"/>
                      <a:pt x="209735" y="327360"/>
                    </a:cubicBezTo>
                    <a:cubicBezTo>
                      <a:pt x="215492" y="315431"/>
                      <a:pt x="216826" y="294576"/>
                      <a:pt x="209735" y="283064"/>
                    </a:cubicBezTo>
                    <a:cubicBezTo>
                      <a:pt x="206231" y="277725"/>
                      <a:pt x="200892" y="274638"/>
                      <a:pt x="195970" y="271969"/>
                    </a:cubicBezTo>
                    <a:cubicBezTo>
                      <a:pt x="190630" y="269300"/>
                      <a:pt x="187961" y="267548"/>
                      <a:pt x="187544" y="264878"/>
                    </a:cubicBezTo>
                    <a:cubicBezTo>
                      <a:pt x="187126" y="262626"/>
                      <a:pt x="187961" y="261792"/>
                      <a:pt x="190213" y="258705"/>
                    </a:cubicBezTo>
                    <a:cubicBezTo>
                      <a:pt x="192883" y="255202"/>
                      <a:pt x="196387" y="249863"/>
                      <a:pt x="195052" y="241854"/>
                    </a:cubicBezTo>
                    <a:cubicBezTo>
                      <a:pt x="192382" y="228591"/>
                      <a:pt x="178700" y="224586"/>
                      <a:pt x="170274" y="222834"/>
                    </a:cubicBezTo>
                    <a:lnTo>
                      <a:pt x="168022" y="221917"/>
                    </a:lnTo>
                    <a:cubicBezTo>
                      <a:pt x="165352" y="221500"/>
                      <a:pt x="163183" y="220582"/>
                      <a:pt x="160930" y="220165"/>
                    </a:cubicBezTo>
                    <a:cubicBezTo>
                      <a:pt x="150752" y="217912"/>
                      <a:pt x="144579" y="216161"/>
                      <a:pt x="140574" y="209570"/>
                    </a:cubicBezTo>
                    <a:cubicBezTo>
                      <a:pt x="138822" y="206901"/>
                      <a:pt x="138322" y="203397"/>
                      <a:pt x="137905" y="199810"/>
                    </a:cubicBezTo>
                    <a:cubicBezTo>
                      <a:pt x="136570" y="193137"/>
                      <a:pt x="135235" y="184294"/>
                      <a:pt x="125975" y="179456"/>
                    </a:cubicBezTo>
                    <a:cubicBezTo>
                      <a:pt x="118466" y="175452"/>
                      <a:pt x="107788" y="177203"/>
                      <a:pt x="98944" y="178538"/>
                    </a:cubicBezTo>
                    <a:cubicBezTo>
                      <a:pt x="96275" y="178955"/>
                      <a:pt x="93605" y="179456"/>
                      <a:pt x="91853" y="179456"/>
                    </a:cubicBezTo>
                    <a:cubicBezTo>
                      <a:pt x="86097" y="179873"/>
                      <a:pt x="83427" y="179038"/>
                      <a:pt x="78088" y="178121"/>
                    </a:cubicBezTo>
                    <a:cubicBezTo>
                      <a:pt x="75835" y="177203"/>
                      <a:pt x="73666" y="176786"/>
                      <a:pt x="70996" y="175869"/>
                    </a:cubicBezTo>
                    <a:cubicBezTo>
                      <a:pt x="64322" y="174534"/>
                      <a:pt x="58149" y="174951"/>
                      <a:pt x="52392" y="175452"/>
                    </a:cubicBezTo>
                    <a:cubicBezTo>
                      <a:pt x="45718" y="175869"/>
                      <a:pt x="39962" y="176369"/>
                      <a:pt x="34205" y="173199"/>
                    </a:cubicBezTo>
                    <a:cubicBezTo>
                      <a:pt x="29784" y="170947"/>
                      <a:pt x="25779" y="167860"/>
                      <a:pt x="21774" y="164357"/>
                    </a:cubicBezTo>
                    <a:cubicBezTo>
                      <a:pt x="17353" y="161270"/>
                      <a:pt x="13348" y="157683"/>
                      <a:pt x="8009" y="155014"/>
                    </a:cubicBezTo>
                    <a:cubicBezTo>
                      <a:pt x="5339" y="153679"/>
                      <a:pt x="3170" y="152344"/>
                      <a:pt x="0" y="151510"/>
                    </a:cubicBezTo>
                    <a:cubicBezTo>
                      <a:pt x="1335" y="148423"/>
                      <a:pt x="3087" y="145754"/>
                      <a:pt x="5339" y="143502"/>
                    </a:cubicBezTo>
                    <a:cubicBezTo>
                      <a:pt x="10178" y="138162"/>
                      <a:pt x="13765" y="138162"/>
                      <a:pt x="20857" y="137745"/>
                    </a:cubicBezTo>
                    <a:cubicBezTo>
                      <a:pt x="23944" y="137328"/>
                      <a:pt x="27030" y="137328"/>
                      <a:pt x="30618" y="136828"/>
                    </a:cubicBezTo>
                    <a:cubicBezTo>
                      <a:pt x="46135" y="134158"/>
                      <a:pt x="54061" y="123064"/>
                      <a:pt x="61152" y="113804"/>
                    </a:cubicBezTo>
                    <a:cubicBezTo>
                      <a:pt x="66491" y="105795"/>
                      <a:pt x="71747" y="98705"/>
                      <a:pt x="80674" y="95201"/>
                    </a:cubicBezTo>
                    <a:cubicBezTo>
                      <a:pt x="84178" y="93866"/>
                      <a:pt x="89517" y="92532"/>
                      <a:pt x="95274" y="90780"/>
                    </a:cubicBezTo>
                    <a:cubicBezTo>
                      <a:pt x="113878" y="85941"/>
                      <a:pt x="137321" y="80185"/>
                      <a:pt x="142243" y="62000"/>
                    </a:cubicBezTo>
                    <a:cubicBezTo>
                      <a:pt x="144495" y="55326"/>
                      <a:pt x="142660" y="49153"/>
                      <a:pt x="140908" y="44314"/>
                    </a:cubicBezTo>
                    <a:cubicBezTo>
                      <a:pt x="139573" y="40811"/>
                      <a:pt x="138656" y="37641"/>
                      <a:pt x="139573" y="34554"/>
                    </a:cubicBezTo>
                    <a:cubicBezTo>
                      <a:pt x="139990" y="31051"/>
                      <a:pt x="142243" y="26546"/>
                      <a:pt x="144412" y="22625"/>
                    </a:cubicBezTo>
                    <a:cubicBezTo>
                      <a:pt x="157260" y="26629"/>
                      <a:pt x="170525" y="26129"/>
                      <a:pt x="183372" y="21291"/>
                    </a:cubicBezTo>
                    <a:cubicBezTo>
                      <a:pt x="189129" y="19038"/>
                      <a:pt x="194468" y="16452"/>
                      <a:pt x="199724" y="13783"/>
                    </a:cubicBezTo>
                    <a:cubicBezTo>
                      <a:pt x="212572" y="7109"/>
                      <a:pt x="223667" y="1353"/>
                      <a:pt x="238267" y="5357"/>
                    </a:cubicBezTo>
                    <a:cubicBezTo>
                      <a:pt x="241771" y="6275"/>
                      <a:pt x="245358" y="8026"/>
                      <a:pt x="248862" y="8861"/>
                    </a:cubicBezTo>
                    <a:cubicBezTo>
                      <a:pt x="255954" y="11947"/>
                      <a:pt x="263963" y="15534"/>
                      <a:pt x="273223" y="14617"/>
                    </a:cubicBezTo>
                    <a:cubicBezTo>
                      <a:pt x="281232" y="13699"/>
                      <a:pt x="287405" y="9778"/>
                      <a:pt x="292745" y="6191"/>
                    </a:cubicBezTo>
                    <a:cubicBezTo>
                      <a:pt x="296249" y="3522"/>
                      <a:pt x="299836" y="1353"/>
                      <a:pt x="303841" y="435"/>
                    </a:cubicBezTo>
                    <a:cubicBezTo>
                      <a:pt x="319358" y="-2651"/>
                      <a:pt x="328618" y="11030"/>
                      <a:pt x="339297" y="30133"/>
                    </a:cubicBezTo>
                    <a:cubicBezTo>
                      <a:pt x="340632" y="32802"/>
                      <a:pt x="341967" y="34971"/>
                      <a:pt x="343301" y="37224"/>
                    </a:cubicBezTo>
                    <a:cubicBezTo>
                      <a:pt x="349976" y="48319"/>
                      <a:pt x="358819" y="55827"/>
                      <a:pt x="367245" y="63334"/>
                    </a:cubicBezTo>
                    <a:cubicBezTo>
                      <a:pt x="373419" y="68173"/>
                      <a:pt x="378758" y="73094"/>
                      <a:pt x="383597" y="79268"/>
                    </a:cubicBezTo>
                    <a:cubicBezTo>
                      <a:pt x="392023" y="89028"/>
                      <a:pt x="401283" y="96953"/>
                      <a:pt x="410627" y="104961"/>
                    </a:cubicBezTo>
                    <a:cubicBezTo>
                      <a:pt x="419053" y="112052"/>
                      <a:pt x="426979" y="118726"/>
                      <a:pt x="433653" y="126233"/>
                    </a:cubicBezTo>
                    <a:cubicBezTo>
                      <a:pt x="438074" y="131072"/>
                      <a:pt x="441662" y="136828"/>
                      <a:pt x="445583" y="142584"/>
                    </a:cubicBezTo>
                    <a:cubicBezTo>
                      <a:pt x="454426" y="156348"/>
                      <a:pt x="464604" y="171781"/>
                      <a:pt x="483208" y="175785"/>
                    </a:cubicBezTo>
                    <a:cubicBezTo>
                      <a:pt x="486295" y="176703"/>
                      <a:pt x="489382" y="177120"/>
                      <a:pt x="492552" y="177537"/>
                    </a:cubicBezTo>
                    <a:cubicBezTo>
                      <a:pt x="500978" y="178872"/>
                      <a:pt x="507652" y="179790"/>
                      <a:pt x="514243" y="185045"/>
                    </a:cubicBezTo>
                    <a:cubicBezTo>
                      <a:pt x="516913" y="187297"/>
                      <a:pt x="519082" y="189466"/>
                      <a:pt x="521334" y="191719"/>
                    </a:cubicBezTo>
                    <a:cubicBezTo>
                      <a:pt x="523587" y="194388"/>
                      <a:pt x="525756" y="196557"/>
                      <a:pt x="528426" y="198392"/>
                    </a:cubicBezTo>
                    <a:lnTo>
                      <a:pt x="528009" y="199310"/>
                    </a:lnTo>
                    <a:lnTo>
                      <a:pt x="533765" y="202396"/>
                    </a:lnTo>
                    <a:lnTo>
                      <a:pt x="537269" y="195723"/>
                    </a:lnTo>
                    <a:lnTo>
                      <a:pt x="536351" y="202813"/>
                    </a:lnTo>
                    <a:cubicBezTo>
                      <a:pt x="536351" y="202813"/>
                      <a:pt x="536351" y="202813"/>
                      <a:pt x="536768" y="202813"/>
                    </a:cubicBezTo>
                    <a:lnTo>
                      <a:pt x="543860" y="204565"/>
                    </a:lnTo>
                    <a:cubicBezTo>
                      <a:pt x="546112" y="205483"/>
                      <a:pt x="548281" y="205900"/>
                      <a:pt x="550033" y="206818"/>
                    </a:cubicBezTo>
                    <a:cubicBezTo>
                      <a:pt x="553537" y="208153"/>
                      <a:pt x="557124" y="209487"/>
                      <a:pt x="561129" y="209904"/>
                    </a:cubicBezTo>
                    <a:cubicBezTo>
                      <a:pt x="572225" y="212157"/>
                      <a:pt x="587742" y="213408"/>
                      <a:pt x="599672" y="209904"/>
                    </a:cubicBezTo>
                    <a:cubicBezTo>
                      <a:pt x="608098" y="207235"/>
                      <a:pt x="614272" y="202396"/>
                      <a:pt x="620028" y="197975"/>
                    </a:cubicBezTo>
                    <a:cubicBezTo>
                      <a:pt x="629789" y="190467"/>
                      <a:pt x="635129" y="186463"/>
                      <a:pt x="647059" y="193554"/>
                    </a:cubicBezTo>
                    <a:cubicBezTo>
                      <a:pt x="654567" y="197975"/>
                      <a:pt x="661241" y="203731"/>
                      <a:pt x="667915" y="209487"/>
                    </a:cubicBezTo>
                    <a:cubicBezTo>
                      <a:pt x="656402" y="219247"/>
                      <a:pt x="647976" y="234263"/>
                      <a:pt x="645807" y="250280"/>
                    </a:cubicBezTo>
                    <a:cubicBezTo>
                      <a:pt x="644472" y="259122"/>
                      <a:pt x="644472" y="267548"/>
                      <a:pt x="644472" y="275973"/>
                    </a:cubicBezTo>
                    <a:cubicBezTo>
                      <a:pt x="644472" y="281312"/>
                      <a:pt x="644472" y="287068"/>
                      <a:pt x="644055" y="292324"/>
                    </a:cubicBezTo>
                    <a:cubicBezTo>
                      <a:pt x="643138" y="304253"/>
                      <a:pt x="640551" y="311343"/>
                      <a:pt x="635629" y="315765"/>
                    </a:cubicBezTo>
                    <a:cubicBezTo>
                      <a:pt x="630790" y="319769"/>
                      <a:pt x="623198" y="321521"/>
                      <a:pt x="612186" y="321104"/>
                    </a:cubicBezTo>
                    <a:lnTo>
                      <a:pt x="606013" y="320687"/>
                    </a:lnTo>
                    <a:cubicBezTo>
                      <a:pt x="597586" y="320270"/>
                      <a:pt x="588743" y="319352"/>
                      <a:pt x="580317" y="322022"/>
                    </a:cubicBezTo>
                    <a:cubicBezTo>
                      <a:pt x="578065" y="322439"/>
                      <a:pt x="576813" y="322939"/>
                      <a:pt x="574561" y="323773"/>
                    </a:cubicBezTo>
                    <a:cubicBezTo>
                      <a:pt x="571891" y="324691"/>
                      <a:pt x="568804" y="326026"/>
                      <a:pt x="566135" y="326026"/>
                    </a:cubicBezTo>
                    <a:cubicBezTo>
                      <a:pt x="564383" y="326443"/>
                      <a:pt x="562631" y="325608"/>
                      <a:pt x="560378" y="325108"/>
                    </a:cubicBezTo>
                    <a:lnTo>
                      <a:pt x="556874" y="324691"/>
                    </a:lnTo>
                    <a:cubicBezTo>
                      <a:pt x="544944" y="323356"/>
                      <a:pt x="532514" y="326026"/>
                      <a:pt x="519666" y="332699"/>
                    </a:cubicBezTo>
                    <a:cubicBezTo>
                      <a:pt x="509488" y="338038"/>
                      <a:pt x="500645" y="345129"/>
                      <a:pt x="492218" y="351719"/>
                    </a:cubicBezTo>
                    <a:lnTo>
                      <a:pt x="490133" y="353638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82047322" name="Полилиния 384"/>
              <p:cNvSpPr/>
              <p:nvPr/>
            </p:nvSpPr>
            <p:spPr bwMode="auto">
              <a:xfrm>
                <a:off x="2303649" y="3319356"/>
                <a:ext cx="848577" cy="692718"/>
              </a:xfrm>
              <a:custGeom>
                <a:avLst/>
                <a:gdLst>
                  <a:gd name="connsiteX0" fmla="*/ 413043 w 952981"/>
                  <a:gd name="connsiteY0" fmla="*/ 190145 h 777946"/>
                  <a:gd name="connsiteX1" fmla="*/ 418799 w 952981"/>
                  <a:gd name="connsiteY1" fmla="*/ 218508 h 777946"/>
                  <a:gd name="connsiteX2" fmla="*/ 432564 w 952981"/>
                  <a:gd name="connsiteY2" fmla="*/ 226934 h 777946"/>
                  <a:gd name="connsiteX3" fmla="*/ 440073 w 952981"/>
                  <a:gd name="connsiteY3" fmla="*/ 230938 h 777946"/>
                  <a:gd name="connsiteX4" fmla="*/ 446246 w 952981"/>
                  <a:gd name="connsiteY4" fmla="*/ 242449 h 777946"/>
                  <a:gd name="connsiteX5" fmla="*/ 460429 w 952981"/>
                  <a:gd name="connsiteY5" fmla="*/ 263722 h 777946"/>
                  <a:gd name="connsiteX6" fmla="*/ 467520 w 952981"/>
                  <a:gd name="connsiteY6" fmla="*/ 268560 h 777946"/>
                  <a:gd name="connsiteX7" fmla="*/ 475029 w 952981"/>
                  <a:gd name="connsiteY7" fmla="*/ 273399 h 777946"/>
                  <a:gd name="connsiteX8" fmla="*/ 481703 w 952981"/>
                  <a:gd name="connsiteY8" fmla="*/ 283993 h 777946"/>
                  <a:gd name="connsiteX9" fmla="*/ 487459 w 952981"/>
                  <a:gd name="connsiteY9" fmla="*/ 294587 h 777946"/>
                  <a:gd name="connsiteX10" fmla="*/ 514489 w 952981"/>
                  <a:gd name="connsiteY10" fmla="*/ 310104 h 777946"/>
                  <a:gd name="connsiteX11" fmla="*/ 527755 w 952981"/>
                  <a:gd name="connsiteY11" fmla="*/ 314525 h 777946"/>
                  <a:gd name="connsiteX12" fmla="*/ 545941 w 952981"/>
                  <a:gd name="connsiteY12" fmla="*/ 336214 h 777946"/>
                  <a:gd name="connsiteX13" fmla="*/ 561876 w 952981"/>
                  <a:gd name="connsiteY13" fmla="*/ 357487 h 777946"/>
                  <a:gd name="connsiteX14" fmla="*/ 594663 w 952981"/>
                  <a:gd name="connsiteY14" fmla="*/ 365912 h 777946"/>
                  <a:gd name="connsiteX15" fmla="*/ 601337 w 952981"/>
                  <a:gd name="connsiteY15" fmla="*/ 365912 h 777946"/>
                  <a:gd name="connsiteX16" fmla="*/ 630536 w 952981"/>
                  <a:gd name="connsiteY16" fmla="*/ 380510 h 777946"/>
                  <a:gd name="connsiteX17" fmla="*/ 661988 w 952981"/>
                  <a:gd name="connsiteY17" fmla="*/ 404869 h 777946"/>
                  <a:gd name="connsiteX18" fmla="*/ 668662 w 952981"/>
                  <a:gd name="connsiteY18" fmla="*/ 408873 h 777946"/>
                  <a:gd name="connsiteX19" fmla="*/ 691271 w 952981"/>
                  <a:gd name="connsiteY19" fmla="*/ 432315 h 777946"/>
                  <a:gd name="connsiteX20" fmla="*/ 703702 w 952981"/>
                  <a:gd name="connsiteY20" fmla="*/ 448665 h 777946"/>
                  <a:gd name="connsiteX21" fmla="*/ 753758 w 952981"/>
                  <a:gd name="connsiteY21" fmla="*/ 459260 h 777946"/>
                  <a:gd name="connsiteX22" fmla="*/ 788713 w 952981"/>
                  <a:gd name="connsiteY22" fmla="*/ 467268 h 777946"/>
                  <a:gd name="connsiteX23" fmla="*/ 792718 w 952981"/>
                  <a:gd name="connsiteY23" fmla="*/ 473941 h 777946"/>
                  <a:gd name="connsiteX24" fmla="*/ 866718 w 952981"/>
                  <a:gd name="connsiteY24" fmla="*/ 518655 h 777946"/>
                  <a:gd name="connsiteX25" fmla="*/ 871556 w 952981"/>
                  <a:gd name="connsiteY25" fmla="*/ 515569 h 777946"/>
                  <a:gd name="connsiteX26" fmla="*/ 893247 w 952981"/>
                  <a:gd name="connsiteY26" fmla="*/ 506726 h 777946"/>
                  <a:gd name="connsiteX27" fmla="*/ 897669 w 952981"/>
                  <a:gd name="connsiteY27" fmla="*/ 513400 h 777946"/>
                  <a:gd name="connsiteX28" fmla="*/ 895417 w 952981"/>
                  <a:gd name="connsiteY28" fmla="*/ 521408 h 777946"/>
                  <a:gd name="connsiteX29" fmla="*/ 891913 w 952981"/>
                  <a:gd name="connsiteY29" fmla="*/ 536924 h 777946"/>
                  <a:gd name="connsiteX30" fmla="*/ 910517 w 952981"/>
                  <a:gd name="connsiteY30" fmla="*/ 562201 h 777946"/>
                  <a:gd name="connsiteX31" fmla="*/ 926034 w 952981"/>
                  <a:gd name="connsiteY31" fmla="*/ 567956 h 777946"/>
                  <a:gd name="connsiteX32" fmla="*/ 936212 w 952981"/>
                  <a:gd name="connsiteY32" fmla="*/ 571961 h 777946"/>
                  <a:gd name="connsiteX33" fmla="*/ 940634 w 952981"/>
                  <a:gd name="connsiteY33" fmla="*/ 587060 h 777946"/>
                  <a:gd name="connsiteX34" fmla="*/ 941051 w 952981"/>
                  <a:gd name="connsiteY34" fmla="*/ 593233 h 777946"/>
                  <a:gd name="connsiteX35" fmla="*/ 952981 w 952981"/>
                  <a:gd name="connsiteY35" fmla="*/ 622931 h 777946"/>
                  <a:gd name="connsiteX36" fmla="*/ 944972 w 952981"/>
                  <a:gd name="connsiteY36" fmla="*/ 630438 h 777946"/>
                  <a:gd name="connsiteX37" fmla="*/ 913937 w 952981"/>
                  <a:gd name="connsiteY37" fmla="*/ 657049 h 777946"/>
                  <a:gd name="connsiteX38" fmla="*/ 878064 w 952981"/>
                  <a:gd name="connsiteY38" fmla="*/ 667644 h 777946"/>
                  <a:gd name="connsiteX39" fmla="*/ 871890 w 952981"/>
                  <a:gd name="connsiteY39" fmla="*/ 667227 h 777946"/>
                  <a:gd name="connsiteX40" fmla="*/ 860794 w 952981"/>
                  <a:gd name="connsiteY40" fmla="*/ 666309 h 777946"/>
                  <a:gd name="connsiteX41" fmla="*/ 840438 w 952981"/>
                  <a:gd name="connsiteY41" fmla="*/ 676070 h 777946"/>
                  <a:gd name="connsiteX42" fmla="*/ 838186 w 952981"/>
                  <a:gd name="connsiteY42" fmla="*/ 690668 h 777946"/>
                  <a:gd name="connsiteX43" fmla="*/ 846612 w 952981"/>
                  <a:gd name="connsiteY43" fmla="*/ 700845 h 777946"/>
                  <a:gd name="connsiteX44" fmla="*/ 850116 w 952981"/>
                  <a:gd name="connsiteY44" fmla="*/ 702180 h 777946"/>
                  <a:gd name="connsiteX45" fmla="*/ 852368 w 952981"/>
                  <a:gd name="connsiteY45" fmla="*/ 705267 h 777946"/>
                  <a:gd name="connsiteX46" fmla="*/ 853703 w 952981"/>
                  <a:gd name="connsiteY46" fmla="*/ 707936 h 777946"/>
                  <a:gd name="connsiteX47" fmla="*/ 874560 w 952981"/>
                  <a:gd name="connsiteY47" fmla="*/ 720783 h 777946"/>
                  <a:gd name="connsiteX48" fmla="*/ 876312 w 952981"/>
                  <a:gd name="connsiteY48" fmla="*/ 720783 h 777946"/>
                  <a:gd name="connsiteX49" fmla="*/ 878564 w 952981"/>
                  <a:gd name="connsiteY49" fmla="*/ 720783 h 777946"/>
                  <a:gd name="connsiteX50" fmla="*/ 877229 w 952981"/>
                  <a:gd name="connsiteY50" fmla="*/ 723869 h 777946"/>
                  <a:gd name="connsiteX51" fmla="*/ 871056 w 952981"/>
                  <a:gd name="connsiteY51" fmla="*/ 727874 h 777946"/>
                  <a:gd name="connsiteX52" fmla="*/ 863965 w 952981"/>
                  <a:gd name="connsiteY52" fmla="*/ 732295 h 777946"/>
                  <a:gd name="connsiteX53" fmla="*/ 847613 w 952981"/>
                  <a:gd name="connsiteY53" fmla="*/ 765079 h 777946"/>
                  <a:gd name="connsiteX54" fmla="*/ 844526 w 952981"/>
                  <a:gd name="connsiteY54" fmla="*/ 777509 h 777946"/>
                  <a:gd name="connsiteX55" fmla="*/ 823252 w 952981"/>
                  <a:gd name="connsiteY55" fmla="*/ 761576 h 777946"/>
                  <a:gd name="connsiteX56" fmla="*/ 780705 w 952981"/>
                  <a:gd name="connsiteY56" fmla="*/ 766914 h 777946"/>
                  <a:gd name="connsiteX57" fmla="*/ 764770 w 952981"/>
                  <a:gd name="connsiteY57" fmla="*/ 776258 h 777946"/>
                  <a:gd name="connsiteX58" fmla="*/ 732901 w 952981"/>
                  <a:gd name="connsiteY58" fmla="*/ 776258 h 777946"/>
                  <a:gd name="connsiteX59" fmla="*/ 724058 w 952981"/>
                  <a:gd name="connsiteY59" fmla="*/ 773588 h 777946"/>
                  <a:gd name="connsiteX60" fmla="*/ 717384 w 952981"/>
                  <a:gd name="connsiteY60" fmla="*/ 771836 h 777946"/>
                  <a:gd name="connsiteX61" fmla="*/ 707623 w 952981"/>
                  <a:gd name="connsiteY61" fmla="*/ 769167 h 777946"/>
                  <a:gd name="connsiteX62" fmla="*/ 700531 w 952981"/>
                  <a:gd name="connsiteY62" fmla="*/ 762493 h 777946"/>
                  <a:gd name="connsiteX63" fmla="*/ 692105 w 952981"/>
                  <a:gd name="connsiteY63" fmla="*/ 754485 h 777946"/>
                  <a:gd name="connsiteX64" fmla="*/ 663740 w 952981"/>
                  <a:gd name="connsiteY64" fmla="*/ 743890 h 777946"/>
                  <a:gd name="connsiteX65" fmla="*/ 655314 w 952981"/>
                  <a:gd name="connsiteY65" fmla="*/ 742555 h 777946"/>
                  <a:gd name="connsiteX66" fmla="*/ 626532 w 952981"/>
                  <a:gd name="connsiteY66" fmla="*/ 715110 h 777946"/>
                  <a:gd name="connsiteX67" fmla="*/ 613684 w 952981"/>
                  <a:gd name="connsiteY67" fmla="*/ 696925 h 777946"/>
                  <a:gd name="connsiteX68" fmla="*/ 589323 w 952981"/>
                  <a:gd name="connsiteY68" fmla="*/ 673901 h 777946"/>
                  <a:gd name="connsiteX69" fmla="*/ 564045 w 952981"/>
                  <a:gd name="connsiteY69" fmla="*/ 649959 h 777946"/>
                  <a:gd name="connsiteX70" fmla="*/ 545858 w 952981"/>
                  <a:gd name="connsiteY70" fmla="*/ 632274 h 777946"/>
                  <a:gd name="connsiteX71" fmla="*/ 525001 w 952981"/>
                  <a:gd name="connsiteY71" fmla="*/ 609667 h 777946"/>
                  <a:gd name="connsiteX72" fmla="*/ 521497 w 952981"/>
                  <a:gd name="connsiteY72" fmla="*/ 602993 h 777946"/>
                  <a:gd name="connsiteX73" fmla="*/ 470106 w 952981"/>
                  <a:gd name="connsiteY73" fmla="*/ 566205 h 777946"/>
                  <a:gd name="connsiteX74" fmla="*/ 454172 w 952981"/>
                  <a:gd name="connsiteY74" fmla="*/ 574213 h 777946"/>
                  <a:gd name="connsiteX75" fmla="*/ 441741 w 952981"/>
                  <a:gd name="connsiteY75" fmla="*/ 579969 h 777946"/>
                  <a:gd name="connsiteX76" fmla="*/ 424055 w 952981"/>
                  <a:gd name="connsiteY76" fmla="*/ 575548 h 777946"/>
                  <a:gd name="connsiteX77" fmla="*/ 411624 w 952981"/>
                  <a:gd name="connsiteY77" fmla="*/ 571126 h 777946"/>
                  <a:gd name="connsiteX78" fmla="*/ 362903 w 952981"/>
                  <a:gd name="connsiteY78" fmla="*/ 580887 h 777946"/>
                  <a:gd name="connsiteX79" fmla="*/ 347803 w 952981"/>
                  <a:gd name="connsiteY79" fmla="*/ 587977 h 777946"/>
                  <a:gd name="connsiteX80" fmla="*/ 322524 w 952981"/>
                  <a:gd name="connsiteY80" fmla="*/ 590230 h 777946"/>
                  <a:gd name="connsiteX81" fmla="*/ 308759 w 952981"/>
                  <a:gd name="connsiteY81" fmla="*/ 585391 h 777946"/>
                  <a:gd name="connsiteX82" fmla="*/ 294576 w 952981"/>
                  <a:gd name="connsiteY82" fmla="*/ 575214 h 777946"/>
                  <a:gd name="connsiteX83" fmla="*/ 286150 w 952981"/>
                  <a:gd name="connsiteY83" fmla="*/ 531836 h 777946"/>
                  <a:gd name="connsiteX84" fmla="*/ 287068 w 952981"/>
                  <a:gd name="connsiteY84" fmla="*/ 515902 h 777946"/>
                  <a:gd name="connsiteX85" fmla="*/ 260455 w 952981"/>
                  <a:gd name="connsiteY85" fmla="*/ 458342 h 777946"/>
                  <a:gd name="connsiteX86" fmla="*/ 228586 w 952981"/>
                  <a:gd name="connsiteY86" fmla="*/ 453003 h 777946"/>
                  <a:gd name="connsiteX87" fmla="*/ 204225 w 952981"/>
                  <a:gd name="connsiteY87" fmla="*/ 450751 h 777946"/>
                  <a:gd name="connsiteX88" fmla="*/ 186956 w 952981"/>
                  <a:gd name="connsiteY88" fmla="*/ 435234 h 777946"/>
                  <a:gd name="connsiteX89" fmla="*/ 154586 w 952981"/>
                  <a:gd name="connsiteY89" fmla="*/ 413128 h 777946"/>
                  <a:gd name="connsiteX90" fmla="*/ 126638 w 952981"/>
                  <a:gd name="connsiteY90" fmla="*/ 410876 h 777946"/>
                  <a:gd name="connsiteX91" fmla="*/ 125303 w 952981"/>
                  <a:gd name="connsiteY91" fmla="*/ 371918 h 777946"/>
                  <a:gd name="connsiteX92" fmla="*/ 89430 w 952981"/>
                  <a:gd name="connsiteY92" fmla="*/ 342221 h 777946"/>
                  <a:gd name="connsiteX93" fmla="*/ 89013 w 952981"/>
                  <a:gd name="connsiteY93" fmla="*/ 342221 h 777946"/>
                  <a:gd name="connsiteX94" fmla="*/ 84591 w 952981"/>
                  <a:gd name="connsiteY94" fmla="*/ 342221 h 777946"/>
                  <a:gd name="connsiteX95" fmla="*/ 39874 w 952981"/>
                  <a:gd name="connsiteY95" fmla="*/ 338216 h 777946"/>
                  <a:gd name="connsiteX96" fmla="*/ 39874 w 952981"/>
                  <a:gd name="connsiteY96" fmla="*/ 337799 h 777946"/>
                  <a:gd name="connsiteX97" fmla="*/ 42127 w 952981"/>
                  <a:gd name="connsiteY97" fmla="*/ 329791 h 777946"/>
                  <a:gd name="connsiteX98" fmla="*/ 46966 w 952981"/>
                  <a:gd name="connsiteY98" fmla="*/ 300093 h 777946"/>
                  <a:gd name="connsiteX99" fmla="*/ 34118 w 952981"/>
                  <a:gd name="connsiteY99" fmla="*/ 273065 h 777946"/>
                  <a:gd name="connsiteX100" fmla="*/ 30614 w 952981"/>
                  <a:gd name="connsiteY100" fmla="*/ 266892 h 777946"/>
                  <a:gd name="connsiteX101" fmla="*/ 12927 w 952981"/>
                  <a:gd name="connsiteY101" fmla="*/ 251376 h 777946"/>
                  <a:gd name="connsiteX102" fmla="*/ 7588 w 952981"/>
                  <a:gd name="connsiteY102" fmla="*/ 249123 h 777946"/>
                  <a:gd name="connsiteX103" fmla="*/ 80 w 952981"/>
                  <a:gd name="connsiteY103" fmla="*/ 246037 h 777946"/>
                  <a:gd name="connsiteX104" fmla="*/ 1414 w 952981"/>
                  <a:gd name="connsiteY104" fmla="*/ 238946 h 777946"/>
                  <a:gd name="connsiteX105" fmla="*/ 15180 w 952981"/>
                  <a:gd name="connsiteY105" fmla="*/ 205744 h 777946"/>
                  <a:gd name="connsiteX106" fmla="*/ 17432 w 952981"/>
                  <a:gd name="connsiteY106" fmla="*/ 201323 h 777946"/>
                  <a:gd name="connsiteX107" fmla="*/ 23189 w 952981"/>
                  <a:gd name="connsiteY107" fmla="*/ 193315 h 777946"/>
                  <a:gd name="connsiteX108" fmla="*/ 43545 w 952981"/>
                  <a:gd name="connsiteY108" fmla="*/ 192898 h 777946"/>
                  <a:gd name="connsiteX109" fmla="*/ 65653 w 952981"/>
                  <a:gd name="connsiteY109" fmla="*/ 196902 h 777946"/>
                  <a:gd name="connsiteX110" fmla="*/ 92684 w 952981"/>
                  <a:gd name="connsiteY110" fmla="*/ 183638 h 777946"/>
                  <a:gd name="connsiteX111" fmla="*/ 99358 w 952981"/>
                  <a:gd name="connsiteY111" fmla="*/ 176964 h 777946"/>
                  <a:gd name="connsiteX112" fmla="*/ 106449 w 952981"/>
                  <a:gd name="connsiteY112" fmla="*/ 172543 h 777946"/>
                  <a:gd name="connsiteX113" fmla="*/ 118379 w 952981"/>
                  <a:gd name="connsiteY113" fmla="*/ 164535 h 777946"/>
                  <a:gd name="connsiteX114" fmla="*/ 139653 w 952981"/>
                  <a:gd name="connsiteY114" fmla="*/ 137507 h 777946"/>
                  <a:gd name="connsiteX115" fmla="*/ 146744 w 952981"/>
                  <a:gd name="connsiteY115" fmla="*/ 116652 h 777946"/>
                  <a:gd name="connsiteX116" fmla="*/ 148997 w 952981"/>
                  <a:gd name="connsiteY116" fmla="*/ 106474 h 777946"/>
                  <a:gd name="connsiteX117" fmla="*/ 177779 w 952981"/>
                  <a:gd name="connsiteY117" fmla="*/ 77694 h 777946"/>
                  <a:gd name="connsiteX118" fmla="*/ 199470 w 952981"/>
                  <a:gd name="connsiteY118" fmla="*/ 61761 h 777946"/>
                  <a:gd name="connsiteX119" fmla="*/ 213235 w 952981"/>
                  <a:gd name="connsiteY119" fmla="*/ 43575 h 777946"/>
                  <a:gd name="connsiteX120" fmla="*/ 237596 w 952981"/>
                  <a:gd name="connsiteY120" fmla="*/ 22720 h 777946"/>
                  <a:gd name="connsiteX121" fmla="*/ 246022 w 952981"/>
                  <a:gd name="connsiteY121" fmla="*/ 21802 h 777946"/>
                  <a:gd name="connsiteX122" fmla="*/ 272635 w 952981"/>
                  <a:gd name="connsiteY122" fmla="*/ 14295 h 777946"/>
                  <a:gd name="connsiteX123" fmla="*/ 279726 w 952981"/>
                  <a:gd name="connsiteY123" fmla="*/ 9873 h 777946"/>
                  <a:gd name="connsiteX124" fmla="*/ 297413 w 952981"/>
                  <a:gd name="connsiteY124" fmla="*/ 1031 h 777946"/>
                  <a:gd name="connsiteX125" fmla="*/ 304087 w 952981"/>
                  <a:gd name="connsiteY125" fmla="*/ 113 h 777946"/>
                  <a:gd name="connsiteX126" fmla="*/ 314682 w 952981"/>
                  <a:gd name="connsiteY126" fmla="*/ 1031 h 777946"/>
                  <a:gd name="connsiteX127" fmla="*/ 315099 w 952981"/>
                  <a:gd name="connsiteY127" fmla="*/ 1031 h 777946"/>
                  <a:gd name="connsiteX128" fmla="*/ 325277 w 952981"/>
                  <a:gd name="connsiteY128" fmla="*/ 3283 h 777946"/>
                  <a:gd name="connsiteX129" fmla="*/ 335456 w 952981"/>
                  <a:gd name="connsiteY129" fmla="*/ 5535 h 777946"/>
                  <a:gd name="connsiteX130" fmla="*/ 362486 w 952981"/>
                  <a:gd name="connsiteY130" fmla="*/ 8205 h 777946"/>
                  <a:gd name="connsiteX131" fmla="*/ 380172 w 952981"/>
                  <a:gd name="connsiteY131" fmla="*/ 9540 h 777946"/>
                  <a:gd name="connsiteX132" fmla="*/ 408955 w 952981"/>
                  <a:gd name="connsiteY132" fmla="*/ 20134 h 777946"/>
                  <a:gd name="connsiteX133" fmla="*/ 414711 w 952981"/>
                  <a:gd name="connsiteY133" fmla="*/ 32981 h 777946"/>
                  <a:gd name="connsiteX134" fmla="*/ 422720 w 952981"/>
                  <a:gd name="connsiteY134" fmla="*/ 50249 h 777946"/>
                  <a:gd name="connsiteX135" fmla="*/ 450168 w 952981"/>
                  <a:gd name="connsiteY135" fmla="*/ 66599 h 777946"/>
                  <a:gd name="connsiteX136" fmla="*/ 445746 w 952981"/>
                  <a:gd name="connsiteY136" fmla="*/ 74608 h 777946"/>
                  <a:gd name="connsiteX137" fmla="*/ 421802 w 952981"/>
                  <a:gd name="connsiteY137" fmla="*/ 126912 h 777946"/>
                  <a:gd name="connsiteX138" fmla="*/ 413043 w 952981"/>
                  <a:gd name="connsiteY138" fmla="*/ 190145 h 777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952981" h="777946" extrusionOk="0">
                    <a:moveTo>
                      <a:pt x="413043" y="190145"/>
                    </a:moveTo>
                    <a:cubicBezTo>
                      <a:pt x="412625" y="198571"/>
                      <a:pt x="412625" y="210082"/>
                      <a:pt x="418799" y="218508"/>
                    </a:cubicBezTo>
                    <a:cubicBezTo>
                      <a:pt x="422303" y="223346"/>
                      <a:pt x="428143" y="225599"/>
                      <a:pt x="432564" y="226934"/>
                    </a:cubicBezTo>
                    <a:cubicBezTo>
                      <a:pt x="435651" y="228268"/>
                      <a:pt x="438738" y="229186"/>
                      <a:pt x="440073" y="230938"/>
                    </a:cubicBezTo>
                    <a:cubicBezTo>
                      <a:pt x="443577" y="234441"/>
                      <a:pt x="444912" y="238028"/>
                      <a:pt x="446246" y="242449"/>
                    </a:cubicBezTo>
                    <a:cubicBezTo>
                      <a:pt x="448499" y="249123"/>
                      <a:pt x="451085" y="257048"/>
                      <a:pt x="460429" y="263722"/>
                    </a:cubicBezTo>
                    <a:cubicBezTo>
                      <a:pt x="462682" y="265474"/>
                      <a:pt x="465268" y="266808"/>
                      <a:pt x="467520" y="268560"/>
                    </a:cubicBezTo>
                    <a:cubicBezTo>
                      <a:pt x="470607" y="269895"/>
                      <a:pt x="472860" y="271647"/>
                      <a:pt x="475029" y="273399"/>
                    </a:cubicBezTo>
                    <a:cubicBezTo>
                      <a:pt x="478116" y="276485"/>
                      <a:pt x="479867" y="280072"/>
                      <a:pt x="481703" y="283993"/>
                    </a:cubicBezTo>
                    <a:cubicBezTo>
                      <a:pt x="483038" y="287079"/>
                      <a:pt x="484790" y="291084"/>
                      <a:pt x="487459" y="294587"/>
                    </a:cubicBezTo>
                    <a:cubicBezTo>
                      <a:pt x="495468" y="305682"/>
                      <a:pt x="505146" y="307851"/>
                      <a:pt x="514489" y="310104"/>
                    </a:cubicBezTo>
                    <a:cubicBezTo>
                      <a:pt x="519328" y="311021"/>
                      <a:pt x="523833" y="312356"/>
                      <a:pt x="527755" y="314525"/>
                    </a:cubicBezTo>
                    <a:cubicBezTo>
                      <a:pt x="536180" y="318946"/>
                      <a:pt x="541019" y="326955"/>
                      <a:pt x="545941" y="336214"/>
                    </a:cubicBezTo>
                    <a:cubicBezTo>
                      <a:pt x="550363" y="343722"/>
                      <a:pt x="554785" y="351730"/>
                      <a:pt x="561876" y="357487"/>
                    </a:cubicBezTo>
                    <a:cubicBezTo>
                      <a:pt x="572054" y="366329"/>
                      <a:pt x="583984" y="366329"/>
                      <a:pt x="594663" y="365912"/>
                    </a:cubicBezTo>
                    <a:lnTo>
                      <a:pt x="601337" y="365912"/>
                    </a:lnTo>
                    <a:cubicBezTo>
                      <a:pt x="616854" y="366329"/>
                      <a:pt x="621276" y="368581"/>
                      <a:pt x="630536" y="380510"/>
                    </a:cubicBezTo>
                    <a:cubicBezTo>
                      <a:pt x="640297" y="392940"/>
                      <a:pt x="650892" y="398696"/>
                      <a:pt x="661988" y="404869"/>
                    </a:cubicBezTo>
                    <a:lnTo>
                      <a:pt x="668662" y="408873"/>
                    </a:lnTo>
                    <a:cubicBezTo>
                      <a:pt x="679258" y="415047"/>
                      <a:pt x="685014" y="423055"/>
                      <a:pt x="691271" y="432315"/>
                    </a:cubicBezTo>
                    <a:cubicBezTo>
                      <a:pt x="694775" y="437653"/>
                      <a:pt x="698780" y="442909"/>
                      <a:pt x="703702" y="448665"/>
                    </a:cubicBezTo>
                    <a:cubicBezTo>
                      <a:pt x="719219" y="466350"/>
                      <a:pt x="738240" y="462430"/>
                      <a:pt x="753758" y="459260"/>
                    </a:cubicBezTo>
                    <a:cubicBezTo>
                      <a:pt x="770109" y="456173"/>
                      <a:pt x="779870" y="454838"/>
                      <a:pt x="788713" y="467268"/>
                    </a:cubicBezTo>
                    <a:lnTo>
                      <a:pt x="792718" y="473941"/>
                    </a:lnTo>
                    <a:cubicBezTo>
                      <a:pt x="807318" y="496048"/>
                      <a:pt x="833931" y="537758"/>
                      <a:pt x="866718" y="518655"/>
                    </a:cubicBezTo>
                    <a:cubicBezTo>
                      <a:pt x="868052" y="517737"/>
                      <a:pt x="869805" y="516403"/>
                      <a:pt x="871556" y="515569"/>
                    </a:cubicBezTo>
                    <a:cubicBezTo>
                      <a:pt x="877730" y="511564"/>
                      <a:pt x="888409" y="504974"/>
                      <a:pt x="893247" y="506726"/>
                    </a:cubicBezTo>
                    <a:cubicBezTo>
                      <a:pt x="895500" y="507644"/>
                      <a:pt x="896751" y="510730"/>
                      <a:pt x="897669" y="513400"/>
                    </a:cubicBezTo>
                    <a:cubicBezTo>
                      <a:pt x="898086" y="515652"/>
                      <a:pt x="897252" y="516903"/>
                      <a:pt x="895417" y="521408"/>
                    </a:cubicBezTo>
                    <a:cubicBezTo>
                      <a:pt x="893164" y="525412"/>
                      <a:pt x="890995" y="530250"/>
                      <a:pt x="891913" y="536924"/>
                    </a:cubicBezTo>
                    <a:cubicBezTo>
                      <a:pt x="893247" y="549354"/>
                      <a:pt x="905678" y="558613"/>
                      <a:pt x="910517" y="562201"/>
                    </a:cubicBezTo>
                    <a:cubicBezTo>
                      <a:pt x="915355" y="565287"/>
                      <a:pt x="921112" y="566622"/>
                      <a:pt x="926034" y="567956"/>
                    </a:cubicBezTo>
                    <a:cubicBezTo>
                      <a:pt x="930456" y="568874"/>
                      <a:pt x="934043" y="570209"/>
                      <a:pt x="936212" y="571961"/>
                    </a:cubicBezTo>
                    <a:cubicBezTo>
                      <a:pt x="939299" y="574630"/>
                      <a:pt x="940217" y="579468"/>
                      <a:pt x="940634" y="587060"/>
                    </a:cubicBezTo>
                    <a:cubicBezTo>
                      <a:pt x="940634" y="589312"/>
                      <a:pt x="941051" y="591481"/>
                      <a:pt x="941051" y="593233"/>
                    </a:cubicBezTo>
                    <a:cubicBezTo>
                      <a:pt x="942386" y="605162"/>
                      <a:pt x="947224" y="614922"/>
                      <a:pt x="952981" y="622931"/>
                    </a:cubicBezTo>
                    <a:lnTo>
                      <a:pt x="944972" y="630438"/>
                    </a:lnTo>
                    <a:cubicBezTo>
                      <a:pt x="935211" y="640199"/>
                      <a:pt x="925033" y="649959"/>
                      <a:pt x="913937" y="657049"/>
                    </a:cubicBezTo>
                    <a:cubicBezTo>
                      <a:pt x="905511" y="662389"/>
                      <a:pt x="892246" y="668562"/>
                      <a:pt x="878064" y="667644"/>
                    </a:cubicBezTo>
                    <a:cubicBezTo>
                      <a:pt x="875811" y="667644"/>
                      <a:pt x="874059" y="667227"/>
                      <a:pt x="871890" y="667227"/>
                    </a:cubicBezTo>
                    <a:cubicBezTo>
                      <a:pt x="868386" y="666810"/>
                      <a:pt x="864382" y="666309"/>
                      <a:pt x="860794" y="666309"/>
                    </a:cubicBezTo>
                    <a:cubicBezTo>
                      <a:pt x="851951" y="666726"/>
                      <a:pt x="844860" y="670314"/>
                      <a:pt x="840438" y="676070"/>
                    </a:cubicBezTo>
                    <a:cubicBezTo>
                      <a:pt x="837768" y="680491"/>
                      <a:pt x="836934" y="685830"/>
                      <a:pt x="838186" y="690668"/>
                    </a:cubicBezTo>
                    <a:cubicBezTo>
                      <a:pt x="839521" y="695089"/>
                      <a:pt x="842607" y="699094"/>
                      <a:pt x="846612" y="700845"/>
                    </a:cubicBezTo>
                    <a:cubicBezTo>
                      <a:pt x="847529" y="701262"/>
                      <a:pt x="848364" y="701763"/>
                      <a:pt x="850116" y="702180"/>
                    </a:cubicBezTo>
                    <a:cubicBezTo>
                      <a:pt x="850533" y="702597"/>
                      <a:pt x="851868" y="704433"/>
                      <a:pt x="852368" y="705267"/>
                    </a:cubicBezTo>
                    <a:lnTo>
                      <a:pt x="853703" y="707936"/>
                    </a:lnTo>
                    <a:cubicBezTo>
                      <a:pt x="858542" y="715027"/>
                      <a:pt x="866134" y="719865"/>
                      <a:pt x="874560" y="720783"/>
                    </a:cubicBezTo>
                    <a:lnTo>
                      <a:pt x="876312" y="720783"/>
                    </a:lnTo>
                    <a:cubicBezTo>
                      <a:pt x="877229" y="721200"/>
                      <a:pt x="878564" y="721200"/>
                      <a:pt x="878564" y="720783"/>
                    </a:cubicBezTo>
                    <a:cubicBezTo>
                      <a:pt x="878564" y="721200"/>
                      <a:pt x="878147" y="723035"/>
                      <a:pt x="877229" y="723869"/>
                    </a:cubicBezTo>
                    <a:cubicBezTo>
                      <a:pt x="875895" y="725204"/>
                      <a:pt x="873726" y="726539"/>
                      <a:pt x="871056" y="727874"/>
                    </a:cubicBezTo>
                    <a:cubicBezTo>
                      <a:pt x="868386" y="729208"/>
                      <a:pt x="866217" y="730543"/>
                      <a:pt x="863965" y="732295"/>
                    </a:cubicBezTo>
                    <a:cubicBezTo>
                      <a:pt x="853369" y="740303"/>
                      <a:pt x="850199" y="753567"/>
                      <a:pt x="847613" y="765079"/>
                    </a:cubicBezTo>
                    <a:cubicBezTo>
                      <a:pt x="846695" y="769501"/>
                      <a:pt x="845861" y="773505"/>
                      <a:pt x="844526" y="777509"/>
                    </a:cubicBezTo>
                    <a:cubicBezTo>
                      <a:pt x="837852" y="772170"/>
                      <a:pt x="830761" y="766414"/>
                      <a:pt x="823252" y="761576"/>
                    </a:cubicBezTo>
                    <a:cubicBezTo>
                      <a:pt x="803313" y="749646"/>
                      <a:pt x="790466" y="759323"/>
                      <a:pt x="780705" y="766914"/>
                    </a:cubicBezTo>
                    <a:cubicBezTo>
                      <a:pt x="775365" y="770418"/>
                      <a:pt x="770527" y="774422"/>
                      <a:pt x="764770" y="776258"/>
                    </a:cubicBezTo>
                    <a:cubicBezTo>
                      <a:pt x="757679" y="778510"/>
                      <a:pt x="746166" y="778510"/>
                      <a:pt x="732901" y="776258"/>
                    </a:cubicBezTo>
                    <a:cubicBezTo>
                      <a:pt x="729814" y="775340"/>
                      <a:pt x="726728" y="774506"/>
                      <a:pt x="724058" y="773588"/>
                    </a:cubicBezTo>
                    <a:cubicBezTo>
                      <a:pt x="721388" y="772670"/>
                      <a:pt x="719219" y="772253"/>
                      <a:pt x="717384" y="771836"/>
                    </a:cubicBezTo>
                    <a:cubicBezTo>
                      <a:pt x="713379" y="770084"/>
                      <a:pt x="710292" y="769167"/>
                      <a:pt x="707623" y="769167"/>
                    </a:cubicBezTo>
                    <a:cubicBezTo>
                      <a:pt x="704953" y="767415"/>
                      <a:pt x="702784" y="765162"/>
                      <a:pt x="700531" y="762493"/>
                    </a:cubicBezTo>
                    <a:cubicBezTo>
                      <a:pt x="697862" y="759824"/>
                      <a:pt x="695192" y="757154"/>
                      <a:pt x="692105" y="754485"/>
                    </a:cubicBezTo>
                    <a:cubicBezTo>
                      <a:pt x="682344" y="746476"/>
                      <a:pt x="673084" y="745142"/>
                      <a:pt x="663740" y="743890"/>
                    </a:cubicBezTo>
                    <a:cubicBezTo>
                      <a:pt x="661070" y="743473"/>
                      <a:pt x="658401" y="742973"/>
                      <a:pt x="655314" y="742555"/>
                    </a:cubicBezTo>
                    <a:cubicBezTo>
                      <a:pt x="642466" y="739886"/>
                      <a:pt x="634457" y="727957"/>
                      <a:pt x="626532" y="715110"/>
                    </a:cubicBezTo>
                    <a:cubicBezTo>
                      <a:pt x="622527" y="708937"/>
                      <a:pt x="618106" y="702681"/>
                      <a:pt x="613684" y="696925"/>
                    </a:cubicBezTo>
                    <a:cubicBezTo>
                      <a:pt x="605675" y="688499"/>
                      <a:pt x="597332" y="680991"/>
                      <a:pt x="589323" y="673901"/>
                    </a:cubicBezTo>
                    <a:cubicBezTo>
                      <a:pt x="580480" y="665892"/>
                      <a:pt x="571637" y="658801"/>
                      <a:pt x="564045" y="649959"/>
                    </a:cubicBezTo>
                    <a:cubicBezTo>
                      <a:pt x="558289" y="642868"/>
                      <a:pt x="552115" y="637529"/>
                      <a:pt x="545858" y="632274"/>
                    </a:cubicBezTo>
                    <a:cubicBezTo>
                      <a:pt x="537849" y="625600"/>
                      <a:pt x="530341" y="619427"/>
                      <a:pt x="525001" y="609667"/>
                    </a:cubicBezTo>
                    <a:cubicBezTo>
                      <a:pt x="523666" y="607414"/>
                      <a:pt x="522332" y="605246"/>
                      <a:pt x="521497" y="602993"/>
                    </a:cubicBezTo>
                    <a:cubicBezTo>
                      <a:pt x="511736" y="585725"/>
                      <a:pt x="497554" y="560449"/>
                      <a:pt x="470106" y="566205"/>
                    </a:cubicBezTo>
                    <a:cubicBezTo>
                      <a:pt x="463933" y="567539"/>
                      <a:pt x="459011" y="571043"/>
                      <a:pt x="454172" y="574213"/>
                    </a:cubicBezTo>
                    <a:cubicBezTo>
                      <a:pt x="449750" y="577300"/>
                      <a:pt x="446163" y="579552"/>
                      <a:pt x="441741" y="579969"/>
                    </a:cubicBezTo>
                    <a:cubicBezTo>
                      <a:pt x="435568" y="580887"/>
                      <a:pt x="430228" y="578217"/>
                      <a:pt x="424055" y="575548"/>
                    </a:cubicBezTo>
                    <a:cubicBezTo>
                      <a:pt x="420050" y="573796"/>
                      <a:pt x="416046" y="572044"/>
                      <a:pt x="411624" y="571126"/>
                    </a:cubicBezTo>
                    <a:cubicBezTo>
                      <a:pt x="392102" y="566288"/>
                      <a:pt x="377086" y="573379"/>
                      <a:pt x="362903" y="580887"/>
                    </a:cubicBezTo>
                    <a:cubicBezTo>
                      <a:pt x="358064" y="583556"/>
                      <a:pt x="353142" y="585725"/>
                      <a:pt x="347803" y="587977"/>
                    </a:cubicBezTo>
                    <a:cubicBezTo>
                      <a:pt x="339377" y="591064"/>
                      <a:pt x="330533" y="591981"/>
                      <a:pt x="322524" y="590230"/>
                    </a:cubicBezTo>
                    <a:cubicBezTo>
                      <a:pt x="317686" y="589312"/>
                      <a:pt x="313181" y="587560"/>
                      <a:pt x="308759" y="585391"/>
                    </a:cubicBezTo>
                    <a:cubicBezTo>
                      <a:pt x="303920" y="582722"/>
                      <a:pt x="298998" y="579218"/>
                      <a:pt x="294576" y="575214"/>
                    </a:cubicBezTo>
                    <a:cubicBezTo>
                      <a:pt x="283981" y="565037"/>
                      <a:pt x="285233" y="549103"/>
                      <a:pt x="286150" y="531836"/>
                    </a:cubicBezTo>
                    <a:cubicBezTo>
                      <a:pt x="286567" y="526496"/>
                      <a:pt x="287068" y="521241"/>
                      <a:pt x="287068" y="515902"/>
                    </a:cubicBezTo>
                    <a:cubicBezTo>
                      <a:pt x="287068" y="497299"/>
                      <a:pt x="278642" y="472023"/>
                      <a:pt x="260455" y="458342"/>
                    </a:cubicBezTo>
                    <a:cubicBezTo>
                      <a:pt x="250277" y="450834"/>
                      <a:pt x="238764" y="452169"/>
                      <a:pt x="228586" y="453003"/>
                    </a:cubicBezTo>
                    <a:cubicBezTo>
                      <a:pt x="219742" y="453920"/>
                      <a:pt x="211316" y="455255"/>
                      <a:pt x="204225" y="450751"/>
                    </a:cubicBezTo>
                    <a:cubicBezTo>
                      <a:pt x="197134" y="446747"/>
                      <a:pt x="192295" y="440990"/>
                      <a:pt x="186956" y="435234"/>
                    </a:cubicBezTo>
                    <a:cubicBezTo>
                      <a:pt x="179447" y="426392"/>
                      <a:pt x="170604" y="416632"/>
                      <a:pt x="154586" y="413128"/>
                    </a:cubicBezTo>
                    <a:cubicBezTo>
                      <a:pt x="149747" y="411793"/>
                      <a:pt x="137317" y="409625"/>
                      <a:pt x="126638" y="410876"/>
                    </a:cubicBezTo>
                    <a:cubicBezTo>
                      <a:pt x="127055" y="398029"/>
                      <a:pt x="127055" y="384765"/>
                      <a:pt x="125303" y="371918"/>
                    </a:cubicBezTo>
                    <a:cubicBezTo>
                      <a:pt x="122634" y="351981"/>
                      <a:pt x="111121" y="342221"/>
                      <a:pt x="89430" y="342221"/>
                    </a:cubicBezTo>
                    <a:cubicBezTo>
                      <a:pt x="89013" y="342221"/>
                      <a:pt x="89013" y="342221"/>
                      <a:pt x="89013" y="342221"/>
                    </a:cubicBezTo>
                    <a:lnTo>
                      <a:pt x="84591" y="342221"/>
                    </a:lnTo>
                    <a:cubicBezTo>
                      <a:pt x="66905" y="342638"/>
                      <a:pt x="54057" y="342638"/>
                      <a:pt x="39874" y="338216"/>
                    </a:cubicBezTo>
                    <a:lnTo>
                      <a:pt x="39874" y="337799"/>
                    </a:lnTo>
                    <a:cubicBezTo>
                      <a:pt x="40792" y="335130"/>
                      <a:pt x="41209" y="332961"/>
                      <a:pt x="42127" y="329791"/>
                    </a:cubicBezTo>
                    <a:cubicBezTo>
                      <a:pt x="45214" y="320948"/>
                      <a:pt x="48300" y="310271"/>
                      <a:pt x="46966" y="300093"/>
                    </a:cubicBezTo>
                    <a:cubicBezTo>
                      <a:pt x="46048" y="291250"/>
                      <a:pt x="39874" y="281491"/>
                      <a:pt x="34118" y="273065"/>
                    </a:cubicBezTo>
                    <a:cubicBezTo>
                      <a:pt x="32783" y="270812"/>
                      <a:pt x="31448" y="268644"/>
                      <a:pt x="30614" y="266892"/>
                    </a:cubicBezTo>
                    <a:cubicBezTo>
                      <a:pt x="24440" y="256297"/>
                      <a:pt x="22188" y="254462"/>
                      <a:pt x="12927" y="251376"/>
                    </a:cubicBezTo>
                    <a:lnTo>
                      <a:pt x="7588" y="249123"/>
                    </a:lnTo>
                    <a:cubicBezTo>
                      <a:pt x="3167" y="247789"/>
                      <a:pt x="497" y="246454"/>
                      <a:pt x="80" y="246037"/>
                    </a:cubicBezTo>
                    <a:cubicBezTo>
                      <a:pt x="-337" y="245119"/>
                      <a:pt x="997" y="240698"/>
                      <a:pt x="1414" y="238946"/>
                    </a:cubicBezTo>
                    <a:cubicBezTo>
                      <a:pt x="3167" y="230938"/>
                      <a:pt x="9841" y="215922"/>
                      <a:pt x="15180" y="205744"/>
                    </a:cubicBezTo>
                    <a:cubicBezTo>
                      <a:pt x="16098" y="204410"/>
                      <a:pt x="16515" y="202658"/>
                      <a:pt x="17432" y="201323"/>
                    </a:cubicBezTo>
                    <a:cubicBezTo>
                      <a:pt x="19685" y="197820"/>
                      <a:pt x="20936" y="195150"/>
                      <a:pt x="23189" y="193315"/>
                    </a:cubicBezTo>
                    <a:cubicBezTo>
                      <a:pt x="28528" y="188477"/>
                      <a:pt x="33784" y="190229"/>
                      <a:pt x="43545" y="192898"/>
                    </a:cubicBezTo>
                    <a:cubicBezTo>
                      <a:pt x="50219" y="195150"/>
                      <a:pt x="57310" y="197319"/>
                      <a:pt x="65653" y="196902"/>
                    </a:cubicBezTo>
                    <a:cubicBezTo>
                      <a:pt x="81588" y="196485"/>
                      <a:pt x="86927" y="189811"/>
                      <a:pt x="92684" y="183638"/>
                    </a:cubicBezTo>
                    <a:cubicBezTo>
                      <a:pt x="94435" y="181386"/>
                      <a:pt x="96187" y="179217"/>
                      <a:pt x="99358" y="176964"/>
                    </a:cubicBezTo>
                    <a:cubicBezTo>
                      <a:pt x="101110" y="175213"/>
                      <a:pt x="103779" y="173878"/>
                      <a:pt x="106449" y="172543"/>
                    </a:cubicBezTo>
                    <a:cubicBezTo>
                      <a:pt x="109953" y="170291"/>
                      <a:pt x="114458" y="168122"/>
                      <a:pt x="118379" y="164535"/>
                    </a:cubicBezTo>
                    <a:cubicBezTo>
                      <a:pt x="126388" y="156526"/>
                      <a:pt x="134313" y="145515"/>
                      <a:pt x="139653" y="137507"/>
                    </a:cubicBezTo>
                    <a:cubicBezTo>
                      <a:pt x="145409" y="129081"/>
                      <a:pt x="146327" y="122908"/>
                      <a:pt x="146744" y="116652"/>
                    </a:cubicBezTo>
                    <a:cubicBezTo>
                      <a:pt x="147161" y="113565"/>
                      <a:pt x="147662" y="110478"/>
                      <a:pt x="148997" y="106474"/>
                    </a:cubicBezTo>
                    <a:cubicBezTo>
                      <a:pt x="152501" y="94044"/>
                      <a:pt x="164931" y="86120"/>
                      <a:pt x="177779" y="77694"/>
                    </a:cubicBezTo>
                    <a:cubicBezTo>
                      <a:pt x="185287" y="72856"/>
                      <a:pt x="193296" y="67934"/>
                      <a:pt x="199470" y="61761"/>
                    </a:cubicBezTo>
                    <a:cubicBezTo>
                      <a:pt x="205226" y="56422"/>
                      <a:pt x="209648" y="49832"/>
                      <a:pt x="213235" y="43575"/>
                    </a:cubicBezTo>
                    <a:cubicBezTo>
                      <a:pt x="220327" y="32981"/>
                      <a:pt x="225666" y="24555"/>
                      <a:pt x="237596" y="22720"/>
                    </a:cubicBezTo>
                    <a:cubicBezTo>
                      <a:pt x="240683" y="22303"/>
                      <a:pt x="243769" y="22303"/>
                      <a:pt x="246022" y="21802"/>
                    </a:cubicBezTo>
                    <a:cubicBezTo>
                      <a:pt x="254865" y="21385"/>
                      <a:pt x="262874" y="20468"/>
                      <a:pt x="272635" y="14295"/>
                    </a:cubicBezTo>
                    <a:cubicBezTo>
                      <a:pt x="275305" y="12960"/>
                      <a:pt x="277474" y="11208"/>
                      <a:pt x="279726" y="9873"/>
                    </a:cubicBezTo>
                    <a:cubicBezTo>
                      <a:pt x="285900" y="5452"/>
                      <a:pt x="290822" y="1865"/>
                      <a:pt x="297413" y="1031"/>
                    </a:cubicBezTo>
                    <a:cubicBezTo>
                      <a:pt x="299665" y="614"/>
                      <a:pt x="301835" y="113"/>
                      <a:pt x="304087" y="113"/>
                    </a:cubicBezTo>
                    <a:cubicBezTo>
                      <a:pt x="307591" y="-304"/>
                      <a:pt x="311178" y="530"/>
                      <a:pt x="314682" y="1031"/>
                    </a:cubicBezTo>
                    <a:cubicBezTo>
                      <a:pt x="315099" y="1031"/>
                      <a:pt x="315099" y="1031"/>
                      <a:pt x="315099" y="1031"/>
                    </a:cubicBezTo>
                    <a:cubicBezTo>
                      <a:pt x="318603" y="1448"/>
                      <a:pt x="321774" y="2365"/>
                      <a:pt x="325277" y="3283"/>
                    </a:cubicBezTo>
                    <a:cubicBezTo>
                      <a:pt x="328364" y="4201"/>
                      <a:pt x="331952" y="5035"/>
                      <a:pt x="335456" y="5535"/>
                    </a:cubicBezTo>
                    <a:cubicBezTo>
                      <a:pt x="344799" y="7788"/>
                      <a:pt x="353643" y="7788"/>
                      <a:pt x="362486" y="8205"/>
                    </a:cubicBezTo>
                    <a:cubicBezTo>
                      <a:pt x="368242" y="8622"/>
                      <a:pt x="374416" y="9123"/>
                      <a:pt x="380172" y="9540"/>
                    </a:cubicBezTo>
                    <a:cubicBezTo>
                      <a:pt x="390350" y="10874"/>
                      <a:pt x="401863" y="13043"/>
                      <a:pt x="408955" y="20134"/>
                    </a:cubicBezTo>
                    <a:cubicBezTo>
                      <a:pt x="412041" y="23638"/>
                      <a:pt x="413376" y="28142"/>
                      <a:pt x="414711" y="32981"/>
                    </a:cubicBezTo>
                    <a:cubicBezTo>
                      <a:pt x="416046" y="38320"/>
                      <a:pt x="417798" y="44493"/>
                      <a:pt x="422720" y="50249"/>
                    </a:cubicBezTo>
                    <a:cubicBezTo>
                      <a:pt x="430228" y="59592"/>
                      <a:pt x="439989" y="64847"/>
                      <a:pt x="450168" y="66599"/>
                    </a:cubicBezTo>
                    <a:cubicBezTo>
                      <a:pt x="448833" y="69269"/>
                      <a:pt x="447081" y="71938"/>
                      <a:pt x="445746" y="74608"/>
                    </a:cubicBezTo>
                    <a:cubicBezTo>
                      <a:pt x="435985" y="90541"/>
                      <a:pt x="426224" y="107392"/>
                      <a:pt x="421802" y="126912"/>
                    </a:cubicBezTo>
                    <a:cubicBezTo>
                      <a:pt x="416129" y="150770"/>
                      <a:pt x="413460" y="171125"/>
                      <a:pt x="413043" y="19014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40624977" name="Полилиния 385"/>
              <p:cNvSpPr/>
              <p:nvPr/>
            </p:nvSpPr>
            <p:spPr bwMode="auto">
              <a:xfrm>
                <a:off x="3049047" y="4376386"/>
                <a:ext cx="332503" cy="366897"/>
              </a:xfrm>
              <a:custGeom>
                <a:avLst/>
                <a:gdLst>
                  <a:gd name="connsiteX0" fmla="*/ 177111 w 373413"/>
                  <a:gd name="connsiteY0" fmla="*/ 387763 h 412038"/>
                  <a:gd name="connsiteX1" fmla="*/ 180197 w 373413"/>
                  <a:gd name="connsiteY1" fmla="*/ 367408 h 412038"/>
                  <a:gd name="connsiteX2" fmla="*/ 159841 w 373413"/>
                  <a:gd name="connsiteY2" fmla="*/ 359400 h 412038"/>
                  <a:gd name="connsiteX3" fmla="*/ 158089 w 373413"/>
                  <a:gd name="connsiteY3" fmla="*/ 359400 h 412038"/>
                  <a:gd name="connsiteX4" fmla="*/ 150080 w 373413"/>
                  <a:gd name="connsiteY4" fmla="*/ 356730 h 412038"/>
                  <a:gd name="connsiteX5" fmla="*/ 151415 w 373413"/>
                  <a:gd name="connsiteY5" fmla="*/ 336793 h 412038"/>
                  <a:gd name="connsiteX6" fmla="*/ 154085 w 373413"/>
                  <a:gd name="connsiteY6" fmla="*/ 331955 h 412038"/>
                  <a:gd name="connsiteX7" fmla="*/ 155420 w 373413"/>
                  <a:gd name="connsiteY7" fmla="*/ 310683 h 412038"/>
                  <a:gd name="connsiteX8" fmla="*/ 129307 w 373413"/>
                  <a:gd name="connsiteY8" fmla="*/ 303592 h 412038"/>
                  <a:gd name="connsiteX9" fmla="*/ 78333 w 373413"/>
                  <a:gd name="connsiteY9" fmla="*/ 327533 h 412038"/>
                  <a:gd name="connsiteX10" fmla="*/ 68155 w 373413"/>
                  <a:gd name="connsiteY10" fmla="*/ 336876 h 412038"/>
                  <a:gd name="connsiteX11" fmla="*/ 39373 w 373413"/>
                  <a:gd name="connsiteY11" fmla="*/ 357732 h 412038"/>
                  <a:gd name="connsiteX12" fmla="*/ 1247 w 373413"/>
                  <a:gd name="connsiteY12" fmla="*/ 368326 h 412038"/>
                  <a:gd name="connsiteX13" fmla="*/ 2582 w 373413"/>
                  <a:gd name="connsiteY13" fmla="*/ 331121 h 412038"/>
                  <a:gd name="connsiteX14" fmla="*/ 3917 w 373413"/>
                  <a:gd name="connsiteY14" fmla="*/ 321360 h 412038"/>
                  <a:gd name="connsiteX15" fmla="*/ 5668 w 373413"/>
                  <a:gd name="connsiteY15" fmla="*/ 286407 h 412038"/>
                  <a:gd name="connsiteX16" fmla="*/ 7003 w 373413"/>
                  <a:gd name="connsiteY16" fmla="*/ 286407 h 412038"/>
                  <a:gd name="connsiteX17" fmla="*/ 19851 w 373413"/>
                  <a:gd name="connsiteY17" fmla="*/ 281986 h 412038"/>
                  <a:gd name="connsiteX18" fmla="*/ 31781 w 373413"/>
                  <a:gd name="connsiteY18" fmla="*/ 247032 h 412038"/>
                  <a:gd name="connsiteX19" fmla="*/ 30863 w 373413"/>
                  <a:gd name="connsiteY19" fmla="*/ 240859 h 412038"/>
                  <a:gd name="connsiteX20" fmla="*/ 33533 w 373413"/>
                  <a:gd name="connsiteY20" fmla="*/ 220004 h 412038"/>
                  <a:gd name="connsiteX21" fmla="*/ 44128 w 373413"/>
                  <a:gd name="connsiteY21" fmla="*/ 211579 h 412038"/>
                  <a:gd name="connsiteX22" fmla="*/ 50802 w 373413"/>
                  <a:gd name="connsiteY22" fmla="*/ 208910 h 412038"/>
                  <a:gd name="connsiteX23" fmla="*/ 84006 w 373413"/>
                  <a:gd name="connsiteY23" fmla="*/ 154436 h 412038"/>
                  <a:gd name="connsiteX24" fmla="*/ 101693 w 373413"/>
                  <a:gd name="connsiteY24" fmla="*/ 98627 h 412038"/>
                  <a:gd name="connsiteX25" fmla="*/ 110536 w 373413"/>
                  <a:gd name="connsiteY25" fmla="*/ 103049 h 412038"/>
                  <a:gd name="connsiteX26" fmla="*/ 118545 w 373413"/>
                  <a:gd name="connsiteY26" fmla="*/ 107887 h 412038"/>
                  <a:gd name="connsiteX27" fmla="*/ 149580 w 373413"/>
                  <a:gd name="connsiteY27" fmla="*/ 110140 h 412038"/>
                  <a:gd name="connsiteX28" fmla="*/ 199636 w 373413"/>
                  <a:gd name="connsiteY28" fmla="*/ 60087 h 412038"/>
                  <a:gd name="connsiteX29" fmla="*/ 207144 w 373413"/>
                  <a:gd name="connsiteY29" fmla="*/ 33059 h 412038"/>
                  <a:gd name="connsiteX30" fmla="*/ 218240 w 373413"/>
                  <a:gd name="connsiteY30" fmla="*/ 7783 h 412038"/>
                  <a:gd name="connsiteX31" fmla="*/ 272718 w 373413"/>
                  <a:gd name="connsiteY31" fmla="*/ 11286 h 412038"/>
                  <a:gd name="connsiteX32" fmla="*/ 281144 w 373413"/>
                  <a:gd name="connsiteY32" fmla="*/ 17459 h 412038"/>
                  <a:gd name="connsiteX33" fmla="*/ 309092 w 373413"/>
                  <a:gd name="connsiteY33" fmla="*/ 32058 h 412038"/>
                  <a:gd name="connsiteX34" fmla="*/ 322857 w 373413"/>
                  <a:gd name="connsiteY34" fmla="*/ 32475 h 412038"/>
                  <a:gd name="connsiteX35" fmla="*/ 338375 w 373413"/>
                  <a:gd name="connsiteY35" fmla="*/ 37313 h 412038"/>
                  <a:gd name="connsiteX36" fmla="*/ 344548 w 373413"/>
                  <a:gd name="connsiteY36" fmla="*/ 44404 h 412038"/>
                  <a:gd name="connsiteX37" fmla="*/ 366740 w 373413"/>
                  <a:gd name="connsiteY37" fmla="*/ 61255 h 412038"/>
                  <a:gd name="connsiteX38" fmla="*/ 373414 w 373413"/>
                  <a:gd name="connsiteY38" fmla="*/ 63007 h 412038"/>
                  <a:gd name="connsiteX39" fmla="*/ 372496 w 373413"/>
                  <a:gd name="connsiteY39" fmla="*/ 67845 h 412038"/>
                  <a:gd name="connsiteX40" fmla="*/ 370244 w 373413"/>
                  <a:gd name="connsiteY40" fmla="*/ 79774 h 412038"/>
                  <a:gd name="connsiteX41" fmla="*/ 364904 w 373413"/>
                  <a:gd name="connsiteY41" fmla="*/ 97043 h 412038"/>
                  <a:gd name="connsiteX42" fmla="*/ 356895 w 373413"/>
                  <a:gd name="connsiteY42" fmla="*/ 129827 h 412038"/>
                  <a:gd name="connsiteX43" fmla="*/ 356478 w 373413"/>
                  <a:gd name="connsiteY43" fmla="*/ 139170 h 412038"/>
                  <a:gd name="connsiteX44" fmla="*/ 346300 w 373413"/>
                  <a:gd name="connsiteY44" fmla="*/ 178127 h 412038"/>
                  <a:gd name="connsiteX45" fmla="*/ 341461 w 373413"/>
                  <a:gd name="connsiteY45" fmla="*/ 185218 h 412038"/>
                  <a:gd name="connsiteX46" fmla="*/ 325110 w 373413"/>
                  <a:gd name="connsiteY46" fmla="*/ 225510 h 412038"/>
                  <a:gd name="connsiteX47" fmla="*/ 311344 w 373413"/>
                  <a:gd name="connsiteY47" fmla="*/ 274228 h 412038"/>
                  <a:gd name="connsiteX48" fmla="*/ 296745 w 373413"/>
                  <a:gd name="connsiteY48" fmla="*/ 285323 h 412038"/>
                  <a:gd name="connsiteX49" fmla="*/ 277223 w 373413"/>
                  <a:gd name="connsiteY49" fmla="*/ 299921 h 412038"/>
                  <a:gd name="connsiteX50" fmla="*/ 273218 w 373413"/>
                  <a:gd name="connsiteY50" fmla="*/ 306595 h 412038"/>
                  <a:gd name="connsiteX51" fmla="*/ 267879 w 373413"/>
                  <a:gd name="connsiteY51" fmla="*/ 313269 h 412038"/>
                  <a:gd name="connsiteX52" fmla="*/ 265626 w 373413"/>
                  <a:gd name="connsiteY52" fmla="*/ 311934 h 412038"/>
                  <a:gd name="connsiteX53" fmla="*/ 246104 w 373413"/>
                  <a:gd name="connsiteY53" fmla="*/ 308847 h 412038"/>
                  <a:gd name="connsiteX54" fmla="*/ 243435 w 373413"/>
                  <a:gd name="connsiteY54" fmla="*/ 351809 h 412038"/>
                  <a:gd name="connsiteX55" fmla="*/ 248774 w 373413"/>
                  <a:gd name="connsiteY55" fmla="*/ 370412 h 412038"/>
                  <a:gd name="connsiteX56" fmla="*/ 251027 w 373413"/>
                  <a:gd name="connsiteY56" fmla="*/ 384593 h 412038"/>
                  <a:gd name="connsiteX57" fmla="*/ 247940 w 373413"/>
                  <a:gd name="connsiteY57" fmla="*/ 394770 h 412038"/>
                  <a:gd name="connsiteX58" fmla="*/ 230253 w 373413"/>
                  <a:gd name="connsiteY58" fmla="*/ 399192 h 412038"/>
                  <a:gd name="connsiteX59" fmla="*/ 208980 w 373413"/>
                  <a:gd name="connsiteY59" fmla="*/ 402278 h 412038"/>
                  <a:gd name="connsiteX60" fmla="*/ 201471 w 373413"/>
                  <a:gd name="connsiteY60" fmla="*/ 408034 h 412038"/>
                  <a:gd name="connsiteX61" fmla="*/ 197050 w 373413"/>
                  <a:gd name="connsiteY61" fmla="*/ 411121 h 412038"/>
                  <a:gd name="connsiteX62" fmla="*/ 186454 w 373413"/>
                  <a:gd name="connsiteY62" fmla="*/ 412038 h 412038"/>
                  <a:gd name="connsiteX63" fmla="*/ 179780 w 373413"/>
                  <a:gd name="connsiteY63" fmla="*/ 411621 h 412038"/>
                  <a:gd name="connsiteX64" fmla="*/ 172689 w 373413"/>
                  <a:gd name="connsiteY64" fmla="*/ 411204 h 412038"/>
                  <a:gd name="connsiteX65" fmla="*/ 167850 w 373413"/>
                  <a:gd name="connsiteY65" fmla="*/ 411204 h 412038"/>
                  <a:gd name="connsiteX66" fmla="*/ 142572 w 373413"/>
                  <a:gd name="connsiteY66" fmla="*/ 403196 h 412038"/>
                  <a:gd name="connsiteX67" fmla="*/ 156337 w 373413"/>
                  <a:gd name="connsiteY67" fmla="*/ 396522 h 412038"/>
                  <a:gd name="connsiteX68" fmla="*/ 177111 w 373413"/>
                  <a:gd name="connsiteY68" fmla="*/ 387763 h 412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73413" h="412038" extrusionOk="0">
                    <a:moveTo>
                      <a:pt x="177111" y="387763"/>
                    </a:moveTo>
                    <a:cubicBezTo>
                      <a:pt x="184619" y="379337"/>
                      <a:pt x="182867" y="372247"/>
                      <a:pt x="180197" y="367408"/>
                    </a:cubicBezTo>
                    <a:cubicBezTo>
                      <a:pt x="174858" y="358065"/>
                      <a:pt x="165097" y="358983"/>
                      <a:pt x="159841" y="359400"/>
                    </a:cubicBezTo>
                    <a:lnTo>
                      <a:pt x="158089" y="359400"/>
                    </a:lnTo>
                    <a:cubicBezTo>
                      <a:pt x="152333" y="359817"/>
                      <a:pt x="150581" y="357648"/>
                      <a:pt x="150080" y="356730"/>
                    </a:cubicBezTo>
                    <a:cubicBezTo>
                      <a:pt x="147411" y="353227"/>
                      <a:pt x="147828" y="344801"/>
                      <a:pt x="151415" y="336793"/>
                    </a:cubicBezTo>
                    <a:cubicBezTo>
                      <a:pt x="152333" y="335041"/>
                      <a:pt x="152750" y="333707"/>
                      <a:pt x="154085" y="331955"/>
                    </a:cubicBezTo>
                    <a:cubicBezTo>
                      <a:pt x="156754" y="326616"/>
                      <a:pt x="161176" y="319108"/>
                      <a:pt x="155420" y="310683"/>
                    </a:cubicBezTo>
                    <a:cubicBezTo>
                      <a:pt x="149246" y="300922"/>
                      <a:pt x="136398" y="302674"/>
                      <a:pt x="129307" y="303592"/>
                    </a:cubicBezTo>
                    <a:cubicBezTo>
                      <a:pt x="111120" y="305844"/>
                      <a:pt x="90347" y="317773"/>
                      <a:pt x="78333" y="327533"/>
                    </a:cubicBezTo>
                    <a:cubicBezTo>
                      <a:pt x="74829" y="330620"/>
                      <a:pt x="71242" y="333707"/>
                      <a:pt x="68155" y="336876"/>
                    </a:cubicBezTo>
                    <a:cubicBezTo>
                      <a:pt x="59312" y="345302"/>
                      <a:pt x="51803" y="352393"/>
                      <a:pt x="39373" y="357732"/>
                    </a:cubicBezTo>
                    <a:cubicBezTo>
                      <a:pt x="8338" y="371496"/>
                      <a:pt x="2164" y="368826"/>
                      <a:pt x="1247" y="368326"/>
                    </a:cubicBezTo>
                    <a:cubicBezTo>
                      <a:pt x="-1840" y="363905"/>
                      <a:pt x="1664" y="339129"/>
                      <a:pt x="2582" y="331121"/>
                    </a:cubicBezTo>
                    <a:cubicBezTo>
                      <a:pt x="3499" y="326699"/>
                      <a:pt x="3917" y="323112"/>
                      <a:pt x="3917" y="321360"/>
                    </a:cubicBezTo>
                    <a:cubicBezTo>
                      <a:pt x="4834" y="309431"/>
                      <a:pt x="5251" y="297919"/>
                      <a:pt x="5668" y="286407"/>
                    </a:cubicBezTo>
                    <a:lnTo>
                      <a:pt x="7003" y="286407"/>
                    </a:lnTo>
                    <a:cubicBezTo>
                      <a:pt x="12343" y="286407"/>
                      <a:pt x="16764" y="284155"/>
                      <a:pt x="19851" y="281986"/>
                    </a:cubicBezTo>
                    <a:cubicBezTo>
                      <a:pt x="30029" y="274895"/>
                      <a:pt x="32699" y="258962"/>
                      <a:pt x="31781" y="247032"/>
                    </a:cubicBezTo>
                    <a:cubicBezTo>
                      <a:pt x="31364" y="244780"/>
                      <a:pt x="31364" y="242611"/>
                      <a:pt x="30863" y="240859"/>
                    </a:cubicBezTo>
                    <a:cubicBezTo>
                      <a:pt x="29946" y="232434"/>
                      <a:pt x="29529" y="227095"/>
                      <a:pt x="33533" y="220004"/>
                    </a:cubicBezTo>
                    <a:cubicBezTo>
                      <a:pt x="37037" y="214665"/>
                      <a:pt x="38872" y="213831"/>
                      <a:pt x="44128" y="211579"/>
                    </a:cubicBezTo>
                    <a:cubicBezTo>
                      <a:pt x="46381" y="210661"/>
                      <a:pt x="48550" y="210244"/>
                      <a:pt x="50802" y="208910"/>
                    </a:cubicBezTo>
                    <a:cubicBezTo>
                      <a:pt x="76915" y="196480"/>
                      <a:pt x="82671" y="181464"/>
                      <a:pt x="84006" y="154436"/>
                    </a:cubicBezTo>
                    <a:cubicBezTo>
                      <a:pt x="85758" y="123403"/>
                      <a:pt x="93350" y="99545"/>
                      <a:pt x="101693" y="98627"/>
                    </a:cubicBezTo>
                    <a:cubicBezTo>
                      <a:pt x="103945" y="98627"/>
                      <a:pt x="107449" y="101297"/>
                      <a:pt x="110536" y="103049"/>
                    </a:cubicBezTo>
                    <a:cubicBezTo>
                      <a:pt x="113206" y="104800"/>
                      <a:pt x="115875" y="106552"/>
                      <a:pt x="118545" y="107887"/>
                    </a:cubicBezTo>
                    <a:cubicBezTo>
                      <a:pt x="128306" y="111891"/>
                      <a:pt x="139819" y="112725"/>
                      <a:pt x="149580" y="110140"/>
                    </a:cubicBezTo>
                    <a:cubicBezTo>
                      <a:pt x="173023" y="103966"/>
                      <a:pt x="189041" y="77355"/>
                      <a:pt x="199636" y="60087"/>
                    </a:cubicBezTo>
                    <a:cubicBezTo>
                      <a:pt x="204975" y="51245"/>
                      <a:pt x="206310" y="41484"/>
                      <a:pt x="207144" y="33059"/>
                    </a:cubicBezTo>
                    <a:cubicBezTo>
                      <a:pt x="208479" y="21130"/>
                      <a:pt x="210231" y="13121"/>
                      <a:pt x="218240" y="7783"/>
                    </a:cubicBezTo>
                    <a:cubicBezTo>
                      <a:pt x="235509" y="-3729"/>
                      <a:pt x="251944" y="-2395"/>
                      <a:pt x="272718" y="11286"/>
                    </a:cubicBezTo>
                    <a:cubicBezTo>
                      <a:pt x="275387" y="13038"/>
                      <a:pt x="278057" y="14790"/>
                      <a:pt x="281144" y="17459"/>
                    </a:cubicBezTo>
                    <a:cubicBezTo>
                      <a:pt x="289153" y="23632"/>
                      <a:pt x="297495" y="30306"/>
                      <a:pt x="309092" y="32058"/>
                    </a:cubicBezTo>
                    <a:cubicBezTo>
                      <a:pt x="314431" y="32976"/>
                      <a:pt x="319270" y="32976"/>
                      <a:pt x="322857" y="32475"/>
                    </a:cubicBezTo>
                    <a:cubicBezTo>
                      <a:pt x="329531" y="32058"/>
                      <a:pt x="332618" y="31557"/>
                      <a:pt x="338375" y="37313"/>
                    </a:cubicBezTo>
                    <a:cubicBezTo>
                      <a:pt x="340627" y="39983"/>
                      <a:pt x="342796" y="42152"/>
                      <a:pt x="344548" y="44404"/>
                    </a:cubicBezTo>
                    <a:cubicBezTo>
                      <a:pt x="349888" y="51078"/>
                      <a:pt x="354726" y="57251"/>
                      <a:pt x="366740" y="61255"/>
                    </a:cubicBezTo>
                    <a:cubicBezTo>
                      <a:pt x="368992" y="62173"/>
                      <a:pt x="371161" y="62590"/>
                      <a:pt x="373414" y="63007"/>
                    </a:cubicBezTo>
                    <a:cubicBezTo>
                      <a:pt x="372997" y="64759"/>
                      <a:pt x="372997" y="66093"/>
                      <a:pt x="372496" y="67845"/>
                    </a:cubicBezTo>
                    <a:cubicBezTo>
                      <a:pt x="372079" y="71849"/>
                      <a:pt x="371161" y="75854"/>
                      <a:pt x="370244" y="79774"/>
                    </a:cubicBezTo>
                    <a:cubicBezTo>
                      <a:pt x="368909" y="85948"/>
                      <a:pt x="366740" y="91287"/>
                      <a:pt x="364904" y="97043"/>
                    </a:cubicBezTo>
                    <a:cubicBezTo>
                      <a:pt x="361401" y="107220"/>
                      <a:pt x="357396" y="117397"/>
                      <a:pt x="356895" y="129827"/>
                    </a:cubicBezTo>
                    <a:cubicBezTo>
                      <a:pt x="356478" y="132913"/>
                      <a:pt x="356478" y="136000"/>
                      <a:pt x="356478" y="139170"/>
                    </a:cubicBezTo>
                    <a:cubicBezTo>
                      <a:pt x="356061" y="154686"/>
                      <a:pt x="355561" y="164863"/>
                      <a:pt x="346300" y="178127"/>
                    </a:cubicBezTo>
                    <a:cubicBezTo>
                      <a:pt x="344548" y="180797"/>
                      <a:pt x="343213" y="182966"/>
                      <a:pt x="341461" y="185218"/>
                    </a:cubicBezTo>
                    <a:cubicBezTo>
                      <a:pt x="332618" y="197147"/>
                      <a:pt x="325944" y="206490"/>
                      <a:pt x="325110" y="225510"/>
                    </a:cubicBezTo>
                    <a:cubicBezTo>
                      <a:pt x="324192" y="243195"/>
                      <a:pt x="318936" y="261381"/>
                      <a:pt x="311344" y="274228"/>
                    </a:cubicBezTo>
                    <a:cubicBezTo>
                      <a:pt x="307840" y="279566"/>
                      <a:pt x="302501" y="282236"/>
                      <a:pt x="296745" y="285323"/>
                    </a:cubicBezTo>
                    <a:cubicBezTo>
                      <a:pt x="290571" y="288409"/>
                      <a:pt x="282979" y="292414"/>
                      <a:pt x="277223" y="299921"/>
                    </a:cubicBezTo>
                    <a:cubicBezTo>
                      <a:pt x="275888" y="302173"/>
                      <a:pt x="274553" y="304342"/>
                      <a:pt x="273218" y="306595"/>
                    </a:cubicBezTo>
                    <a:cubicBezTo>
                      <a:pt x="271466" y="310098"/>
                      <a:pt x="270131" y="312351"/>
                      <a:pt x="267879" y="313269"/>
                    </a:cubicBezTo>
                    <a:cubicBezTo>
                      <a:pt x="267462" y="313269"/>
                      <a:pt x="266544" y="312351"/>
                      <a:pt x="265626" y="311934"/>
                    </a:cubicBezTo>
                    <a:cubicBezTo>
                      <a:pt x="262540" y="309681"/>
                      <a:pt x="255866" y="305260"/>
                      <a:pt x="246104" y="308847"/>
                    </a:cubicBezTo>
                    <a:cubicBezTo>
                      <a:pt x="231505" y="315020"/>
                      <a:pt x="237678" y="333206"/>
                      <a:pt x="243435" y="351809"/>
                    </a:cubicBezTo>
                    <a:cubicBezTo>
                      <a:pt x="245687" y="357982"/>
                      <a:pt x="247439" y="364238"/>
                      <a:pt x="248774" y="370412"/>
                    </a:cubicBezTo>
                    <a:cubicBezTo>
                      <a:pt x="250109" y="375250"/>
                      <a:pt x="251027" y="380172"/>
                      <a:pt x="251027" y="384593"/>
                    </a:cubicBezTo>
                    <a:cubicBezTo>
                      <a:pt x="251027" y="389014"/>
                      <a:pt x="250109" y="392101"/>
                      <a:pt x="247940" y="394770"/>
                    </a:cubicBezTo>
                    <a:cubicBezTo>
                      <a:pt x="243518" y="399192"/>
                      <a:pt x="239097" y="399192"/>
                      <a:pt x="230253" y="399192"/>
                    </a:cubicBezTo>
                    <a:cubicBezTo>
                      <a:pt x="223579" y="398775"/>
                      <a:pt x="216071" y="398775"/>
                      <a:pt x="208980" y="402278"/>
                    </a:cubicBezTo>
                    <a:cubicBezTo>
                      <a:pt x="205893" y="403613"/>
                      <a:pt x="203640" y="405782"/>
                      <a:pt x="201471" y="408034"/>
                    </a:cubicBezTo>
                    <a:cubicBezTo>
                      <a:pt x="199719" y="409786"/>
                      <a:pt x="198802" y="410704"/>
                      <a:pt x="197050" y="411121"/>
                    </a:cubicBezTo>
                    <a:cubicBezTo>
                      <a:pt x="193963" y="412038"/>
                      <a:pt x="190376" y="412038"/>
                      <a:pt x="186454" y="412038"/>
                    </a:cubicBezTo>
                    <a:cubicBezTo>
                      <a:pt x="184202" y="412038"/>
                      <a:pt x="182033" y="412038"/>
                      <a:pt x="179780" y="411621"/>
                    </a:cubicBezTo>
                    <a:cubicBezTo>
                      <a:pt x="177111" y="411204"/>
                      <a:pt x="174942" y="411204"/>
                      <a:pt x="172689" y="411204"/>
                    </a:cubicBezTo>
                    <a:lnTo>
                      <a:pt x="167850" y="411204"/>
                    </a:lnTo>
                    <a:cubicBezTo>
                      <a:pt x="152333" y="411621"/>
                      <a:pt x="143072" y="410287"/>
                      <a:pt x="142572" y="403196"/>
                    </a:cubicBezTo>
                    <a:cubicBezTo>
                      <a:pt x="142155" y="400109"/>
                      <a:pt x="143489" y="398775"/>
                      <a:pt x="156337" y="396522"/>
                    </a:cubicBezTo>
                    <a:cubicBezTo>
                      <a:pt x="162928" y="395271"/>
                      <a:pt x="171771" y="393936"/>
                      <a:pt x="177111" y="38776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26033236" name="Полилиния 386"/>
              <p:cNvSpPr/>
              <p:nvPr/>
            </p:nvSpPr>
            <p:spPr bwMode="auto">
              <a:xfrm>
                <a:off x="2817118" y="3864785"/>
                <a:ext cx="677213" cy="752814"/>
              </a:xfrm>
              <a:custGeom>
                <a:avLst/>
                <a:gdLst>
                  <a:gd name="connsiteX0" fmla="*/ 251949 w 760534"/>
                  <a:gd name="connsiteY0" fmla="*/ 838262 h 845436"/>
                  <a:gd name="connsiteX1" fmla="*/ 251949 w 760534"/>
                  <a:gd name="connsiteY1" fmla="*/ 838262 h 845436"/>
                  <a:gd name="connsiteX2" fmla="*/ 250614 w 760534"/>
                  <a:gd name="connsiteY2" fmla="*/ 823664 h 845436"/>
                  <a:gd name="connsiteX3" fmla="*/ 247945 w 760534"/>
                  <a:gd name="connsiteY3" fmla="*/ 801557 h 845436"/>
                  <a:gd name="connsiteX4" fmla="*/ 239519 w 760534"/>
                  <a:gd name="connsiteY4" fmla="*/ 790963 h 845436"/>
                  <a:gd name="connsiteX5" fmla="*/ 234680 w 760534"/>
                  <a:gd name="connsiteY5" fmla="*/ 784790 h 845436"/>
                  <a:gd name="connsiteX6" fmla="*/ 235598 w 760534"/>
                  <a:gd name="connsiteY6" fmla="*/ 764852 h 845436"/>
                  <a:gd name="connsiteX7" fmla="*/ 236515 w 760534"/>
                  <a:gd name="connsiteY7" fmla="*/ 761349 h 845436"/>
                  <a:gd name="connsiteX8" fmla="*/ 237433 w 760534"/>
                  <a:gd name="connsiteY8" fmla="*/ 758679 h 845436"/>
                  <a:gd name="connsiteX9" fmla="*/ 236515 w 760534"/>
                  <a:gd name="connsiteY9" fmla="*/ 736990 h 845436"/>
                  <a:gd name="connsiteX10" fmla="*/ 230342 w 760534"/>
                  <a:gd name="connsiteY10" fmla="*/ 728981 h 845436"/>
                  <a:gd name="connsiteX11" fmla="*/ 227672 w 760534"/>
                  <a:gd name="connsiteY11" fmla="*/ 726729 h 845436"/>
                  <a:gd name="connsiteX12" fmla="*/ 225419 w 760534"/>
                  <a:gd name="connsiteY12" fmla="*/ 720556 h 845436"/>
                  <a:gd name="connsiteX13" fmla="*/ 228506 w 760534"/>
                  <a:gd name="connsiteY13" fmla="*/ 713465 h 845436"/>
                  <a:gd name="connsiteX14" fmla="*/ 229841 w 760534"/>
                  <a:gd name="connsiteY14" fmla="*/ 711213 h 845436"/>
                  <a:gd name="connsiteX15" fmla="*/ 232093 w 760534"/>
                  <a:gd name="connsiteY15" fmla="*/ 690858 h 845436"/>
                  <a:gd name="connsiteX16" fmla="*/ 221915 w 760534"/>
                  <a:gd name="connsiteY16" fmla="*/ 678429 h 845436"/>
                  <a:gd name="connsiteX17" fmla="*/ 217494 w 760534"/>
                  <a:gd name="connsiteY17" fmla="*/ 673590 h 845436"/>
                  <a:gd name="connsiteX18" fmla="*/ 221498 w 760534"/>
                  <a:gd name="connsiteY18" fmla="*/ 666499 h 845436"/>
                  <a:gd name="connsiteX19" fmla="*/ 228590 w 760534"/>
                  <a:gd name="connsiteY19" fmla="*/ 646979 h 845436"/>
                  <a:gd name="connsiteX20" fmla="*/ 210903 w 760534"/>
                  <a:gd name="connsiteY20" fmla="*/ 627959 h 845436"/>
                  <a:gd name="connsiteX21" fmla="*/ 207816 w 760534"/>
                  <a:gd name="connsiteY21" fmla="*/ 626625 h 845436"/>
                  <a:gd name="connsiteX22" fmla="*/ 200725 w 760534"/>
                  <a:gd name="connsiteY22" fmla="*/ 623121 h 845436"/>
                  <a:gd name="connsiteX23" fmla="*/ 194551 w 760534"/>
                  <a:gd name="connsiteY23" fmla="*/ 616447 h 845436"/>
                  <a:gd name="connsiteX24" fmla="*/ 193217 w 760534"/>
                  <a:gd name="connsiteY24" fmla="*/ 609356 h 845436"/>
                  <a:gd name="connsiteX25" fmla="*/ 180786 w 760534"/>
                  <a:gd name="connsiteY25" fmla="*/ 589002 h 845436"/>
                  <a:gd name="connsiteX26" fmla="*/ 162599 w 760534"/>
                  <a:gd name="connsiteY26" fmla="*/ 583246 h 845436"/>
                  <a:gd name="connsiteX27" fmla="*/ 151086 w 760534"/>
                  <a:gd name="connsiteY27" fmla="*/ 580576 h 845436"/>
                  <a:gd name="connsiteX28" fmla="*/ 142660 w 760534"/>
                  <a:gd name="connsiteY28" fmla="*/ 575738 h 845436"/>
                  <a:gd name="connsiteX29" fmla="*/ 128060 w 760534"/>
                  <a:gd name="connsiteY29" fmla="*/ 568647 h 845436"/>
                  <a:gd name="connsiteX30" fmla="*/ 74417 w 760534"/>
                  <a:gd name="connsiteY30" fmla="*/ 556718 h 845436"/>
                  <a:gd name="connsiteX31" fmla="*/ 58482 w 760534"/>
                  <a:gd name="connsiteY31" fmla="*/ 555801 h 845436"/>
                  <a:gd name="connsiteX32" fmla="*/ 22192 w 760534"/>
                  <a:gd name="connsiteY32" fmla="*/ 541619 h 845436"/>
                  <a:gd name="connsiteX33" fmla="*/ 0 w 760534"/>
                  <a:gd name="connsiteY33" fmla="*/ 507917 h 845436"/>
                  <a:gd name="connsiteX34" fmla="*/ 21691 w 760534"/>
                  <a:gd name="connsiteY34" fmla="*/ 480889 h 845436"/>
                  <a:gd name="connsiteX35" fmla="*/ 56647 w 760534"/>
                  <a:gd name="connsiteY35" fmla="*/ 458282 h 845436"/>
                  <a:gd name="connsiteX36" fmla="*/ 70412 w 760534"/>
                  <a:gd name="connsiteY36" fmla="*/ 464455 h 845436"/>
                  <a:gd name="connsiteX37" fmla="*/ 112042 w 760534"/>
                  <a:gd name="connsiteY37" fmla="*/ 470628 h 845436"/>
                  <a:gd name="connsiteX38" fmla="*/ 157260 w 760534"/>
                  <a:gd name="connsiteY38" fmla="*/ 430336 h 845436"/>
                  <a:gd name="connsiteX39" fmla="*/ 133316 w 760534"/>
                  <a:gd name="connsiteY39" fmla="*/ 391796 h 845436"/>
                  <a:gd name="connsiteX40" fmla="*/ 125307 w 760534"/>
                  <a:gd name="connsiteY40" fmla="*/ 386457 h 845436"/>
                  <a:gd name="connsiteX41" fmla="*/ 94773 w 760534"/>
                  <a:gd name="connsiteY41" fmla="*/ 358511 h 845436"/>
                  <a:gd name="connsiteX42" fmla="*/ 81508 w 760534"/>
                  <a:gd name="connsiteY42" fmla="*/ 346081 h 845436"/>
                  <a:gd name="connsiteX43" fmla="*/ 78004 w 760534"/>
                  <a:gd name="connsiteY43" fmla="*/ 342578 h 845436"/>
                  <a:gd name="connsiteX44" fmla="*/ 92604 w 760534"/>
                  <a:gd name="connsiteY44" fmla="*/ 331482 h 845436"/>
                  <a:gd name="connsiteX45" fmla="*/ 94856 w 760534"/>
                  <a:gd name="connsiteY45" fmla="*/ 330148 h 845436"/>
                  <a:gd name="connsiteX46" fmla="*/ 120135 w 760534"/>
                  <a:gd name="connsiteY46" fmla="*/ 312463 h 845436"/>
                  <a:gd name="connsiteX47" fmla="*/ 149334 w 760534"/>
                  <a:gd name="connsiteY47" fmla="*/ 306290 h 845436"/>
                  <a:gd name="connsiteX48" fmla="*/ 152004 w 760534"/>
                  <a:gd name="connsiteY48" fmla="*/ 306707 h 845436"/>
                  <a:gd name="connsiteX49" fmla="*/ 160847 w 760534"/>
                  <a:gd name="connsiteY49" fmla="*/ 307625 h 845436"/>
                  <a:gd name="connsiteX50" fmla="*/ 173277 w 760534"/>
                  <a:gd name="connsiteY50" fmla="*/ 304538 h 845436"/>
                  <a:gd name="connsiteX51" fmla="*/ 177699 w 760534"/>
                  <a:gd name="connsiteY51" fmla="*/ 303203 h 845436"/>
                  <a:gd name="connsiteX52" fmla="*/ 198973 w 760534"/>
                  <a:gd name="connsiteY52" fmla="*/ 302285 h 845436"/>
                  <a:gd name="connsiteX53" fmla="*/ 205647 w 760534"/>
                  <a:gd name="connsiteY53" fmla="*/ 302702 h 845436"/>
                  <a:gd name="connsiteX54" fmla="*/ 239352 w 760534"/>
                  <a:gd name="connsiteY54" fmla="*/ 293860 h 845436"/>
                  <a:gd name="connsiteX55" fmla="*/ 252616 w 760534"/>
                  <a:gd name="connsiteY55" fmla="*/ 260659 h 845436"/>
                  <a:gd name="connsiteX56" fmla="*/ 253034 w 760534"/>
                  <a:gd name="connsiteY56" fmla="*/ 243391 h 845436"/>
                  <a:gd name="connsiteX57" fmla="*/ 254369 w 760534"/>
                  <a:gd name="connsiteY57" fmla="*/ 219449 h 845436"/>
                  <a:gd name="connsiteX58" fmla="*/ 272055 w 760534"/>
                  <a:gd name="connsiteY58" fmla="*/ 187082 h 845436"/>
                  <a:gd name="connsiteX59" fmla="*/ 273390 w 760534"/>
                  <a:gd name="connsiteY59" fmla="*/ 185747 h 845436"/>
                  <a:gd name="connsiteX60" fmla="*/ 281399 w 760534"/>
                  <a:gd name="connsiteY60" fmla="*/ 173818 h 845436"/>
                  <a:gd name="connsiteX61" fmla="*/ 287155 w 760534"/>
                  <a:gd name="connsiteY61" fmla="*/ 154798 h 845436"/>
                  <a:gd name="connsiteX62" fmla="*/ 297751 w 760534"/>
                  <a:gd name="connsiteY62" fmla="*/ 130439 h 845436"/>
                  <a:gd name="connsiteX63" fmla="*/ 303090 w 760534"/>
                  <a:gd name="connsiteY63" fmla="*/ 127353 h 845436"/>
                  <a:gd name="connsiteX64" fmla="*/ 312434 w 760534"/>
                  <a:gd name="connsiteY64" fmla="*/ 121180 h 845436"/>
                  <a:gd name="connsiteX65" fmla="*/ 318190 w 760534"/>
                  <a:gd name="connsiteY65" fmla="*/ 105663 h 845436"/>
                  <a:gd name="connsiteX66" fmla="*/ 312016 w 760534"/>
                  <a:gd name="connsiteY66" fmla="*/ 95486 h 845436"/>
                  <a:gd name="connsiteX67" fmla="*/ 302255 w 760534"/>
                  <a:gd name="connsiteY67" fmla="*/ 92817 h 845436"/>
                  <a:gd name="connsiteX68" fmla="*/ 291660 w 760534"/>
                  <a:gd name="connsiteY68" fmla="*/ 86143 h 845436"/>
                  <a:gd name="connsiteX69" fmla="*/ 290325 w 760534"/>
                  <a:gd name="connsiteY69" fmla="*/ 84391 h 845436"/>
                  <a:gd name="connsiteX70" fmla="*/ 281899 w 760534"/>
                  <a:gd name="connsiteY70" fmla="*/ 75549 h 845436"/>
                  <a:gd name="connsiteX71" fmla="*/ 277478 w 760534"/>
                  <a:gd name="connsiteY71" fmla="*/ 74214 h 845436"/>
                  <a:gd name="connsiteX72" fmla="*/ 277478 w 760534"/>
                  <a:gd name="connsiteY72" fmla="*/ 70710 h 845436"/>
                  <a:gd name="connsiteX73" fmla="*/ 286321 w 760534"/>
                  <a:gd name="connsiteY73" fmla="*/ 67206 h 845436"/>
                  <a:gd name="connsiteX74" fmla="*/ 295164 w 760534"/>
                  <a:gd name="connsiteY74" fmla="*/ 67624 h 845436"/>
                  <a:gd name="connsiteX75" fmla="*/ 301838 w 760534"/>
                  <a:gd name="connsiteY75" fmla="*/ 68541 h 845436"/>
                  <a:gd name="connsiteX76" fmla="*/ 346138 w 760534"/>
                  <a:gd name="connsiteY76" fmla="*/ 55695 h 845436"/>
                  <a:gd name="connsiteX77" fmla="*/ 379842 w 760534"/>
                  <a:gd name="connsiteY77" fmla="*/ 27332 h 845436"/>
                  <a:gd name="connsiteX78" fmla="*/ 386934 w 760534"/>
                  <a:gd name="connsiteY78" fmla="*/ 20241 h 845436"/>
                  <a:gd name="connsiteX79" fmla="*/ 397112 w 760534"/>
                  <a:gd name="connsiteY79" fmla="*/ 10063 h 845436"/>
                  <a:gd name="connsiteX80" fmla="*/ 400616 w 760534"/>
                  <a:gd name="connsiteY80" fmla="*/ 6977 h 845436"/>
                  <a:gd name="connsiteX81" fmla="*/ 407290 w 760534"/>
                  <a:gd name="connsiteY81" fmla="*/ 1638 h 845436"/>
                  <a:gd name="connsiteX82" fmla="*/ 424559 w 760534"/>
                  <a:gd name="connsiteY82" fmla="*/ 2973 h 845436"/>
                  <a:gd name="connsiteX83" fmla="*/ 440911 w 760534"/>
                  <a:gd name="connsiteY83" fmla="*/ 18072 h 845436"/>
                  <a:gd name="connsiteX84" fmla="*/ 447085 w 760534"/>
                  <a:gd name="connsiteY84" fmla="*/ 26915 h 845436"/>
                  <a:gd name="connsiteX85" fmla="*/ 447085 w 760534"/>
                  <a:gd name="connsiteY85" fmla="*/ 34923 h 845436"/>
                  <a:gd name="connsiteX86" fmla="*/ 447502 w 760534"/>
                  <a:gd name="connsiteY86" fmla="*/ 46018 h 845436"/>
                  <a:gd name="connsiteX87" fmla="*/ 467858 w 760534"/>
                  <a:gd name="connsiteY87" fmla="*/ 69959 h 845436"/>
                  <a:gd name="connsiteX88" fmla="*/ 462519 w 760534"/>
                  <a:gd name="connsiteY88" fmla="*/ 83724 h 845436"/>
                  <a:gd name="connsiteX89" fmla="*/ 458514 w 760534"/>
                  <a:gd name="connsiteY89" fmla="*/ 94318 h 845436"/>
                  <a:gd name="connsiteX90" fmla="*/ 449671 w 760534"/>
                  <a:gd name="connsiteY90" fmla="*/ 111586 h 845436"/>
                  <a:gd name="connsiteX91" fmla="*/ 436823 w 760534"/>
                  <a:gd name="connsiteY91" fmla="*/ 140366 h 845436"/>
                  <a:gd name="connsiteX92" fmla="*/ 426645 w 760534"/>
                  <a:gd name="connsiteY92" fmla="*/ 151878 h 845436"/>
                  <a:gd name="connsiteX93" fmla="*/ 411127 w 760534"/>
                  <a:gd name="connsiteY93" fmla="*/ 158051 h 845436"/>
                  <a:gd name="connsiteX94" fmla="*/ 392940 w 760534"/>
                  <a:gd name="connsiteY94" fmla="*/ 185497 h 845436"/>
                  <a:gd name="connsiteX95" fmla="*/ 388519 w 760534"/>
                  <a:gd name="connsiteY95" fmla="*/ 196091 h 845436"/>
                  <a:gd name="connsiteX96" fmla="*/ 384514 w 760534"/>
                  <a:gd name="connsiteY96" fmla="*/ 202765 h 845436"/>
                  <a:gd name="connsiteX97" fmla="*/ 376505 w 760534"/>
                  <a:gd name="connsiteY97" fmla="*/ 241305 h 845436"/>
                  <a:gd name="connsiteX98" fmla="*/ 387101 w 760534"/>
                  <a:gd name="connsiteY98" fmla="*/ 249730 h 845436"/>
                  <a:gd name="connsiteX99" fmla="*/ 391939 w 760534"/>
                  <a:gd name="connsiteY99" fmla="*/ 252817 h 845436"/>
                  <a:gd name="connsiteX100" fmla="*/ 394609 w 760534"/>
                  <a:gd name="connsiteY100" fmla="*/ 272755 h 845436"/>
                  <a:gd name="connsiteX101" fmla="*/ 393274 w 760534"/>
                  <a:gd name="connsiteY101" fmla="*/ 278928 h 845436"/>
                  <a:gd name="connsiteX102" fmla="*/ 391522 w 760534"/>
                  <a:gd name="connsiteY102" fmla="*/ 296196 h 845436"/>
                  <a:gd name="connsiteX103" fmla="*/ 399531 w 760534"/>
                  <a:gd name="connsiteY103" fmla="*/ 308625 h 845436"/>
                  <a:gd name="connsiteX104" fmla="*/ 403536 w 760534"/>
                  <a:gd name="connsiteY104" fmla="*/ 313464 h 845436"/>
                  <a:gd name="connsiteX105" fmla="*/ 402618 w 760534"/>
                  <a:gd name="connsiteY105" fmla="*/ 325894 h 845436"/>
                  <a:gd name="connsiteX106" fmla="*/ 407457 w 760534"/>
                  <a:gd name="connsiteY106" fmla="*/ 354257 h 845436"/>
                  <a:gd name="connsiteX107" fmla="*/ 418552 w 760534"/>
                  <a:gd name="connsiteY107" fmla="*/ 357760 h 845436"/>
                  <a:gd name="connsiteX108" fmla="*/ 422056 w 760534"/>
                  <a:gd name="connsiteY108" fmla="*/ 357343 h 845436"/>
                  <a:gd name="connsiteX109" fmla="*/ 449087 w 760534"/>
                  <a:gd name="connsiteY109" fmla="*/ 330315 h 845436"/>
                  <a:gd name="connsiteX110" fmla="*/ 450422 w 760534"/>
                  <a:gd name="connsiteY110" fmla="*/ 327645 h 845436"/>
                  <a:gd name="connsiteX111" fmla="*/ 480956 w 760534"/>
                  <a:gd name="connsiteY111" fmla="*/ 301535 h 845436"/>
                  <a:gd name="connsiteX112" fmla="*/ 522169 w 760534"/>
                  <a:gd name="connsiteY112" fmla="*/ 307291 h 845436"/>
                  <a:gd name="connsiteX113" fmla="*/ 566051 w 760534"/>
                  <a:gd name="connsiteY113" fmla="*/ 308625 h 845436"/>
                  <a:gd name="connsiteX114" fmla="*/ 573560 w 760534"/>
                  <a:gd name="connsiteY114" fmla="*/ 306873 h 845436"/>
                  <a:gd name="connsiteX115" fmla="*/ 589494 w 760534"/>
                  <a:gd name="connsiteY115" fmla="*/ 313964 h 845436"/>
                  <a:gd name="connsiteX116" fmla="*/ 597920 w 760534"/>
                  <a:gd name="connsiteY116" fmla="*/ 324559 h 845436"/>
                  <a:gd name="connsiteX117" fmla="*/ 641302 w 760534"/>
                  <a:gd name="connsiteY117" fmla="*/ 321889 h 845436"/>
                  <a:gd name="connsiteX118" fmla="*/ 650145 w 760534"/>
                  <a:gd name="connsiteY118" fmla="*/ 316133 h 845436"/>
                  <a:gd name="connsiteX119" fmla="*/ 681180 w 760534"/>
                  <a:gd name="connsiteY119" fmla="*/ 316550 h 845436"/>
                  <a:gd name="connsiteX120" fmla="*/ 682515 w 760534"/>
                  <a:gd name="connsiteY120" fmla="*/ 317468 h 845436"/>
                  <a:gd name="connsiteX121" fmla="*/ 688689 w 760534"/>
                  <a:gd name="connsiteY121" fmla="*/ 339574 h 845436"/>
                  <a:gd name="connsiteX122" fmla="*/ 728149 w 760534"/>
                  <a:gd name="connsiteY122" fmla="*/ 368355 h 845436"/>
                  <a:gd name="connsiteX123" fmla="*/ 739245 w 760534"/>
                  <a:gd name="connsiteY123" fmla="*/ 374528 h 845436"/>
                  <a:gd name="connsiteX124" fmla="*/ 760519 w 760534"/>
                  <a:gd name="connsiteY124" fmla="*/ 399804 h 845436"/>
                  <a:gd name="connsiteX125" fmla="*/ 736159 w 760534"/>
                  <a:gd name="connsiteY125" fmla="*/ 435258 h 845436"/>
                  <a:gd name="connsiteX126" fmla="*/ 713550 w 760534"/>
                  <a:gd name="connsiteY126" fmla="*/ 449857 h 845436"/>
                  <a:gd name="connsiteX127" fmla="*/ 663494 w 760534"/>
                  <a:gd name="connsiteY127" fmla="*/ 507000 h 845436"/>
                  <a:gd name="connsiteX128" fmla="*/ 676341 w 760534"/>
                  <a:gd name="connsiteY128" fmla="*/ 531358 h 845436"/>
                  <a:gd name="connsiteX129" fmla="*/ 684768 w 760534"/>
                  <a:gd name="connsiteY129" fmla="*/ 543288 h 845436"/>
                  <a:gd name="connsiteX130" fmla="*/ 678594 w 760534"/>
                  <a:gd name="connsiteY130" fmla="*/ 556134 h 845436"/>
                  <a:gd name="connsiteX131" fmla="*/ 668416 w 760534"/>
                  <a:gd name="connsiteY131" fmla="*/ 573819 h 845436"/>
                  <a:gd name="connsiteX132" fmla="*/ 667498 w 760534"/>
                  <a:gd name="connsiteY132" fmla="*/ 582662 h 845436"/>
                  <a:gd name="connsiteX133" fmla="*/ 667498 w 760534"/>
                  <a:gd name="connsiteY133" fmla="*/ 583997 h 845436"/>
                  <a:gd name="connsiteX134" fmla="*/ 665246 w 760534"/>
                  <a:gd name="connsiteY134" fmla="*/ 593757 h 845436"/>
                  <a:gd name="connsiteX135" fmla="*/ 662159 w 760534"/>
                  <a:gd name="connsiteY135" fmla="*/ 596426 h 845436"/>
                  <a:gd name="connsiteX136" fmla="*/ 659072 w 760534"/>
                  <a:gd name="connsiteY136" fmla="*/ 597761 h 845436"/>
                  <a:gd name="connsiteX137" fmla="*/ 649728 w 760534"/>
                  <a:gd name="connsiteY137" fmla="*/ 603934 h 845436"/>
                  <a:gd name="connsiteX138" fmla="*/ 638215 w 760534"/>
                  <a:gd name="connsiteY138" fmla="*/ 622120 h 845436"/>
                  <a:gd name="connsiteX139" fmla="*/ 632876 w 760534"/>
                  <a:gd name="connsiteY139" fmla="*/ 620785 h 845436"/>
                  <a:gd name="connsiteX140" fmla="*/ 617359 w 760534"/>
                  <a:gd name="connsiteY140" fmla="*/ 608856 h 845436"/>
                  <a:gd name="connsiteX141" fmla="*/ 610267 w 760534"/>
                  <a:gd name="connsiteY141" fmla="*/ 600848 h 845436"/>
                  <a:gd name="connsiteX142" fmla="*/ 584155 w 760534"/>
                  <a:gd name="connsiteY142" fmla="*/ 591504 h 845436"/>
                  <a:gd name="connsiteX143" fmla="*/ 573560 w 760534"/>
                  <a:gd name="connsiteY143" fmla="*/ 591087 h 845436"/>
                  <a:gd name="connsiteX144" fmla="*/ 551869 w 760534"/>
                  <a:gd name="connsiteY144" fmla="*/ 579158 h 845436"/>
                  <a:gd name="connsiteX145" fmla="*/ 543025 w 760534"/>
                  <a:gd name="connsiteY145" fmla="*/ 572485 h 845436"/>
                  <a:gd name="connsiteX146" fmla="*/ 472613 w 760534"/>
                  <a:gd name="connsiteY146" fmla="*/ 568981 h 845436"/>
                  <a:gd name="connsiteX147" fmla="*/ 455344 w 760534"/>
                  <a:gd name="connsiteY147" fmla="*/ 604435 h 845436"/>
                  <a:gd name="connsiteX148" fmla="*/ 449587 w 760534"/>
                  <a:gd name="connsiteY148" fmla="*/ 626124 h 845436"/>
                  <a:gd name="connsiteX149" fmla="*/ 408374 w 760534"/>
                  <a:gd name="connsiteY149" fmla="*/ 670003 h 845436"/>
                  <a:gd name="connsiteX150" fmla="*/ 386683 w 760534"/>
                  <a:gd name="connsiteY150" fmla="*/ 667751 h 845436"/>
                  <a:gd name="connsiteX151" fmla="*/ 381344 w 760534"/>
                  <a:gd name="connsiteY151" fmla="*/ 664664 h 845436"/>
                  <a:gd name="connsiteX152" fmla="*/ 363157 w 760534"/>
                  <a:gd name="connsiteY152" fmla="*/ 657574 h 845436"/>
                  <a:gd name="connsiteX153" fmla="*/ 332122 w 760534"/>
                  <a:gd name="connsiteY153" fmla="*/ 726646 h 845436"/>
                  <a:gd name="connsiteX154" fmla="*/ 306844 w 760534"/>
                  <a:gd name="connsiteY154" fmla="*/ 769190 h 845436"/>
                  <a:gd name="connsiteX155" fmla="*/ 301088 w 760534"/>
                  <a:gd name="connsiteY155" fmla="*/ 771860 h 845436"/>
                  <a:gd name="connsiteX156" fmla="*/ 283401 w 760534"/>
                  <a:gd name="connsiteY156" fmla="*/ 786041 h 845436"/>
                  <a:gd name="connsiteX157" fmla="*/ 278562 w 760534"/>
                  <a:gd name="connsiteY157" fmla="*/ 815739 h 845436"/>
                  <a:gd name="connsiteX158" fmla="*/ 279480 w 760534"/>
                  <a:gd name="connsiteY158" fmla="*/ 821495 h 845436"/>
                  <a:gd name="connsiteX159" fmla="*/ 273306 w 760534"/>
                  <a:gd name="connsiteY159" fmla="*/ 844102 h 845436"/>
                  <a:gd name="connsiteX160" fmla="*/ 267967 w 760534"/>
                  <a:gd name="connsiteY160" fmla="*/ 845436 h 845436"/>
                  <a:gd name="connsiteX161" fmla="*/ 261793 w 760534"/>
                  <a:gd name="connsiteY161" fmla="*/ 843684 h 845436"/>
                  <a:gd name="connsiteX162" fmla="*/ 251949 w 760534"/>
                  <a:gd name="connsiteY162" fmla="*/ 838262 h 84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760534" h="845436" extrusionOk="0">
                    <a:moveTo>
                      <a:pt x="251949" y="838262"/>
                    </a:moveTo>
                    <a:cubicBezTo>
                      <a:pt x="251949" y="837845"/>
                      <a:pt x="251949" y="837845"/>
                      <a:pt x="251949" y="838262"/>
                    </a:cubicBezTo>
                    <a:cubicBezTo>
                      <a:pt x="250614" y="834759"/>
                      <a:pt x="250197" y="829837"/>
                      <a:pt x="250614" y="823664"/>
                    </a:cubicBezTo>
                    <a:cubicBezTo>
                      <a:pt x="251031" y="816573"/>
                      <a:pt x="251031" y="809065"/>
                      <a:pt x="247945" y="801557"/>
                    </a:cubicBezTo>
                    <a:cubicBezTo>
                      <a:pt x="245692" y="796218"/>
                      <a:pt x="242188" y="793132"/>
                      <a:pt x="239519" y="790963"/>
                    </a:cubicBezTo>
                    <a:cubicBezTo>
                      <a:pt x="237266" y="788710"/>
                      <a:pt x="235514" y="787459"/>
                      <a:pt x="234680" y="784790"/>
                    </a:cubicBezTo>
                    <a:cubicBezTo>
                      <a:pt x="232427" y="779034"/>
                      <a:pt x="234263" y="771943"/>
                      <a:pt x="235598" y="764852"/>
                    </a:cubicBezTo>
                    <a:lnTo>
                      <a:pt x="236515" y="761349"/>
                    </a:lnTo>
                    <a:cubicBezTo>
                      <a:pt x="236515" y="760431"/>
                      <a:pt x="236932" y="760014"/>
                      <a:pt x="237433" y="758679"/>
                    </a:cubicBezTo>
                    <a:cubicBezTo>
                      <a:pt x="238768" y="753841"/>
                      <a:pt x="240937" y="745832"/>
                      <a:pt x="236515" y="736990"/>
                    </a:cubicBezTo>
                    <a:cubicBezTo>
                      <a:pt x="234263" y="733486"/>
                      <a:pt x="232093" y="730817"/>
                      <a:pt x="230342" y="728981"/>
                    </a:cubicBezTo>
                    <a:cubicBezTo>
                      <a:pt x="229424" y="728064"/>
                      <a:pt x="228590" y="727647"/>
                      <a:pt x="227672" y="726729"/>
                    </a:cubicBezTo>
                    <a:cubicBezTo>
                      <a:pt x="225002" y="724477"/>
                      <a:pt x="225002" y="724477"/>
                      <a:pt x="225419" y="720556"/>
                    </a:cubicBezTo>
                    <a:cubicBezTo>
                      <a:pt x="225836" y="718304"/>
                      <a:pt x="227171" y="716135"/>
                      <a:pt x="228506" y="713465"/>
                    </a:cubicBezTo>
                    <a:cubicBezTo>
                      <a:pt x="228923" y="712548"/>
                      <a:pt x="229424" y="712131"/>
                      <a:pt x="229841" y="711213"/>
                    </a:cubicBezTo>
                    <a:cubicBezTo>
                      <a:pt x="232511" y="706375"/>
                      <a:pt x="234680" y="700118"/>
                      <a:pt x="232093" y="690858"/>
                    </a:cubicBezTo>
                    <a:cubicBezTo>
                      <a:pt x="229841" y="684685"/>
                      <a:pt x="225419" y="681098"/>
                      <a:pt x="221915" y="678429"/>
                    </a:cubicBezTo>
                    <a:cubicBezTo>
                      <a:pt x="219663" y="676677"/>
                      <a:pt x="217494" y="674925"/>
                      <a:pt x="217494" y="673590"/>
                    </a:cubicBezTo>
                    <a:cubicBezTo>
                      <a:pt x="217077" y="671838"/>
                      <a:pt x="218411" y="670087"/>
                      <a:pt x="221498" y="666499"/>
                    </a:cubicBezTo>
                    <a:cubicBezTo>
                      <a:pt x="225002" y="662078"/>
                      <a:pt x="229924" y="655905"/>
                      <a:pt x="228590" y="646979"/>
                    </a:cubicBezTo>
                    <a:cubicBezTo>
                      <a:pt x="226337" y="635884"/>
                      <a:pt x="217494" y="631046"/>
                      <a:pt x="210903" y="627959"/>
                    </a:cubicBezTo>
                    <a:lnTo>
                      <a:pt x="207816" y="626625"/>
                    </a:lnTo>
                    <a:cubicBezTo>
                      <a:pt x="205147" y="625290"/>
                      <a:pt x="202978" y="623955"/>
                      <a:pt x="200725" y="623121"/>
                    </a:cubicBezTo>
                    <a:cubicBezTo>
                      <a:pt x="196721" y="621786"/>
                      <a:pt x="195886" y="621369"/>
                      <a:pt x="194551" y="616447"/>
                    </a:cubicBezTo>
                    <a:cubicBezTo>
                      <a:pt x="193634" y="613778"/>
                      <a:pt x="193634" y="611609"/>
                      <a:pt x="193217" y="609356"/>
                    </a:cubicBezTo>
                    <a:cubicBezTo>
                      <a:pt x="192800" y="603183"/>
                      <a:pt x="191882" y="595592"/>
                      <a:pt x="180786" y="589002"/>
                    </a:cubicBezTo>
                    <a:cubicBezTo>
                      <a:pt x="175030" y="585498"/>
                      <a:pt x="168856" y="584581"/>
                      <a:pt x="162599" y="583246"/>
                    </a:cubicBezTo>
                    <a:cubicBezTo>
                      <a:pt x="158177" y="582328"/>
                      <a:pt x="154173" y="581911"/>
                      <a:pt x="151086" y="580576"/>
                    </a:cubicBezTo>
                    <a:cubicBezTo>
                      <a:pt x="148416" y="579241"/>
                      <a:pt x="145747" y="577490"/>
                      <a:pt x="142660" y="575738"/>
                    </a:cubicBezTo>
                    <a:cubicBezTo>
                      <a:pt x="138238" y="573068"/>
                      <a:pt x="133817" y="569982"/>
                      <a:pt x="128060" y="568647"/>
                    </a:cubicBezTo>
                    <a:cubicBezTo>
                      <a:pt x="112126" y="563809"/>
                      <a:pt x="91269" y="558470"/>
                      <a:pt x="74417" y="556718"/>
                    </a:cubicBezTo>
                    <a:cubicBezTo>
                      <a:pt x="69077" y="556301"/>
                      <a:pt x="63321" y="555801"/>
                      <a:pt x="58482" y="555801"/>
                    </a:cubicBezTo>
                    <a:cubicBezTo>
                      <a:pt x="42548" y="555383"/>
                      <a:pt x="32370" y="555383"/>
                      <a:pt x="22192" y="541619"/>
                    </a:cubicBezTo>
                    <a:cubicBezTo>
                      <a:pt x="14183" y="531025"/>
                      <a:pt x="6674" y="519513"/>
                      <a:pt x="0" y="507917"/>
                    </a:cubicBezTo>
                    <a:cubicBezTo>
                      <a:pt x="10178" y="502161"/>
                      <a:pt x="16352" y="490649"/>
                      <a:pt x="21691" y="480889"/>
                    </a:cubicBezTo>
                    <a:cubicBezTo>
                      <a:pt x="31869" y="462286"/>
                      <a:pt x="38960" y="452109"/>
                      <a:pt x="56647" y="458282"/>
                    </a:cubicBezTo>
                    <a:cubicBezTo>
                      <a:pt x="61486" y="459616"/>
                      <a:pt x="65991" y="461785"/>
                      <a:pt x="70412" y="464455"/>
                    </a:cubicBezTo>
                    <a:cubicBezTo>
                      <a:pt x="81925" y="470211"/>
                      <a:pt x="94773" y="476885"/>
                      <a:pt x="112042" y="470628"/>
                    </a:cubicBezTo>
                    <a:cubicBezTo>
                      <a:pt x="122220" y="466624"/>
                      <a:pt x="153255" y="444517"/>
                      <a:pt x="157260" y="430336"/>
                    </a:cubicBezTo>
                    <a:cubicBezTo>
                      <a:pt x="162599" y="411733"/>
                      <a:pt x="144829" y="399804"/>
                      <a:pt x="133316" y="391796"/>
                    </a:cubicBezTo>
                    <a:cubicBezTo>
                      <a:pt x="130229" y="390044"/>
                      <a:pt x="127977" y="388292"/>
                      <a:pt x="125307" y="386457"/>
                    </a:cubicBezTo>
                    <a:cubicBezTo>
                      <a:pt x="115129" y="377614"/>
                      <a:pt x="104951" y="367854"/>
                      <a:pt x="94773" y="358511"/>
                    </a:cubicBezTo>
                    <a:cubicBezTo>
                      <a:pt x="90351" y="354090"/>
                      <a:pt x="85930" y="350086"/>
                      <a:pt x="81508" y="346081"/>
                    </a:cubicBezTo>
                    <a:cubicBezTo>
                      <a:pt x="80173" y="344747"/>
                      <a:pt x="78838" y="343412"/>
                      <a:pt x="78004" y="342578"/>
                    </a:cubicBezTo>
                    <a:cubicBezTo>
                      <a:pt x="82843" y="339074"/>
                      <a:pt x="87765" y="335070"/>
                      <a:pt x="92604" y="331482"/>
                    </a:cubicBezTo>
                    <a:lnTo>
                      <a:pt x="94856" y="330148"/>
                    </a:lnTo>
                    <a:cubicBezTo>
                      <a:pt x="103282" y="323474"/>
                      <a:pt x="111208" y="317301"/>
                      <a:pt x="120135" y="312463"/>
                    </a:cubicBezTo>
                    <a:cubicBezTo>
                      <a:pt x="127226" y="308959"/>
                      <a:pt x="138322" y="304454"/>
                      <a:pt x="149334" y="306290"/>
                    </a:cubicBezTo>
                    <a:lnTo>
                      <a:pt x="152004" y="306707"/>
                    </a:lnTo>
                    <a:cubicBezTo>
                      <a:pt x="154673" y="307124"/>
                      <a:pt x="157760" y="307625"/>
                      <a:pt x="160847" y="307625"/>
                    </a:cubicBezTo>
                    <a:cubicBezTo>
                      <a:pt x="165269" y="307207"/>
                      <a:pt x="169273" y="305873"/>
                      <a:pt x="173277" y="304538"/>
                    </a:cubicBezTo>
                    <a:cubicBezTo>
                      <a:pt x="174612" y="304121"/>
                      <a:pt x="176364" y="303620"/>
                      <a:pt x="177699" y="303203"/>
                    </a:cubicBezTo>
                    <a:cubicBezTo>
                      <a:pt x="184373" y="301451"/>
                      <a:pt x="191465" y="301868"/>
                      <a:pt x="198973" y="302285"/>
                    </a:cubicBezTo>
                    <a:lnTo>
                      <a:pt x="205647" y="302702"/>
                    </a:lnTo>
                    <a:cubicBezTo>
                      <a:pt x="215408" y="303120"/>
                      <a:pt x="229090" y="303120"/>
                      <a:pt x="239352" y="293860"/>
                    </a:cubicBezTo>
                    <a:cubicBezTo>
                      <a:pt x="249947" y="285018"/>
                      <a:pt x="251782" y="270419"/>
                      <a:pt x="252616" y="260659"/>
                    </a:cubicBezTo>
                    <a:cubicBezTo>
                      <a:pt x="253034" y="254903"/>
                      <a:pt x="253034" y="249147"/>
                      <a:pt x="253034" y="243391"/>
                    </a:cubicBezTo>
                    <a:cubicBezTo>
                      <a:pt x="253034" y="234965"/>
                      <a:pt x="253451" y="227457"/>
                      <a:pt x="254369" y="219449"/>
                    </a:cubicBezTo>
                    <a:cubicBezTo>
                      <a:pt x="256120" y="207019"/>
                      <a:pt x="262795" y="194173"/>
                      <a:pt x="272055" y="187082"/>
                    </a:cubicBezTo>
                    <a:cubicBezTo>
                      <a:pt x="272472" y="186665"/>
                      <a:pt x="272973" y="186164"/>
                      <a:pt x="273390" y="185747"/>
                    </a:cubicBezTo>
                    <a:cubicBezTo>
                      <a:pt x="276894" y="182243"/>
                      <a:pt x="279563" y="178239"/>
                      <a:pt x="281399" y="173818"/>
                    </a:cubicBezTo>
                    <a:cubicBezTo>
                      <a:pt x="284486" y="167645"/>
                      <a:pt x="285820" y="160971"/>
                      <a:pt x="287155" y="154798"/>
                    </a:cubicBezTo>
                    <a:cubicBezTo>
                      <a:pt x="289408" y="144621"/>
                      <a:pt x="291577" y="135278"/>
                      <a:pt x="297751" y="130439"/>
                    </a:cubicBezTo>
                    <a:cubicBezTo>
                      <a:pt x="299085" y="129105"/>
                      <a:pt x="301254" y="128187"/>
                      <a:pt x="303090" y="127353"/>
                    </a:cubicBezTo>
                    <a:cubicBezTo>
                      <a:pt x="306176" y="126018"/>
                      <a:pt x="309263" y="124266"/>
                      <a:pt x="312434" y="121180"/>
                    </a:cubicBezTo>
                    <a:cubicBezTo>
                      <a:pt x="316855" y="117676"/>
                      <a:pt x="319108" y="111419"/>
                      <a:pt x="318190" y="105663"/>
                    </a:cubicBezTo>
                    <a:cubicBezTo>
                      <a:pt x="317773" y="101242"/>
                      <a:pt x="315520" y="97655"/>
                      <a:pt x="312016" y="95486"/>
                    </a:cubicBezTo>
                    <a:cubicBezTo>
                      <a:pt x="308930" y="93734"/>
                      <a:pt x="305843" y="93234"/>
                      <a:pt x="302255" y="92817"/>
                    </a:cubicBezTo>
                    <a:cubicBezTo>
                      <a:pt x="297834" y="92400"/>
                      <a:pt x="293829" y="90147"/>
                      <a:pt x="291660" y="86143"/>
                    </a:cubicBezTo>
                    <a:lnTo>
                      <a:pt x="290325" y="84391"/>
                    </a:lnTo>
                    <a:cubicBezTo>
                      <a:pt x="288991" y="81722"/>
                      <a:pt x="286822" y="77718"/>
                      <a:pt x="281899" y="75549"/>
                    </a:cubicBezTo>
                    <a:cubicBezTo>
                      <a:pt x="280982" y="75131"/>
                      <a:pt x="279647" y="74631"/>
                      <a:pt x="277478" y="74214"/>
                    </a:cubicBezTo>
                    <a:cubicBezTo>
                      <a:pt x="277061" y="73797"/>
                      <a:pt x="276560" y="71545"/>
                      <a:pt x="277478" y="70710"/>
                    </a:cubicBezTo>
                    <a:cubicBezTo>
                      <a:pt x="278812" y="68458"/>
                      <a:pt x="282317" y="67206"/>
                      <a:pt x="286321" y="67206"/>
                    </a:cubicBezTo>
                    <a:cubicBezTo>
                      <a:pt x="289408" y="66789"/>
                      <a:pt x="292495" y="67624"/>
                      <a:pt x="295164" y="67624"/>
                    </a:cubicBezTo>
                    <a:cubicBezTo>
                      <a:pt x="297417" y="68041"/>
                      <a:pt x="299586" y="68041"/>
                      <a:pt x="301838" y="68541"/>
                    </a:cubicBezTo>
                    <a:cubicBezTo>
                      <a:pt x="316021" y="68958"/>
                      <a:pt x="331538" y="65037"/>
                      <a:pt x="346138" y="55695"/>
                    </a:cubicBezTo>
                    <a:cubicBezTo>
                      <a:pt x="358569" y="47686"/>
                      <a:pt x="369581" y="37509"/>
                      <a:pt x="379842" y="27332"/>
                    </a:cubicBezTo>
                    <a:lnTo>
                      <a:pt x="386934" y="20241"/>
                    </a:lnTo>
                    <a:lnTo>
                      <a:pt x="397112" y="10063"/>
                    </a:lnTo>
                    <a:lnTo>
                      <a:pt x="400616" y="6977"/>
                    </a:lnTo>
                    <a:cubicBezTo>
                      <a:pt x="402868" y="4725"/>
                      <a:pt x="405037" y="2556"/>
                      <a:pt x="407290" y="1638"/>
                    </a:cubicBezTo>
                    <a:cubicBezTo>
                      <a:pt x="412629" y="-1448"/>
                      <a:pt x="419720" y="303"/>
                      <a:pt x="424559" y="2973"/>
                    </a:cubicBezTo>
                    <a:cubicBezTo>
                      <a:pt x="430733" y="6477"/>
                      <a:pt x="435655" y="11815"/>
                      <a:pt x="440911" y="18072"/>
                    </a:cubicBezTo>
                    <a:cubicBezTo>
                      <a:pt x="443998" y="21158"/>
                      <a:pt x="446250" y="24245"/>
                      <a:pt x="447085" y="26915"/>
                    </a:cubicBezTo>
                    <a:cubicBezTo>
                      <a:pt x="447502" y="29167"/>
                      <a:pt x="447502" y="31753"/>
                      <a:pt x="447085" y="34923"/>
                    </a:cubicBezTo>
                    <a:cubicBezTo>
                      <a:pt x="447085" y="38426"/>
                      <a:pt x="446667" y="42013"/>
                      <a:pt x="447502" y="46018"/>
                    </a:cubicBezTo>
                    <a:cubicBezTo>
                      <a:pt x="449754" y="57113"/>
                      <a:pt x="459014" y="64203"/>
                      <a:pt x="467858" y="69959"/>
                    </a:cubicBezTo>
                    <a:cubicBezTo>
                      <a:pt x="465605" y="74381"/>
                      <a:pt x="464354" y="79302"/>
                      <a:pt x="462519" y="83724"/>
                    </a:cubicBezTo>
                    <a:cubicBezTo>
                      <a:pt x="461184" y="87227"/>
                      <a:pt x="459849" y="90814"/>
                      <a:pt x="458514" y="94318"/>
                    </a:cubicBezTo>
                    <a:cubicBezTo>
                      <a:pt x="455844" y="100491"/>
                      <a:pt x="452757" y="106247"/>
                      <a:pt x="449671" y="111586"/>
                    </a:cubicBezTo>
                    <a:cubicBezTo>
                      <a:pt x="444832" y="120011"/>
                      <a:pt x="439910" y="129271"/>
                      <a:pt x="436823" y="140366"/>
                    </a:cubicBezTo>
                    <a:cubicBezTo>
                      <a:pt x="434571" y="150126"/>
                      <a:pt x="432818" y="150126"/>
                      <a:pt x="426645" y="151878"/>
                    </a:cubicBezTo>
                    <a:cubicBezTo>
                      <a:pt x="422640" y="152796"/>
                      <a:pt x="417301" y="154131"/>
                      <a:pt x="411127" y="158051"/>
                    </a:cubicBezTo>
                    <a:cubicBezTo>
                      <a:pt x="400949" y="164224"/>
                      <a:pt x="396945" y="175737"/>
                      <a:pt x="392940" y="185497"/>
                    </a:cubicBezTo>
                    <a:cubicBezTo>
                      <a:pt x="391606" y="189000"/>
                      <a:pt x="390271" y="192587"/>
                      <a:pt x="388519" y="196091"/>
                    </a:cubicBezTo>
                    <a:cubicBezTo>
                      <a:pt x="387601" y="198344"/>
                      <a:pt x="385849" y="200512"/>
                      <a:pt x="384514" y="202765"/>
                    </a:cubicBezTo>
                    <a:cubicBezTo>
                      <a:pt x="377840" y="212525"/>
                      <a:pt x="368163" y="227124"/>
                      <a:pt x="376505" y="241305"/>
                    </a:cubicBezTo>
                    <a:cubicBezTo>
                      <a:pt x="379175" y="245726"/>
                      <a:pt x="383597" y="247979"/>
                      <a:pt x="387101" y="249730"/>
                    </a:cubicBezTo>
                    <a:cubicBezTo>
                      <a:pt x="388853" y="250648"/>
                      <a:pt x="390604" y="251983"/>
                      <a:pt x="391939" y="252817"/>
                    </a:cubicBezTo>
                    <a:cubicBezTo>
                      <a:pt x="395443" y="257238"/>
                      <a:pt x="395443" y="263912"/>
                      <a:pt x="394609" y="272755"/>
                    </a:cubicBezTo>
                    <a:cubicBezTo>
                      <a:pt x="394192" y="274506"/>
                      <a:pt x="393691" y="276759"/>
                      <a:pt x="393274" y="278928"/>
                    </a:cubicBezTo>
                    <a:cubicBezTo>
                      <a:pt x="391939" y="284267"/>
                      <a:pt x="390187" y="290023"/>
                      <a:pt x="391522" y="296196"/>
                    </a:cubicBezTo>
                    <a:cubicBezTo>
                      <a:pt x="392857" y="301535"/>
                      <a:pt x="396361" y="305038"/>
                      <a:pt x="399531" y="308625"/>
                    </a:cubicBezTo>
                    <a:cubicBezTo>
                      <a:pt x="401283" y="310377"/>
                      <a:pt x="403035" y="312129"/>
                      <a:pt x="403536" y="313464"/>
                    </a:cubicBezTo>
                    <a:cubicBezTo>
                      <a:pt x="404453" y="315716"/>
                      <a:pt x="403118" y="321472"/>
                      <a:pt x="402618" y="325894"/>
                    </a:cubicBezTo>
                    <a:cubicBezTo>
                      <a:pt x="400366" y="335654"/>
                      <a:pt x="398196" y="347583"/>
                      <a:pt x="407457" y="354257"/>
                    </a:cubicBezTo>
                    <a:cubicBezTo>
                      <a:pt x="410544" y="356926"/>
                      <a:pt x="414548" y="357760"/>
                      <a:pt x="418552" y="357760"/>
                    </a:cubicBezTo>
                    <a:cubicBezTo>
                      <a:pt x="419470" y="357760"/>
                      <a:pt x="420805" y="357760"/>
                      <a:pt x="422056" y="357343"/>
                    </a:cubicBezTo>
                    <a:cubicBezTo>
                      <a:pt x="434487" y="354674"/>
                      <a:pt x="443747" y="339658"/>
                      <a:pt x="449087" y="330315"/>
                    </a:cubicBezTo>
                    <a:lnTo>
                      <a:pt x="450422" y="327645"/>
                    </a:lnTo>
                    <a:cubicBezTo>
                      <a:pt x="459265" y="313047"/>
                      <a:pt x="469026" y="304204"/>
                      <a:pt x="480956" y="301535"/>
                    </a:cubicBezTo>
                    <a:cubicBezTo>
                      <a:pt x="492469" y="298448"/>
                      <a:pt x="506234" y="300200"/>
                      <a:pt x="522169" y="307291"/>
                    </a:cubicBezTo>
                    <a:cubicBezTo>
                      <a:pt x="540773" y="315716"/>
                      <a:pt x="551368" y="312630"/>
                      <a:pt x="566051" y="308625"/>
                    </a:cubicBezTo>
                    <a:lnTo>
                      <a:pt x="573560" y="306873"/>
                    </a:lnTo>
                    <a:cubicBezTo>
                      <a:pt x="582903" y="304204"/>
                      <a:pt x="584155" y="306456"/>
                      <a:pt x="589494" y="313964"/>
                    </a:cubicBezTo>
                    <a:cubicBezTo>
                      <a:pt x="591747" y="317468"/>
                      <a:pt x="594333" y="321055"/>
                      <a:pt x="597920" y="324559"/>
                    </a:cubicBezTo>
                    <a:cubicBezTo>
                      <a:pt x="613438" y="340909"/>
                      <a:pt x="629789" y="329397"/>
                      <a:pt x="641302" y="321889"/>
                    </a:cubicBezTo>
                    <a:cubicBezTo>
                      <a:pt x="644389" y="319637"/>
                      <a:pt x="647476" y="317468"/>
                      <a:pt x="650145" y="316133"/>
                    </a:cubicBezTo>
                    <a:cubicBezTo>
                      <a:pt x="663410" y="309042"/>
                      <a:pt x="667415" y="310794"/>
                      <a:pt x="681180" y="316550"/>
                    </a:cubicBezTo>
                    <a:lnTo>
                      <a:pt x="682515" y="317468"/>
                    </a:lnTo>
                    <a:cubicBezTo>
                      <a:pt x="680263" y="323224"/>
                      <a:pt x="681180" y="330315"/>
                      <a:pt x="688689" y="339574"/>
                    </a:cubicBezTo>
                    <a:cubicBezTo>
                      <a:pt x="698449" y="352004"/>
                      <a:pt x="714384" y="360430"/>
                      <a:pt x="728149" y="368355"/>
                    </a:cubicBezTo>
                    <a:cubicBezTo>
                      <a:pt x="731653" y="370607"/>
                      <a:pt x="735241" y="372359"/>
                      <a:pt x="739245" y="374528"/>
                    </a:cubicBezTo>
                    <a:cubicBezTo>
                      <a:pt x="753011" y="382536"/>
                      <a:pt x="760936" y="387791"/>
                      <a:pt x="760519" y="399804"/>
                    </a:cubicBezTo>
                    <a:cubicBezTo>
                      <a:pt x="759601" y="413569"/>
                      <a:pt x="746754" y="425915"/>
                      <a:pt x="736159" y="435258"/>
                    </a:cubicBezTo>
                    <a:cubicBezTo>
                      <a:pt x="730819" y="439679"/>
                      <a:pt x="722393" y="445018"/>
                      <a:pt x="713550" y="449857"/>
                    </a:cubicBezTo>
                    <a:cubicBezTo>
                      <a:pt x="690524" y="463621"/>
                      <a:pt x="661241" y="480889"/>
                      <a:pt x="663494" y="507000"/>
                    </a:cubicBezTo>
                    <a:cubicBezTo>
                      <a:pt x="664411" y="518511"/>
                      <a:pt x="671002" y="525602"/>
                      <a:pt x="676341" y="531358"/>
                    </a:cubicBezTo>
                    <a:cubicBezTo>
                      <a:pt x="679845" y="535363"/>
                      <a:pt x="683433" y="538866"/>
                      <a:pt x="684768" y="543288"/>
                    </a:cubicBezTo>
                    <a:cubicBezTo>
                      <a:pt x="685685" y="547292"/>
                      <a:pt x="683850" y="550378"/>
                      <a:pt x="678594" y="556134"/>
                    </a:cubicBezTo>
                    <a:cubicBezTo>
                      <a:pt x="674589" y="560972"/>
                      <a:pt x="670168" y="566311"/>
                      <a:pt x="668416" y="573819"/>
                    </a:cubicBezTo>
                    <a:cubicBezTo>
                      <a:pt x="667498" y="577323"/>
                      <a:pt x="667498" y="580493"/>
                      <a:pt x="667498" y="582662"/>
                    </a:cubicBezTo>
                    <a:lnTo>
                      <a:pt x="667498" y="583997"/>
                    </a:lnTo>
                    <a:cubicBezTo>
                      <a:pt x="667498" y="588835"/>
                      <a:pt x="667498" y="591087"/>
                      <a:pt x="665246" y="593757"/>
                    </a:cubicBezTo>
                    <a:cubicBezTo>
                      <a:pt x="664328" y="594674"/>
                      <a:pt x="663494" y="595508"/>
                      <a:pt x="662159" y="596426"/>
                    </a:cubicBezTo>
                    <a:cubicBezTo>
                      <a:pt x="661241" y="596843"/>
                      <a:pt x="659906" y="597344"/>
                      <a:pt x="659072" y="597761"/>
                    </a:cubicBezTo>
                    <a:cubicBezTo>
                      <a:pt x="655985" y="599096"/>
                      <a:pt x="652398" y="600848"/>
                      <a:pt x="649728" y="603934"/>
                    </a:cubicBezTo>
                    <a:cubicBezTo>
                      <a:pt x="643972" y="609273"/>
                      <a:pt x="640384" y="615446"/>
                      <a:pt x="638215" y="622120"/>
                    </a:cubicBezTo>
                    <a:cubicBezTo>
                      <a:pt x="636463" y="621703"/>
                      <a:pt x="634711" y="621202"/>
                      <a:pt x="632876" y="620785"/>
                    </a:cubicBezTo>
                    <a:cubicBezTo>
                      <a:pt x="624867" y="618115"/>
                      <a:pt x="621780" y="614612"/>
                      <a:pt x="617359" y="608856"/>
                    </a:cubicBezTo>
                    <a:cubicBezTo>
                      <a:pt x="615106" y="606186"/>
                      <a:pt x="612937" y="603517"/>
                      <a:pt x="610267" y="600848"/>
                    </a:cubicBezTo>
                    <a:cubicBezTo>
                      <a:pt x="600506" y="590670"/>
                      <a:pt x="591663" y="591087"/>
                      <a:pt x="584155" y="591504"/>
                    </a:cubicBezTo>
                    <a:cubicBezTo>
                      <a:pt x="580651" y="591922"/>
                      <a:pt x="577481" y="591922"/>
                      <a:pt x="573560" y="591087"/>
                    </a:cubicBezTo>
                    <a:cubicBezTo>
                      <a:pt x="565551" y="589752"/>
                      <a:pt x="558960" y="584914"/>
                      <a:pt x="551869" y="579158"/>
                    </a:cubicBezTo>
                    <a:cubicBezTo>
                      <a:pt x="548782" y="576906"/>
                      <a:pt x="546112" y="574320"/>
                      <a:pt x="543025" y="572485"/>
                    </a:cubicBezTo>
                    <a:cubicBezTo>
                      <a:pt x="526674" y="561890"/>
                      <a:pt x="501812" y="549461"/>
                      <a:pt x="472613" y="568981"/>
                    </a:cubicBezTo>
                    <a:cubicBezTo>
                      <a:pt x="458430" y="578741"/>
                      <a:pt x="456679" y="592422"/>
                      <a:pt x="455344" y="604435"/>
                    </a:cubicBezTo>
                    <a:cubicBezTo>
                      <a:pt x="454426" y="612443"/>
                      <a:pt x="453091" y="619534"/>
                      <a:pt x="449587" y="626124"/>
                    </a:cubicBezTo>
                    <a:cubicBezTo>
                      <a:pt x="440243" y="641640"/>
                      <a:pt x="426144" y="665081"/>
                      <a:pt x="408374" y="670003"/>
                    </a:cubicBezTo>
                    <a:cubicBezTo>
                      <a:pt x="401283" y="671755"/>
                      <a:pt x="393775" y="670921"/>
                      <a:pt x="386683" y="667751"/>
                    </a:cubicBezTo>
                    <a:cubicBezTo>
                      <a:pt x="385349" y="667334"/>
                      <a:pt x="383180" y="665499"/>
                      <a:pt x="381344" y="664664"/>
                    </a:cubicBezTo>
                    <a:cubicBezTo>
                      <a:pt x="376505" y="661161"/>
                      <a:pt x="370248" y="656656"/>
                      <a:pt x="363157" y="657574"/>
                    </a:cubicBezTo>
                    <a:cubicBezTo>
                      <a:pt x="338796" y="659826"/>
                      <a:pt x="333457" y="706291"/>
                      <a:pt x="332122" y="726646"/>
                    </a:cubicBezTo>
                    <a:cubicBezTo>
                      <a:pt x="330787" y="750587"/>
                      <a:pt x="327284" y="759847"/>
                      <a:pt x="306844" y="769190"/>
                    </a:cubicBezTo>
                    <a:cubicBezTo>
                      <a:pt x="304591" y="770108"/>
                      <a:pt x="302839" y="770942"/>
                      <a:pt x="301088" y="771860"/>
                    </a:cubicBezTo>
                    <a:cubicBezTo>
                      <a:pt x="294413" y="774529"/>
                      <a:pt x="289158" y="776281"/>
                      <a:pt x="283401" y="786041"/>
                    </a:cubicBezTo>
                    <a:cubicBezTo>
                      <a:pt x="276310" y="797136"/>
                      <a:pt x="277645" y="806396"/>
                      <a:pt x="278562" y="815739"/>
                    </a:cubicBezTo>
                    <a:cubicBezTo>
                      <a:pt x="278979" y="817991"/>
                      <a:pt x="278979" y="819242"/>
                      <a:pt x="279480" y="821495"/>
                    </a:cubicBezTo>
                    <a:cubicBezTo>
                      <a:pt x="280398" y="831672"/>
                      <a:pt x="277728" y="841015"/>
                      <a:pt x="273306" y="844102"/>
                    </a:cubicBezTo>
                    <a:cubicBezTo>
                      <a:pt x="271971" y="845019"/>
                      <a:pt x="270220" y="845436"/>
                      <a:pt x="267967" y="845436"/>
                    </a:cubicBezTo>
                    <a:cubicBezTo>
                      <a:pt x="266215" y="845019"/>
                      <a:pt x="264463" y="844519"/>
                      <a:pt x="261793" y="843684"/>
                    </a:cubicBezTo>
                    <a:cubicBezTo>
                      <a:pt x="255453" y="843184"/>
                      <a:pt x="253284" y="840932"/>
                      <a:pt x="251949" y="83826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4301219" name="Полилиния 387"/>
              <p:cNvSpPr/>
              <p:nvPr/>
            </p:nvSpPr>
            <p:spPr bwMode="auto">
              <a:xfrm>
                <a:off x="2652944" y="4508010"/>
                <a:ext cx="855810" cy="1198429"/>
              </a:xfrm>
              <a:custGeom>
                <a:avLst/>
                <a:gdLst>
                  <a:gd name="connsiteX0" fmla="*/ 950649 w 961103"/>
                  <a:gd name="connsiteY0" fmla="*/ 1259178 h 1345876"/>
                  <a:gd name="connsiteX1" fmla="*/ 947145 w 961103"/>
                  <a:gd name="connsiteY1" fmla="*/ 1313652 h 1345876"/>
                  <a:gd name="connsiteX2" fmla="*/ 869641 w 961103"/>
                  <a:gd name="connsiteY2" fmla="*/ 1345518 h 1345876"/>
                  <a:gd name="connsiteX3" fmla="*/ 821337 w 961103"/>
                  <a:gd name="connsiteY3" fmla="*/ 1316321 h 1345876"/>
                  <a:gd name="connsiteX4" fmla="*/ 817333 w 961103"/>
                  <a:gd name="connsiteY4" fmla="*/ 1309230 h 1345876"/>
                  <a:gd name="connsiteX5" fmla="*/ 788550 w 961103"/>
                  <a:gd name="connsiteY5" fmla="*/ 1283537 h 1345876"/>
                  <a:gd name="connsiteX6" fmla="*/ 760602 w 961103"/>
                  <a:gd name="connsiteY6" fmla="*/ 1298636 h 1345876"/>
                  <a:gd name="connsiteX7" fmla="*/ 750842 w 961103"/>
                  <a:gd name="connsiteY7" fmla="*/ 1307479 h 1345876"/>
                  <a:gd name="connsiteX8" fmla="*/ 700785 w 961103"/>
                  <a:gd name="connsiteY8" fmla="*/ 1278282 h 1345876"/>
                  <a:gd name="connsiteX9" fmla="*/ 695029 w 961103"/>
                  <a:gd name="connsiteY9" fmla="*/ 1271191 h 1345876"/>
                  <a:gd name="connsiteX10" fmla="*/ 673755 w 961103"/>
                  <a:gd name="connsiteY10" fmla="*/ 1233985 h 1345876"/>
                  <a:gd name="connsiteX11" fmla="*/ 672837 w 961103"/>
                  <a:gd name="connsiteY11" fmla="*/ 1214965 h 1345876"/>
                  <a:gd name="connsiteX12" fmla="*/ 669751 w 961103"/>
                  <a:gd name="connsiteY12" fmla="*/ 1185768 h 1345876"/>
                  <a:gd name="connsiteX13" fmla="*/ 638299 w 961103"/>
                  <a:gd name="connsiteY13" fmla="*/ 1151232 h 1345876"/>
                  <a:gd name="connsiteX14" fmla="*/ 584655 w 961103"/>
                  <a:gd name="connsiteY14" fmla="*/ 1149480 h 1345876"/>
                  <a:gd name="connsiteX15" fmla="*/ 573560 w 961103"/>
                  <a:gd name="connsiteY15" fmla="*/ 1155236 h 1345876"/>
                  <a:gd name="connsiteX16" fmla="*/ 548281 w 961103"/>
                  <a:gd name="connsiteY16" fmla="*/ 1156154 h 1345876"/>
                  <a:gd name="connsiteX17" fmla="*/ 541190 w 961103"/>
                  <a:gd name="connsiteY17" fmla="*/ 1140638 h 1345876"/>
                  <a:gd name="connsiteX18" fmla="*/ 529260 w 961103"/>
                  <a:gd name="connsiteY18" fmla="*/ 1118531 h 1345876"/>
                  <a:gd name="connsiteX19" fmla="*/ 438408 w 961103"/>
                  <a:gd name="connsiteY19" fmla="*/ 1106602 h 1345876"/>
                  <a:gd name="connsiteX20" fmla="*/ 428647 w 961103"/>
                  <a:gd name="connsiteY20" fmla="*/ 1110106 h 1345876"/>
                  <a:gd name="connsiteX21" fmla="*/ 363491 w 961103"/>
                  <a:gd name="connsiteY21" fmla="*/ 1103933 h 1345876"/>
                  <a:gd name="connsiteX22" fmla="*/ 353313 w 961103"/>
                  <a:gd name="connsiteY22" fmla="*/ 1078239 h 1345876"/>
                  <a:gd name="connsiteX23" fmla="*/ 319608 w 961103"/>
                  <a:gd name="connsiteY23" fmla="*/ 1028604 h 1345876"/>
                  <a:gd name="connsiteX24" fmla="*/ 281065 w 961103"/>
                  <a:gd name="connsiteY24" fmla="*/ 1051628 h 1345876"/>
                  <a:gd name="connsiteX25" fmla="*/ 266465 w 961103"/>
                  <a:gd name="connsiteY25" fmla="*/ 1067561 h 1345876"/>
                  <a:gd name="connsiteX26" fmla="*/ 263796 w 961103"/>
                  <a:gd name="connsiteY26" fmla="*/ 1066644 h 1345876"/>
                  <a:gd name="connsiteX27" fmla="*/ 269135 w 961103"/>
                  <a:gd name="connsiteY27" fmla="*/ 1040033 h 1345876"/>
                  <a:gd name="connsiteX28" fmla="*/ 270887 w 961103"/>
                  <a:gd name="connsiteY28" fmla="*/ 1035611 h 1345876"/>
                  <a:gd name="connsiteX29" fmla="*/ 264713 w 961103"/>
                  <a:gd name="connsiteY29" fmla="*/ 978051 h 1345876"/>
                  <a:gd name="connsiteX30" fmla="*/ 254535 w 961103"/>
                  <a:gd name="connsiteY30" fmla="*/ 938176 h 1345876"/>
                  <a:gd name="connsiteX31" fmla="*/ 236849 w 961103"/>
                  <a:gd name="connsiteY31" fmla="*/ 882368 h 1345876"/>
                  <a:gd name="connsiteX32" fmla="*/ 196554 w 961103"/>
                  <a:gd name="connsiteY32" fmla="*/ 853588 h 1345876"/>
                  <a:gd name="connsiteX33" fmla="*/ 162849 w 961103"/>
                  <a:gd name="connsiteY33" fmla="*/ 827894 h 1345876"/>
                  <a:gd name="connsiteX34" fmla="*/ 158845 w 961103"/>
                  <a:gd name="connsiteY34" fmla="*/ 808374 h 1345876"/>
                  <a:gd name="connsiteX35" fmla="*/ 145997 w 961103"/>
                  <a:gd name="connsiteY35" fmla="*/ 776007 h 1345876"/>
                  <a:gd name="connsiteX36" fmla="*/ 120301 w 961103"/>
                  <a:gd name="connsiteY36" fmla="*/ 772920 h 1345876"/>
                  <a:gd name="connsiteX37" fmla="*/ 103950 w 961103"/>
                  <a:gd name="connsiteY37" fmla="*/ 778259 h 1345876"/>
                  <a:gd name="connsiteX38" fmla="*/ 69411 w 961103"/>
                  <a:gd name="connsiteY38" fmla="*/ 777842 h 1345876"/>
                  <a:gd name="connsiteX39" fmla="*/ 62737 w 961103"/>
                  <a:gd name="connsiteY39" fmla="*/ 755735 h 1345876"/>
                  <a:gd name="connsiteX40" fmla="*/ 38376 w 961103"/>
                  <a:gd name="connsiteY40" fmla="*/ 716278 h 1345876"/>
                  <a:gd name="connsiteX41" fmla="*/ 58733 w 961103"/>
                  <a:gd name="connsiteY41" fmla="*/ 713191 h 1345876"/>
                  <a:gd name="connsiteX42" fmla="*/ 111041 w 961103"/>
                  <a:gd name="connsiteY42" fmla="*/ 697258 h 1345876"/>
                  <a:gd name="connsiteX43" fmla="*/ 131397 w 961103"/>
                  <a:gd name="connsiteY43" fmla="*/ 668895 h 1345876"/>
                  <a:gd name="connsiteX44" fmla="*/ 147332 w 961103"/>
                  <a:gd name="connsiteY44" fmla="*/ 645871 h 1345876"/>
                  <a:gd name="connsiteX45" fmla="*/ 161514 w 961103"/>
                  <a:gd name="connsiteY45" fmla="*/ 639698 h 1345876"/>
                  <a:gd name="connsiteX46" fmla="*/ 169940 w 961103"/>
                  <a:gd name="connsiteY46" fmla="*/ 637028 h 1345876"/>
                  <a:gd name="connsiteX47" fmla="*/ 187627 w 961103"/>
                  <a:gd name="connsiteY47" fmla="*/ 624181 h 1345876"/>
                  <a:gd name="connsiteX48" fmla="*/ 193801 w 961103"/>
                  <a:gd name="connsiteY48" fmla="*/ 617091 h 1345876"/>
                  <a:gd name="connsiteX49" fmla="*/ 204396 w 961103"/>
                  <a:gd name="connsiteY49" fmla="*/ 612669 h 1345876"/>
                  <a:gd name="connsiteX50" fmla="*/ 210569 w 961103"/>
                  <a:gd name="connsiteY50" fmla="*/ 612669 h 1345876"/>
                  <a:gd name="connsiteX51" fmla="*/ 229591 w 961103"/>
                  <a:gd name="connsiteY51" fmla="*/ 610000 h 1345876"/>
                  <a:gd name="connsiteX52" fmla="*/ 275225 w 961103"/>
                  <a:gd name="connsiteY52" fmla="*/ 574546 h 1345876"/>
                  <a:gd name="connsiteX53" fmla="*/ 287155 w 961103"/>
                  <a:gd name="connsiteY53" fmla="*/ 552857 h 1345876"/>
                  <a:gd name="connsiteX54" fmla="*/ 301755 w 961103"/>
                  <a:gd name="connsiteY54" fmla="*/ 529833 h 1345876"/>
                  <a:gd name="connsiteX55" fmla="*/ 313685 w 961103"/>
                  <a:gd name="connsiteY55" fmla="*/ 520990 h 1345876"/>
                  <a:gd name="connsiteX56" fmla="*/ 340298 w 961103"/>
                  <a:gd name="connsiteY56" fmla="*/ 491292 h 1345876"/>
                  <a:gd name="connsiteX57" fmla="*/ 350059 w 961103"/>
                  <a:gd name="connsiteY57" fmla="*/ 473107 h 1345876"/>
                  <a:gd name="connsiteX58" fmla="*/ 365576 w 961103"/>
                  <a:gd name="connsiteY58" fmla="*/ 436819 h 1345876"/>
                  <a:gd name="connsiteX59" fmla="*/ 358902 w 961103"/>
                  <a:gd name="connsiteY59" fmla="*/ 377006 h 1345876"/>
                  <a:gd name="connsiteX60" fmla="*/ 315020 w 961103"/>
                  <a:gd name="connsiteY60" fmla="*/ 333127 h 1345876"/>
                  <a:gd name="connsiteX61" fmla="*/ 282650 w 961103"/>
                  <a:gd name="connsiteY61" fmla="*/ 336214 h 1345876"/>
                  <a:gd name="connsiteX62" fmla="*/ 261793 w 961103"/>
                  <a:gd name="connsiteY62" fmla="*/ 339300 h 1345876"/>
                  <a:gd name="connsiteX63" fmla="*/ 249363 w 961103"/>
                  <a:gd name="connsiteY63" fmla="*/ 330458 h 1345876"/>
                  <a:gd name="connsiteX64" fmla="*/ 242272 w 961103"/>
                  <a:gd name="connsiteY64" fmla="*/ 321615 h 1345876"/>
                  <a:gd name="connsiteX65" fmla="*/ 232511 w 961103"/>
                  <a:gd name="connsiteY65" fmla="*/ 314524 h 1345876"/>
                  <a:gd name="connsiteX66" fmla="*/ 225002 w 961103"/>
                  <a:gd name="connsiteY66" fmla="*/ 309185 h 1345876"/>
                  <a:gd name="connsiteX67" fmla="*/ 219663 w 961103"/>
                  <a:gd name="connsiteY67" fmla="*/ 299425 h 1345876"/>
                  <a:gd name="connsiteX68" fmla="*/ 215241 w 961103"/>
                  <a:gd name="connsiteY68" fmla="*/ 290082 h 1345876"/>
                  <a:gd name="connsiteX69" fmla="*/ 214824 w 961103"/>
                  <a:gd name="connsiteY69" fmla="*/ 289665 h 1345876"/>
                  <a:gd name="connsiteX70" fmla="*/ 201976 w 961103"/>
                  <a:gd name="connsiteY70" fmla="*/ 275067 h 1345876"/>
                  <a:gd name="connsiteX71" fmla="*/ 199307 w 961103"/>
                  <a:gd name="connsiteY71" fmla="*/ 272814 h 1345876"/>
                  <a:gd name="connsiteX72" fmla="*/ 194885 w 961103"/>
                  <a:gd name="connsiteY72" fmla="*/ 269311 h 1345876"/>
                  <a:gd name="connsiteX73" fmla="*/ 190046 w 961103"/>
                  <a:gd name="connsiteY73" fmla="*/ 264889 h 1345876"/>
                  <a:gd name="connsiteX74" fmla="*/ 177616 w 961103"/>
                  <a:gd name="connsiteY74" fmla="*/ 250708 h 1345876"/>
                  <a:gd name="connsiteX75" fmla="*/ 181120 w 961103"/>
                  <a:gd name="connsiteY75" fmla="*/ 244034 h 1345876"/>
                  <a:gd name="connsiteX76" fmla="*/ 187794 w 961103"/>
                  <a:gd name="connsiteY76" fmla="*/ 231604 h 1345876"/>
                  <a:gd name="connsiteX77" fmla="*/ 182955 w 961103"/>
                  <a:gd name="connsiteY77" fmla="*/ 211667 h 1345876"/>
                  <a:gd name="connsiteX78" fmla="*/ 148416 w 961103"/>
                  <a:gd name="connsiteY78" fmla="*/ 197485 h 1345876"/>
                  <a:gd name="connsiteX79" fmla="*/ 97025 w 961103"/>
                  <a:gd name="connsiteY79" fmla="*/ 179800 h 1345876"/>
                  <a:gd name="connsiteX80" fmla="*/ 87265 w 961103"/>
                  <a:gd name="connsiteY80" fmla="*/ 169206 h 1345876"/>
                  <a:gd name="connsiteX81" fmla="*/ 55396 w 961103"/>
                  <a:gd name="connsiteY81" fmla="*/ 144847 h 1345876"/>
                  <a:gd name="connsiteX82" fmla="*/ 27030 w 961103"/>
                  <a:gd name="connsiteY82" fmla="*/ 138674 h 1345876"/>
                  <a:gd name="connsiteX83" fmla="*/ 15100 w 961103"/>
                  <a:gd name="connsiteY83" fmla="*/ 142177 h 1345876"/>
                  <a:gd name="connsiteX84" fmla="*/ 5339 w 961103"/>
                  <a:gd name="connsiteY84" fmla="*/ 144847 h 1345876"/>
                  <a:gd name="connsiteX85" fmla="*/ 0 w 961103"/>
                  <a:gd name="connsiteY85" fmla="*/ 126662 h 1345876"/>
                  <a:gd name="connsiteX86" fmla="*/ 7091 w 961103"/>
                  <a:gd name="connsiteY86" fmla="*/ 123575 h 1345876"/>
                  <a:gd name="connsiteX87" fmla="*/ 15517 w 961103"/>
                  <a:gd name="connsiteY87" fmla="*/ 120071 h 1345876"/>
                  <a:gd name="connsiteX88" fmla="*/ 37208 w 961103"/>
                  <a:gd name="connsiteY88" fmla="*/ 123158 h 1345876"/>
                  <a:gd name="connsiteX89" fmla="*/ 39878 w 961103"/>
                  <a:gd name="connsiteY89" fmla="*/ 124492 h 1345876"/>
                  <a:gd name="connsiteX90" fmla="*/ 65156 w 961103"/>
                  <a:gd name="connsiteY90" fmla="*/ 129831 h 1345876"/>
                  <a:gd name="connsiteX91" fmla="*/ 93104 w 961103"/>
                  <a:gd name="connsiteY91" fmla="*/ 124075 h 1345876"/>
                  <a:gd name="connsiteX92" fmla="*/ 115213 w 961103"/>
                  <a:gd name="connsiteY92" fmla="*/ 97965 h 1345876"/>
                  <a:gd name="connsiteX93" fmla="*/ 109873 w 961103"/>
                  <a:gd name="connsiteY93" fmla="*/ 76692 h 1345876"/>
                  <a:gd name="connsiteX94" fmla="*/ 106369 w 961103"/>
                  <a:gd name="connsiteY94" fmla="*/ 69184 h 1345876"/>
                  <a:gd name="connsiteX95" fmla="*/ 122304 w 961103"/>
                  <a:gd name="connsiteY95" fmla="*/ 59424 h 1345876"/>
                  <a:gd name="connsiteX96" fmla="*/ 131147 w 961103"/>
                  <a:gd name="connsiteY96" fmla="*/ 56338 h 1345876"/>
                  <a:gd name="connsiteX97" fmla="*/ 149334 w 961103"/>
                  <a:gd name="connsiteY97" fmla="*/ 46995 h 1345876"/>
                  <a:gd name="connsiteX98" fmla="*/ 172777 w 961103"/>
                  <a:gd name="connsiteY98" fmla="*/ 35900 h 1345876"/>
                  <a:gd name="connsiteX99" fmla="*/ 185208 w 961103"/>
                  <a:gd name="connsiteY99" fmla="*/ 32813 h 1345876"/>
                  <a:gd name="connsiteX100" fmla="*/ 199807 w 961103"/>
                  <a:gd name="connsiteY100" fmla="*/ 29727 h 1345876"/>
                  <a:gd name="connsiteX101" fmla="*/ 205981 w 961103"/>
                  <a:gd name="connsiteY101" fmla="*/ 28809 h 1345876"/>
                  <a:gd name="connsiteX102" fmla="*/ 221915 w 961103"/>
                  <a:gd name="connsiteY102" fmla="*/ 25723 h 1345876"/>
                  <a:gd name="connsiteX103" fmla="*/ 265297 w 961103"/>
                  <a:gd name="connsiteY103" fmla="*/ 12459 h 1345876"/>
                  <a:gd name="connsiteX104" fmla="*/ 274641 w 961103"/>
                  <a:gd name="connsiteY104" fmla="*/ 6285 h 1345876"/>
                  <a:gd name="connsiteX105" fmla="*/ 292328 w 961103"/>
                  <a:gd name="connsiteY105" fmla="*/ 530 h 1345876"/>
                  <a:gd name="connsiteX106" fmla="*/ 299002 w 961103"/>
                  <a:gd name="connsiteY106" fmla="*/ 3616 h 1345876"/>
                  <a:gd name="connsiteX107" fmla="*/ 313602 w 961103"/>
                  <a:gd name="connsiteY107" fmla="*/ 8454 h 1345876"/>
                  <a:gd name="connsiteX108" fmla="*/ 314019 w 961103"/>
                  <a:gd name="connsiteY108" fmla="*/ 8454 h 1345876"/>
                  <a:gd name="connsiteX109" fmla="*/ 326866 w 961103"/>
                  <a:gd name="connsiteY109" fmla="*/ 4033 h 1345876"/>
                  <a:gd name="connsiteX110" fmla="*/ 331288 w 961103"/>
                  <a:gd name="connsiteY110" fmla="*/ 1781 h 1345876"/>
                  <a:gd name="connsiteX111" fmla="*/ 351227 w 961103"/>
                  <a:gd name="connsiteY111" fmla="*/ 7120 h 1345876"/>
                  <a:gd name="connsiteX112" fmla="*/ 353897 w 961103"/>
                  <a:gd name="connsiteY112" fmla="*/ 9372 h 1345876"/>
                  <a:gd name="connsiteX113" fmla="*/ 394692 w 961103"/>
                  <a:gd name="connsiteY113" fmla="*/ 16463 h 1345876"/>
                  <a:gd name="connsiteX114" fmla="*/ 400449 w 961103"/>
                  <a:gd name="connsiteY114" fmla="*/ 12959 h 1345876"/>
                  <a:gd name="connsiteX115" fmla="*/ 401367 w 961103"/>
                  <a:gd name="connsiteY115" fmla="*/ 13877 h 1345876"/>
                  <a:gd name="connsiteX116" fmla="*/ 406205 w 961103"/>
                  <a:gd name="connsiteY116" fmla="*/ 19216 h 1345876"/>
                  <a:gd name="connsiteX117" fmla="*/ 405788 w 961103"/>
                  <a:gd name="connsiteY117" fmla="*/ 30311 h 1345876"/>
                  <a:gd name="connsiteX118" fmla="*/ 404870 w 961103"/>
                  <a:gd name="connsiteY118" fmla="*/ 33814 h 1345876"/>
                  <a:gd name="connsiteX119" fmla="*/ 403953 w 961103"/>
                  <a:gd name="connsiteY119" fmla="*/ 36901 h 1345876"/>
                  <a:gd name="connsiteX120" fmla="*/ 403536 w 961103"/>
                  <a:gd name="connsiteY120" fmla="*/ 64847 h 1345876"/>
                  <a:gd name="connsiteX121" fmla="*/ 412379 w 961103"/>
                  <a:gd name="connsiteY121" fmla="*/ 76776 h 1345876"/>
                  <a:gd name="connsiteX122" fmla="*/ 417218 w 961103"/>
                  <a:gd name="connsiteY122" fmla="*/ 82532 h 1345876"/>
                  <a:gd name="connsiteX123" fmla="*/ 418552 w 961103"/>
                  <a:gd name="connsiteY123" fmla="*/ 98465 h 1345876"/>
                  <a:gd name="connsiteX124" fmla="*/ 434070 w 961103"/>
                  <a:gd name="connsiteY124" fmla="*/ 131667 h 1345876"/>
                  <a:gd name="connsiteX125" fmla="*/ 431817 w 961103"/>
                  <a:gd name="connsiteY125" fmla="*/ 170207 h 1345876"/>
                  <a:gd name="connsiteX126" fmla="*/ 430900 w 961103"/>
                  <a:gd name="connsiteY126" fmla="*/ 178632 h 1345876"/>
                  <a:gd name="connsiteX127" fmla="*/ 434904 w 961103"/>
                  <a:gd name="connsiteY127" fmla="*/ 229102 h 1345876"/>
                  <a:gd name="connsiteX128" fmla="*/ 488548 w 961103"/>
                  <a:gd name="connsiteY128" fmla="*/ 220259 h 1345876"/>
                  <a:gd name="connsiteX129" fmla="*/ 520417 w 961103"/>
                  <a:gd name="connsiteY129" fmla="*/ 197235 h 1345876"/>
                  <a:gd name="connsiteX130" fmla="*/ 530178 w 961103"/>
                  <a:gd name="connsiteY130" fmla="*/ 188393 h 1345876"/>
                  <a:gd name="connsiteX131" fmla="*/ 574060 w 961103"/>
                  <a:gd name="connsiteY131" fmla="*/ 168038 h 1345876"/>
                  <a:gd name="connsiteX132" fmla="*/ 586491 w 961103"/>
                  <a:gd name="connsiteY132" fmla="*/ 168955 h 1345876"/>
                  <a:gd name="connsiteX133" fmla="*/ 584238 w 961103"/>
                  <a:gd name="connsiteY133" fmla="*/ 175629 h 1345876"/>
                  <a:gd name="connsiteX134" fmla="*/ 581151 w 961103"/>
                  <a:gd name="connsiteY134" fmla="*/ 181802 h 1345876"/>
                  <a:gd name="connsiteX135" fmla="*/ 581569 w 961103"/>
                  <a:gd name="connsiteY135" fmla="*/ 215504 h 1345876"/>
                  <a:gd name="connsiteX136" fmla="*/ 601925 w 961103"/>
                  <a:gd name="connsiteY136" fmla="*/ 224347 h 1345876"/>
                  <a:gd name="connsiteX137" fmla="*/ 604177 w 961103"/>
                  <a:gd name="connsiteY137" fmla="*/ 223930 h 1345876"/>
                  <a:gd name="connsiteX138" fmla="*/ 610851 w 961103"/>
                  <a:gd name="connsiteY138" fmla="*/ 224847 h 1345876"/>
                  <a:gd name="connsiteX139" fmla="*/ 609517 w 961103"/>
                  <a:gd name="connsiteY139" fmla="*/ 228351 h 1345876"/>
                  <a:gd name="connsiteX140" fmla="*/ 595751 w 961103"/>
                  <a:gd name="connsiteY140" fmla="*/ 232355 h 1345876"/>
                  <a:gd name="connsiteX141" fmla="*/ 570473 w 961103"/>
                  <a:gd name="connsiteY141" fmla="*/ 254044 h 1345876"/>
                  <a:gd name="connsiteX142" fmla="*/ 609934 w 961103"/>
                  <a:gd name="connsiteY142" fmla="*/ 275317 h 1345876"/>
                  <a:gd name="connsiteX143" fmla="*/ 614772 w 961103"/>
                  <a:gd name="connsiteY143" fmla="*/ 275317 h 1345876"/>
                  <a:gd name="connsiteX144" fmla="*/ 618777 w 961103"/>
                  <a:gd name="connsiteY144" fmla="*/ 297423 h 1345876"/>
                  <a:gd name="connsiteX145" fmla="*/ 621447 w 961103"/>
                  <a:gd name="connsiteY145" fmla="*/ 309853 h 1345876"/>
                  <a:gd name="connsiteX146" fmla="*/ 609934 w 961103"/>
                  <a:gd name="connsiteY146" fmla="*/ 331959 h 1345876"/>
                  <a:gd name="connsiteX147" fmla="*/ 567886 w 961103"/>
                  <a:gd name="connsiteY147" fmla="*/ 349227 h 1345876"/>
                  <a:gd name="connsiteX148" fmla="*/ 564383 w 961103"/>
                  <a:gd name="connsiteY148" fmla="*/ 350145 h 1345876"/>
                  <a:gd name="connsiteX149" fmla="*/ 554622 w 961103"/>
                  <a:gd name="connsiteY149" fmla="*/ 354149 h 1345876"/>
                  <a:gd name="connsiteX150" fmla="*/ 541774 w 961103"/>
                  <a:gd name="connsiteY150" fmla="*/ 358153 h 1345876"/>
                  <a:gd name="connsiteX151" fmla="*/ 538270 w 961103"/>
                  <a:gd name="connsiteY151" fmla="*/ 355901 h 1345876"/>
                  <a:gd name="connsiteX152" fmla="*/ 529427 w 961103"/>
                  <a:gd name="connsiteY152" fmla="*/ 351063 h 1345876"/>
                  <a:gd name="connsiteX153" fmla="*/ 507736 w 961103"/>
                  <a:gd name="connsiteY153" fmla="*/ 355901 h 1345876"/>
                  <a:gd name="connsiteX154" fmla="*/ 499310 w 961103"/>
                  <a:gd name="connsiteY154" fmla="*/ 381177 h 1345876"/>
                  <a:gd name="connsiteX155" fmla="*/ 501562 w 961103"/>
                  <a:gd name="connsiteY155" fmla="*/ 396276 h 1345876"/>
                  <a:gd name="connsiteX156" fmla="*/ 500645 w 961103"/>
                  <a:gd name="connsiteY156" fmla="*/ 421970 h 1345876"/>
                  <a:gd name="connsiteX157" fmla="*/ 469193 w 961103"/>
                  <a:gd name="connsiteY157" fmla="*/ 468519 h 1345876"/>
                  <a:gd name="connsiteX158" fmla="*/ 443080 w 961103"/>
                  <a:gd name="connsiteY158" fmla="*/ 504807 h 1345876"/>
                  <a:gd name="connsiteX159" fmla="*/ 425394 w 961103"/>
                  <a:gd name="connsiteY159" fmla="*/ 558863 h 1345876"/>
                  <a:gd name="connsiteX160" fmla="*/ 428480 w 961103"/>
                  <a:gd name="connsiteY160" fmla="*/ 582805 h 1345876"/>
                  <a:gd name="connsiteX161" fmla="*/ 431567 w 961103"/>
                  <a:gd name="connsiteY161" fmla="*/ 604911 h 1345876"/>
                  <a:gd name="connsiteX162" fmla="*/ 431567 w 961103"/>
                  <a:gd name="connsiteY162" fmla="*/ 607998 h 1345876"/>
                  <a:gd name="connsiteX163" fmla="*/ 439993 w 961103"/>
                  <a:gd name="connsiteY163" fmla="*/ 645620 h 1345876"/>
                  <a:gd name="connsiteX164" fmla="*/ 450171 w 961103"/>
                  <a:gd name="connsiteY164" fmla="*/ 658050 h 1345876"/>
                  <a:gd name="connsiteX165" fmla="*/ 462602 w 961103"/>
                  <a:gd name="connsiteY165" fmla="*/ 674400 h 1345876"/>
                  <a:gd name="connsiteX166" fmla="*/ 478536 w 961103"/>
                  <a:gd name="connsiteY166" fmla="*/ 716445 h 1345876"/>
                  <a:gd name="connsiteX167" fmla="*/ 477619 w 961103"/>
                  <a:gd name="connsiteY167" fmla="*/ 734129 h 1345876"/>
                  <a:gd name="connsiteX168" fmla="*/ 481123 w 961103"/>
                  <a:gd name="connsiteY168" fmla="*/ 769083 h 1345876"/>
                  <a:gd name="connsiteX169" fmla="*/ 487296 w 961103"/>
                  <a:gd name="connsiteY169" fmla="*/ 779677 h 1345876"/>
                  <a:gd name="connsiteX170" fmla="*/ 494388 w 961103"/>
                  <a:gd name="connsiteY170" fmla="*/ 795611 h 1345876"/>
                  <a:gd name="connsiteX171" fmla="*/ 492135 w 961103"/>
                  <a:gd name="connsiteY171" fmla="*/ 812878 h 1345876"/>
                  <a:gd name="connsiteX172" fmla="*/ 489882 w 961103"/>
                  <a:gd name="connsiteY172" fmla="*/ 821721 h 1345876"/>
                  <a:gd name="connsiteX173" fmla="*/ 489465 w 961103"/>
                  <a:gd name="connsiteY173" fmla="*/ 825225 h 1345876"/>
                  <a:gd name="connsiteX174" fmla="*/ 492969 w 961103"/>
                  <a:gd name="connsiteY174" fmla="*/ 874860 h 1345876"/>
                  <a:gd name="connsiteX175" fmla="*/ 509821 w 961103"/>
                  <a:gd name="connsiteY175" fmla="*/ 881534 h 1345876"/>
                  <a:gd name="connsiteX176" fmla="*/ 529343 w 961103"/>
                  <a:gd name="connsiteY176" fmla="*/ 872691 h 1345876"/>
                  <a:gd name="connsiteX177" fmla="*/ 542191 w 961103"/>
                  <a:gd name="connsiteY177" fmla="*/ 866518 h 1345876"/>
                  <a:gd name="connsiteX178" fmla="*/ 563048 w 961103"/>
                  <a:gd name="connsiteY178" fmla="*/ 878030 h 1345876"/>
                  <a:gd name="connsiteX179" fmla="*/ 553704 w 961103"/>
                  <a:gd name="connsiteY179" fmla="*/ 909062 h 1345876"/>
                  <a:gd name="connsiteX180" fmla="*/ 547030 w 961103"/>
                  <a:gd name="connsiteY180" fmla="*/ 912149 h 1345876"/>
                  <a:gd name="connsiteX181" fmla="*/ 529343 w 961103"/>
                  <a:gd name="connsiteY181" fmla="*/ 929417 h 1345876"/>
                  <a:gd name="connsiteX182" fmla="*/ 543526 w 961103"/>
                  <a:gd name="connsiteY182" fmla="*/ 951106 h 1345876"/>
                  <a:gd name="connsiteX183" fmla="*/ 550200 w 961103"/>
                  <a:gd name="connsiteY183" fmla="*/ 955527 h 1345876"/>
                  <a:gd name="connsiteX184" fmla="*/ 546696 w 961103"/>
                  <a:gd name="connsiteY184" fmla="*/ 971461 h 1345876"/>
                  <a:gd name="connsiteX185" fmla="*/ 543192 w 961103"/>
                  <a:gd name="connsiteY185" fmla="*/ 975882 h 1345876"/>
                  <a:gd name="connsiteX186" fmla="*/ 541440 w 961103"/>
                  <a:gd name="connsiteY186" fmla="*/ 978552 h 1345876"/>
                  <a:gd name="connsiteX187" fmla="*/ 531679 w 961103"/>
                  <a:gd name="connsiteY187" fmla="*/ 1008666 h 1345876"/>
                  <a:gd name="connsiteX188" fmla="*/ 542274 w 961103"/>
                  <a:gd name="connsiteY188" fmla="*/ 1021513 h 1345876"/>
                  <a:gd name="connsiteX189" fmla="*/ 544026 w 961103"/>
                  <a:gd name="connsiteY189" fmla="*/ 1022848 h 1345876"/>
                  <a:gd name="connsiteX190" fmla="*/ 552452 w 961103"/>
                  <a:gd name="connsiteY190" fmla="*/ 1034777 h 1345876"/>
                  <a:gd name="connsiteX191" fmla="*/ 563048 w 961103"/>
                  <a:gd name="connsiteY191" fmla="*/ 1049375 h 1345876"/>
                  <a:gd name="connsiteX192" fmla="*/ 610851 w 961103"/>
                  <a:gd name="connsiteY192" fmla="*/ 1052462 h 1345876"/>
                  <a:gd name="connsiteX193" fmla="*/ 635629 w 961103"/>
                  <a:gd name="connsiteY193" fmla="*/ 1046706 h 1345876"/>
                  <a:gd name="connsiteX194" fmla="*/ 651564 w 961103"/>
                  <a:gd name="connsiteY194" fmla="*/ 1062223 h 1345876"/>
                  <a:gd name="connsiteX195" fmla="*/ 664829 w 961103"/>
                  <a:gd name="connsiteY195" fmla="*/ 1076821 h 1345876"/>
                  <a:gd name="connsiteX196" fmla="*/ 709545 w 961103"/>
                  <a:gd name="connsiteY196" fmla="*/ 1089251 h 1345876"/>
                  <a:gd name="connsiteX197" fmla="*/ 745836 w 961103"/>
                  <a:gd name="connsiteY197" fmla="*/ 1056466 h 1345876"/>
                  <a:gd name="connsiteX198" fmla="*/ 756014 w 961103"/>
                  <a:gd name="connsiteY198" fmla="*/ 1040533 h 1345876"/>
                  <a:gd name="connsiteX199" fmla="*/ 773283 w 961103"/>
                  <a:gd name="connsiteY199" fmla="*/ 1030773 h 1345876"/>
                  <a:gd name="connsiteX200" fmla="*/ 787466 w 961103"/>
                  <a:gd name="connsiteY200" fmla="*/ 1031691 h 1345876"/>
                  <a:gd name="connsiteX201" fmla="*/ 788384 w 961103"/>
                  <a:gd name="connsiteY201" fmla="*/ 1032108 h 1345876"/>
                  <a:gd name="connsiteX202" fmla="*/ 819418 w 961103"/>
                  <a:gd name="connsiteY202" fmla="*/ 1031190 h 1345876"/>
                  <a:gd name="connsiteX203" fmla="*/ 846449 w 961103"/>
                  <a:gd name="connsiteY203" fmla="*/ 1034694 h 1345876"/>
                  <a:gd name="connsiteX204" fmla="*/ 863301 w 961103"/>
                  <a:gd name="connsiteY204" fmla="*/ 1041367 h 1345876"/>
                  <a:gd name="connsiteX205" fmla="*/ 882823 w 961103"/>
                  <a:gd name="connsiteY205" fmla="*/ 1050710 h 1345876"/>
                  <a:gd name="connsiteX206" fmla="*/ 888996 w 961103"/>
                  <a:gd name="connsiteY206" fmla="*/ 1065809 h 1345876"/>
                  <a:gd name="connsiteX207" fmla="*/ 882823 w 961103"/>
                  <a:gd name="connsiteY207" fmla="*/ 1077321 h 1345876"/>
                  <a:gd name="connsiteX208" fmla="*/ 873479 w 961103"/>
                  <a:gd name="connsiteY208" fmla="*/ 1080825 h 1345876"/>
                  <a:gd name="connsiteX209" fmla="*/ 852205 w 961103"/>
                  <a:gd name="connsiteY209" fmla="*/ 1095924 h 1345876"/>
                  <a:gd name="connsiteX210" fmla="*/ 853123 w 961103"/>
                  <a:gd name="connsiteY210" fmla="*/ 1114527 h 1345876"/>
                  <a:gd name="connsiteX211" fmla="*/ 868640 w 961103"/>
                  <a:gd name="connsiteY211" fmla="*/ 1126456 h 1345876"/>
                  <a:gd name="connsiteX212" fmla="*/ 869558 w 961103"/>
                  <a:gd name="connsiteY212" fmla="*/ 1141972 h 1345876"/>
                  <a:gd name="connsiteX213" fmla="*/ 870476 w 961103"/>
                  <a:gd name="connsiteY213" fmla="*/ 1149063 h 1345876"/>
                  <a:gd name="connsiteX214" fmla="*/ 870059 w 961103"/>
                  <a:gd name="connsiteY214" fmla="*/ 1159658 h 1345876"/>
                  <a:gd name="connsiteX215" fmla="*/ 876733 w 961103"/>
                  <a:gd name="connsiteY215" fmla="*/ 1193359 h 1345876"/>
                  <a:gd name="connsiteX216" fmla="*/ 893084 w 961103"/>
                  <a:gd name="connsiteY216" fmla="*/ 1203120 h 1345876"/>
                  <a:gd name="connsiteX217" fmla="*/ 900176 w 961103"/>
                  <a:gd name="connsiteY217" fmla="*/ 1206206 h 1345876"/>
                  <a:gd name="connsiteX218" fmla="*/ 915693 w 961103"/>
                  <a:gd name="connsiteY218" fmla="*/ 1220805 h 1345876"/>
                  <a:gd name="connsiteX219" fmla="*/ 936049 w 961103"/>
                  <a:gd name="connsiteY219" fmla="*/ 1242911 h 1345876"/>
                  <a:gd name="connsiteX220" fmla="*/ 950649 w 961103"/>
                  <a:gd name="connsiteY220" fmla="*/ 1259178 h 134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</a:cxnLst>
                <a:rect l="l" t="t" r="r" b="b"/>
                <a:pathLst>
                  <a:path w="961103" h="1345876" extrusionOk="0">
                    <a:moveTo>
                      <a:pt x="950649" y="1259178"/>
                    </a:moveTo>
                    <a:cubicBezTo>
                      <a:pt x="965749" y="1275529"/>
                      <a:pt x="964414" y="1295967"/>
                      <a:pt x="947145" y="1313652"/>
                    </a:cubicBezTo>
                    <a:cubicBezTo>
                      <a:pt x="925871" y="1335758"/>
                      <a:pt x="895754" y="1348188"/>
                      <a:pt x="869641" y="1345518"/>
                    </a:cubicBezTo>
                    <a:cubicBezTo>
                      <a:pt x="849702" y="1343767"/>
                      <a:pt x="832850" y="1333589"/>
                      <a:pt x="821337" y="1316321"/>
                    </a:cubicBezTo>
                    <a:cubicBezTo>
                      <a:pt x="820002" y="1314069"/>
                      <a:pt x="818668" y="1311900"/>
                      <a:pt x="817333" y="1309230"/>
                    </a:cubicBezTo>
                    <a:cubicBezTo>
                      <a:pt x="811159" y="1298636"/>
                      <a:pt x="803567" y="1285289"/>
                      <a:pt x="788550" y="1283537"/>
                    </a:cubicBezTo>
                    <a:cubicBezTo>
                      <a:pt x="774785" y="1282202"/>
                      <a:pt x="766859" y="1291045"/>
                      <a:pt x="760602" y="1298636"/>
                    </a:cubicBezTo>
                    <a:cubicBezTo>
                      <a:pt x="757516" y="1302140"/>
                      <a:pt x="754429" y="1305727"/>
                      <a:pt x="750842" y="1307479"/>
                    </a:cubicBezTo>
                    <a:cubicBezTo>
                      <a:pt x="733572" y="1317239"/>
                      <a:pt x="717638" y="1299053"/>
                      <a:pt x="700785" y="1278282"/>
                    </a:cubicBezTo>
                    <a:cubicBezTo>
                      <a:pt x="699034" y="1276029"/>
                      <a:pt x="697282" y="1273860"/>
                      <a:pt x="695029" y="1271191"/>
                    </a:cubicBezTo>
                    <a:cubicBezTo>
                      <a:pt x="684851" y="1258761"/>
                      <a:pt x="676425" y="1249085"/>
                      <a:pt x="673755" y="1233985"/>
                    </a:cubicBezTo>
                    <a:cubicBezTo>
                      <a:pt x="672837" y="1227812"/>
                      <a:pt x="672837" y="1221556"/>
                      <a:pt x="672837" y="1214965"/>
                    </a:cubicBezTo>
                    <a:cubicBezTo>
                      <a:pt x="672837" y="1205205"/>
                      <a:pt x="672420" y="1195445"/>
                      <a:pt x="669751" y="1185768"/>
                    </a:cubicBezTo>
                    <a:cubicBezTo>
                      <a:pt x="664912" y="1170669"/>
                      <a:pt x="653399" y="1158323"/>
                      <a:pt x="638299" y="1151232"/>
                    </a:cubicBezTo>
                    <a:cubicBezTo>
                      <a:pt x="621447" y="1143224"/>
                      <a:pt x="601507" y="1142806"/>
                      <a:pt x="584655" y="1149480"/>
                    </a:cubicBezTo>
                    <a:cubicBezTo>
                      <a:pt x="581151" y="1150815"/>
                      <a:pt x="577147" y="1152984"/>
                      <a:pt x="573560" y="1155236"/>
                    </a:cubicBezTo>
                    <a:cubicBezTo>
                      <a:pt x="559794" y="1162744"/>
                      <a:pt x="554955" y="1164579"/>
                      <a:pt x="548281" y="1156154"/>
                    </a:cubicBezTo>
                    <a:cubicBezTo>
                      <a:pt x="545194" y="1151733"/>
                      <a:pt x="542942" y="1146394"/>
                      <a:pt x="541190" y="1140638"/>
                    </a:cubicBezTo>
                    <a:cubicBezTo>
                      <a:pt x="538520" y="1133547"/>
                      <a:pt x="535851" y="1125122"/>
                      <a:pt x="529260" y="1118531"/>
                    </a:cubicBezTo>
                    <a:cubicBezTo>
                      <a:pt x="509321" y="1097259"/>
                      <a:pt x="476951" y="1093255"/>
                      <a:pt x="438408" y="1106602"/>
                    </a:cubicBezTo>
                    <a:lnTo>
                      <a:pt x="428647" y="1110106"/>
                    </a:lnTo>
                    <a:cubicBezTo>
                      <a:pt x="397612" y="1121201"/>
                      <a:pt x="378174" y="1126456"/>
                      <a:pt x="363491" y="1103933"/>
                    </a:cubicBezTo>
                    <a:cubicBezTo>
                      <a:pt x="359069" y="1097759"/>
                      <a:pt x="356399" y="1087999"/>
                      <a:pt x="353313" y="1078239"/>
                    </a:cubicBezTo>
                    <a:cubicBezTo>
                      <a:pt x="347139" y="1058302"/>
                      <a:pt x="340882" y="1036195"/>
                      <a:pt x="319608" y="1028604"/>
                    </a:cubicBezTo>
                    <a:cubicBezTo>
                      <a:pt x="297500" y="1020595"/>
                      <a:pt x="287739" y="1039198"/>
                      <a:pt x="281065" y="1051628"/>
                    </a:cubicBezTo>
                    <a:cubicBezTo>
                      <a:pt x="275726" y="1062223"/>
                      <a:pt x="271721" y="1068896"/>
                      <a:pt x="266465" y="1067561"/>
                    </a:cubicBezTo>
                    <a:cubicBezTo>
                      <a:pt x="264213" y="1067144"/>
                      <a:pt x="264213" y="1066644"/>
                      <a:pt x="263796" y="1066644"/>
                    </a:cubicBezTo>
                    <a:cubicBezTo>
                      <a:pt x="261126" y="1061805"/>
                      <a:pt x="267300" y="1045371"/>
                      <a:pt x="269135" y="1040033"/>
                    </a:cubicBezTo>
                    <a:cubicBezTo>
                      <a:pt x="270053" y="1038281"/>
                      <a:pt x="270470" y="1036946"/>
                      <a:pt x="270887" y="1035611"/>
                    </a:cubicBezTo>
                    <a:cubicBezTo>
                      <a:pt x="278395" y="1013922"/>
                      <a:pt x="272639" y="997071"/>
                      <a:pt x="264713" y="978051"/>
                    </a:cubicBezTo>
                    <a:cubicBezTo>
                      <a:pt x="259374" y="966122"/>
                      <a:pt x="257205" y="952358"/>
                      <a:pt x="254535" y="938176"/>
                    </a:cubicBezTo>
                    <a:cubicBezTo>
                      <a:pt x="251031" y="919156"/>
                      <a:pt x="247444" y="899219"/>
                      <a:pt x="236849" y="882368"/>
                    </a:cubicBezTo>
                    <a:cubicBezTo>
                      <a:pt x="227088" y="867269"/>
                      <a:pt x="211571" y="860261"/>
                      <a:pt x="196554" y="853588"/>
                    </a:cubicBezTo>
                    <a:cubicBezTo>
                      <a:pt x="181036" y="846914"/>
                      <a:pt x="168189" y="840741"/>
                      <a:pt x="162849" y="827894"/>
                    </a:cubicBezTo>
                    <a:cubicBezTo>
                      <a:pt x="160597" y="822555"/>
                      <a:pt x="159762" y="815047"/>
                      <a:pt x="158845" y="808374"/>
                    </a:cubicBezTo>
                    <a:cubicBezTo>
                      <a:pt x="157510" y="795944"/>
                      <a:pt x="155758" y="783097"/>
                      <a:pt x="145997" y="776007"/>
                    </a:cubicBezTo>
                    <a:cubicBezTo>
                      <a:pt x="139823" y="771585"/>
                      <a:pt x="131397" y="770668"/>
                      <a:pt x="120301" y="772920"/>
                    </a:cubicBezTo>
                    <a:cubicBezTo>
                      <a:pt x="114962" y="773838"/>
                      <a:pt x="109706" y="776007"/>
                      <a:pt x="103950" y="778259"/>
                    </a:cubicBezTo>
                    <a:cubicBezTo>
                      <a:pt x="84929" y="785767"/>
                      <a:pt x="75168" y="788436"/>
                      <a:pt x="69411" y="777842"/>
                    </a:cubicBezTo>
                    <a:cubicBezTo>
                      <a:pt x="65907" y="771168"/>
                      <a:pt x="64072" y="763660"/>
                      <a:pt x="62737" y="755735"/>
                    </a:cubicBezTo>
                    <a:cubicBezTo>
                      <a:pt x="60067" y="741137"/>
                      <a:pt x="57898" y="724703"/>
                      <a:pt x="38376" y="716278"/>
                    </a:cubicBezTo>
                    <a:cubicBezTo>
                      <a:pt x="44550" y="714943"/>
                      <a:pt x="51224" y="714025"/>
                      <a:pt x="58733" y="713191"/>
                    </a:cubicBezTo>
                    <a:cubicBezTo>
                      <a:pt x="77754" y="710939"/>
                      <a:pt x="97276" y="708770"/>
                      <a:pt x="111041" y="697258"/>
                    </a:cubicBezTo>
                    <a:cubicBezTo>
                      <a:pt x="120802" y="689249"/>
                      <a:pt x="126141" y="679072"/>
                      <a:pt x="131397" y="668895"/>
                    </a:cubicBezTo>
                    <a:cubicBezTo>
                      <a:pt x="136236" y="660052"/>
                      <a:pt x="140741" y="651627"/>
                      <a:pt x="147332" y="645871"/>
                    </a:cubicBezTo>
                    <a:cubicBezTo>
                      <a:pt x="151336" y="642367"/>
                      <a:pt x="155758" y="641032"/>
                      <a:pt x="161514" y="639698"/>
                    </a:cubicBezTo>
                    <a:cubicBezTo>
                      <a:pt x="164184" y="638780"/>
                      <a:pt x="166854" y="638363"/>
                      <a:pt x="169940" y="637028"/>
                    </a:cubicBezTo>
                    <a:cubicBezTo>
                      <a:pt x="179702" y="633941"/>
                      <a:pt x="183706" y="629520"/>
                      <a:pt x="187627" y="624181"/>
                    </a:cubicBezTo>
                    <a:lnTo>
                      <a:pt x="193801" y="617091"/>
                    </a:lnTo>
                    <a:cubicBezTo>
                      <a:pt x="197304" y="613086"/>
                      <a:pt x="197304" y="613086"/>
                      <a:pt x="204396" y="612669"/>
                    </a:cubicBezTo>
                    <a:lnTo>
                      <a:pt x="210569" y="612669"/>
                    </a:lnTo>
                    <a:cubicBezTo>
                      <a:pt x="216326" y="613086"/>
                      <a:pt x="222499" y="613086"/>
                      <a:pt x="229591" y="610000"/>
                    </a:cubicBezTo>
                    <a:cubicBezTo>
                      <a:pt x="247277" y="603326"/>
                      <a:pt x="265047" y="586976"/>
                      <a:pt x="275225" y="574546"/>
                    </a:cubicBezTo>
                    <a:cubicBezTo>
                      <a:pt x="280982" y="567455"/>
                      <a:pt x="284068" y="559948"/>
                      <a:pt x="287155" y="552857"/>
                    </a:cubicBezTo>
                    <a:cubicBezTo>
                      <a:pt x="290659" y="544014"/>
                      <a:pt x="294246" y="536506"/>
                      <a:pt x="301755" y="529833"/>
                    </a:cubicBezTo>
                    <a:cubicBezTo>
                      <a:pt x="306176" y="526329"/>
                      <a:pt x="310181" y="523660"/>
                      <a:pt x="313685" y="520990"/>
                    </a:cubicBezTo>
                    <a:cubicBezTo>
                      <a:pt x="324280" y="513899"/>
                      <a:pt x="333207" y="507226"/>
                      <a:pt x="340298" y="491292"/>
                    </a:cubicBezTo>
                    <a:cubicBezTo>
                      <a:pt x="342968" y="485119"/>
                      <a:pt x="346472" y="479363"/>
                      <a:pt x="350059" y="473107"/>
                    </a:cubicBezTo>
                    <a:cubicBezTo>
                      <a:pt x="356733" y="462512"/>
                      <a:pt x="362907" y="451417"/>
                      <a:pt x="365576" y="436819"/>
                    </a:cubicBezTo>
                    <a:cubicBezTo>
                      <a:pt x="366911" y="428393"/>
                      <a:pt x="370415" y="399196"/>
                      <a:pt x="358902" y="377006"/>
                    </a:cubicBezTo>
                    <a:cubicBezTo>
                      <a:pt x="352729" y="365494"/>
                      <a:pt x="336711" y="338049"/>
                      <a:pt x="315020" y="333127"/>
                    </a:cubicBezTo>
                    <a:cubicBezTo>
                      <a:pt x="303090" y="330458"/>
                      <a:pt x="292411" y="333544"/>
                      <a:pt x="282650" y="336214"/>
                    </a:cubicBezTo>
                    <a:cubicBezTo>
                      <a:pt x="275559" y="338466"/>
                      <a:pt x="268468" y="340218"/>
                      <a:pt x="261793" y="339300"/>
                    </a:cubicBezTo>
                    <a:cubicBezTo>
                      <a:pt x="255119" y="338383"/>
                      <a:pt x="253367" y="335796"/>
                      <a:pt x="249363" y="330458"/>
                    </a:cubicBezTo>
                    <a:cubicBezTo>
                      <a:pt x="247110" y="327371"/>
                      <a:pt x="244941" y="324285"/>
                      <a:pt x="242272" y="321615"/>
                    </a:cubicBezTo>
                    <a:cubicBezTo>
                      <a:pt x="239185" y="318529"/>
                      <a:pt x="235598" y="316276"/>
                      <a:pt x="232511" y="314524"/>
                    </a:cubicBezTo>
                    <a:cubicBezTo>
                      <a:pt x="229424" y="312772"/>
                      <a:pt x="227171" y="311438"/>
                      <a:pt x="225002" y="309185"/>
                    </a:cubicBezTo>
                    <a:cubicBezTo>
                      <a:pt x="222750" y="306516"/>
                      <a:pt x="221498" y="303429"/>
                      <a:pt x="219663" y="299425"/>
                    </a:cubicBezTo>
                    <a:cubicBezTo>
                      <a:pt x="218328" y="296339"/>
                      <a:pt x="216993" y="293252"/>
                      <a:pt x="215241" y="290082"/>
                    </a:cubicBezTo>
                    <a:cubicBezTo>
                      <a:pt x="214824" y="290082"/>
                      <a:pt x="214824" y="289665"/>
                      <a:pt x="214824" y="289665"/>
                    </a:cubicBezTo>
                    <a:cubicBezTo>
                      <a:pt x="211737" y="283909"/>
                      <a:pt x="206815" y="279488"/>
                      <a:pt x="201976" y="275067"/>
                    </a:cubicBezTo>
                    <a:cubicBezTo>
                      <a:pt x="201059" y="274149"/>
                      <a:pt x="200224" y="273732"/>
                      <a:pt x="199307" y="272814"/>
                    </a:cubicBezTo>
                    <a:lnTo>
                      <a:pt x="194885" y="269311"/>
                    </a:lnTo>
                    <a:cubicBezTo>
                      <a:pt x="193550" y="267976"/>
                      <a:pt x="191798" y="266641"/>
                      <a:pt x="190046" y="264889"/>
                    </a:cubicBezTo>
                    <a:cubicBezTo>
                      <a:pt x="185625" y="261386"/>
                      <a:pt x="177616" y="254712"/>
                      <a:pt x="177616" y="250708"/>
                    </a:cubicBezTo>
                    <a:cubicBezTo>
                      <a:pt x="177616" y="248956"/>
                      <a:pt x="179368" y="246704"/>
                      <a:pt x="181120" y="244034"/>
                    </a:cubicBezTo>
                    <a:cubicBezTo>
                      <a:pt x="183789" y="240948"/>
                      <a:pt x="186459" y="236943"/>
                      <a:pt x="187794" y="231604"/>
                    </a:cubicBezTo>
                    <a:cubicBezTo>
                      <a:pt x="188711" y="224097"/>
                      <a:pt x="187377" y="217423"/>
                      <a:pt x="182955" y="211667"/>
                    </a:cubicBezTo>
                    <a:cubicBezTo>
                      <a:pt x="174946" y="201489"/>
                      <a:pt x="159929" y="198403"/>
                      <a:pt x="148416" y="197485"/>
                    </a:cubicBezTo>
                    <a:cubicBezTo>
                      <a:pt x="126725" y="195734"/>
                      <a:pt x="111625" y="193481"/>
                      <a:pt x="97025" y="179800"/>
                    </a:cubicBezTo>
                    <a:cubicBezTo>
                      <a:pt x="93522" y="176297"/>
                      <a:pt x="90351" y="172709"/>
                      <a:pt x="87265" y="169206"/>
                    </a:cubicBezTo>
                    <a:cubicBezTo>
                      <a:pt x="78838" y="159863"/>
                      <a:pt x="70412" y="150186"/>
                      <a:pt x="55396" y="144847"/>
                    </a:cubicBezTo>
                    <a:cubicBezTo>
                      <a:pt x="46052" y="141343"/>
                      <a:pt x="35874" y="138173"/>
                      <a:pt x="27030" y="138674"/>
                    </a:cubicBezTo>
                    <a:cubicBezTo>
                      <a:pt x="22609" y="139091"/>
                      <a:pt x="19021" y="140926"/>
                      <a:pt x="15100" y="142177"/>
                    </a:cubicBezTo>
                    <a:cubicBezTo>
                      <a:pt x="10679" y="144430"/>
                      <a:pt x="7091" y="145681"/>
                      <a:pt x="5339" y="144847"/>
                    </a:cubicBezTo>
                    <a:cubicBezTo>
                      <a:pt x="1335" y="143512"/>
                      <a:pt x="0" y="135087"/>
                      <a:pt x="0" y="126662"/>
                    </a:cubicBezTo>
                    <a:cubicBezTo>
                      <a:pt x="2670" y="125744"/>
                      <a:pt x="4839" y="124409"/>
                      <a:pt x="7091" y="123575"/>
                    </a:cubicBezTo>
                    <a:cubicBezTo>
                      <a:pt x="9761" y="122240"/>
                      <a:pt x="12431" y="120905"/>
                      <a:pt x="15517" y="120071"/>
                    </a:cubicBezTo>
                    <a:cubicBezTo>
                      <a:pt x="25696" y="116985"/>
                      <a:pt x="27448" y="117819"/>
                      <a:pt x="37208" y="123158"/>
                    </a:cubicBezTo>
                    <a:lnTo>
                      <a:pt x="39878" y="124492"/>
                    </a:lnTo>
                    <a:cubicBezTo>
                      <a:pt x="46969" y="127996"/>
                      <a:pt x="55813" y="129831"/>
                      <a:pt x="65156" y="129831"/>
                    </a:cubicBezTo>
                    <a:cubicBezTo>
                      <a:pt x="74917" y="129831"/>
                      <a:pt x="84678" y="127579"/>
                      <a:pt x="93104" y="124075"/>
                    </a:cubicBezTo>
                    <a:cubicBezTo>
                      <a:pt x="105535" y="118319"/>
                      <a:pt x="113043" y="109477"/>
                      <a:pt x="115213" y="97965"/>
                    </a:cubicBezTo>
                    <a:cubicBezTo>
                      <a:pt x="117465" y="88205"/>
                      <a:pt x="112960" y="81614"/>
                      <a:pt x="109873" y="76692"/>
                    </a:cubicBezTo>
                    <a:cubicBezTo>
                      <a:pt x="107621" y="73606"/>
                      <a:pt x="106369" y="71353"/>
                      <a:pt x="106369" y="69184"/>
                    </a:cubicBezTo>
                    <a:cubicBezTo>
                      <a:pt x="106786" y="64763"/>
                      <a:pt x="111709" y="62511"/>
                      <a:pt x="122304" y="59424"/>
                    </a:cubicBezTo>
                    <a:cubicBezTo>
                      <a:pt x="125808" y="58507"/>
                      <a:pt x="128978" y="57673"/>
                      <a:pt x="131147" y="56338"/>
                    </a:cubicBezTo>
                    <a:cubicBezTo>
                      <a:pt x="137821" y="53669"/>
                      <a:pt x="143578" y="50165"/>
                      <a:pt x="149334" y="46995"/>
                    </a:cubicBezTo>
                    <a:cubicBezTo>
                      <a:pt x="157343" y="42573"/>
                      <a:pt x="164434" y="38569"/>
                      <a:pt x="172777" y="35900"/>
                    </a:cubicBezTo>
                    <a:cubicBezTo>
                      <a:pt x="177199" y="34565"/>
                      <a:pt x="181203" y="33231"/>
                      <a:pt x="185208" y="32813"/>
                    </a:cubicBezTo>
                    <a:cubicBezTo>
                      <a:pt x="190046" y="31479"/>
                      <a:pt x="194968" y="30561"/>
                      <a:pt x="199807" y="29727"/>
                    </a:cubicBezTo>
                    <a:cubicBezTo>
                      <a:pt x="202060" y="29310"/>
                      <a:pt x="204229" y="28809"/>
                      <a:pt x="205981" y="28809"/>
                    </a:cubicBezTo>
                    <a:lnTo>
                      <a:pt x="221915" y="25723"/>
                    </a:lnTo>
                    <a:cubicBezTo>
                      <a:pt x="236098" y="23053"/>
                      <a:pt x="252033" y="19966"/>
                      <a:pt x="265297" y="12459"/>
                    </a:cubicBezTo>
                    <a:cubicBezTo>
                      <a:pt x="268801" y="10206"/>
                      <a:pt x="271971" y="8037"/>
                      <a:pt x="274641" y="6285"/>
                    </a:cubicBezTo>
                    <a:cubicBezTo>
                      <a:pt x="280815" y="1447"/>
                      <a:pt x="284402" y="-805"/>
                      <a:pt x="292328" y="530"/>
                    </a:cubicBezTo>
                    <a:cubicBezTo>
                      <a:pt x="294580" y="947"/>
                      <a:pt x="296749" y="2281"/>
                      <a:pt x="299002" y="3616"/>
                    </a:cubicBezTo>
                    <a:cubicBezTo>
                      <a:pt x="303006" y="5868"/>
                      <a:pt x="307845" y="8454"/>
                      <a:pt x="313602" y="8454"/>
                    </a:cubicBezTo>
                    <a:cubicBezTo>
                      <a:pt x="314019" y="8454"/>
                      <a:pt x="314019" y="8454"/>
                      <a:pt x="314019" y="8454"/>
                    </a:cubicBezTo>
                    <a:cubicBezTo>
                      <a:pt x="320192" y="8454"/>
                      <a:pt x="324197" y="5785"/>
                      <a:pt x="326866" y="4033"/>
                    </a:cubicBezTo>
                    <a:cubicBezTo>
                      <a:pt x="328618" y="3116"/>
                      <a:pt x="329536" y="2281"/>
                      <a:pt x="331288" y="1781"/>
                    </a:cubicBezTo>
                    <a:cubicBezTo>
                      <a:pt x="341466" y="-1306"/>
                      <a:pt x="342384" y="-889"/>
                      <a:pt x="351227" y="7120"/>
                    </a:cubicBezTo>
                    <a:lnTo>
                      <a:pt x="353897" y="9372"/>
                    </a:lnTo>
                    <a:cubicBezTo>
                      <a:pt x="365410" y="19549"/>
                      <a:pt x="375170" y="28392"/>
                      <a:pt x="394692" y="16463"/>
                    </a:cubicBezTo>
                    <a:cubicBezTo>
                      <a:pt x="396945" y="15128"/>
                      <a:pt x="398697" y="14210"/>
                      <a:pt x="400449" y="12959"/>
                    </a:cubicBezTo>
                    <a:cubicBezTo>
                      <a:pt x="400866" y="13376"/>
                      <a:pt x="401367" y="13877"/>
                      <a:pt x="401367" y="13877"/>
                    </a:cubicBezTo>
                    <a:cubicBezTo>
                      <a:pt x="403619" y="15212"/>
                      <a:pt x="404870" y="16546"/>
                      <a:pt x="406205" y="19216"/>
                    </a:cubicBezTo>
                    <a:cubicBezTo>
                      <a:pt x="407957" y="22302"/>
                      <a:pt x="407123" y="25889"/>
                      <a:pt x="405788" y="30311"/>
                    </a:cubicBezTo>
                    <a:cubicBezTo>
                      <a:pt x="405371" y="31645"/>
                      <a:pt x="404870" y="32980"/>
                      <a:pt x="404870" y="33814"/>
                    </a:cubicBezTo>
                    <a:lnTo>
                      <a:pt x="403953" y="36901"/>
                    </a:lnTo>
                    <a:cubicBezTo>
                      <a:pt x="402201" y="45327"/>
                      <a:pt x="399948" y="55086"/>
                      <a:pt x="403536" y="64847"/>
                    </a:cubicBezTo>
                    <a:cubicBezTo>
                      <a:pt x="405788" y="71020"/>
                      <a:pt x="409709" y="74607"/>
                      <a:pt x="412379" y="76776"/>
                    </a:cubicBezTo>
                    <a:cubicBezTo>
                      <a:pt x="414631" y="79028"/>
                      <a:pt x="415883" y="79863"/>
                      <a:pt x="417218" y="82532"/>
                    </a:cubicBezTo>
                    <a:cubicBezTo>
                      <a:pt x="419470" y="86953"/>
                      <a:pt x="418970" y="92709"/>
                      <a:pt x="418552" y="98465"/>
                    </a:cubicBezTo>
                    <a:cubicBezTo>
                      <a:pt x="418135" y="109060"/>
                      <a:pt x="417635" y="124159"/>
                      <a:pt x="434070" y="131667"/>
                    </a:cubicBezTo>
                    <a:cubicBezTo>
                      <a:pt x="433653" y="144096"/>
                      <a:pt x="432735" y="156943"/>
                      <a:pt x="431817" y="170207"/>
                    </a:cubicBezTo>
                    <a:cubicBezTo>
                      <a:pt x="431817" y="171959"/>
                      <a:pt x="431400" y="175045"/>
                      <a:pt x="430900" y="178632"/>
                    </a:cubicBezTo>
                    <a:cubicBezTo>
                      <a:pt x="427813" y="202991"/>
                      <a:pt x="425560" y="222011"/>
                      <a:pt x="434904" y="229102"/>
                    </a:cubicBezTo>
                    <a:cubicBezTo>
                      <a:pt x="445499" y="237527"/>
                      <a:pt x="466356" y="230019"/>
                      <a:pt x="488548" y="220259"/>
                    </a:cubicBezTo>
                    <a:cubicBezTo>
                      <a:pt x="502313" y="214086"/>
                      <a:pt x="511156" y="206078"/>
                      <a:pt x="520417" y="197235"/>
                    </a:cubicBezTo>
                    <a:cubicBezTo>
                      <a:pt x="523503" y="194149"/>
                      <a:pt x="526590" y="191062"/>
                      <a:pt x="530178" y="188393"/>
                    </a:cubicBezTo>
                    <a:cubicBezTo>
                      <a:pt x="540356" y="179967"/>
                      <a:pt x="558960" y="169790"/>
                      <a:pt x="574060" y="168038"/>
                    </a:cubicBezTo>
                    <a:cubicBezTo>
                      <a:pt x="577564" y="167621"/>
                      <a:pt x="584655" y="166703"/>
                      <a:pt x="586491" y="168955"/>
                    </a:cubicBezTo>
                    <a:cubicBezTo>
                      <a:pt x="586908" y="169873"/>
                      <a:pt x="586908" y="171208"/>
                      <a:pt x="584238" y="175629"/>
                    </a:cubicBezTo>
                    <a:cubicBezTo>
                      <a:pt x="583320" y="177882"/>
                      <a:pt x="581986" y="180051"/>
                      <a:pt x="581151" y="181802"/>
                    </a:cubicBezTo>
                    <a:cubicBezTo>
                      <a:pt x="575812" y="195066"/>
                      <a:pt x="576313" y="207496"/>
                      <a:pt x="581569" y="215504"/>
                    </a:cubicBezTo>
                    <a:cubicBezTo>
                      <a:pt x="584655" y="219925"/>
                      <a:pt x="590912" y="224847"/>
                      <a:pt x="601925" y="224347"/>
                    </a:cubicBezTo>
                    <a:lnTo>
                      <a:pt x="604177" y="223930"/>
                    </a:lnTo>
                    <a:cubicBezTo>
                      <a:pt x="609016" y="223512"/>
                      <a:pt x="610351" y="223930"/>
                      <a:pt x="610851" y="224847"/>
                    </a:cubicBezTo>
                    <a:cubicBezTo>
                      <a:pt x="611769" y="225765"/>
                      <a:pt x="611769" y="226182"/>
                      <a:pt x="609517" y="228351"/>
                    </a:cubicBezTo>
                    <a:cubicBezTo>
                      <a:pt x="607264" y="230603"/>
                      <a:pt x="601090" y="231437"/>
                      <a:pt x="595751" y="232355"/>
                    </a:cubicBezTo>
                    <a:cubicBezTo>
                      <a:pt x="585573" y="233690"/>
                      <a:pt x="569138" y="236777"/>
                      <a:pt x="570473" y="254044"/>
                    </a:cubicBezTo>
                    <a:cubicBezTo>
                      <a:pt x="571808" y="275734"/>
                      <a:pt x="597503" y="275317"/>
                      <a:pt x="609934" y="275317"/>
                    </a:cubicBezTo>
                    <a:lnTo>
                      <a:pt x="614772" y="275317"/>
                    </a:lnTo>
                    <a:cubicBezTo>
                      <a:pt x="615690" y="282824"/>
                      <a:pt x="617025" y="289915"/>
                      <a:pt x="618777" y="297423"/>
                    </a:cubicBezTo>
                    <a:cubicBezTo>
                      <a:pt x="619695" y="301427"/>
                      <a:pt x="620529" y="305432"/>
                      <a:pt x="621447" y="309853"/>
                    </a:cubicBezTo>
                    <a:cubicBezTo>
                      <a:pt x="623699" y="321782"/>
                      <a:pt x="621864" y="324034"/>
                      <a:pt x="609934" y="331959"/>
                    </a:cubicBezTo>
                    <a:cubicBezTo>
                      <a:pt x="596168" y="340802"/>
                      <a:pt x="583821" y="344389"/>
                      <a:pt x="567886" y="349227"/>
                    </a:cubicBezTo>
                    <a:lnTo>
                      <a:pt x="564383" y="350145"/>
                    </a:lnTo>
                    <a:cubicBezTo>
                      <a:pt x="561296" y="351063"/>
                      <a:pt x="558209" y="352814"/>
                      <a:pt x="554622" y="354149"/>
                    </a:cubicBezTo>
                    <a:cubicBezTo>
                      <a:pt x="550200" y="356402"/>
                      <a:pt x="544861" y="358571"/>
                      <a:pt x="541774" y="358153"/>
                    </a:cubicBezTo>
                    <a:cubicBezTo>
                      <a:pt x="540856" y="358153"/>
                      <a:pt x="539521" y="357236"/>
                      <a:pt x="538270" y="355901"/>
                    </a:cubicBezTo>
                    <a:cubicBezTo>
                      <a:pt x="536017" y="354149"/>
                      <a:pt x="533431" y="351897"/>
                      <a:pt x="529427" y="351063"/>
                    </a:cubicBezTo>
                    <a:cubicBezTo>
                      <a:pt x="518331" y="348810"/>
                      <a:pt x="511240" y="352397"/>
                      <a:pt x="507736" y="355901"/>
                    </a:cubicBezTo>
                    <a:cubicBezTo>
                      <a:pt x="501562" y="361240"/>
                      <a:pt x="498892" y="370082"/>
                      <a:pt x="499310" y="381177"/>
                    </a:cubicBezTo>
                    <a:cubicBezTo>
                      <a:pt x="499727" y="386516"/>
                      <a:pt x="500645" y="391355"/>
                      <a:pt x="501562" y="396276"/>
                    </a:cubicBezTo>
                    <a:cubicBezTo>
                      <a:pt x="503314" y="405119"/>
                      <a:pt x="504649" y="411793"/>
                      <a:pt x="500645" y="421970"/>
                    </a:cubicBezTo>
                    <a:cubicBezTo>
                      <a:pt x="493553" y="438821"/>
                      <a:pt x="482040" y="453419"/>
                      <a:pt x="469193" y="468519"/>
                    </a:cubicBezTo>
                    <a:cubicBezTo>
                      <a:pt x="459849" y="480030"/>
                      <a:pt x="450171" y="491960"/>
                      <a:pt x="443080" y="504807"/>
                    </a:cubicBezTo>
                    <a:cubicBezTo>
                      <a:pt x="434237" y="520323"/>
                      <a:pt x="425394" y="538508"/>
                      <a:pt x="425394" y="558863"/>
                    </a:cubicBezTo>
                    <a:cubicBezTo>
                      <a:pt x="425811" y="567288"/>
                      <a:pt x="427145" y="574796"/>
                      <a:pt x="428480" y="582805"/>
                    </a:cubicBezTo>
                    <a:cubicBezTo>
                      <a:pt x="429815" y="590313"/>
                      <a:pt x="431567" y="597403"/>
                      <a:pt x="431567" y="604911"/>
                    </a:cubicBezTo>
                    <a:lnTo>
                      <a:pt x="431567" y="607998"/>
                    </a:lnTo>
                    <a:cubicBezTo>
                      <a:pt x="431150" y="620845"/>
                      <a:pt x="431150" y="632774"/>
                      <a:pt x="439993" y="645620"/>
                    </a:cubicBezTo>
                    <a:cubicBezTo>
                      <a:pt x="443080" y="650042"/>
                      <a:pt x="446667" y="654046"/>
                      <a:pt x="450171" y="658050"/>
                    </a:cubicBezTo>
                    <a:cubicBezTo>
                      <a:pt x="454593" y="662888"/>
                      <a:pt x="459014" y="667810"/>
                      <a:pt x="462602" y="674400"/>
                    </a:cubicBezTo>
                    <a:cubicBezTo>
                      <a:pt x="469276" y="687247"/>
                      <a:pt x="477202" y="703180"/>
                      <a:pt x="478536" y="716445"/>
                    </a:cubicBezTo>
                    <a:cubicBezTo>
                      <a:pt x="478954" y="722618"/>
                      <a:pt x="478119" y="728374"/>
                      <a:pt x="477619" y="734129"/>
                    </a:cubicBezTo>
                    <a:cubicBezTo>
                      <a:pt x="476284" y="744724"/>
                      <a:pt x="474949" y="756236"/>
                      <a:pt x="481123" y="769083"/>
                    </a:cubicBezTo>
                    <a:cubicBezTo>
                      <a:pt x="482875" y="772586"/>
                      <a:pt x="485127" y="776173"/>
                      <a:pt x="487296" y="779677"/>
                    </a:cubicBezTo>
                    <a:cubicBezTo>
                      <a:pt x="490800" y="785016"/>
                      <a:pt x="493970" y="789437"/>
                      <a:pt x="494388" y="795611"/>
                    </a:cubicBezTo>
                    <a:cubicBezTo>
                      <a:pt x="494805" y="800949"/>
                      <a:pt x="493470" y="807122"/>
                      <a:pt x="492135" y="812878"/>
                    </a:cubicBezTo>
                    <a:cubicBezTo>
                      <a:pt x="491217" y="815965"/>
                      <a:pt x="490800" y="819052"/>
                      <a:pt x="489882" y="821721"/>
                    </a:cubicBezTo>
                    <a:lnTo>
                      <a:pt x="489465" y="825225"/>
                    </a:lnTo>
                    <a:cubicBezTo>
                      <a:pt x="486378" y="843410"/>
                      <a:pt x="483709" y="863765"/>
                      <a:pt x="492969" y="874860"/>
                    </a:cubicBezTo>
                    <a:cubicBezTo>
                      <a:pt x="495639" y="877946"/>
                      <a:pt x="500978" y="881951"/>
                      <a:pt x="509821" y="881534"/>
                    </a:cubicBezTo>
                    <a:cubicBezTo>
                      <a:pt x="518247" y="881117"/>
                      <a:pt x="524004" y="876695"/>
                      <a:pt x="529343" y="872691"/>
                    </a:cubicBezTo>
                    <a:cubicBezTo>
                      <a:pt x="533765" y="869604"/>
                      <a:pt x="537769" y="866518"/>
                      <a:pt x="542191" y="866518"/>
                    </a:cubicBezTo>
                    <a:cubicBezTo>
                      <a:pt x="549700" y="866518"/>
                      <a:pt x="559878" y="872274"/>
                      <a:pt x="563048" y="878030"/>
                    </a:cubicBezTo>
                    <a:cubicBezTo>
                      <a:pt x="567469" y="886872"/>
                      <a:pt x="561713" y="902389"/>
                      <a:pt x="553704" y="909062"/>
                    </a:cubicBezTo>
                    <a:cubicBezTo>
                      <a:pt x="552369" y="910397"/>
                      <a:pt x="549282" y="911315"/>
                      <a:pt x="547030" y="912149"/>
                    </a:cubicBezTo>
                    <a:cubicBezTo>
                      <a:pt x="540856" y="914818"/>
                      <a:pt x="531095" y="918322"/>
                      <a:pt x="529343" y="929417"/>
                    </a:cubicBezTo>
                    <a:cubicBezTo>
                      <a:pt x="527091" y="942264"/>
                      <a:pt x="537769" y="947602"/>
                      <a:pt x="543526" y="951106"/>
                    </a:cubicBezTo>
                    <a:cubicBezTo>
                      <a:pt x="546195" y="952441"/>
                      <a:pt x="548865" y="954193"/>
                      <a:pt x="550200" y="955527"/>
                    </a:cubicBezTo>
                    <a:cubicBezTo>
                      <a:pt x="553704" y="961284"/>
                      <a:pt x="552452" y="963536"/>
                      <a:pt x="546696" y="971461"/>
                    </a:cubicBezTo>
                    <a:cubicBezTo>
                      <a:pt x="545361" y="972796"/>
                      <a:pt x="544444" y="974548"/>
                      <a:pt x="543192" y="975882"/>
                    </a:cubicBezTo>
                    <a:lnTo>
                      <a:pt x="541440" y="978552"/>
                    </a:lnTo>
                    <a:cubicBezTo>
                      <a:pt x="536101" y="986560"/>
                      <a:pt x="528593" y="996737"/>
                      <a:pt x="531679" y="1008666"/>
                    </a:cubicBezTo>
                    <a:cubicBezTo>
                      <a:pt x="533932" y="1017092"/>
                      <a:pt x="536518" y="1020595"/>
                      <a:pt x="542274" y="1021513"/>
                    </a:cubicBezTo>
                    <a:cubicBezTo>
                      <a:pt x="543192" y="1021930"/>
                      <a:pt x="543192" y="1021930"/>
                      <a:pt x="544026" y="1022848"/>
                    </a:cubicBezTo>
                    <a:cubicBezTo>
                      <a:pt x="547113" y="1025935"/>
                      <a:pt x="549366" y="1029939"/>
                      <a:pt x="552452" y="1034777"/>
                    </a:cubicBezTo>
                    <a:cubicBezTo>
                      <a:pt x="555539" y="1039615"/>
                      <a:pt x="558626" y="1044954"/>
                      <a:pt x="563048" y="1049375"/>
                    </a:cubicBezTo>
                    <a:cubicBezTo>
                      <a:pt x="580317" y="1067061"/>
                      <a:pt x="597586" y="1059136"/>
                      <a:pt x="610851" y="1052462"/>
                    </a:cubicBezTo>
                    <a:cubicBezTo>
                      <a:pt x="619695" y="1048041"/>
                      <a:pt x="627704" y="1044454"/>
                      <a:pt x="635629" y="1046706"/>
                    </a:cubicBezTo>
                    <a:cubicBezTo>
                      <a:pt x="641803" y="1048458"/>
                      <a:pt x="646224" y="1055132"/>
                      <a:pt x="651564" y="1062223"/>
                    </a:cubicBezTo>
                    <a:cubicBezTo>
                      <a:pt x="655568" y="1067561"/>
                      <a:pt x="659573" y="1072817"/>
                      <a:pt x="664829" y="1076821"/>
                    </a:cubicBezTo>
                    <a:cubicBezTo>
                      <a:pt x="678594" y="1087415"/>
                      <a:pt x="694946" y="1091920"/>
                      <a:pt x="709545" y="1089251"/>
                    </a:cubicBezTo>
                    <a:cubicBezTo>
                      <a:pt x="729067" y="1085747"/>
                      <a:pt x="737910" y="1070231"/>
                      <a:pt x="745836" y="1056466"/>
                    </a:cubicBezTo>
                    <a:cubicBezTo>
                      <a:pt x="748923" y="1050710"/>
                      <a:pt x="752510" y="1045371"/>
                      <a:pt x="756014" y="1040533"/>
                    </a:cubicBezTo>
                    <a:cubicBezTo>
                      <a:pt x="761771" y="1033442"/>
                      <a:pt x="767110" y="1030773"/>
                      <a:pt x="773283" y="1030773"/>
                    </a:cubicBezTo>
                    <a:cubicBezTo>
                      <a:pt x="777705" y="1030356"/>
                      <a:pt x="782127" y="1031190"/>
                      <a:pt x="787466" y="1031691"/>
                    </a:cubicBezTo>
                    <a:cubicBezTo>
                      <a:pt x="787883" y="1032108"/>
                      <a:pt x="788384" y="1032108"/>
                      <a:pt x="788384" y="1032108"/>
                    </a:cubicBezTo>
                    <a:cubicBezTo>
                      <a:pt x="797227" y="1033442"/>
                      <a:pt x="807906" y="1035194"/>
                      <a:pt x="819418" y="1031190"/>
                    </a:cubicBezTo>
                    <a:cubicBezTo>
                      <a:pt x="832266" y="1026769"/>
                      <a:pt x="832266" y="1026769"/>
                      <a:pt x="846449" y="1034694"/>
                    </a:cubicBezTo>
                    <a:cubicBezTo>
                      <a:pt x="851788" y="1037780"/>
                      <a:pt x="857545" y="1039532"/>
                      <a:pt x="863301" y="1041367"/>
                    </a:cubicBezTo>
                    <a:cubicBezTo>
                      <a:pt x="870809" y="1043620"/>
                      <a:pt x="877901" y="1045789"/>
                      <a:pt x="882823" y="1050710"/>
                    </a:cubicBezTo>
                    <a:cubicBezTo>
                      <a:pt x="886827" y="1054715"/>
                      <a:pt x="888996" y="1060471"/>
                      <a:pt x="888996" y="1065809"/>
                    </a:cubicBezTo>
                    <a:cubicBezTo>
                      <a:pt x="888579" y="1068896"/>
                      <a:pt x="887662" y="1073818"/>
                      <a:pt x="882823" y="1077321"/>
                    </a:cubicBezTo>
                    <a:cubicBezTo>
                      <a:pt x="880570" y="1079073"/>
                      <a:pt x="877484" y="1079991"/>
                      <a:pt x="873479" y="1080825"/>
                    </a:cubicBezTo>
                    <a:cubicBezTo>
                      <a:pt x="866388" y="1082577"/>
                      <a:pt x="857127" y="1085246"/>
                      <a:pt x="852205" y="1095924"/>
                    </a:cubicBezTo>
                    <a:cubicBezTo>
                      <a:pt x="849118" y="1104350"/>
                      <a:pt x="850870" y="1110523"/>
                      <a:pt x="853123" y="1114527"/>
                    </a:cubicBezTo>
                    <a:cubicBezTo>
                      <a:pt x="856210" y="1119866"/>
                      <a:pt x="861966" y="1123870"/>
                      <a:pt x="868640" y="1126456"/>
                    </a:cubicBezTo>
                    <a:cubicBezTo>
                      <a:pt x="868223" y="1131795"/>
                      <a:pt x="869057" y="1137051"/>
                      <a:pt x="869558" y="1141972"/>
                    </a:cubicBezTo>
                    <a:cubicBezTo>
                      <a:pt x="869975" y="1144642"/>
                      <a:pt x="869975" y="1146811"/>
                      <a:pt x="870476" y="1149063"/>
                    </a:cubicBezTo>
                    <a:cubicBezTo>
                      <a:pt x="870893" y="1152150"/>
                      <a:pt x="870476" y="1156154"/>
                      <a:pt x="870059" y="1159658"/>
                    </a:cubicBezTo>
                    <a:cubicBezTo>
                      <a:pt x="869641" y="1170752"/>
                      <a:pt x="869141" y="1183599"/>
                      <a:pt x="876733" y="1193359"/>
                    </a:cubicBezTo>
                    <a:cubicBezTo>
                      <a:pt x="881571" y="1199115"/>
                      <a:pt x="887828" y="1201368"/>
                      <a:pt x="893084" y="1203120"/>
                    </a:cubicBezTo>
                    <a:cubicBezTo>
                      <a:pt x="895337" y="1204037"/>
                      <a:pt x="897923" y="1204872"/>
                      <a:pt x="900176" y="1206206"/>
                    </a:cubicBezTo>
                    <a:cubicBezTo>
                      <a:pt x="906850" y="1209710"/>
                      <a:pt x="910354" y="1213714"/>
                      <a:pt x="915693" y="1220805"/>
                    </a:cubicBezTo>
                    <a:cubicBezTo>
                      <a:pt x="922367" y="1229230"/>
                      <a:pt x="929458" y="1236321"/>
                      <a:pt x="936049" y="1242911"/>
                    </a:cubicBezTo>
                    <a:cubicBezTo>
                      <a:pt x="942223" y="1250336"/>
                      <a:pt x="946644" y="1254340"/>
                      <a:pt x="950649" y="125917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4492225" name="Полилиния 388"/>
              <p:cNvSpPr/>
              <p:nvPr/>
            </p:nvSpPr>
            <p:spPr bwMode="auto">
              <a:xfrm>
                <a:off x="3043978" y="4719069"/>
                <a:ext cx="562169" cy="748418"/>
              </a:xfrm>
              <a:custGeom>
                <a:avLst/>
                <a:gdLst>
                  <a:gd name="connsiteX0" fmla="*/ 610699 w 631335"/>
                  <a:gd name="connsiteY0" fmla="*/ 297061 h 840499"/>
                  <a:gd name="connsiteX1" fmla="*/ 609364 w 631335"/>
                  <a:gd name="connsiteY1" fmla="*/ 308155 h 840499"/>
                  <a:gd name="connsiteX2" fmla="*/ 612868 w 631335"/>
                  <a:gd name="connsiteY2" fmla="*/ 322754 h 840499"/>
                  <a:gd name="connsiteX3" fmla="*/ 615121 w 631335"/>
                  <a:gd name="connsiteY3" fmla="*/ 328093 h 840499"/>
                  <a:gd name="connsiteX4" fmla="*/ 616456 w 631335"/>
                  <a:gd name="connsiteY4" fmla="*/ 336518 h 840499"/>
                  <a:gd name="connsiteX5" fmla="*/ 605861 w 631335"/>
                  <a:gd name="connsiteY5" fmla="*/ 338771 h 840499"/>
                  <a:gd name="connsiteX6" fmla="*/ 595683 w 631335"/>
                  <a:gd name="connsiteY6" fmla="*/ 340106 h 840499"/>
                  <a:gd name="connsiteX7" fmla="*/ 585087 w 631335"/>
                  <a:gd name="connsiteY7" fmla="*/ 342775 h 840499"/>
                  <a:gd name="connsiteX8" fmla="*/ 559809 w 631335"/>
                  <a:gd name="connsiteY8" fmla="*/ 345444 h 840499"/>
                  <a:gd name="connsiteX9" fmla="*/ 556722 w 631335"/>
                  <a:gd name="connsiteY9" fmla="*/ 345027 h 840499"/>
                  <a:gd name="connsiteX10" fmla="*/ 517261 w 631335"/>
                  <a:gd name="connsiteY10" fmla="*/ 345444 h 840499"/>
                  <a:gd name="connsiteX11" fmla="*/ 495987 w 631335"/>
                  <a:gd name="connsiteY11" fmla="*/ 333515 h 840499"/>
                  <a:gd name="connsiteX12" fmla="*/ 484892 w 631335"/>
                  <a:gd name="connsiteY12" fmla="*/ 312243 h 840499"/>
                  <a:gd name="connsiteX13" fmla="*/ 472962 w 631335"/>
                  <a:gd name="connsiteY13" fmla="*/ 303401 h 840499"/>
                  <a:gd name="connsiteX14" fmla="*/ 465870 w 631335"/>
                  <a:gd name="connsiteY14" fmla="*/ 298979 h 840499"/>
                  <a:gd name="connsiteX15" fmla="*/ 459196 w 631335"/>
                  <a:gd name="connsiteY15" fmla="*/ 291888 h 840499"/>
                  <a:gd name="connsiteX16" fmla="*/ 433083 w 631335"/>
                  <a:gd name="connsiteY16" fmla="*/ 276372 h 840499"/>
                  <a:gd name="connsiteX17" fmla="*/ 379941 w 631335"/>
                  <a:gd name="connsiteY17" fmla="*/ 315830 h 840499"/>
                  <a:gd name="connsiteX18" fmla="*/ 369345 w 631335"/>
                  <a:gd name="connsiteY18" fmla="*/ 344610 h 840499"/>
                  <a:gd name="connsiteX19" fmla="*/ 380441 w 631335"/>
                  <a:gd name="connsiteY19" fmla="*/ 367217 h 840499"/>
                  <a:gd name="connsiteX20" fmla="*/ 386198 w 631335"/>
                  <a:gd name="connsiteY20" fmla="*/ 373390 h 840499"/>
                  <a:gd name="connsiteX21" fmla="*/ 393289 w 631335"/>
                  <a:gd name="connsiteY21" fmla="*/ 401753 h 840499"/>
                  <a:gd name="connsiteX22" fmla="*/ 401298 w 631335"/>
                  <a:gd name="connsiteY22" fmla="*/ 433620 h 840499"/>
                  <a:gd name="connsiteX23" fmla="*/ 428745 w 631335"/>
                  <a:gd name="connsiteY23" fmla="*/ 444715 h 840499"/>
                  <a:gd name="connsiteX24" fmla="*/ 435419 w 631335"/>
                  <a:gd name="connsiteY24" fmla="*/ 444298 h 840499"/>
                  <a:gd name="connsiteX25" fmla="*/ 464619 w 631335"/>
                  <a:gd name="connsiteY25" fmla="*/ 452723 h 840499"/>
                  <a:gd name="connsiteX26" fmla="*/ 467288 w 631335"/>
                  <a:gd name="connsiteY26" fmla="*/ 454058 h 840499"/>
                  <a:gd name="connsiteX27" fmla="*/ 493401 w 631335"/>
                  <a:gd name="connsiteY27" fmla="*/ 462900 h 840499"/>
                  <a:gd name="connsiteX28" fmla="*/ 516844 w 631335"/>
                  <a:gd name="connsiteY28" fmla="*/ 465570 h 840499"/>
                  <a:gd name="connsiteX29" fmla="*/ 527022 w 631335"/>
                  <a:gd name="connsiteY29" fmla="*/ 466905 h 840499"/>
                  <a:gd name="connsiteX30" fmla="*/ 558891 w 631335"/>
                  <a:gd name="connsiteY30" fmla="*/ 458062 h 840499"/>
                  <a:gd name="connsiteX31" fmla="*/ 581500 w 631335"/>
                  <a:gd name="connsiteY31" fmla="*/ 450054 h 840499"/>
                  <a:gd name="connsiteX32" fmla="*/ 596100 w 631335"/>
                  <a:gd name="connsiteY32" fmla="*/ 458896 h 840499"/>
                  <a:gd name="connsiteX33" fmla="*/ 588091 w 631335"/>
                  <a:gd name="connsiteY33" fmla="*/ 480586 h 840499"/>
                  <a:gd name="connsiteX34" fmla="*/ 574325 w 631335"/>
                  <a:gd name="connsiteY34" fmla="*/ 491180 h 840499"/>
                  <a:gd name="connsiteX35" fmla="*/ 549965 w 631335"/>
                  <a:gd name="connsiteY35" fmla="*/ 526133 h 840499"/>
                  <a:gd name="connsiteX36" fmla="*/ 549547 w 631335"/>
                  <a:gd name="connsiteY36" fmla="*/ 529637 h 840499"/>
                  <a:gd name="connsiteX37" fmla="*/ 542873 w 631335"/>
                  <a:gd name="connsiteY37" fmla="*/ 540732 h 840499"/>
                  <a:gd name="connsiteX38" fmla="*/ 533112 w 631335"/>
                  <a:gd name="connsiteY38" fmla="*/ 536310 h 840499"/>
                  <a:gd name="connsiteX39" fmla="*/ 517595 w 631335"/>
                  <a:gd name="connsiteY39" fmla="*/ 528302 h 840499"/>
                  <a:gd name="connsiteX40" fmla="*/ 493234 w 631335"/>
                  <a:gd name="connsiteY40" fmla="*/ 538897 h 840499"/>
                  <a:gd name="connsiteX41" fmla="*/ 483473 w 631335"/>
                  <a:gd name="connsiteY41" fmla="*/ 545987 h 840499"/>
                  <a:gd name="connsiteX42" fmla="*/ 457778 w 631335"/>
                  <a:gd name="connsiteY42" fmla="*/ 549491 h 840499"/>
                  <a:gd name="connsiteX43" fmla="*/ 416982 w 631335"/>
                  <a:gd name="connsiteY43" fmla="*/ 611055 h 840499"/>
                  <a:gd name="connsiteX44" fmla="*/ 410308 w 631335"/>
                  <a:gd name="connsiteY44" fmla="*/ 627406 h 840499"/>
                  <a:gd name="connsiteX45" fmla="*/ 402299 w 631335"/>
                  <a:gd name="connsiteY45" fmla="*/ 649512 h 840499"/>
                  <a:gd name="connsiteX46" fmla="*/ 385030 w 631335"/>
                  <a:gd name="connsiteY46" fmla="*/ 682713 h 840499"/>
                  <a:gd name="connsiteX47" fmla="*/ 379273 w 631335"/>
                  <a:gd name="connsiteY47" fmla="*/ 687135 h 840499"/>
                  <a:gd name="connsiteX48" fmla="*/ 361587 w 631335"/>
                  <a:gd name="connsiteY48" fmla="*/ 706155 h 840499"/>
                  <a:gd name="connsiteX49" fmla="*/ 354078 w 631335"/>
                  <a:gd name="connsiteY49" fmla="*/ 718584 h 840499"/>
                  <a:gd name="connsiteX50" fmla="*/ 343483 w 631335"/>
                  <a:gd name="connsiteY50" fmla="*/ 737187 h 840499"/>
                  <a:gd name="connsiteX51" fmla="*/ 334640 w 631335"/>
                  <a:gd name="connsiteY51" fmla="*/ 781900 h 840499"/>
                  <a:gd name="connsiteX52" fmla="*/ 306275 w 631335"/>
                  <a:gd name="connsiteY52" fmla="*/ 796499 h 840499"/>
                  <a:gd name="connsiteX53" fmla="*/ 294762 w 631335"/>
                  <a:gd name="connsiteY53" fmla="*/ 814184 h 840499"/>
                  <a:gd name="connsiteX54" fmla="*/ 268149 w 631335"/>
                  <a:gd name="connsiteY54" fmla="*/ 839878 h 840499"/>
                  <a:gd name="connsiteX55" fmla="*/ 234444 w 631335"/>
                  <a:gd name="connsiteY55" fmla="*/ 830118 h 840499"/>
                  <a:gd name="connsiteX56" fmla="*/ 223849 w 631335"/>
                  <a:gd name="connsiteY56" fmla="*/ 818188 h 840499"/>
                  <a:gd name="connsiteX57" fmla="*/ 200406 w 631335"/>
                  <a:gd name="connsiteY57" fmla="*/ 797834 h 840499"/>
                  <a:gd name="connsiteX58" fmla="*/ 165450 w 631335"/>
                  <a:gd name="connsiteY58" fmla="*/ 804507 h 840499"/>
                  <a:gd name="connsiteX59" fmla="*/ 133998 w 631335"/>
                  <a:gd name="connsiteY59" fmla="*/ 804090 h 840499"/>
                  <a:gd name="connsiteX60" fmla="*/ 125155 w 631335"/>
                  <a:gd name="connsiteY60" fmla="*/ 791661 h 840499"/>
                  <a:gd name="connsiteX61" fmla="*/ 115394 w 631335"/>
                  <a:gd name="connsiteY61" fmla="*/ 777479 h 840499"/>
                  <a:gd name="connsiteX62" fmla="*/ 107385 w 631335"/>
                  <a:gd name="connsiteY62" fmla="*/ 772641 h 840499"/>
                  <a:gd name="connsiteX63" fmla="*/ 106467 w 631335"/>
                  <a:gd name="connsiteY63" fmla="*/ 769554 h 840499"/>
                  <a:gd name="connsiteX64" fmla="*/ 113976 w 631335"/>
                  <a:gd name="connsiteY64" fmla="*/ 751369 h 840499"/>
                  <a:gd name="connsiteX65" fmla="*/ 116228 w 631335"/>
                  <a:gd name="connsiteY65" fmla="*/ 748699 h 840499"/>
                  <a:gd name="connsiteX66" fmla="*/ 119315 w 631335"/>
                  <a:gd name="connsiteY66" fmla="*/ 744695 h 840499"/>
                  <a:gd name="connsiteX67" fmla="*/ 123320 w 631335"/>
                  <a:gd name="connsiteY67" fmla="*/ 712828 h 840499"/>
                  <a:gd name="connsiteX68" fmla="*/ 111807 w 631335"/>
                  <a:gd name="connsiteY68" fmla="*/ 703485 h 840499"/>
                  <a:gd name="connsiteX69" fmla="*/ 104716 w 631335"/>
                  <a:gd name="connsiteY69" fmla="*/ 696394 h 840499"/>
                  <a:gd name="connsiteX70" fmla="*/ 113559 w 631335"/>
                  <a:gd name="connsiteY70" fmla="*/ 690221 h 840499"/>
                  <a:gd name="connsiteX71" fmla="*/ 124154 w 631335"/>
                  <a:gd name="connsiteY71" fmla="*/ 684882 h 840499"/>
                  <a:gd name="connsiteX72" fmla="*/ 137002 w 631335"/>
                  <a:gd name="connsiteY72" fmla="*/ 636582 h 840499"/>
                  <a:gd name="connsiteX73" fmla="*/ 103798 w 631335"/>
                  <a:gd name="connsiteY73" fmla="*/ 617062 h 840499"/>
                  <a:gd name="connsiteX74" fmla="*/ 82524 w 631335"/>
                  <a:gd name="connsiteY74" fmla="*/ 626405 h 840499"/>
                  <a:gd name="connsiteX75" fmla="*/ 71011 w 631335"/>
                  <a:gd name="connsiteY75" fmla="*/ 632160 h 840499"/>
                  <a:gd name="connsiteX76" fmla="*/ 65672 w 631335"/>
                  <a:gd name="connsiteY76" fmla="*/ 630409 h 840499"/>
                  <a:gd name="connsiteX77" fmla="*/ 65255 w 631335"/>
                  <a:gd name="connsiteY77" fmla="*/ 593203 h 840499"/>
                  <a:gd name="connsiteX78" fmla="*/ 65672 w 631335"/>
                  <a:gd name="connsiteY78" fmla="*/ 589700 h 840499"/>
                  <a:gd name="connsiteX79" fmla="*/ 67424 w 631335"/>
                  <a:gd name="connsiteY79" fmla="*/ 581691 h 840499"/>
                  <a:gd name="connsiteX80" fmla="*/ 70093 w 631335"/>
                  <a:gd name="connsiteY80" fmla="*/ 560419 h 840499"/>
                  <a:gd name="connsiteX81" fmla="*/ 60332 w 631335"/>
                  <a:gd name="connsiteY81" fmla="*/ 536978 h 840499"/>
                  <a:gd name="connsiteX82" fmla="*/ 54993 w 631335"/>
                  <a:gd name="connsiteY82" fmla="*/ 528135 h 840499"/>
                  <a:gd name="connsiteX83" fmla="*/ 52741 w 631335"/>
                  <a:gd name="connsiteY83" fmla="*/ 501107 h 840499"/>
                  <a:gd name="connsiteX84" fmla="*/ 53658 w 631335"/>
                  <a:gd name="connsiteY84" fmla="*/ 480252 h 840499"/>
                  <a:gd name="connsiteX85" fmla="*/ 35054 w 631335"/>
                  <a:gd name="connsiteY85" fmla="*/ 431534 h 840499"/>
                  <a:gd name="connsiteX86" fmla="*/ 21289 w 631335"/>
                  <a:gd name="connsiteY86" fmla="*/ 413349 h 840499"/>
                  <a:gd name="connsiteX87" fmla="*/ 11945 w 631335"/>
                  <a:gd name="connsiteY87" fmla="*/ 402254 h 840499"/>
                  <a:gd name="connsiteX88" fmla="*/ 5771 w 631335"/>
                  <a:gd name="connsiteY88" fmla="*/ 373057 h 840499"/>
                  <a:gd name="connsiteX89" fmla="*/ 5771 w 631335"/>
                  <a:gd name="connsiteY89" fmla="*/ 369553 h 840499"/>
                  <a:gd name="connsiteX90" fmla="*/ 2685 w 631335"/>
                  <a:gd name="connsiteY90" fmla="*/ 344777 h 840499"/>
                  <a:gd name="connsiteX91" fmla="*/ 15 w 631335"/>
                  <a:gd name="connsiteY91" fmla="*/ 323505 h 840499"/>
                  <a:gd name="connsiteX92" fmla="*/ 15949 w 631335"/>
                  <a:gd name="connsiteY92" fmla="*/ 276956 h 840499"/>
                  <a:gd name="connsiteX93" fmla="*/ 41228 w 631335"/>
                  <a:gd name="connsiteY93" fmla="*/ 242420 h 840499"/>
                  <a:gd name="connsiteX94" fmla="*/ 74432 w 631335"/>
                  <a:gd name="connsiteY94" fmla="*/ 192368 h 840499"/>
                  <a:gd name="connsiteX95" fmla="*/ 76684 w 631335"/>
                  <a:gd name="connsiteY95" fmla="*/ 158249 h 840499"/>
                  <a:gd name="connsiteX96" fmla="*/ 74432 w 631335"/>
                  <a:gd name="connsiteY96" fmla="*/ 145402 h 840499"/>
                  <a:gd name="connsiteX97" fmla="*/ 77935 w 631335"/>
                  <a:gd name="connsiteY97" fmla="*/ 131637 h 840499"/>
                  <a:gd name="connsiteX98" fmla="*/ 88113 w 631335"/>
                  <a:gd name="connsiteY98" fmla="*/ 130303 h 840499"/>
                  <a:gd name="connsiteX99" fmla="*/ 90783 w 631335"/>
                  <a:gd name="connsiteY99" fmla="*/ 132055 h 840499"/>
                  <a:gd name="connsiteX100" fmla="*/ 101879 w 631335"/>
                  <a:gd name="connsiteY100" fmla="*/ 137394 h 840499"/>
                  <a:gd name="connsiteX101" fmla="*/ 121818 w 631335"/>
                  <a:gd name="connsiteY101" fmla="*/ 132055 h 840499"/>
                  <a:gd name="connsiteX102" fmla="*/ 129326 w 631335"/>
                  <a:gd name="connsiteY102" fmla="*/ 128968 h 840499"/>
                  <a:gd name="connsiteX103" fmla="*/ 132830 w 631335"/>
                  <a:gd name="connsiteY103" fmla="*/ 128050 h 840499"/>
                  <a:gd name="connsiteX104" fmla="*/ 178882 w 631335"/>
                  <a:gd name="connsiteY104" fmla="*/ 109031 h 840499"/>
                  <a:gd name="connsiteX105" fmla="*/ 196568 w 631335"/>
                  <a:gd name="connsiteY105" fmla="*/ 72242 h 840499"/>
                  <a:gd name="connsiteX106" fmla="*/ 193899 w 631335"/>
                  <a:gd name="connsiteY106" fmla="*/ 59813 h 840499"/>
                  <a:gd name="connsiteX107" fmla="*/ 190395 w 631335"/>
                  <a:gd name="connsiteY107" fmla="*/ 41210 h 840499"/>
                  <a:gd name="connsiteX108" fmla="*/ 193065 w 631335"/>
                  <a:gd name="connsiteY108" fmla="*/ 41210 h 840499"/>
                  <a:gd name="connsiteX109" fmla="*/ 204995 w 631335"/>
                  <a:gd name="connsiteY109" fmla="*/ 39875 h 840499"/>
                  <a:gd name="connsiteX110" fmla="*/ 215590 w 631335"/>
                  <a:gd name="connsiteY110" fmla="*/ 33201 h 840499"/>
                  <a:gd name="connsiteX111" fmla="*/ 219094 w 631335"/>
                  <a:gd name="connsiteY111" fmla="*/ 30115 h 840499"/>
                  <a:gd name="connsiteX112" fmla="*/ 233693 w 631335"/>
                  <a:gd name="connsiteY112" fmla="*/ 28363 h 840499"/>
                  <a:gd name="connsiteX113" fmla="*/ 261641 w 631335"/>
                  <a:gd name="connsiteY113" fmla="*/ 19520 h 840499"/>
                  <a:gd name="connsiteX114" fmla="*/ 268733 w 631335"/>
                  <a:gd name="connsiteY114" fmla="*/ 0 h 840499"/>
                  <a:gd name="connsiteX115" fmla="*/ 279328 w 631335"/>
                  <a:gd name="connsiteY115" fmla="*/ 918 h 840499"/>
                  <a:gd name="connsiteX116" fmla="*/ 289089 w 631335"/>
                  <a:gd name="connsiteY116" fmla="*/ 4004 h 840499"/>
                  <a:gd name="connsiteX117" fmla="*/ 291341 w 631335"/>
                  <a:gd name="connsiteY117" fmla="*/ 8426 h 840499"/>
                  <a:gd name="connsiteX118" fmla="*/ 333889 w 631335"/>
                  <a:gd name="connsiteY118" fmla="*/ 53139 h 840499"/>
                  <a:gd name="connsiteX119" fmla="*/ 376437 w 631335"/>
                  <a:gd name="connsiteY119" fmla="*/ 57977 h 840499"/>
                  <a:gd name="connsiteX120" fmla="*/ 383528 w 631335"/>
                  <a:gd name="connsiteY120" fmla="*/ 58895 h 840499"/>
                  <a:gd name="connsiteX121" fmla="*/ 388367 w 631335"/>
                  <a:gd name="connsiteY121" fmla="*/ 70824 h 840499"/>
                  <a:gd name="connsiteX122" fmla="*/ 398962 w 631335"/>
                  <a:gd name="connsiteY122" fmla="*/ 92096 h 840499"/>
                  <a:gd name="connsiteX123" fmla="*/ 413145 w 631335"/>
                  <a:gd name="connsiteY123" fmla="*/ 96935 h 840499"/>
                  <a:gd name="connsiteX124" fmla="*/ 420236 w 631335"/>
                  <a:gd name="connsiteY124" fmla="*/ 98686 h 840499"/>
                  <a:gd name="connsiteX125" fmla="*/ 425075 w 631335"/>
                  <a:gd name="connsiteY125" fmla="*/ 112451 h 840499"/>
                  <a:gd name="connsiteX126" fmla="*/ 425075 w 631335"/>
                  <a:gd name="connsiteY126" fmla="*/ 115955 h 840499"/>
                  <a:gd name="connsiteX127" fmla="*/ 429079 w 631335"/>
                  <a:gd name="connsiteY127" fmla="*/ 137227 h 840499"/>
                  <a:gd name="connsiteX128" fmla="*/ 449018 w 631335"/>
                  <a:gd name="connsiteY128" fmla="*/ 151825 h 840499"/>
                  <a:gd name="connsiteX129" fmla="*/ 470709 w 631335"/>
                  <a:gd name="connsiteY129" fmla="*/ 153577 h 840499"/>
                  <a:gd name="connsiteX130" fmla="*/ 485309 w 631335"/>
                  <a:gd name="connsiteY130" fmla="*/ 153160 h 840499"/>
                  <a:gd name="connsiteX131" fmla="*/ 487561 w 631335"/>
                  <a:gd name="connsiteY131" fmla="*/ 168259 h 840499"/>
                  <a:gd name="connsiteX132" fmla="*/ 511505 w 631335"/>
                  <a:gd name="connsiteY132" fmla="*/ 185944 h 840499"/>
                  <a:gd name="connsiteX133" fmla="*/ 520848 w 631335"/>
                  <a:gd name="connsiteY133" fmla="*/ 188614 h 840499"/>
                  <a:gd name="connsiteX134" fmla="*/ 533696 w 631335"/>
                  <a:gd name="connsiteY134" fmla="*/ 198374 h 840499"/>
                  <a:gd name="connsiteX135" fmla="*/ 545626 w 631335"/>
                  <a:gd name="connsiteY135" fmla="*/ 208134 h 840499"/>
                  <a:gd name="connsiteX136" fmla="*/ 561144 w 631335"/>
                  <a:gd name="connsiteY136" fmla="*/ 214808 h 840499"/>
                  <a:gd name="connsiteX137" fmla="*/ 576661 w 631335"/>
                  <a:gd name="connsiteY137" fmla="*/ 222816 h 840499"/>
                  <a:gd name="connsiteX138" fmla="*/ 581083 w 631335"/>
                  <a:gd name="connsiteY138" fmla="*/ 228155 h 840499"/>
                  <a:gd name="connsiteX139" fmla="*/ 593930 w 631335"/>
                  <a:gd name="connsiteY139" fmla="*/ 238333 h 840499"/>
                  <a:gd name="connsiteX140" fmla="*/ 597935 w 631335"/>
                  <a:gd name="connsiteY140" fmla="*/ 239667 h 840499"/>
                  <a:gd name="connsiteX141" fmla="*/ 612535 w 631335"/>
                  <a:gd name="connsiteY141" fmla="*/ 239250 h 840499"/>
                  <a:gd name="connsiteX142" fmla="*/ 615204 w 631335"/>
                  <a:gd name="connsiteY142" fmla="*/ 238833 h 840499"/>
                  <a:gd name="connsiteX143" fmla="*/ 615621 w 631335"/>
                  <a:gd name="connsiteY143" fmla="*/ 238416 h 840499"/>
                  <a:gd name="connsiteX144" fmla="*/ 623130 w 631335"/>
                  <a:gd name="connsiteY144" fmla="*/ 238833 h 840499"/>
                  <a:gd name="connsiteX145" fmla="*/ 631139 w 631335"/>
                  <a:gd name="connsiteY145" fmla="*/ 243671 h 840499"/>
                  <a:gd name="connsiteX146" fmla="*/ 622713 w 631335"/>
                  <a:gd name="connsiteY146" fmla="*/ 261356 h 840499"/>
                  <a:gd name="connsiteX147" fmla="*/ 619626 w 631335"/>
                  <a:gd name="connsiteY147" fmla="*/ 265361 h 840499"/>
                  <a:gd name="connsiteX148" fmla="*/ 611617 w 631335"/>
                  <a:gd name="connsiteY148" fmla="*/ 289302 h 840499"/>
                  <a:gd name="connsiteX149" fmla="*/ 611200 w 631335"/>
                  <a:gd name="connsiteY149" fmla="*/ 291972 h 840499"/>
                  <a:gd name="connsiteX150" fmla="*/ 610699 w 631335"/>
                  <a:gd name="connsiteY150" fmla="*/ 297061 h 840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</a:cxnLst>
                <a:rect l="l" t="t" r="r" b="b"/>
                <a:pathLst>
                  <a:path w="631335" h="840499" extrusionOk="0">
                    <a:moveTo>
                      <a:pt x="610699" y="297061"/>
                    </a:moveTo>
                    <a:cubicBezTo>
                      <a:pt x="609782" y="300564"/>
                      <a:pt x="608947" y="304151"/>
                      <a:pt x="609364" y="308155"/>
                    </a:cubicBezTo>
                    <a:cubicBezTo>
                      <a:pt x="609364" y="315663"/>
                      <a:pt x="611617" y="319250"/>
                      <a:pt x="612868" y="322754"/>
                    </a:cubicBezTo>
                    <a:cubicBezTo>
                      <a:pt x="613786" y="324089"/>
                      <a:pt x="614203" y="325841"/>
                      <a:pt x="615121" y="328093"/>
                    </a:cubicBezTo>
                    <a:cubicBezTo>
                      <a:pt x="617373" y="334766"/>
                      <a:pt x="616456" y="336518"/>
                      <a:pt x="616456" y="336518"/>
                    </a:cubicBezTo>
                    <a:cubicBezTo>
                      <a:pt x="615538" y="337436"/>
                      <a:pt x="609364" y="338270"/>
                      <a:pt x="605861" y="338771"/>
                    </a:cubicBezTo>
                    <a:cubicBezTo>
                      <a:pt x="602774" y="339188"/>
                      <a:pt x="599186" y="339688"/>
                      <a:pt x="595683" y="340106"/>
                    </a:cubicBezTo>
                    <a:cubicBezTo>
                      <a:pt x="592178" y="341023"/>
                      <a:pt x="588591" y="341440"/>
                      <a:pt x="585087" y="342775"/>
                    </a:cubicBezTo>
                    <a:cubicBezTo>
                      <a:pt x="576244" y="345027"/>
                      <a:pt x="568736" y="346779"/>
                      <a:pt x="559809" y="345444"/>
                    </a:cubicBezTo>
                    <a:lnTo>
                      <a:pt x="556722" y="345027"/>
                    </a:lnTo>
                    <a:cubicBezTo>
                      <a:pt x="541622" y="342775"/>
                      <a:pt x="534614" y="341941"/>
                      <a:pt x="517261" y="345444"/>
                    </a:cubicBezTo>
                    <a:cubicBezTo>
                      <a:pt x="501327" y="348531"/>
                      <a:pt x="499992" y="345027"/>
                      <a:pt x="495987" y="333515"/>
                    </a:cubicBezTo>
                    <a:cubicBezTo>
                      <a:pt x="493735" y="327342"/>
                      <a:pt x="491149" y="319334"/>
                      <a:pt x="484892" y="312243"/>
                    </a:cubicBezTo>
                    <a:cubicBezTo>
                      <a:pt x="481388" y="308239"/>
                      <a:pt x="476883" y="305569"/>
                      <a:pt x="472962" y="303401"/>
                    </a:cubicBezTo>
                    <a:cubicBezTo>
                      <a:pt x="470292" y="302066"/>
                      <a:pt x="468123" y="300731"/>
                      <a:pt x="465870" y="298979"/>
                    </a:cubicBezTo>
                    <a:cubicBezTo>
                      <a:pt x="463201" y="296727"/>
                      <a:pt x="461449" y="294141"/>
                      <a:pt x="459196" y="291888"/>
                    </a:cubicBezTo>
                    <a:cubicBezTo>
                      <a:pt x="453440" y="284798"/>
                      <a:pt x="446348" y="276372"/>
                      <a:pt x="433083" y="276372"/>
                    </a:cubicBezTo>
                    <a:cubicBezTo>
                      <a:pt x="406053" y="276372"/>
                      <a:pt x="384362" y="309157"/>
                      <a:pt x="379941" y="315830"/>
                    </a:cubicBezTo>
                    <a:cubicBezTo>
                      <a:pt x="374601" y="324673"/>
                      <a:pt x="369345" y="334433"/>
                      <a:pt x="369345" y="344610"/>
                    </a:cubicBezTo>
                    <a:cubicBezTo>
                      <a:pt x="369345" y="357040"/>
                      <a:pt x="375519" y="362796"/>
                      <a:pt x="380441" y="367217"/>
                    </a:cubicBezTo>
                    <a:cubicBezTo>
                      <a:pt x="382694" y="369469"/>
                      <a:pt x="384446" y="371221"/>
                      <a:pt x="386198" y="373390"/>
                    </a:cubicBezTo>
                    <a:cubicBezTo>
                      <a:pt x="391537" y="381399"/>
                      <a:pt x="392371" y="391075"/>
                      <a:pt x="393289" y="401753"/>
                    </a:cubicBezTo>
                    <a:cubicBezTo>
                      <a:pt x="394207" y="412347"/>
                      <a:pt x="395041" y="423860"/>
                      <a:pt x="401298" y="433620"/>
                    </a:cubicBezTo>
                    <a:cubicBezTo>
                      <a:pt x="409307" y="446467"/>
                      <a:pt x="419902" y="445549"/>
                      <a:pt x="428745" y="444715"/>
                    </a:cubicBezTo>
                    <a:cubicBezTo>
                      <a:pt x="430998" y="444715"/>
                      <a:pt x="433167" y="444298"/>
                      <a:pt x="435419" y="444298"/>
                    </a:cubicBezTo>
                    <a:cubicBezTo>
                      <a:pt x="447350" y="444715"/>
                      <a:pt x="453106" y="446967"/>
                      <a:pt x="464619" y="452723"/>
                    </a:cubicBezTo>
                    <a:lnTo>
                      <a:pt x="467288" y="454058"/>
                    </a:lnTo>
                    <a:cubicBezTo>
                      <a:pt x="475715" y="458479"/>
                      <a:pt x="482806" y="462066"/>
                      <a:pt x="493401" y="462900"/>
                    </a:cubicBezTo>
                    <a:cubicBezTo>
                      <a:pt x="502244" y="463317"/>
                      <a:pt x="509336" y="464235"/>
                      <a:pt x="516844" y="465570"/>
                    </a:cubicBezTo>
                    <a:lnTo>
                      <a:pt x="527022" y="466905"/>
                    </a:lnTo>
                    <a:cubicBezTo>
                      <a:pt x="540287" y="468656"/>
                      <a:pt x="550048" y="462900"/>
                      <a:pt x="558891" y="458062"/>
                    </a:cubicBezTo>
                    <a:cubicBezTo>
                      <a:pt x="566400" y="453641"/>
                      <a:pt x="573074" y="449637"/>
                      <a:pt x="581500" y="450054"/>
                    </a:cubicBezTo>
                    <a:cubicBezTo>
                      <a:pt x="589008" y="450471"/>
                      <a:pt x="594348" y="453557"/>
                      <a:pt x="596100" y="458896"/>
                    </a:cubicBezTo>
                    <a:cubicBezTo>
                      <a:pt x="598352" y="465570"/>
                      <a:pt x="595182" y="474413"/>
                      <a:pt x="588091" y="480586"/>
                    </a:cubicBezTo>
                    <a:cubicBezTo>
                      <a:pt x="583252" y="485007"/>
                      <a:pt x="578747" y="488093"/>
                      <a:pt x="574325" y="491180"/>
                    </a:cubicBezTo>
                    <a:cubicBezTo>
                      <a:pt x="563730" y="498688"/>
                      <a:pt x="554386" y="505361"/>
                      <a:pt x="549965" y="526133"/>
                    </a:cubicBezTo>
                    <a:lnTo>
                      <a:pt x="549547" y="529637"/>
                    </a:lnTo>
                    <a:cubicBezTo>
                      <a:pt x="547795" y="538479"/>
                      <a:pt x="546878" y="539814"/>
                      <a:pt x="542873" y="540732"/>
                    </a:cubicBezTo>
                    <a:cubicBezTo>
                      <a:pt x="539787" y="541649"/>
                      <a:pt x="537534" y="539814"/>
                      <a:pt x="533112" y="536310"/>
                    </a:cubicBezTo>
                    <a:cubicBezTo>
                      <a:pt x="529108" y="533224"/>
                      <a:pt x="524269" y="529220"/>
                      <a:pt x="517595" y="528302"/>
                    </a:cubicBezTo>
                    <a:cubicBezTo>
                      <a:pt x="505665" y="526968"/>
                      <a:pt x="498991" y="533641"/>
                      <a:pt x="493234" y="538897"/>
                    </a:cubicBezTo>
                    <a:cubicBezTo>
                      <a:pt x="490148" y="541983"/>
                      <a:pt x="487061" y="544652"/>
                      <a:pt x="483473" y="545987"/>
                    </a:cubicBezTo>
                    <a:cubicBezTo>
                      <a:pt x="476799" y="548240"/>
                      <a:pt x="467956" y="545070"/>
                      <a:pt x="457778" y="549491"/>
                    </a:cubicBezTo>
                    <a:cubicBezTo>
                      <a:pt x="437839" y="559251"/>
                      <a:pt x="426326" y="588031"/>
                      <a:pt x="416982" y="611055"/>
                    </a:cubicBezTo>
                    <a:cubicBezTo>
                      <a:pt x="414312" y="617228"/>
                      <a:pt x="412143" y="622984"/>
                      <a:pt x="410308" y="627406"/>
                    </a:cubicBezTo>
                    <a:cubicBezTo>
                      <a:pt x="406804" y="634497"/>
                      <a:pt x="404552" y="642004"/>
                      <a:pt x="402299" y="649512"/>
                    </a:cubicBezTo>
                    <a:cubicBezTo>
                      <a:pt x="398295" y="662359"/>
                      <a:pt x="394290" y="675206"/>
                      <a:pt x="385030" y="682713"/>
                    </a:cubicBezTo>
                    <a:cubicBezTo>
                      <a:pt x="382777" y="684048"/>
                      <a:pt x="381025" y="685800"/>
                      <a:pt x="379273" y="687135"/>
                    </a:cubicBezTo>
                    <a:cubicBezTo>
                      <a:pt x="372599" y="691973"/>
                      <a:pt x="367343" y="695977"/>
                      <a:pt x="361587" y="706155"/>
                    </a:cubicBezTo>
                    <a:cubicBezTo>
                      <a:pt x="359334" y="710576"/>
                      <a:pt x="356748" y="714580"/>
                      <a:pt x="354078" y="718584"/>
                    </a:cubicBezTo>
                    <a:cubicBezTo>
                      <a:pt x="350574" y="724757"/>
                      <a:pt x="346570" y="731014"/>
                      <a:pt x="343483" y="737187"/>
                    </a:cubicBezTo>
                    <a:cubicBezTo>
                      <a:pt x="336809" y="751369"/>
                      <a:pt x="335057" y="766384"/>
                      <a:pt x="334640" y="781900"/>
                    </a:cubicBezTo>
                    <a:cubicBezTo>
                      <a:pt x="325296" y="782317"/>
                      <a:pt x="316036" y="785404"/>
                      <a:pt x="306275" y="796499"/>
                    </a:cubicBezTo>
                    <a:cubicBezTo>
                      <a:pt x="301853" y="801838"/>
                      <a:pt x="298266" y="808011"/>
                      <a:pt x="294762" y="814184"/>
                    </a:cubicBezTo>
                    <a:cubicBezTo>
                      <a:pt x="287670" y="827031"/>
                      <a:pt x="280996" y="837625"/>
                      <a:pt x="268149" y="839878"/>
                    </a:cubicBezTo>
                    <a:cubicBezTo>
                      <a:pt x="257553" y="842130"/>
                      <a:pt x="245123" y="838126"/>
                      <a:pt x="234444" y="830118"/>
                    </a:cubicBezTo>
                    <a:cubicBezTo>
                      <a:pt x="230940" y="827448"/>
                      <a:pt x="227353" y="823027"/>
                      <a:pt x="223849" y="818188"/>
                    </a:cubicBezTo>
                    <a:cubicBezTo>
                      <a:pt x="217675" y="809763"/>
                      <a:pt x="211001" y="800920"/>
                      <a:pt x="200406" y="797834"/>
                    </a:cubicBezTo>
                    <a:cubicBezTo>
                      <a:pt x="187558" y="794330"/>
                      <a:pt x="175628" y="799586"/>
                      <a:pt x="165450" y="804507"/>
                    </a:cubicBezTo>
                    <a:cubicBezTo>
                      <a:pt x="151685" y="811181"/>
                      <a:pt x="143759" y="814268"/>
                      <a:pt x="133998" y="804090"/>
                    </a:cubicBezTo>
                    <a:cubicBezTo>
                      <a:pt x="130912" y="800587"/>
                      <a:pt x="127825" y="796082"/>
                      <a:pt x="125155" y="791661"/>
                    </a:cubicBezTo>
                    <a:cubicBezTo>
                      <a:pt x="122485" y="786822"/>
                      <a:pt x="119399" y="781900"/>
                      <a:pt x="115394" y="777479"/>
                    </a:cubicBezTo>
                    <a:cubicBezTo>
                      <a:pt x="112307" y="774392"/>
                      <a:pt x="109221" y="773058"/>
                      <a:pt x="107385" y="772641"/>
                    </a:cubicBezTo>
                    <a:cubicBezTo>
                      <a:pt x="106968" y="772224"/>
                      <a:pt x="106467" y="771306"/>
                      <a:pt x="106467" y="769554"/>
                    </a:cubicBezTo>
                    <a:cubicBezTo>
                      <a:pt x="105133" y="764215"/>
                      <a:pt x="109554" y="757125"/>
                      <a:pt x="113976" y="751369"/>
                    </a:cubicBezTo>
                    <a:lnTo>
                      <a:pt x="116228" y="748699"/>
                    </a:lnTo>
                    <a:cubicBezTo>
                      <a:pt x="117146" y="747364"/>
                      <a:pt x="118481" y="746029"/>
                      <a:pt x="119315" y="744695"/>
                    </a:cubicBezTo>
                    <a:cubicBezTo>
                      <a:pt x="125072" y="737187"/>
                      <a:pt x="133081" y="727010"/>
                      <a:pt x="123320" y="712828"/>
                    </a:cubicBezTo>
                    <a:cubicBezTo>
                      <a:pt x="120650" y="708407"/>
                      <a:pt x="115811" y="705738"/>
                      <a:pt x="111807" y="703485"/>
                    </a:cubicBezTo>
                    <a:cubicBezTo>
                      <a:pt x="105133" y="699982"/>
                      <a:pt x="104716" y="699064"/>
                      <a:pt x="104716" y="696394"/>
                    </a:cubicBezTo>
                    <a:cubicBezTo>
                      <a:pt x="105133" y="694142"/>
                      <a:pt x="107385" y="692891"/>
                      <a:pt x="113559" y="690221"/>
                    </a:cubicBezTo>
                    <a:cubicBezTo>
                      <a:pt x="117063" y="688886"/>
                      <a:pt x="120650" y="687135"/>
                      <a:pt x="124154" y="684882"/>
                    </a:cubicBezTo>
                    <a:cubicBezTo>
                      <a:pt x="136585" y="674705"/>
                      <a:pt x="144510" y="651681"/>
                      <a:pt x="137002" y="636582"/>
                    </a:cubicBezTo>
                    <a:cubicBezTo>
                      <a:pt x="130828" y="624653"/>
                      <a:pt x="114894" y="617062"/>
                      <a:pt x="103798" y="617062"/>
                    </a:cubicBezTo>
                    <a:cubicBezTo>
                      <a:pt x="94454" y="617062"/>
                      <a:pt x="87863" y="622401"/>
                      <a:pt x="82524" y="626405"/>
                    </a:cubicBezTo>
                    <a:cubicBezTo>
                      <a:pt x="78102" y="629491"/>
                      <a:pt x="74515" y="632160"/>
                      <a:pt x="71011" y="632160"/>
                    </a:cubicBezTo>
                    <a:cubicBezTo>
                      <a:pt x="67924" y="632160"/>
                      <a:pt x="66589" y="631243"/>
                      <a:pt x="65672" y="630409"/>
                    </a:cubicBezTo>
                    <a:cubicBezTo>
                      <a:pt x="59498" y="623735"/>
                      <a:pt x="63419" y="602463"/>
                      <a:pt x="65255" y="593203"/>
                    </a:cubicBezTo>
                    <a:lnTo>
                      <a:pt x="65672" y="589700"/>
                    </a:lnTo>
                    <a:cubicBezTo>
                      <a:pt x="66089" y="587030"/>
                      <a:pt x="66589" y="584361"/>
                      <a:pt x="67424" y="581691"/>
                    </a:cubicBezTo>
                    <a:cubicBezTo>
                      <a:pt x="68759" y="574600"/>
                      <a:pt x="70511" y="567510"/>
                      <a:pt x="70093" y="560419"/>
                    </a:cubicBezTo>
                    <a:cubicBezTo>
                      <a:pt x="69676" y="550242"/>
                      <a:pt x="64754" y="543151"/>
                      <a:pt x="60332" y="536978"/>
                    </a:cubicBezTo>
                    <a:cubicBezTo>
                      <a:pt x="58580" y="534308"/>
                      <a:pt x="56828" y="531639"/>
                      <a:pt x="54993" y="528135"/>
                    </a:cubicBezTo>
                    <a:cubicBezTo>
                      <a:pt x="50571" y="519293"/>
                      <a:pt x="51906" y="510867"/>
                      <a:pt x="52741" y="501107"/>
                    </a:cubicBezTo>
                    <a:cubicBezTo>
                      <a:pt x="53658" y="494434"/>
                      <a:pt x="54075" y="487843"/>
                      <a:pt x="53658" y="480252"/>
                    </a:cubicBezTo>
                    <a:cubicBezTo>
                      <a:pt x="52323" y="464319"/>
                      <a:pt x="43063" y="447050"/>
                      <a:pt x="35054" y="431534"/>
                    </a:cubicBezTo>
                    <a:cubicBezTo>
                      <a:pt x="31550" y="424443"/>
                      <a:pt x="26211" y="418687"/>
                      <a:pt x="21289" y="413349"/>
                    </a:cubicBezTo>
                    <a:cubicBezTo>
                      <a:pt x="18202" y="409845"/>
                      <a:pt x="14615" y="406258"/>
                      <a:pt x="11945" y="402254"/>
                    </a:cubicBezTo>
                    <a:cubicBezTo>
                      <a:pt x="5771" y="393411"/>
                      <a:pt x="5771" y="384569"/>
                      <a:pt x="5771" y="373057"/>
                    </a:cubicBezTo>
                    <a:lnTo>
                      <a:pt x="5771" y="369553"/>
                    </a:lnTo>
                    <a:cubicBezTo>
                      <a:pt x="5771" y="361127"/>
                      <a:pt x="4436" y="352702"/>
                      <a:pt x="2685" y="344777"/>
                    </a:cubicBezTo>
                    <a:cubicBezTo>
                      <a:pt x="1350" y="337686"/>
                      <a:pt x="15" y="330595"/>
                      <a:pt x="15" y="323505"/>
                    </a:cubicBezTo>
                    <a:cubicBezTo>
                      <a:pt x="-402" y="307154"/>
                      <a:pt x="8024" y="290720"/>
                      <a:pt x="15949" y="276956"/>
                    </a:cubicBezTo>
                    <a:cubicBezTo>
                      <a:pt x="22623" y="265027"/>
                      <a:pt x="31884" y="253932"/>
                      <a:pt x="41228" y="242420"/>
                    </a:cubicBezTo>
                    <a:cubicBezTo>
                      <a:pt x="53658" y="226904"/>
                      <a:pt x="66923" y="210970"/>
                      <a:pt x="74432" y="192368"/>
                    </a:cubicBezTo>
                    <a:cubicBezTo>
                      <a:pt x="80605" y="178186"/>
                      <a:pt x="77935" y="168009"/>
                      <a:pt x="76684" y="158249"/>
                    </a:cubicBezTo>
                    <a:cubicBezTo>
                      <a:pt x="75766" y="154244"/>
                      <a:pt x="74932" y="149823"/>
                      <a:pt x="74432" y="145402"/>
                    </a:cubicBezTo>
                    <a:cubicBezTo>
                      <a:pt x="74014" y="138728"/>
                      <a:pt x="75349" y="133890"/>
                      <a:pt x="77935" y="131637"/>
                    </a:cubicBezTo>
                    <a:cubicBezTo>
                      <a:pt x="80188" y="129886"/>
                      <a:pt x="83275" y="128968"/>
                      <a:pt x="88113" y="130303"/>
                    </a:cubicBezTo>
                    <a:cubicBezTo>
                      <a:pt x="88531" y="130303"/>
                      <a:pt x="89866" y="131220"/>
                      <a:pt x="90783" y="132055"/>
                    </a:cubicBezTo>
                    <a:cubicBezTo>
                      <a:pt x="93453" y="134307"/>
                      <a:pt x="96957" y="136893"/>
                      <a:pt x="101879" y="137394"/>
                    </a:cubicBezTo>
                    <a:cubicBezTo>
                      <a:pt x="108970" y="137811"/>
                      <a:pt x="116061" y="134724"/>
                      <a:pt x="121818" y="132055"/>
                    </a:cubicBezTo>
                    <a:cubicBezTo>
                      <a:pt x="124488" y="130720"/>
                      <a:pt x="127157" y="129802"/>
                      <a:pt x="129326" y="128968"/>
                    </a:cubicBezTo>
                    <a:lnTo>
                      <a:pt x="132830" y="128050"/>
                    </a:lnTo>
                    <a:cubicBezTo>
                      <a:pt x="149182" y="123212"/>
                      <a:pt x="163364" y="119208"/>
                      <a:pt x="178882" y="109031"/>
                    </a:cubicBezTo>
                    <a:cubicBezTo>
                      <a:pt x="194399" y="98853"/>
                      <a:pt x="200156" y="91345"/>
                      <a:pt x="196568" y="72242"/>
                    </a:cubicBezTo>
                    <a:cubicBezTo>
                      <a:pt x="195651" y="67821"/>
                      <a:pt x="194817" y="63817"/>
                      <a:pt x="193899" y="59813"/>
                    </a:cubicBezTo>
                    <a:cubicBezTo>
                      <a:pt x="192564" y="53139"/>
                      <a:pt x="191229" y="47383"/>
                      <a:pt x="190395" y="41210"/>
                    </a:cubicBezTo>
                    <a:lnTo>
                      <a:pt x="193065" y="41210"/>
                    </a:lnTo>
                    <a:cubicBezTo>
                      <a:pt x="197069" y="41210"/>
                      <a:pt x="201491" y="40793"/>
                      <a:pt x="204995" y="39875"/>
                    </a:cubicBezTo>
                    <a:cubicBezTo>
                      <a:pt x="209833" y="38540"/>
                      <a:pt x="213421" y="35454"/>
                      <a:pt x="215590" y="33201"/>
                    </a:cubicBezTo>
                    <a:cubicBezTo>
                      <a:pt x="216925" y="31867"/>
                      <a:pt x="217842" y="30532"/>
                      <a:pt x="219094" y="30115"/>
                    </a:cubicBezTo>
                    <a:cubicBezTo>
                      <a:pt x="223098" y="27862"/>
                      <a:pt x="228437" y="28363"/>
                      <a:pt x="233693" y="28363"/>
                    </a:cubicBezTo>
                    <a:cubicBezTo>
                      <a:pt x="242120" y="28780"/>
                      <a:pt x="253215" y="28780"/>
                      <a:pt x="261641" y="19520"/>
                    </a:cubicBezTo>
                    <a:cubicBezTo>
                      <a:pt x="266480" y="14181"/>
                      <a:pt x="268733" y="7591"/>
                      <a:pt x="268733" y="0"/>
                    </a:cubicBezTo>
                    <a:cubicBezTo>
                      <a:pt x="272236" y="417"/>
                      <a:pt x="275824" y="417"/>
                      <a:pt x="279328" y="918"/>
                    </a:cubicBezTo>
                    <a:cubicBezTo>
                      <a:pt x="282832" y="1335"/>
                      <a:pt x="287337" y="2253"/>
                      <a:pt x="289089" y="4004"/>
                    </a:cubicBezTo>
                    <a:cubicBezTo>
                      <a:pt x="290006" y="4922"/>
                      <a:pt x="290424" y="6674"/>
                      <a:pt x="291341" y="8426"/>
                    </a:cubicBezTo>
                    <a:cubicBezTo>
                      <a:pt x="298016" y="25693"/>
                      <a:pt x="307693" y="44296"/>
                      <a:pt x="333889" y="53139"/>
                    </a:cubicBezTo>
                    <a:cubicBezTo>
                      <a:pt x="348489" y="57977"/>
                      <a:pt x="364423" y="58478"/>
                      <a:pt x="376437" y="57977"/>
                    </a:cubicBezTo>
                    <a:cubicBezTo>
                      <a:pt x="379106" y="57977"/>
                      <a:pt x="381776" y="57977"/>
                      <a:pt x="383528" y="58895"/>
                    </a:cubicBezTo>
                    <a:cubicBezTo>
                      <a:pt x="386198" y="60230"/>
                      <a:pt x="387032" y="64234"/>
                      <a:pt x="388367" y="70824"/>
                    </a:cubicBezTo>
                    <a:cubicBezTo>
                      <a:pt x="389702" y="77915"/>
                      <a:pt x="391454" y="86757"/>
                      <a:pt x="398962" y="92096"/>
                    </a:cubicBezTo>
                    <a:cubicBezTo>
                      <a:pt x="403384" y="95183"/>
                      <a:pt x="408723" y="96101"/>
                      <a:pt x="413145" y="96935"/>
                    </a:cubicBezTo>
                    <a:cubicBezTo>
                      <a:pt x="415814" y="97352"/>
                      <a:pt x="418484" y="97852"/>
                      <a:pt x="420236" y="98686"/>
                    </a:cubicBezTo>
                    <a:cubicBezTo>
                      <a:pt x="424240" y="101356"/>
                      <a:pt x="425075" y="108447"/>
                      <a:pt x="425075" y="112451"/>
                    </a:cubicBezTo>
                    <a:lnTo>
                      <a:pt x="425075" y="115955"/>
                    </a:lnTo>
                    <a:cubicBezTo>
                      <a:pt x="425075" y="122628"/>
                      <a:pt x="425075" y="130136"/>
                      <a:pt x="429079" y="137227"/>
                    </a:cubicBezTo>
                    <a:cubicBezTo>
                      <a:pt x="432583" y="144317"/>
                      <a:pt x="439674" y="149656"/>
                      <a:pt x="449018" y="151825"/>
                    </a:cubicBezTo>
                    <a:cubicBezTo>
                      <a:pt x="456109" y="154078"/>
                      <a:pt x="463618" y="154078"/>
                      <a:pt x="470709" y="153577"/>
                    </a:cubicBezTo>
                    <a:lnTo>
                      <a:pt x="485309" y="153160"/>
                    </a:lnTo>
                    <a:cubicBezTo>
                      <a:pt x="484892" y="158499"/>
                      <a:pt x="485726" y="163754"/>
                      <a:pt x="487561" y="168259"/>
                    </a:cubicBezTo>
                    <a:cubicBezTo>
                      <a:pt x="492900" y="182024"/>
                      <a:pt x="503496" y="184192"/>
                      <a:pt x="511505" y="185944"/>
                    </a:cubicBezTo>
                    <a:cubicBezTo>
                      <a:pt x="514591" y="186361"/>
                      <a:pt x="517678" y="187279"/>
                      <a:pt x="520848" y="188614"/>
                    </a:cubicBezTo>
                    <a:cubicBezTo>
                      <a:pt x="525687" y="190866"/>
                      <a:pt x="529692" y="194370"/>
                      <a:pt x="533696" y="198374"/>
                    </a:cubicBezTo>
                    <a:cubicBezTo>
                      <a:pt x="537200" y="201461"/>
                      <a:pt x="540788" y="205047"/>
                      <a:pt x="545626" y="208134"/>
                    </a:cubicBezTo>
                    <a:cubicBezTo>
                      <a:pt x="550966" y="211221"/>
                      <a:pt x="555804" y="212972"/>
                      <a:pt x="561144" y="214808"/>
                    </a:cubicBezTo>
                    <a:cubicBezTo>
                      <a:pt x="567317" y="217060"/>
                      <a:pt x="572239" y="218812"/>
                      <a:pt x="576661" y="222816"/>
                    </a:cubicBezTo>
                    <a:cubicBezTo>
                      <a:pt x="578914" y="225068"/>
                      <a:pt x="579748" y="226320"/>
                      <a:pt x="581083" y="228155"/>
                    </a:cubicBezTo>
                    <a:cubicBezTo>
                      <a:pt x="584170" y="231659"/>
                      <a:pt x="587256" y="236164"/>
                      <a:pt x="593930" y="238333"/>
                    </a:cubicBezTo>
                    <a:cubicBezTo>
                      <a:pt x="595265" y="238750"/>
                      <a:pt x="596600" y="239250"/>
                      <a:pt x="597935" y="239667"/>
                    </a:cubicBezTo>
                    <a:cubicBezTo>
                      <a:pt x="603274" y="240585"/>
                      <a:pt x="608113" y="240084"/>
                      <a:pt x="612535" y="239250"/>
                    </a:cubicBezTo>
                    <a:cubicBezTo>
                      <a:pt x="613452" y="239250"/>
                      <a:pt x="614287" y="238833"/>
                      <a:pt x="615204" y="238833"/>
                    </a:cubicBezTo>
                    <a:cubicBezTo>
                      <a:pt x="615204" y="238833"/>
                      <a:pt x="615621" y="238833"/>
                      <a:pt x="615621" y="238416"/>
                    </a:cubicBezTo>
                    <a:cubicBezTo>
                      <a:pt x="618708" y="237999"/>
                      <a:pt x="620961" y="237999"/>
                      <a:pt x="623130" y="238833"/>
                    </a:cubicBezTo>
                    <a:cubicBezTo>
                      <a:pt x="627552" y="240168"/>
                      <a:pt x="630221" y="241919"/>
                      <a:pt x="631139" y="243671"/>
                    </a:cubicBezTo>
                    <a:cubicBezTo>
                      <a:pt x="632474" y="247175"/>
                      <a:pt x="626717" y="255600"/>
                      <a:pt x="622713" y="261356"/>
                    </a:cubicBezTo>
                    <a:lnTo>
                      <a:pt x="619626" y="265361"/>
                    </a:lnTo>
                    <a:cubicBezTo>
                      <a:pt x="612952" y="275121"/>
                      <a:pt x="612535" y="280877"/>
                      <a:pt x="611617" y="289302"/>
                    </a:cubicBezTo>
                    <a:lnTo>
                      <a:pt x="611200" y="291972"/>
                    </a:lnTo>
                    <a:cubicBezTo>
                      <a:pt x="611617" y="293056"/>
                      <a:pt x="611116" y="294808"/>
                      <a:pt x="610699" y="29706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66830448" name="Полилиния 389"/>
              <p:cNvSpPr/>
              <p:nvPr/>
            </p:nvSpPr>
            <p:spPr bwMode="auto">
              <a:xfrm>
                <a:off x="3418945" y="4070387"/>
                <a:ext cx="223423" cy="374601"/>
              </a:xfrm>
              <a:custGeom>
                <a:avLst/>
                <a:gdLst>
                  <a:gd name="connsiteX0" fmla="*/ 3557 w 250913"/>
                  <a:gd name="connsiteY0" fmla="*/ 363776 h 420690"/>
                  <a:gd name="connsiteX1" fmla="*/ 4475 w 250913"/>
                  <a:gd name="connsiteY1" fmla="*/ 354933 h 420690"/>
                  <a:gd name="connsiteX2" fmla="*/ 4892 w 250913"/>
                  <a:gd name="connsiteY2" fmla="*/ 347426 h 420690"/>
                  <a:gd name="connsiteX3" fmla="*/ 11983 w 250913"/>
                  <a:gd name="connsiteY3" fmla="*/ 335913 h 420690"/>
                  <a:gd name="connsiteX4" fmla="*/ 21327 w 250913"/>
                  <a:gd name="connsiteY4" fmla="*/ 309803 h 420690"/>
                  <a:gd name="connsiteX5" fmla="*/ 9397 w 250913"/>
                  <a:gd name="connsiteY5" fmla="*/ 291617 h 420690"/>
                  <a:gd name="connsiteX6" fmla="*/ 53 w 250913"/>
                  <a:gd name="connsiteY6" fmla="*/ 275684 h 420690"/>
                  <a:gd name="connsiteX7" fmla="*/ 43435 w 250913"/>
                  <a:gd name="connsiteY7" fmla="*/ 231388 h 420690"/>
                  <a:gd name="connsiteX8" fmla="*/ 67796 w 250913"/>
                  <a:gd name="connsiteY8" fmla="*/ 215454 h 420690"/>
                  <a:gd name="connsiteX9" fmla="*/ 96996 w 250913"/>
                  <a:gd name="connsiteY9" fmla="*/ 170240 h 420690"/>
                  <a:gd name="connsiteX10" fmla="*/ 68630 w 250913"/>
                  <a:gd name="connsiteY10" fmla="*/ 131700 h 420690"/>
                  <a:gd name="connsiteX11" fmla="*/ 58035 w 250913"/>
                  <a:gd name="connsiteY11" fmla="*/ 125527 h 420690"/>
                  <a:gd name="connsiteX12" fmla="*/ 23079 w 250913"/>
                  <a:gd name="connsiteY12" fmla="*/ 100751 h 420690"/>
                  <a:gd name="connsiteX13" fmla="*/ 19575 w 250913"/>
                  <a:gd name="connsiteY13" fmla="*/ 90991 h 420690"/>
                  <a:gd name="connsiteX14" fmla="*/ 22245 w 250913"/>
                  <a:gd name="connsiteY14" fmla="*/ 85652 h 420690"/>
                  <a:gd name="connsiteX15" fmla="*/ 26667 w 250913"/>
                  <a:gd name="connsiteY15" fmla="*/ 77643 h 420690"/>
                  <a:gd name="connsiteX16" fmla="*/ 28001 w 250913"/>
                  <a:gd name="connsiteY16" fmla="*/ 74974 h 420690"/>
                  <a:gd name="connsiteX17" fmla="*/ 21828 w 250913"/>
                  <a:gd name="connsiteY17" fmla="*/ 38186 h 420690"/>
                  <a:gd name="connsiteX18" fmla="*/ 14737 w 250913"/>
                  <a:gd name="connsiteY18" fmla="*/ 24004 h 420690"/>
                  <a:gd name="connsiteX19" fmla="*/ 17823 w 250913"/>
                  <a:gd name="connsiteY19" fmla="*/ 8071 h 420690"/>
                  <a:gd name="connsiteX20" fmla="*/ 31088 w 250913"/>
                  <a:gd name="connsiteY20" fmla="*/ 62 h 420690"/>
                  <a:gd name="connsiteX21" fmla="*/ 42601 w 250913"/>
                  <a:gd name="connsiteY21" fmla="*/ 3149 h 420690"/>
                  <a:gd name="connsiteX22" fmla="*/ 50610 w 250913"/>
                  <a:gd name="connsiteY22" fmla="*/ 6236 h 420690"/>
                  <a:gd name="connsiteX23" fmla="*/ 67879 w 250913"/>
                  <a:gd name="connsiteY23" fmla="*/ 7153 h 420690"/>
                  <a:gd name="connsiteX24" fmla="*/ 72718 w 250913"/>
                  <a:gd name="connsiteY24" fmla="*/ 6236 h 420690"/>
                  <a:gd name="connsiteX25" fmla="*/ 117435 w 250913"/>
                  <a:gd name="connsiteY25" fmla="*/ 8488 h 420690"/>
                  <a:gd name="connsiteX26" fmla="*/ 135122 w 250913"/>
                  <a:gd name="connsiteY26" fmla="*/ 33764 h 420690"/>
                  <a:gd name="connsiteX27" fmla="*/ 142213 w 250913"/>
                  <a:gd name="connsiteY27" fmla="*/ 56788 h 420690"/>
                  <a:gd name="connsiteX28" fmla="*/ 166991 w 250913"/>
                  <a:gd name="connsiteY28" fmla="*/ 68718 h 420690"/>
                  <a:gd name="connsiteX29" fmla="*/ 179838 w 250913"/>
                  <a:gd name="connsiteY29" fmla="*/ 66465 h 420690"/>
                  <a:gd name="connsiteX30" fmla="*/ 191768 w 250913"/>
                  <a:gd name="connsiteY30" fmla="*/ 67383 h 420690"/>
                  <a:gd name="connsiteX31" fmla="*/ 202864 w 250913"/>
                  <a:gd name="connsiteY31" fmla="*/ 77977 h 420690"/>
                  <a:gd name="connsiteX32" fmla="*/ 206368 w 250913"/>
                  <a:gd name="connsiteY32" fmla="*/ 82816 h 420690"/>
                  <a:gd name="connsiteX33" fmla="*/ 208620 w 250913"/>
                  <a:gd name="connsiteY33" fmla="*/ 85485 h 420690"/>
                  <a:gd name="connsiteX34" fmla="*/ 250668 w 250913"/>
                  <a:gd name="connsiteY34" fmla="*/ 109844 h 420690"/>
                  <a:gd name="connsiteX35" fmla="*/ 249750 w 250913"/>
                  <a:gd name="connsiteY35" fmla="*/ 124442 h 420690"/>
                  <a:gd name="connsiteX36" fmla="*/ 237820 w 250913"/>
                  <a:gd name="connsiteY36" fmla="*/ 143963 h 420690"/>
                  <a:gd name="connsiteX37" fmla="*/ 228476 w 250913"/>
                  <a:gd name="connsiteY37" fmla="*/ 156810 h 420690"/>
                  <a:gd name="connsiteX38" fmla="*/ 211207 w 250913"/>
                  <a:gd name="connsiteY38" fmla="*/ 198436 h 420690"/>
                  <a:gd name="connsiteX39" fmla="*/ 218715 w 250913"/>
                  <a:gd name="connsiteY39" fmla="*/ 227217 h 420690"/>
                  <a:gd name="connsiteX40" fmla="*/ 224889 w 250913"/>
                  <a:gd name="connsiteY40" fmla="*/ 239146 h 420690"/>
                  <a:gd name="connsiteX41" fmla="*/ 207619 w 250913"/>
                  <a:gd name="connsiteY41" fmla="*/ 255997 h 420690"/>
                  <a:gd name="connsiteX42" fmla="*/ 202781 w 250913"/>
                  <a:gd name="connsiteY42" fmla="*/ 258249 h 420690"/>
                  <a:gd name="connsiteX43" fmla="*/ 176168 w 250913"/>
                  <a:gd name="connsiteY43" fmla="*/ 288781 h 420690"/>
                  <a:gd name="connsiteX44" fmla="*/ 177920 w 250913"/>
                  <a:gd name="connsiteY44" fmla="*/ 376456 h 420690"/>
                  <a:gd name="connsiteX45" fmla="*/ 185428 w 250913"/>
                  <a:gd name="connsiteY45" fmla="*/ 384464 h 420690"/>
                  <a:gd name="connsiteX46" fmla="*/ 190267 w 250913"/>
                  <a:gd name="connsiteY46" fmla="*/ 395559 h 420690"/>
                  <a:gd name="connsiteX47" fmla="*/ 177836 w 250913"/>
                  <a:gd name="connsiteY47" fmla="*/ 420335 h 420690"/>
                  <a:gd name="connsiteX48" fmla="*/ 161901 w 250913"/>
                  <a:gd name="connsiteY48" fmla="*/ 416331 h 420690"/>
                  <a:gd name="connsiteX49" fmla="*/ 146384 w 250913"/>
                  <a:gd name="connsiteY49" fmla="*/ 410992 h 420690"/>
                  <a:gd name="connsiteX50" fmla="*/ 97663 w 250913"/>
                  <a:gd name="connsiteY50" fmla="*/ 404318 h 420690"/>
                  <a:gd name="connsiteX51" fmla="*/ 65794 w 250913"/>
                  <a:gd name="connsiteY51" fmla="*/ 409657 h 420690"/>
                  <a:gd name="connsiteX52" fmla="*/ 33007 w 250913"/>
                  <a:gd name="connsiteY52" fmla="*/ 402983 h 420690"/>
                  <a:gd name="connsiteX53" fmla="*/ 24164 w 250913"/>
                  <a:gd name="connsiteY53" fmla="*/ 390137 h 420690"/>
                  <a:gd name="connsiteX54" fmla="*/ 3557 w 250913"/>
                  <a:gd name="connsiteY54" fmla="*/ 363776 h 420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50913" h="420690" extrusionOk="0">
                    <a:moveTo>
                      <a:pt x="3557" y="363776"/>
                    </a:moveTo>
                    <a:cubicBezTo>
                      <a:pt x="4475" y="360689"/>
                      <a:pt x="4475" y="357603"/>
                      <a:pt x="4475" y="354933"/>
                    </a:cubicBezTo>
                    <a:cubicBezTo>
                      <a:pt x="4475" y="352264"/>
                      <a:pt x="4475" y="350095"/>
                      <a:pt x="4892" y="347426"/>
                    </a:cubicBezTo>
                    <a:cubicBezTo>
                      <a:pt x="5810" y="343421"/>
                      <a:pt x="8897" y="339918"/>
                      <a:pt x="11983" y="335913"/>
                    </a:cubicBezTo>
                    <a:cubicBezTo>
                      <a:pt x="17323" y="329740"/>
                      <a:pt x="24414" y="321732"/>
                      <a:pt x="21327" y="309803"/>
                    </a:cubicBezTo>
                    <a:cubicBezTo>
                      <a:pt x="19075" y="301794"/>
                      <a:pt x="14236" y="296539"/>
                      <a:pt x="9397" y="291617"/>
                    </a:cubicBezTo>
                    <a:cubicBezTo>
                      <a:pt x="4559" y="286278"/>
                      <a:pt x="554" y="282274"/>
                      <a:pt x="53" y="275684"/>
                    </a:cubicBezTo>
                    <a:cubicBezTo>
                      <a:pt x="-1281" y="258416"/>
                      <a:pt x="22662" y="244234"/>
                      <a:pt x="43435" y="231388"/>
                    </a:cubicBezTo>
                    <a:cubicBezTo>
                      <a:pt x="53196" y="226049"/>
                      <a:pt x="61622" y="220793"/>
                      <a:pt x="67796" y="215454"/>
                    </a:cubicBezTo>
                    <a:cubicBezTo>
                      <a:pt x="80644" y="204359"/>
                      <a:pt x="96161" y="189344"/>
                      <a:pt x="96996" y="170240"/>
                    </a:cubicBezTo>
                    <a:cubicBezTo>
                      <a:pt x="98330" y="149385"/>
                      <a:pt x="82396" y="139709"/>
                      <a:pt x="68630" y="131700"/>
                    </a:cubicBezTo>
                    <a:cubicBezTo>
                      <a:pt x="65543" y="129448"/>
                      <a:pt x="61539" y="127696"/>
                      <a:pt x="58035" y="125527"/>
                    </a:cubicBezTo>
                    <a:cubicBezTo>
                      <a:pt x="45187" y="118436"/>
                      <a:pt x="31005" y="110928"/>
                      <a:pt x="23079" y="100751"/>
                    </a:cubicBezTo>
                    <a:cubicBezTo>
                      <a:pt x="19575" y="96330"/>
                      <a:pt x="18240" y="94077"/>
                      <a:pt x="19575" y="90991"/>
                    </a:cubicBezTo>
                    <a:cubicBezTo>
                      <a:pt x="19993" y="89656"/>
                      <a:pt x="20910" y="87904"/>
                      <a:pt x="22245" y="85652"/>
                    </a:cubicBezTo>
                    <a:cubicBezTo>
                      <a:pt x="23580" y="82983"/>
                      <a:pt x="25332" y="80814"/>
                      <a:pt x="26667" y="77643"/>
                    </a:cubicBezTo>
                    <a:cubicBezTo>
                      <a:pt x="27084" y="76726"/>
                      <a:pt x="27584" y="75892"/>
                      <a:pt x="28001" y="74974"/>
                    </a:cubicBezTo>
                    <a:cubicBezTo>
                      <a:pt x="35093" y="57706"/>
                      <a:pt x="28001" y="47028"/>
                      <a:pt x="21828" y="38186"/>
                    </a:cubicBezTo>
                    <a:cubicBezTo>
                      <a:pt x="18741" y="33347"/>
                      <a:pt x="15654" y="29343"/>
                      <a:pt x="14737" y="24004"/>
                    </a:cubicBezTo>
                    <a:cubicBezTo>
                      <a:pt x="13402" y="18665"/>
                      <a:pt x="14319" y="12909"/>
                      <a:pt x="17823" y="8071"/>
                    </a:cubicBezTo>
                    <a:cubicBezTo>
                      <a:pt x="20910" y="3650"/>
                      <a:pt x="25832" y="563"/>
                      <a:pt x="31088" y="62"/>
                    </a:cubicBezTo>
                    <a:cubicBezTo>
                      <a:pt x="35093" y="-355"/>
                      <a:pt x="38180" y="1397"/>
                      <a:pt x="42601" y="3149"/>
                    </a:cubicBezTo>
                    <a:cubicBezTo>
                      <a:pt x="45271" y="4484"/>
                      <a:pt x="47440" y="5819"/>
                      <a:pt x="50610" y="6236"/>
                    </a:cubicBezTo>
                    <a:cubicBezTo>
                      <a:pt x="58619" y="8905"/>
                      <a:pt x="63041" y="8488"/>
                      <a:pt x="67879" y="7153"/>
                    </a:cubicBezTo>
                    <a:cubicBezTo>
                      <a:pt x="69214" y="6736"/>
                      <a:pt x="70966" y="6236"/>
                      <a:pt x="72718" y="6236"/>
                    </a:cubicBezTo>
                    <a:cubicBezTo>
                      <a:pt x="83313" y="5819"/>
                      <a:pt x="97997" y="6653"/>
                      <a:pt x="117435" y="8488"/>
                    </a:cubicBezTo>
                    <a:cubicBezTo>
                      <a:pt x="130700" y="9823"/>
                      <a:pt x="132535" y="18248"/>
                      <a:pt x="135122" y="33764"/>
                    </a:cubicBezTo>
                    <a:cubicBezTo>
                      <a:pt x="136039" y="40855"/>
                      <a:pt x="137791" y="49697"/>
                      <a:pt x="142213" y="56788"/>
                    </a:cubicBezTo>
                    <a:cubicBezTo>
                      <a:pt x="146635" y="63462"/>
                      <a:pt x="154143" y="68718"/>
                      <a:pt x="166991" y="68718"/>
                    </a:cubicBezTo>
                    <a:cubicBezTo>
                      <a:pt x="172747" y="68718"/>
                      <a:pt x="176751" y="67383"/>
                      <a:pt x="179838" y="66465"/>
                    </a:cubicBezTo>
                    <a:cubicBezTo>
                      <a:pt x="184260" y="65130"/>
                      <a:pt x="186512" y="64213"/>
                      <a:pt x="191768" y="67383"/>
                    </a:cubicBezTo>
                    <a:cubicBezTo>
                      <a:pt x="195773" y="69635"/>
                      <a:pt x="199277" y="73556"/>
                      <a:pt x="202864" y="77977"/>
                    </a:cubicBezTo>
                    <a:cubicBezTo>
                      <a:pt x="204199" y="79729"/>
                      <a:pt x="205534" y="81064"/>
                      <a:pt x="206368" y="82816"/>
                    </a:cubicBezTo>
                    <a:lnTo>
                      <a:pt x="208620" y="85485"/>
                    </a:lnTo>
                    <a:cubicBezTo>
                      <a:pt x="218799" y="96997"/>
                      <a:pt x="231229" y="111596"/>
                      <a:pt x="250668" y="109844"/>
                    </a:cubicBezTo>
                    <a:cubicBezTo>
                      <a:pt x="251085" y="115183"/>
                      <a:pt x="251085" y="120438"/>
                      <a:pt x="249750" y="124442"/>
                    </a:cubicBezTo>
                    <a:cubicBezTo>
                      <a:pt x="247998" y="131116"/>
                      <a:pt x="242659" y="137289"/>
                      <a:pt x="237820" y="143963"/>
                    </a:cubicBezTo>
                    <a:cubicBezTo>
                      <a:pt x="234733" y="148384"/>
                      <a:pt x="231146" y="152805"/>
                      <a:pt x="228476" y="156810"/>
                    </a:cubicBezTo>
                    <a:cubicBezTo>
                      <a:pt x="222303" y="166987"/>
                      <a:pt x="213876" y="182503"/>
                      <a:pt x="211207" y="198436"/>
                    </a:cubicBezTo>
                    <a:cubicBezTo>
                      <a:pt x="208954" y="212618"/>
                      <a:pt x="214294" y="220126"/>
                      <a:pt x="218715" y="227217"/>
                    </a:cubicBezTo>
                    <a:cubicBezTo>
                      <a:pt x="221385" y="231221"/>
                      <a:pt x="223554" y="234307"/>
                      <a:pt x="224889" y="239146"/>
                    </a:cubicBezTo>
                    <a:cubicBezTo>
                      <a:pt x="227141" y="247988"/>
                      <a:pt x="222219" y="251075"/>
                      <a:pt x="207619" y="255997"/>
                    </a:cubicBezTo>
                    <a:cubicBezTo>
                      <a:pt x="205868" y="256914"/>
                      <a:pt x="204533" y="257331"/>
                      <a:pt x="202781" y="258249"/>
                    </a:cubicBezTo>
                    <a:cubicBezTo>
                      <a:pt x="186846" y="264422"/>
                      <a:pt x="181090" y="273348"/>
                      <a:pt x="176168" y="288781"/>
                    </a:cubicBezTo>
                    <a:cubicBezTo>
                      <a:pt x="167324" y="316727"/>
                      <a:pt x="159315" y="352097"/>
                      <a:pt x="177920" y="376456"/>
                    </a:cubicBezTo>
                    <a:cubicBezTo>
                      <a:pt x="180589" y="379960"/>
                      <a:pt x="183259" y="382629"/>
                      <a:pt x="185428" y="384464"/>
                    </a:cubicBezTo>
                    <a:cubicBezTo>
                      <a:pt x="189432" y="387968"/>
                      <a:pt x="190267" y="388885"/>
                      <a:pt x="190267" y="395559"/>
                    </a:cubicBezTo>
                    <a:cubicBezTo>
                      <a:pt x="189849" y="403567"/>
                      <a:pt x="188014" y="417248"/>
                      <a:pt x="177836" y="420335"/>
                    </a:cubicBezTo>
                    <a:cubicBezTo>
                      <a:pt x="173414" y="421670"/>
                      <a:pt x="167658" y="419000"/>
                      <a:pt x="161901" y="416331"/>
                    </a:cubicBezTo>
                    <a:cubicBezTo>
                      <a:pt x="157063" y="413661"/>
                      <a:pt x="151723" y="411492"/>
                      <a:pt x="146384" y="410992"/>
                    </a:cubicBezTo>
                    <a:cubicBezTo>
                      <a:pt x="130450" y="408323"/>
                      <a:pt x="113597" y="406571"/>
                      <a:pt x="97663" y="404318"/>
                    </a:cubicBezTo>
                    <a:cubicBezTo>
                      <a:pt x="85232" y="402983"/>
                      <a:pt x="74637" y="406571"/>
                      <a:pt x="65794" y="409657"/>
                    </a:cubicBezTo>
                    <a:cubicBezTo>
                      <a:pt x="51611" y="414496"/>
                      <a:pt x="44103" y="417665"/>
                      <a:pt x="33007" y="402983"/>
                    </a:cubicBezTo>
                    <a:cubicBezTo>
                      <a:pt x="29920" y="398562"/>
                      <a:pt x="26833" y="394558"/>
                      <a:pt x="24164" y="390137"/>
                    </a:cubicBezTo>
                    <a:cubicBezTo>
                      <a:pt x="19075" y="381461"/>
                      <a:pt x="12818" y="372201"/>
                      <a:pt x="3557" y="3637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1044561" name="Полилиния 390"/>
              <p:cNvSpPr/>
              <p:nvPr/>
            </p:nvSpPr>
            <p:spPr bwMode="auto">
              <a:xfrm>
                <a:off x="3354214" y="4915455"/>
                <a:ext cx="471326" cy="585945"/>
              </a:xfrm>
              <a:custGeom>
                <a:avLst/>
                <a:gdLst>
                  <a:gd name="connsiteX0" fmla="*/ 512157 w 529316"/>
                  <a:gd name="connsiteY0" fmla="*/ 423792 h 658036"/>
                  <a:gd name="connsiteX1" fmla="*/ 495806 w 529316"/>
                  <a:gd name="connsiteY1" fmla="*/ 446816 h 658036"/>
                  <a:gd name="connsiteX2" fmla="*/ 494471 w 529316"/>
                  <a:gd name="connsiteY2" fmla="*/ 451654 h 658036"/>
                  <a:gd name="connsiteX3" fmla="*/ 448419 w 529316"/>
                  <a:gd name="connsiteY3" fmla="*/ 451654 h 658036"/>
                  <a:gd name="connsiteX4" fmla="*/ 405037 w 529316"/>
                  <a:gd name="connsiteY4" fmla="*/ 439225 h 658036"/>
                  <a:gd name="connsiteX5" fmla="*/ 399281 w 529316"/>
                  <a:gd name="connsiteY5" fmla="*/ 436555 h 658036"/>
                  <a:gd name="connsiteX6" fmla="*/ 358485 w 529316"/>
                  <a:gd name="connsiteY6" fmla="*/ 409527 h 658036"/>
                  <a:gd name="connsiteX7" fmla="*/ 355398 w 529316"/>
                  <a:gd name="connsiteY7" fmla="*/ 407275 h 658036"/>
                  <a:gd name="connsiteX8" fmla="*/ 305759 w 529316"/>
                  <a:gd name="connsiteY8" fmla="*/ 405523 h 658036"/>
                  <a:gd name="connsiteX9" fmla="*/ 274307 w 529316"/>
                  <a:gd name="connsiteY9" fmla="*/ 453323 h 658036"/>
                  <a:gd name="connsiteX10" fmla="*/ 286238 w 529316"/>
                  <a:gd name="connsiteY10" fmla="*/ 473261 h 658036"/>
                  <a:gd name="connsiteX11" fmla="*/ 297333 w 529316"/>
                  <a:gd name="connsiteY11" fmla="*/ 478599 h 658036"/>
                  <a:gd name="connsiteX12" fmla="*/ 311516 w 529316"/>
                  <a:gd name="connsiteY12" fmla="*/ 488359 h 658036"/>
                  <a:gd name="connsiteX13" fmla="*/ 297751 w 529316"/>
                  <a:gd name="connsiteY13" fmla="*/ 490612 h 658036"/>
                  <a:gd name="connsiteX14" fmla="*/ 275642 w 529316"/>
                  <a:gd name="connsiteY14" fmla="*/ 496368 h 658036"/>
                  <a:gd name="connsiteX15" fmla="*/ 271638 w 529316"/>
                  <a:gd name="connsiteY15" fmla="*/ 512301 h 658036"/>
                  <a:gd name="connsiteX16" fmla="*/ 302673 w 529316"/>
                  <a:gd name="connsiteY16" fmla="*/ 546003 h 658036"/>
                  <a:gd name="connsiteX17" fmla="*/ 327033 w 529316"/>
                  <a:gd name="connsiteY17" fmla="*/ 570779 h 658036"/>
                  <a:gd name="connsiteX18" fmla="*/ 324781 w 529316"/>
                  <a:gd name="connsiteY18" fmla="*/ 576535 h 658036"/>
                  <a:gd name="connsiteX19" fmla="*/ 294246 w 529316"/>
                  <a:gd name="connsiteY19" fmla="*/ 570779 h 658036"/>
                  <a:gd name="connsiteX20" fmla="*/ 281816 w 529316"/>
                  <a:gd name="connsiteY20" fmla="*/ 563688 h 658036"/>
                  <a:gd name="connsiteX21" fmla="*/ 200725 w 529316"/>
                  <a:gd name="connsiteY21" fmla="*/ 563271 h 658036"/>
                  <a:gd name="connsiteX22" fmla="*/ 186542 w 529316"/>
                  <a:gd name="connsiteY22" fmla="*/ 609820 h 658036"/>
                  <a:gd name="connsiteX23" fmla="*/ 170608 w 529316"/>
                  <a:gd name="connsiteY23" fmla="*/ 648360 h 658036"/>
                  <a:gd name="connsiteX24" fmla="*/ 139573 w 529316"/>
                  <a:gd name="connsiteY24" fmla="*/ 646108 h 658036"/>
                  <a:gd name="connsiteX25" fmla="*/ 87765 w 529316"/>
                  <a:gd name="connsiteY25" fmla="*/ 653615 h 658036"/>
                  <a:gd name="connsiteX26" fmla="*/ 85095 w 529316"/>
                  <a:gd name="connsiteY26" fmla="*/ 658037 h 658036"/>
                  <a:gd name="connsiteX27" fmla="*/ 78421 w 529316"/>
                  <a:gd name="connsiteY27" fmla="*/ 653198 h 658036"/>
                  <a:gd name="connsiteX28" fmla="*/ 78838 w 529316"/>
                  <a:gd name="connsiteY28" fmla="*/ 647025 h 658036"/>
                  <a:gd name="connsiteX29" fmla="*/ 90351 w 529316"/>
                  <a:gd name="connsiteY29" fmla="*/ 640352 h 658036"/>
                  <a:gd name="connsiteX30" fmla="*/ 104951 w 529316"/>
                  <a:gd name="connsiteY30" fmla="*/ 633678 h 658036"/>
                  <a:gd name="connsiteX31" fmla="*/ 116047 w 529316"/>
                  <a:gd name="connsiteY31" fmla="*/ 611989 h 658036"/>
                  <a:gd name="connsiteX32" fmla="*/ 105869 w 529316"/>
                  <a:gd name="connsiteY32" fmla="*/ 585878 h 658036"/>
                  <a:gd name="connsiteX33" fmla="*/ 80590 w 529316"/>
                  <a:gd name="connsiteY33" fmla="*/ 573031 h 658036"/>
                  <a:gd name="connsiteX34" fmla="*/ 66408 w 529316"/>
                  <a:gd name="connsiteY34" fmla="*/ 567692 h 658036"/>
                  <a:gd name="connsiteX35" fmla="*/ 27448 w 529316"/>
                  <a:gd name="connsiteY35" fmla="*/ 562854 h 658036"/>
                  <a:gd name="connsiteX36" fmla="*/ 3504 w 529316"/>
                  <a:gd name="connsiteY36" fmla="*/ 563271 h 658036"/>
                  <a:gd name="connsiteX37" fmla="*/ 0 w 529316"/>
                  <a:gd name="connsiteY37" fmla="*/ 562854 h 658036"/>
                  <a:gd name="connsiteX38" fmla="*/ 8009 w 529316"/>
                  <a:gd name="connsiteY38" fmla="*/ 523396 h 658036"/>
                  <a:gd name="connsiteX39" fmla="*/ 18187 w 529316"/>
                  <a:gd name="connsiteY39" fmla="*/ 506128 h 658036"/>
                  <a:gd name="connsiteX40" fmla="*/ 26196 w 529316"/>
                  <a:gd name="connsiteY40" fmla="*/ 492864 h 658036"/>
                  <a:gd name="connsiteX41" fmla="*/ 39962 w 529316"/>
                  <a:gd name="connsiteY41" fmla="*/ 478266 h 658036"/>
                  <a:gd name="connsiteX42" fmla="*/ 46135 w 529316"/>
                  <a:gd name="connsiteY42" fmla="*/ 473844 h 658036"/>
                  <a:gd name="connsiteX43" fmla="*/ 68243 w 529316"/>
                  <a:gd name="connsiteY43" fmla="*/ 433552 h 658036"/>
                  <a:gd name="connsiteX44" fmla="*/ 75334 w 529316"/>
                  <a:gd name="connsiteY44" fmla="*/ 413615 h 658036"/>
                  <a:gd name="connsiteX45" fmla="*/ 82426 w 529316"/>
                  <a:gd name="connsiteY45" fmla="*/ 396764 h 658036"/>
                  <a:gd name="connsiteX46" fmla="*/ 116130 w 529316"/>
                  <a:gd name="connsiteY46" fmla="*/ 342707 h 658036"/>
                  <a:gd name="connsiteX47" fmla="*/ 140074 w 529316"/>
                  <a:gd name="connsiteY47" fmla="*/ 339621 h 658036"/>
                  <a:gd name="connsiteX48" fmla="*/ 154673 w 529316"/>
                  <a:gd name="connsiteY48" fmla="*/ 329860 h 658036"/>
                  <a:gd name="connsiteX49" fmla="*/ 167938 w 529316"/>
                  <a:gd name="connsiteY49" fmla="*/ 322770 h 658036"/>
                  <a:gd name="connsiteX50" fmla="*/ 175947 w 529316"/>
                  <a:gd name="connsiteY50" fmla="*/ 327608 h 658036"/>
                  <a:gd name="connsiteX51" fmla="*/ 197638 w 529316"/>
                  <a:gd name="connsiteY51" fmla="*/ 335116 h 658036"/>
                  <a:gd name="connsiteX52" fmla="*/ 215325 w 529316"/>
                  <a:gd name="connsiteY52" fmla="*/ 312509 h 658036"/>
                  <a:gd name="connsiteX53" fmla="*/ 216242 w 529316"/>
                  <a:gd name="connsiteY53" fmla="*/ 309422 h 658036"/>
                  <a:gd name="connsiteX54" fmla="*/ 234429 w 529316"/>
                  <a:gd name="connsiteY54" fmla="*/ 283312 h 658036"/>
                  <a:gd name="connsiteX55" fmla="*/ 249530 w 529316"/>
                  <a:gd name="connsiteY55" fmla="*/ 271383 h 658036"/>
                  <a:gd name="connsiteX56" fmla="*/ 261043 w 529316"/>
                  <a:gd name="connsiteY56" fmla="*/ 234594 h 658036"/>
                  <a:gd name="connsiteX57" fmla="*/ 234012 w 529316"/>
                  <a:gd name="connsiteY57" fmla="*/ 215991 h 658036"/>
                  <a:gd name="connsiteX58" fmla="*/ 202978 w 529316"/>
                  <a:gd name="connsiteY58" fmla="*/ 225752 h 658036"/>
                  <a:gd name="connsiteX59" fmla="*/ 180369 w 529316"/>
                  <a:gd name="connsiteY59" fmla="*/ 232842 h 658036"/>
                  <a:gd name="connsiteX60" fmla="*/ 170191 w 529316"/>
                  <a:gd name="connsiteY60" fmla="*/ 231508 h 658036"/>
                  <a:gd name="connsiteX61" fmla="*/ 145830 w 529316"/>
                  <a:gd name="connsiteY61" fmla="*/ 228838 h 658036"/>
                  <a:gd name="connsiteX62" fmla="*/ 124973 w 529316"/>
                  <a:gd name="connsiteY62" fmla="*/ 221748 h 658036"/>
                  <a:gd name="connsiteX63" fmla="*/ 122304 w 529316"/>
                  <a:gd name="connsiteY63" fmla="*/ 220413 h 658036"/>
                  <a:gd name="connsiteX64" fmla="*/ 86847 w 529316"/>
                  <a:gd name="connsiteY64" fmla="*/ 210235 h 658036"/>
                  <a:gd name="connsiteX65" fmla="*/ 78838 w 529316"/>
                  <a:gd name="connsiteY65" fmla="*/ 210653 h 658036"/>
                  <a:gd name="connsiteX66" fmla="*/ 64656 w 529316"/>
                  <a:gd name="connsiteY66" fmla="*/ 206231 h 658036"/>
                  <a:gd name="connsiteX67" fmla="*/ 58899 w 529316"/>
                  <a:gd name="connsiteY67" fmla="*/ 180538 h 658036"/>
                  <a:gd name="connsiteX68" fmla="*/ 49139 w 529316"/>
                  <a:gd name="connsiteY68" fmla="*/ 145585 h 658036"/>
                  <a:gd name="connsiteX69" fmla="*/ 41129 w 529316"/>
                  <a:gd name="connsiteY69" fmla="*/ 137159 h 658036"/>
                  <a:gd name="connsiteX70" fmla="*/ 34455 w 529316"/>
                  <a:gd name="connsiteY70" fmla="*/ 124729 h 658036"/>
                  <a:gd name="connsiteX71" fmla="*/ 42882 w 529316"/>
                  <a:gd name="connsiteY71" fmla="*/ 103457 h 658036"/>
                  <a:gd name="connsiteX72" fmla="*/ 84094 w 529316"/>
                  <a:gd name="connsiteY72" fmla="*/ 70673 h 658036"/>
                  <a:gd name="connsiteX73" fmla="*/ 99612 w 529316"/>
                  <a:gd name="connsiteY73" fmla="*/ 80850 h 658036"/>
                  <a:gd name="connsiteX74" fmla="*/ 108038 w 529316"/>
                  <a:gd name="connsiteY74" fmla="*/ 89693 h 658036"/>
                  <a:gd name="connsiteX75" fmla="*/ 116881 w 529316"/>
                  <a:gd name="connsiteY75" fmla="*/ 95866 h 658036"/>
                  <a:gd name="connsiteX76" fmla="*/ 125307 w 529316"/>
                  <a:gd name="connsiteY76" fmla="*/ 102039 h 658036"/>
                  <a:gd name="connsiteX77" fmla="*/ 133733 w 529316"/>
                  <a:gd name="connsiteY77" fmla="*/ 118389 h 658036"/>
                  <a:gd name="connsiteX78" fmla="*/ 171359 w 529316"/>
                  <a:gd name="connsiteY78" fmla="*/ 139662 h 658036"/>
                  <a:gd name="connsiteX79" fmla="*/ 205897 w 529316"/>
                  <a:gd name="connsiteY79" fmla="*/ 139244 h 658036"/>
                  <a:gd name="connsiteX80" fmla="*/ 208984 w 529316"/>
                  <a:gd name="connsiteY80" fmla="*/ 139662 h 658036"/>
                  <a:gd name="connsiteX81" fmla="*/ 239519 w 529316"/>
                  <a:gd name="connsiteY81" fmla="*/ 136575 h 658036"/>
                  <a:gd name="connsiteX82" fmla="*/ 249697 w 529316"/>
                  <a:gd name="connsiteY82" fmla="*/ 134323 h 658036"/>
                  <a:gd name="connsiteX83" fmla="*/ 258540 w 529316"/>
                  <a:gd name="connsiteY83" fmla="*/ 132988 h 658036"/>
                  <a:gd name="connsiteX84" fmla="*/ 279814 w 529316"/>
                  <a:gd name="connsiteY84" fmla="*/ 124146 h 658036"/>
                  <a:gd name="connsiteX85" fmla="*/ 280231 w 529316"/>
                  <a:gd name="connsiteY85" fmla="*/ 103791 h 658036"/>
                  <a:gd name="connsiteX86" fmla="*/ 277144 w 529316"/>
                  <a:gd name="connsiteY86" fmla="*/ 95783 h 658036"/>
                  <a:gd name="connsiteX87" fmla="*/ 274891 w 529316"/>
                  <a:gd name="connsiteY87" fmla="*/ 87357 h 658036"/>
                  <a:gd name="connsiteX88" fmla="*/ 276226 w 529316"/>
                  <a:gd name="connsiteY88" fmla="*/ 79349 h 658036"/>
                  <a:gd name="connsiteX89" fmla="*/ 277561 w 529316"/>
                  <a:gd name="connsiteY89" fmla="*/ 72258 h 658036"/>
                  <a:gd name="connsiteX90" fmla="*/ 277978 w 529316"/>
                  <a:gd name="connsiteY90" fmla="*/ 69171 h 658036"/>
                  <a:gd name="connsiteX91" fmla="*/ 283735 w 529316"/>
                  <a:gd name="connsiteY91" fmla="*/ 51903 h 658036"/>
                  <a:gd name="connsiteX92" fmla="*/ 286404 w 529316"/>
                  <a:gd name="connsiteY92" fmla="*/ 48400 h 658036"/>
                  <a:gd name="connsiteX93" fmla="*/ 297000 w 529316"/>
                  <a:gd name="connsiteY93" fmla="*/ 17868 h 658036"/>
                  <a:gd name="connsiteX94" fmla="*/ 285487 w 529316"/>
                  <a:gd name="connsiteY94" fmla="*/ 5939 h 658036"/>
                  <a:gd name="connsiteX95" fmla="*/ 305009 w 529316"/>
                  <a:gd name="connsiteY95" fmla="*/ 183 h 658036"/>
                  <a:gd name="connsiteX96" fmla="*/ 342634 w 529316"/>
                  <a:gd name="connsiteY96" fmla="*/ 22790 h 658036"/>
                  <a:gd name="connsiteX97" fmla="*/ 362156 w 529316"/>
                  <a:gd name="connsiteY97" fmla="*/ 42310 h 658036"/>
                  <a:gd name="connsiteX98" fmla="*/ 391355 w 529316"/>
                  <a:gd name="connsiteY98" fmla="*/ 56074 h 658036"/>
                  <a:gd name="connsiteX99" fmla="*/ 415299 w 529316"/>
                  <a:gd name="connsiteY99" fmla="*/ 66669 h 658036"/>
                  <a:gd name="connsiteX100" fmla="*/ 464020 w 529316"/>
                  <a:gd name="connsiteY100" fmla="*/ 76012 h 658036"/>
                  <a:gd name="connsiteX101" fmla="*/ 495472 w 529316"/>
                  <a:gd name="connsiteY101" fmla="*/ 89776 h 658036"/>
                  <a:gd name="connsiteX102" fmla="*/ 496807 w 529316"/>
                  <a:gd name="connsiteY102" fmla="*/ 93280 h 658036"/>
                  <a:gd name="connsiteX103" fmla="*/ 517664 w 529316"/>
                  <a:gd name="connsiteY103" fmla="*/ 118556 h 658036"/>
                  <a:gd name="connsiteX104" fmla="*/ 518081 w 529316"/>
                  <a:gd name="connsiteY104" fmla="*/ 130986 h 658036"/>
                  <a:gd name="connsiteX105" fmla="*/ 523420 w 529316"/>
                  <a:gd name="connsiteY105" fmla="*/ 156680 h 658036"/>
                  <a:gd name="connsiteX106" fmla="*/ 527842 w 529316"/>
                  <a:gd name="connsiteY106" fmla="*/ 176200 h 658036"/>
                  <a:gd name="connsiteX107" fmla="*/ 511490 w 529316"/>
                  <a:gd name="connsiteY107" fmla="*/ 232008 h 658036"/>
                  <a:gd name="connsiteX108" fmla="*/ 500394 w 529316"/>
                  <a:gd name="connsiteY108" fmla="*/ 236012 h 658036"/>
                  <a:gd name="connsiteX109" fmla="*/ 481790 w 529316"/>
                  <a:gd name="connsiteY109" fmla="*/ 244021 h 658036"/>
                  <a:gd name="connsiteX110" fmla="*/ 469860 w 529316"/>
                  <a:gd name="connsiteY110" fmla="*/ 269714 h 658036"/>
                  <a:gd name="connsiteX111" fmla="*/ 467608 w 529316"/>
                  <a:gd name="connsiteY111" fmla="*/ 279892 h 658036"/>
                  <a:gd name="connsiteX112" fmla="*/ 453842 w 529316"/>
                  <a:gd name="connsiteY112" fmla="*/ 298495 h 658036"/>
                  <a:gd name="connsiteX113" fmla="*/ 435655 w 529316"/>
                  <a:gd name="connsiteY113" fmla="*/ 330361 h 658036"/>
                  <a:gd name="connsiteX114" fmla="*/ 455177 w 529316"/>
                  <a:gd name="connsiteY114" fmla="*/ 357389 h 658036"/>
                  <a:gd name="connsiteX115" fmla="*/ 477285 w 529316"/>
                  <a:gd name="connsiteY115" fmla="*/ 371988 h 658036"/>
                  <a:gd name="connsiteX116" fmla="*/ 505233 w 529316"/>
                  <a:gd name="connsiteY116" fmla="*/ 382165 h 658036"/>
                  <a:gd name="connsiteX117" fmla="*/ 529176 w 529316"/>
                  <a:gd name="connsiteY117" fmla="*/ 394595 h 658036"/>
                  <a:gd name="connsiteX118" fmla="*/ 512157 w 529316"/>
                  <a:gd name="connsiteY118" fmla="*/ 423792 h 658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29316" h="658036" extrusionOk="0">
                    <a:moveTo>
                      <a:pt x="512157" y="423792"/>
                    </a:moveTo>
                    <a:cubicBezTo>
                      <a:pt x="505483" y="430883"/>
                      <a:pt x="499310" y="438391"/>
                      <a:pt x="495806" y="446816"/>
                    </a:cubicBezTo>
                    <a:cubicBezTo>
                      <a:pt x="495389" y="448151"/>
                      <a:pt x="494471" y="449903"/>
                      <a:pt x="494471" y="451654"/>
                    </a:cubicBezTo>
                    <a:cubicBezTo>
                      <a:pt x="478953" y="450737"/>
                      <a:pt x="463937" y="450737"/>
                      <a:pt x="448419" y="451654"/>
                    </a:cubicBezTo>
                    <a:cubicBezTo>
                      <a:pt x="432485" y="452071"/>
                      <a:pt x="419637" y="446315"/>
                      <a:pt x="405037" y="439225"/>
                    </a:cubicBezTo>
                    <a:lnTo>
                      <a:pt x="399281" y="436555"/>
                    </a:lnTo>
                    <a:cubicBezTo>
                      <a:pt x="382929" y="429048"/>
                      <a:pt x="372251" y="420622"/>
                      <a:pt x="358485" y="409527"/>
                    </a:cubicBezTo>
                    <a:lnTo>
                      <a:pt x="355398" y="407275"/>
                    </a:lnTo>
                    <a:cubicBezTo>
                      <a:pt x="343468" y="398432"/>
                      <a:pt x="325698" y="388255"/>
                      <a:pt x="305759" y="405523"/>
                    </a:cubicBezTo>
                    <a:cubicBezTo>
                      <a:pt x="289825" y="419704"/>
                      <a:pt x="273890" y="436555"/>
                      <a:pt x="274307" y="453323"/>
                    </a:cubicBezTo>
                    <a:cubicBezTo>
                      <a:pt x="274725" y="458662"/>
                      <a:pt x="276977" y="466587"/>
                      <a:pt x="286238" y="473261"/>
                    </a:cubicBezTo>
                    <a:cubicBezTo>
                      <a:pt x="288907" y="475513"/>
                      <a:pt x="292912" y="476764"/>
                      <a:pt x="297333" y="478599"/>
                    </a:cubicBezTo>
                    <a:cubicBezTo>
                      <a:pt x="301338" y="480351"/>
                      <a:pt x="311516" y="484772"/>
                      <a:pt x="311516" y="488359"/>
                    </a:cubicBezTo>
                    <a:cubicBezTo>
                      <a:pt x="309263" y="490612"/>
                      <a:pt x="303090" y="490612"/>
                      <a:pt x="297751" y="490612"/>
                    </a:cubicBezTo>
                    <a:cubicBezTo>
                      <a:pt x="290242" y="490195"/>
                      <a:pt x="281399" y="490195"/>
                      <a:pt x="275642" y="496368"/>
                    </a:cubicBezTo>
                    <a:cubicBezTo>
                      <a:pt x="272555" y="499872"/>
                      <a:pt x="270804" y="505210"/>
                      <a:pt x="271638" y="512301"/>
                    </a:cubicBezTo>
                    <a:cubicBezTo>
                      <a:pt x="273390" y="529569"/>
                      <a:pt x="288907" y="537995"/>
                      <a:pt x="302673" y="546003"/>
                    </a:cubicBezTo>
                    <a:cubicBezTo>
                      <a:pt x="317773" y="554429"/>
                      <a:pt x="327033" y="560602"/>
                      <a:pt x="327033" y="570779"/>
                    </a:cubicBezTo>
                    <a:cubicBezTo>
                      <a:pt x="327033" y="575200"/>
                      <a:pt x="325698" y="576118"/>
                      <a:pt x="324781" y="576535"/>
                    </a:cubicBezTo>
                    <a:cubicBezTo>
                      <a:pt x="319024" y="579622"/>
                      <a:pt x="303507" y="576118"/>
                      <a:pt x="294246" y="570779"/>
                    </a:cubicBezTo>
                    <a:cubicBezTo>
                      <a:pt x="289825" y="568527"/>
                      <a:pt x="285820" y="565940"/>
                      <a:pt x="281816" y="563688"/>
                    </a:cubicBezTo>
                    <a:cubicBezTo>
                      <a:pt x="257872" y="549090"/>
                      <a:pt x="230008" y="531821"/>
                      <a:pt x="200725" y="563271"/>
                    </a:cubicBezTo>
                    <a:cubicBezTo>
                      <a:pt x="188795" y="576118"/>
                      <a:pt x="187877" y="594303"/>
                      <a:pt x="186542" y="609820"/>
                    </a:cubicBezTo>
                    <a:cubicBezTo>
                      <a:pt x="185625" y="630174"/>
                      <a:pt x="184290" y="643021"/>
                      <a:pt x="170608" y="648360"/>
                    </a:cubicBezTo>
                    <a:cubicBezTo>
                      <a:pt x="162599" y="651446"/>
                      <a:pt x="151086" y="648777"/>
                      <a:pt x="139573" y="646108"/>
                    </a:cubicBezTo>
                    <a:cubicBezTo>
                      <a:pt x="121887" y="642104"/>
                      <a:pt x="101447" y="637265"/>
                      <a:pt x="87765" y="653615"/>
                    </a:cubicBezTo>
                    <a:cubicBezTo>
                      <a:pt x="86847" y="654950"/>
                      <a:pt x="85513" y="656285"/>
                      <a:pt x="85095" y="658037"/>
                    </a:cubicBezTo>
                    <a:cubicBezTo>
                      <a:pt x="82009" y="656702"/>
                      <a:pt x="79756" y="655367"/>
                      <a:pt x="78421" y="653198"/>
                    </a:cubicBezTo>
                    <a:cubicBezTo>
                      <a:pt x="78004" y="652281"/>
                      <a:pt x="77087" y="650946"/>
                      <a:pt x="78838" y="647025"/>
                    </a:cubicBezTo>
                    <a:cubicBezTo>
                      <a:pt x="80173" y="643521"/>
                      <a:pt x="83260" y="642187"/>
                      <a:pt x="90351" y="640352"/>
                    </a:cubicBezTo>
                    <a:cubicBezTo>
                      <a:pt x="94773" y="639017"/>
                      <a:pt x="100529" y="637682"/>
                      <a:pt x="104951" y="633678"/>
                    </a:cubicBezTo>
                    <a:cubicBezTo>
                      <a:pt x="111625" y="628339"/>
                      <a:pt x="115546" y="620831"/>
                      <a:pt x="116047" y="611989"/>
                    </a:cubicBezTo>
                    <a:cubicBezTo>
                      <a:pt x="116464" y="602228"/>
                      <a:pt x="112960" y="592969"/>
                      <a:pt x="105869" y="585878"/>
                    </a:cubicBezTo>
                    <a:cubicBezTo>
                      <a:pt x="98777" y="578787"/>
                      <a:pt x="89517" y="575701"/>
                      <a:pt x="80590" y="573031"/>
                    </a:cubicBezTo>
                    <a:cubicBezTo>
                      <a:pt x="75752" y="571280"/>
                      <a:pt x="70412" y="569945"/>
                      <a:pt x="66408" y="567692"/>
                    </a:cubicBezTo>
                    <a:cubicBezTo>
                      <a:pt x="49139" y="557932"/>
                      <a:pt x="45551" y="557098"/>
                      <a:pt x="27448" y="562854"/>
                    </a:cubicBezTo>
                    <a:cubicBezTo>
                      <a:pt x="19438" y="565523"/>
                      <a:pt x="11930" y="564189"/>
                      <a:pt x="3504" y="563271"/>
                    </a:cubicBezTo>
                    <a:cubicBezTo>
                      <a:pt x="2586" y="562854"/>
                      <a:pt x="1251" y="562854"/>
                      <a:pt x="0" y="562854"/>
                    </a:cubicBezTo>
                    <a:cubicBezTo>
                      <a:pt x="417" y="548673"/>
                      <a:pt x="2252" y="534908"/>
                      <a:pt x="8009" y="523396"/>
                    </a:cubicBezTo>
                    <a:cubicBezTo>
                      <a:pt x="10679" y="517640"/>
                      <a:pt x="14183" y="512301"/>
                      <a:pt x="18187" y="506128"/>
                    </a:cubicBezTo>
                    <a:cubicBezTo>
                      <a:pt x="20857" y="501707"/>
                      <a:pt x="23526" y="497285"/>
                      <a:pt x="26196" y="492864"/>
                    </a:cubicBezTo>
                    <a:cubicBezTo>
                      <a:pt x="30200" y="485774"/>
                      <a:pt x="34205" y="482687"/>
                      <a:pt x="39962" y="478266"/>
                    </a:cubicBezTo>
                    <a:cubicBezTo>
                      <a:pt x="42214" y="476931"/>
                      <a:pt x="43966" y="475596"/>
                      <a:pt x="46135" y="473844"/>
                    </a:cubicBezTo>
                    <a:cubicBezTo>
                      <a:pt x="58983" y="463250"/>
                      <a:pt x="63822" y="448151"/>
                      <a:pt x="68243" y="433552"/>
                    </a:cubicBezTo>
                    <a:cubicBezTo>
                      <a:pt x="70496" y="426879"/>
                      <a:pt x="72248" y="419788"/>
                      <a:pt x="75334" y="413615"/>
                    </a:cubicBezTo>
                    <a:cubicBezTo>
                      <a:pt x="77587" y="408776"/>
                      <a:pt x="79756" y="403020"/>
                      <a:pt x="82426" y="396764"/>
                    </a:cubicBezTo>
                    <a:cubicBezTo>
                      <a:pt x="90435" y="376826"/>
                      <a:pt x="101030" y="350215"/>
                      <a:pt x="116130" y="342707"/>
                    </a:cubicBezTo>
                    <a:cubicBezTo>
                      <a:pt x="122304" y="340038"/>
                      <a:pt x="130730" y="343125"/>
                      <a:pt x="140074" y="339621"/>
                    </a:cubicBezTo>
                    <a:cubicBezTo>
                      <a:pt x="146247" y="337368"/>
                      <a:pt x="150669" y="333448"/>
                      <a:pt x="154673" y="329860"/>
                    </a:cubicBezTo>
                    <a:cubicBezTo>
                      <a:pt x="160013" y="325022"/>
                      <a:pt x="163099" y="322352"/>
                      <a:pt x="167938" y="322770"/>
                    </a:cubicBezTo>
                    <a:cubicBezTo>
                      <a:pt x="170608" y="323187"/>
                      <a:pt x="172777" y="325439"/>
                      <a:pt x="175947" y="327608"/>
                    </a:cubicBezTo>
                    <a:cubicBezTo>
                      <a:pt x="180786" y="331612"/>
                      <a:pt x="187877" y="336951"/>
                      <a:pt x="197638" y="335116"/>
                    </a:cubicBezTo>
                    <a:cubicBezTo>
                      <a:pt x="211821" y="332446"/>
                      <a:pt x="213990" y="320517"/>
                      <a:pt x="215325" y="312509"/>
                    </a:cubicBezTo>
                    <a:lnTo>
                      <a:pt x="216242" y="309422"/>
                    </a:lnTo>
                    <a:cubicBezTo>
                      <a:pt x="219329" y="293906"/>
                      <a:pt x="224669" y="289902"/>
                      <a:pt x="234429" y="283312"/>
                    </a:cubicBezTo>
                    <a:cubicBezTo>
                      <a:pt x="238851" y="280225"/>
                      <a:pt x="244190" y="276638"/>
                      <a:pt x="249530" y="271383"/>
                    </a:cubicBezTo>
                    <a:cubicBezTo>
                      <a:pt x="260626" y="261205"/>
                      <a:pt x="265464" y="246607"/>
                      <a:pt x="261043" y="234594"/>
                    </a:cubicBezTo>
                    <a:cubicBezTo>
                      <a:pt x="257539" y="224000"/>
                      <a:pt x="247277" y="216909"/>
                      <a:pt x="234012" y="215991"/>
                    </a:cubicBezTo>
                    <a:cubicBezTo>
                      <a:pt x="221582" y="215574"/>
                      <a:pt x="211821" y="220830"/>
                      <a:pt x="202978" y="225752"/>
                    </a:cubicBezTo>
                    <a:cubicBezTo>
                      <a:pt x="194968" y="230173"/>
                      <a:pt x="188378" y="234177"/>
                      <a:pt x="180369" y="232842"/>
                    </a:cubicBezTo>
                    <a:lnTo>
                      <a:pt x="170191" y="231508"/>
                    </a:lnTo>
                    <a:cubicBezTo>
                      <a:pt x="162182" y="230590"/>
                      <a:pt x="154673" y="229256"/>
                      <a:pt x="145830" y="228838"/>
                    </a:cubicBezTo>
                    <a:cubicBezTo>
                      <a:pt x="137821" y="228421"/>
                      <a:pt x="132983" y="225752"/>
                      <a:pt x="124973" y="221748"/>
                    </a:cubicBezTo>
                    <a:lnTo>
                      <a:pt x="122304" y="220413"/>
                    </a:lnTo>
                    <a:cubicBezTo>
                      <a:pt x="110791" y="214240"/>
                      <a:pt x="101948" y="210235"/>
                      <a:pt x="86847" y="210235"/>
                    </a:cubicBezTo>
                    <a:cubicBezTo>
                      <a:pt x="84178" y="210235"/>
                      <a:pt x="81508" y="210653"/>
                      <a:pt x="78838" y="210653"/>
                    </a:cubicBezTo>
                    <a:cubicBezTo>
                      <a:pt x="70412" y="211070"/>
                      <a:pt x="67743" y="211070"/>
                      <a:pt x="64656" y="206231"/>
                    </a:cubicBezTo>
                    <a:cubicBezTo>
                      <a:pt x="60234" y="199141"/>
                      <a:pt x="59817" y="190298"/>
                      <a:pt x="58899" y="180538"/>
                    </a:cubicBezTo>
                    <a:cubicBezTo>
                      <a:pt x="57982" y="168609"/>
                      <a:pt x="56647" y="156179"/>
                      <a:pt x="49139" y="145585"/>
                    </a:cubicBezTo>
                    <a:cubicBezTo>
                      <a:pt x="46469" y="142081"/>
                      <a:pt x="43799" y="139411"/>
                      <a:pt x="41129" y="137159"/>
                    </a:cubicBezTo>
                    <a:cubicBezTo>
                      <a:pt x="36708" y="132738"/>
                      <a:pt x="34455" y="130986"/>
                      <a:pt x="34455" y="124729"/>
                    </a:cubicBezTo>
                    <a:cubicBezTo>
                      <a:pt x="34455" y="118056"/>
                      <a:pt x="38460" y="110548"/>
                      <a:pt x="42882" y="103457"/>
                    </a:cubicBezTo>
                    <a:cubicBezTo>
                      <a:pt x="53060" y="87524"/>
                      <a:pt x="70329" y="70673"/>
                      <a:pt x="84094" y="70673"/>
                    </a:cubicBezTo>
                    <a:cubicBezTo>
                      <a:pt x="90268" y="70673"/>
                      <a:pt x="93855" y="74176"/>
                      <a:pt x="99612" y="80850"/>
                    </a:cubicBezTo>
                    <a:cubicBezTo>
                      <a:pt x="102281" y="83937"/>
                      <a:pt x="104951" y="87024"/>
                      <a:pt x="108038" y="89693"/>
                    </a:cubicBezTo>
                    <a:cubicBezTo>
                      <a:pt x="110707" y="92362"/>
                      <a:pt x="114211" y="94114"/>
                      <a:pt x="116881" y="95866"/>
                    </a:cubicBezTo>
                    <a:cubicBezTo>
                      <a:pt x="120385" y="97618"/>
                      <a:pt x="123555" y="99370"/>
                      <a:pt x="125307" y="102039"/>
                    </a:cubicBezTo>
                    <a:cubicBezTo>
                      <a:pt x="129729" y="106877"/>
                      <a:pt x="131481" y="113134"/>
                      <a:pt x="133733" y="118389"/>
                    </a:cubicBezTo>
                    <a:cubicBezTo>
                      <a:pt x="138155" y="130819"/>
                      <a:pt x="143077" y="145835"/>
                      <a:pt x="171359" y="139662"/>
                    </a:cubicBezTo>
                    <a:cubicBezTo>
                      <a:pt x="185959" y="136575"/>
                      <a:pt x="191715" y="137409"/>
                      <a:pt x="205897" y="139244"/>
                    </a:cubicBezTo>
                    <a:lnTo>
                      <a:pt x="208984" y="139662"/>
                    </a:lnTo>
                    <a:cubicBezTo>
                      <a:pt x="220080" y="140996"/>
                      <a:pt x="230258" y="138744"/>
                      <a:pt x="239519" y="136575"/>
                    </a:cubicBezTo>
                    <a:cubicBezTo>
                      <a:pt x="242605" y="135658"/>
                      <a:pt x="246193" y="135240"/>
                      <a:pt x="249697" y="134323"/>
                    </a:cubicBezTo>
                    <a:cubicBezTo>
                      <a:pt x="252783" y="133405"/>
                      <a:pt x="255870" y="133405"/>
                      <a:pt x="258540" y="132988"/>
                    </a:cubicBezTo>
                    <a:cubicBezTo>
                      <a:pt x="267383" y="131654"/>
                      <a:pt x="275392" y="130736"/>
                      <a:pt x="279814" y="124146"/>
                    </a:cubicBezTo>
                    <a:cubicBezTo>
                      <a:pt x="283818" y="117972"/>
                      <a:pt x="282483" y="109964"/>
                      <a:pt x="280231" y="103791"/>
                    </a:cubicBezTo>
                    <a:cubicBezTo>
                      <a:pt x="279313" y="100704"/>
                      <a:pt x="277978" y="98452"/>
                      <a:pt x="277144" y="95783"/>
                    </a:cubicBezTo>
                    <a:cubicBezTo>
                      <a:pt x="275809" y="93113"/>
                      <a:pt x="274891" y="91361"/>
                      <a:pt x="274891" y="87357"/>
                    </a:cubicBezTo>
                    <a:cubicBezTo>
                      <a:pt x="274891" y="85105"/>
                      <a:pt x="275809" y="82018"/>
                      <a:pt x="276226" y="79349"/>
                    </a:cubicBezTo>
                    <a:cubicBezTo>
                      <a:pt x="276643" y="76679"/>
                      <a:pt x="277144" y="74510"/>
                      <a:pt x="277561" y="72258"/>
                    </a:cubicBezTo>
                    <a:lnTo>
                      <a:pt x="277978" y="69171"/>
                    </a:lnTo>
                    <a:cubicBezTo>
                      <a:pt x="278896" y="61663"/>
                      <a:pt x="279313" y="58577"/>
                      <a:pt x="283735" y="51903"/>
                    </a:cubicBezTo>
                    <a:lnTo>
                      <a:pt x="286404" y="48400"/>
                    </a:lnTo>
                    <a:cubicBezTo>
                      <a:pt x="292578" y="39557"/>
                      <a:pt x="300587" y="28462"/>
                      <a:pt x="297000" y="17868"/>
                    </a:cubicBezTo>
                    <a:cubicBezTo>
                      <a:pt x="295665" y="13029"/>
                      <a:pt x="291660" y="9025"/>
                      <a:pt x="285487" y="5939"/>
                    </a:cubicBezTo>
                    <a:cubicBezTo>
                      <a:pt x="291660" y="2852"/>
                      <a:pt x="297917" y="1100"/>
                      <a:pt x="305009" y="183"/>
                    </a:cubicBezTo>
                    <a:cubicBezTo>
                      <a:pt x="321861" y="-1569"/>
                      <a:pt x="331622" y="9526"/>
                      <a:pt x="342634" y="22790"/>
                    </a:cubicBezTo>
                    <a:cubicBezTo>
                      <a:pt x="348391" y="29463"/>
                      <a:pt x="354564" y="36971"/>
                      <a:pt x="362156" y="42310"/>
                    </a:cubicBezTo>
                    <a:cubicBezTo>
                      <a:pt x="370999" y="48984"/>
                      <a:pt x="381678" y="52487"/>
                      <a:pt x="391355" y="56074"/>
                    </a:cubicBezTo>
                    <a:cubicBezTo>
                      <a:pt x="399781" y="59161"/>
                      <a:pt x="408208" y="61830"/>
                      <a:pt x="415299" y="66669"/>
                    </a:cubicBezTo>
                    <a:cubicBezTo>
                      <a:pt x="433486" y="78598"/>
                      <a:pt x="440577" y="81267"/>
                      <a:pt x="464020" y="76012"/>
                    </a:cubicBezTo>
                    <a:cubicBezTo>
                      <a:pt x="481707" y="72008"/>
                      <a:pt x="489299" y="75094"/>
                      <a:pt x="495472" y="89776"/>
                    </a:cubicBezTo>
                    <a:lnTo>
                      <a:pt x="496807" y="93280"/>
                    </a:lnTo>
                    <a:cubicBezTo>
                      <a:pt x="500311" y="102623"/>
                      <a:pt x="505650" y="114969"/>
                      <a:pt x="517664" y="118556"/>
                    </a:cubicBezTo>
                    <a:cubicBezTo>
                      <a:pt x="517664" y="122977"/>
                      <a:pt x="517664" y="126982"/>
                      <a:pt x="518081" y="130986"/>
                    </a:cubicBezTo>
                    <a:cubicBezTo>
                      <a:pt x="518998" y="139829"/>
                      <a:pt x="521167" y="148671"/>
                      <a:pt x="523420" y="156680"/>
                    </a:cubicBezTo>
                    <a:cubicBezTo>
                      <a:pt x="524755" y="163353"/>
                      <a:pt x="526507" y="169526"/>
                      <a:pt x="527842" y="176200"/>
                    </a:cubicBezTo>
                    <a:cubicBezTo>
                      <a:pt x="530094" y="189047"/>
                      <a:pt x="532681" y="220079"/>
                      <a:pt x="511490" y="232008"/>
                    </a:cubicBezTo>
                    <a:cubicBezTo>
                      <a:pt x="508403" y="233760"/>
                      <a:pt x="504399" y="235095"/>
                      <a:pt x="500394" y="236012"/>
                    </a:cubicBezTo>
                    <a:cubicBezTo>
                      <a:pt x="494221" y="237347"/>
                      <a:pt x="487547" y="239099"/>
                      <a:pt x="481790" y="244021"/>
                    </a:cubicBezTo>
                    <a:cubicBezTo>
                      <a:pt x="472947" y="251529"/>
                      <a:pt x="471195" y="261289"/>
                      <a:pt x="469860" y="269714"/>
                    </a:cubicBezTo>
                    <a:cubicBezTo>
                      <a:pt x="469443" y="273218"/>
                      <a:pt x="468525" y="276805"/>
                      <a:pt x="467608" y="279892"/>
                    </a:cubicBezTo>
                    <a:cubicBezTo>
                      <a:pt x="465355" y="286565"/>
                      <a:pt x="459599" y="292321"/>
                      <a:pt x="453842" y="298495"/>
                    </a:cubicBezTo>
                    <a:cubicBezTo>
                      <a:pt x="445416" y="306920"/>
                      <a:pt x="436156" y="316680"/>
                      <a:pt x="435655" y="330361"/>
                    </a:cubicBezTo>
                    <a:cubicBezTo>
                      <a:pt x="434320" y="348046"/>
                      <a:pt x="444999" y="352467"/>
                      <a:pt x="455177" y="357389"/>
                    </a:cubicBezTo>
                    <a:cubicBezTo>
                      <a:pt x="464938" y="361811"/>
                      <a:pt x="468942" y="364480"/>
                      <a:pt x="477285" y="371988"/>
                    </a:cubicBezTo>
                    <a:cubicBezTo>
                      <a:pt x="484376" y="378661"/>
                      <a:pt x="494971" y="380413"/>
                      <a:pt x="505233" y="382165"/>
                    </a:cubicBezTo>
                    <a:cubicBezTo>
                      <a:pt x="520750" y="384835"/>
                      <a:pt x="527842" y="387003"/>
                      <a:pt x="529176" y="394595"/>
                    </a:cubicBezTo>
                    <a:cubicBezTo>
                      <a:pt x="529844" y="403854"/>
                      <a:pt x="521001" y="414032"/>
                      <a:pt x="512157" y="42379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48442045" name="Полилиния 391"/>
              <p:cNvSpPr/>
              <p:nvPr/>
            </p:nvSpPr>
            <p:spPr bwMode="auto">
              <a:xfrm>
                <a:off x="3270954" y="4144686"/>
                <a:ext cx="688098" cy="696704"/>
              </a:xfrm>
              <a:custGeom>
                <a:avLst/>
                <a:gdLst>
                  <a:gd name="connsiteX0" fmla="*/ 565366 w 772759"/>
                  <a:gd name="connsiteY0" fmla="*/ 462860 h 782422"/>
                  <a:gd name="connsiteX1" fmla="*/ 554771 w 772759"/>
                  <a:gd name="connsiteY1" fmla="*/ 486301 h 782422"/>
                  <a:gd name="connsiteX2" fmla="*/ 560110 w 772759"/>
                  <a:gd name="connsiteY2" fmla="*/ 504487 h 782422"/>
                  <a:gd name="connsiteX3" fmla="*/ 564114 w 772759"/>
                  <a:gd name="connsiteY3" fmla="*/ 515081 h 782422"/>
                  <a:gd name="connsiteX4" fmla="*/ 534415 w 772759"/>
                  <a:gd name="connsiteY4" fmla="*/ 548783 h 782422"/>
                  <a:gd name="connsiteX5" fmla="*/ 514475 w 772759"/>
                  <a:gd name="connsiteY5" fmla="*/ 553621 h 782422"/>
                  <a:gd name="connsiteX6" fmla="*/ 466171 w 772759"/>
                  <a:gd name="connsiteY6" fmla="*/ 577980 h 782422"/>
                  <a:gd name="connsiteX7" fmla="*/ 462667 w 772759"/>
                  <a:gd name="connsiteY7" fmla="*/ 606760 h 782422"/>
                  <a:gd name="connsiteX8" fmla="*/ 454658 w 772759"/>
                  <a:gd name="connsiteY8" fmla="*/ 628867 h 782422"/>
                  <a:gd name="connsiteX9" fmla="*/ 431215 w 772759"/>
                  <a:gd name="connsiteY9" fmla="*/ 624028 h 782422"/>
                  <a:gd name="connsiteX10" fmla="*/ 392672 w 772759"/>
                  <a:gd name="connsiteY10" fmla="*/ 619607 h 782422"/>
                  <a:gd name="connsiteX11" fmla="*/ 363473 w 772759"/>
                  <a:gd name="connsiteY11" fmla="*/ 655061 h 782422"/>
                  <a:gd name="connsiteX12" fmla="*/ 349290 w 772759"/>
                  <a:gd name="connsiteY12" fmla="*/ 678085 h 782422"/>
                  <a:gd name="connsiteX13" fmla="*/ 321843 w 772759"/>
                  <a:gd name="connsiteY13" fmla="*/ 696687 h 782422"/>
                  <a:gd name="connsiteX14" fmla="*/ 306743 w 772759"/>
                  <a:gd name="connsiteY14" fmla="*/ 695353 h 782422"/>
                  <a:gd name="connsiteX15" fmla="*/ 296565 w 772759"/>
                  <a:gd name="connsiteY15" fmla="*/ 690932 h 782422"/>
                  <a:gd name="connsiteX16" fmla="*/ 274874 w 772759"/>
                  <a:gd name="connsiteY16" fmla="*/ 692266 h 782422"/>
                  <a:gd name="connsiteX17" fmla="*/ 265113 w 772759"/>
                  <a:gd name="connsiteY17" fmla="*/ 719295 h 782422"/>
                  <a:gd name="connsiteX18" fmla="*/ 264195 w 772759"/>
                  <a:gd name="connsiteY18" fmla="*/ 729889 h 782422"/>
                  <a:gd name="connsiteX19" fmla="*/ 250430 w 772759"/>
                  <a:gd name="connsiteY19" fmla="*/ 753831 h 782422"/>
                  <a:gd name="connsiteX20" fmla="*/ 236664 w 772759"/>
                  <a:gd name="connsiteY20" fmla="*/ 775103 h 782422"/>
                  <a:gd name="connsiteX21" fmla="*/ 233995 w 772759"/>
                  <a:gd name="connsiteY21" fmla="*/ 781776 h 782422"/>
                  <a:gd name="connsiteX22" fmla="*/ 215807 w 772759"/>
                  <a:gd name="connsiteY22" fmla="*/ 782194 h 782422"/>
                  <a:gd name="connsiteX23" fmla="*/ 198121 w 772759"/>
                  <a:gd name="connsiteY23" fmla="*/ 780859 h 782422"/>
                  <a:gd name="connsiteX24" fmla="*/ 187025 w 772759"/>
                  <a:gd name="connsiteY24" fmla="*/ 773351 h 782422"/>
                  <a:gd name="connsiteX25" fmla="*/ 184773 w 772759"/>
                  <a:gd name="connsiteY25" fmla="*/ 758752 h 782422"/>
                  <a:gd name="connsiteX26" fmla="*/ 184356 w 772759"/>
                  <a:gd name="connsiteY26" fmla="*/ 754748 h 782422"/>
                  <a:gd name="connsiteX27" fmla="*/ 172843 w 772759"/>
                  <a:gd name="connsiteY27" fmla="*/ 729472 h 782422"/>
                  <a:gd name="connsiteX28" fmla="*/ 159995 w 772759"/>
                  <a:gd name="connsiteY28" fmla="*/ 725968 h 782422"/>
                  <a:gd name="connsiteX29" fmla="*/ 151986 w 772759"/>
                  <a:gd name="connsiteY29" fmla="*/ 723716 h 782422"/>
                  <a:gd name="connsiteX30" fmla="*/ 147147 w 772759"/>
                  <a:gd name="connsiteY30" fmla="*/ 711286 h 782422"/>
                  <a:gd name="connsiteX31" fmla="*/ 134717 w 772759"/>
                  <a:gd name="connsiteY31" fmla="*/ 689180 h 782422"/>
                  <a:gd name="connsiteX32" fmla="*/ 120951 w 772759"/>
                  <a:gd name="connsiteY32" fmla="*/ 686928 h 782422"/>
                  <a:gd name="connsiteX33" fmla="*/ 83326 w 772759"/>
                  <a:gd name="connsiteY33" fmla="*/ 682506 h 782422"/>
                  <a:gd name="connsiteX34" fmla="*/ 49621 w 772759"/>
                  <a:gd name="connsiteY34" fmla="*/ 646218 h 782422"/>
                  <a:gd name="connsiteX35" fmla="*/ 45200 w 772759"/>
                  <a:gd name="connsiteY35" fmla="*/ 638210 h 782422"/>
                  <a:gd name="connsiteX36" fmla="*/ 26178 w 772759"/>
                  <a:gd name="connsiteY36" fmla="*/ 629784 h 782422"/>
                  <a:gd name="connsiteX37" fmla="*/ 12413 w 772759"/>
                  <a:gd name="connsiteY37" fmla="*/ 628867 h 782422"/>
                  <a:gd name="connsiteX38" fmla="*/ 5739 w 772759"/>
                  <a:gd name="connsiteY38" fmla="*/ 605426 h 782422"/>
                  <a:gd name="connsiteX39" fmla="*/ 399 w 772759"/>
                  <a:gd name="connsiteY39" fmla="*/ 580149 h 782422"/>
                  <a:gd name="connsiteX40" fmla="*/ 6156 w 772759"/>
                  <a:gd name="connsiteY40" fmla="*/ 581484 h 782422"/>
                  <a:gd name="connsiteX41" fmla="*/ 21673 w 772759"/>
                  <a:gd name="connsiteY41" fmla="*/ 584570 h 782422"/>
                  <a:gd name="connsiteX42" fmla="*/ 34521 w 772759"/>
                  <a:gd name="connsiteY42" fmla="*/ 571307 h 782422"/>
                  <a:gd name="connsiteX43" fmla="*/ 37190 w 772759"/>
                  <a:gd name="connsiteY43" fmla="*/ 566468 h 782422"/>
                  <a:gd name="connsiteX44" fmla="*/ 51790 w 772759"/>
                  <a:gd name="connsiteY44" fmla="*/ 555874 h 782422"/>
                  <a:gd name="connsiteX45" fmla="*/ 72146 w 772759"/>
                  <a:gd name="connsiteY45" fmla="*/ 539523 h 782422"/>
                  <a:gd name="connsiteX46" fmla="*/ 88081 w 772759"/>
                  <a:gd name="connsiteY46" fmla="*/ 484132 h 782422"/>
                  <a:gd name="connsiteX47" fmla="*/ 101846 w 772759"/>
                  <a:gd name="connsiteY47" fmla="*/ 451348 h 782422"/>
                  <a:gd name="connsiteX48" fmla="*/ 106685 w 772759"/>
                  <a:gd name="connsiteY48" fmla="*/ 444257 h 782422"/>
                  <a:gd name="connsiteX49" fmla="*/ 119116 w 772759"/>
                  <a:gd name="connsiteY49" fmla="*/ 397708 h 782422"/>
                  <a:gd name="connsiteX50" fmla="*/ 119533 w 772759"/>
                  <a:gd name="connsiteY50" fmla="*/ 388365 h 782422"/>
                  <a:gd name="connsiteX51" fmla="*/ 126624 w 772759"/>
                  <a:gd name="connsiteY51" fmla="*/ 359585 h 782422"/>
                  <a:gd name="connsiteX52" fmla="*/ 132798 w 772759"/>
                  <a:gd name="connsiteY52" fmla="*/ 340983 h 782422"/>
                  <a:gd name="connsiteX53" fmla="*/ 135467 w 772759"/>
                  <a:gd name="connsiteY53" fmla="*/ 327218 h 782422"/>
                  <a:gd name="connsiteX54" fmla="*/ 136385 w 772759"/>
                  <a:gd name="connsiteY54" fmla="*/ 323214 h 782422"/>
                  <a:gd name="connsiteX55" fmla="*/ 139889 w 772759"/>
                  <a:gd name="connsiteY55" fmla="*/ 309033 h 782422"/>
                  <a:gd name="connsiteX56" fmla="*/ 146563 w 772759"/>
                  <a:gd name="connsiteY56" fmla="*/ 298438 h 782422"/>
                  <a:gd name="connsiteX57" fmla="*/ 152320 w 772759"/>
                  <a:gd name="connsiteY57" fmla="*/ 295351 h 782422"/>
                  <a:gd name="connsiteX58" fmla="*/ 160746 w 772759"/>
                  <a:gd name="connsiteY58" fmla="*/ 290013 h 782422"/>
                  <a:gd name="connsiteX59" fmla="*/ 178432 w 772759"/>
                  <a:gd name="connsiteY59" fmla="*/ 312119 h 782422"/>
                  <a:gd name="connsiteX60" fmla="*/ 188193 w 772759"/>
                  <a:gd name="connsiteY60" fmla="*/ 325883 h 782422"/>
                  <a:gd name="connsiteX61" fmla="*/ 236914 w 772759"/>
                  <a:gd name="connsiteY61" fmla="*/ 337396 h 782422"/>
                  <a:gd name="connsiteX62" fmla="*/ 262193 w 772759"/>
                  <a:gd name="connsiteY62" fmla="*/ 332557 h 782422"/>
                  <a:gd name="connsiteX63" fmla="*/ 310497 w 772759"/>
                  <a:gd name="connsiteY63" fmla="*/ 338730 h 782422"/>
                  <a:gd name="connsiteX64" fmla="*/ 322427 w 772759"/>
                  <a:gd name="connsiteY64" fmla="*/ 343152 h 782422"/>
                  <a:gd name="connsiteX65" fmla="*/ 341949 w 772759"/>
                  <a:gd name="connsiteY65" fmla="*/ 348907 h 782422"/>
                  <a:gd name="connsiteX66" fmla="*/ 348122 w 772759"/>
                  <a:gd name="connsiteY66" fmla="*/ 347990 h 782422"/>
                  <a:gd name="connsiteX67" fmla="*/ 370314 w 772759"/>
                  <a:gd name="connsiteY67" fmla="*/ 309867 h 782422"/>
                  <a:gd name="connsiteX68" fmla="*/ 360970 w 772759"/>
                  <a:gd name="connsiteY68" fmla="*/ 287760 h 782422"/>
                  <a:gd name="connsiteX69" fmla="*/ 354796 w 772759"/>
                  <a:gd name="connsiteY69" fmla="*/ 281587 h 782422"/>
                  <a:gd name="connsiteX70" fmla="*/ 355214 w 772759"/>
                  <a:gd name="connsiteY70" fmla="*/ 206759 h 782422"/>
                  <a:gd name="connsiteX71" fmla="*/ 373401 w 772759"/>
                  <a:gd name="connsiteY71" fmla="*/ 185070 h 782422"/>
                  <a:gd name="connsiteX72" fmla="*/ 378239 w 772759"/>
                  <a:gd name="connsiteY72" fmla="*/ 183318 h 782422"/>
                  <a:gd name="connsiteX73" fmla="*/ 404352 w 772759"/>
                  <a:gd name="connsiteY73" fmla="*/ 149616 h 782422"/>
                  <a:gd name="connsiteX74" fmla="*/ 395926 w 772759"/>
                  <a:gd name="connsiteY74" fmla="*/ 132765 h 782422"/>
                  <a:gd name="connsiteX75" fmla="*/ 390587 w 772759"/>
                  <a:gd name="connsiteY75" fmla="*/ 114579 h 782422"/>
                  <a:gd name="connsiteX76" fmla="*/ 405687 w 772759"/>
                  <a:gd name="connsiteY76" fmla="*/ 77791 h 782422"/>
                  <a:gd name="connsiteX77" fmla="*/ 414113 w 772759"/>
                  <a:gd name="connsiteY77" fmla="*/ 66696 h 782422"/>
                  <a:gd name="connsiteX78" fmla="*/ 428713 w 772759"/>
                  <a:gd name="connsiteY78" fmla="*/ 42337 h 782422"/>
                  <a:gd name="connsiteX79" fmla="*/ 429630 w 772759"/>
                  <a:gd name="connsiteY79" fmla="*/ 20231 h 782422"/>
                  <a:gd name="connsiteX80" fmla="*/ 437139 w 772759"/>
                  <a:gd name="connsiteY80" fmla="*/ 16227 h 782422"/>
                  <a:gd name="connsiteX81" fmla="*/ 457996 w 772759"/>
                  <a:gd name="connsiteY81" fmla="*/ 13140 h 782422"/>
                  <a:gd name="connsiteX82" fmla="*/ 464169 w 772759"/>
                  <a:gd name="connsiteY82" fmla="*/ 17561 h 782422"/>
                  <a:gd name="connsiteX83" fmla="*/ 481438 w 772759"/>
                  <a:gd name="connsiteY83" fmla="*/ 25987 h 782422"/>
                  <a:gd name="connsiteX84" fmla="*/ 495621 w 772759"/>
                  <a:gd name="connsiteY84" fmla="*/ 20231 h 782422"/>
                  <a:gd name="connsiteX85" fmla="*/ 500043 w 772759"/>
                  <a:gd name="connsiteY85" fmla="*/ 17561 h 782422"/>
                  <a:gd name="connsiteX86" fmla="*/ 513808 w 772759"/>
                  <a:gd name="connsiteY86" fmla="*/ 20648 h 782422"/>
                  <a:gd name="connsiteX87" fmla="*/ 539086 w 772759"/>
                  <a:gd name="connsiteY87" fmla="*/ 23317 h 782422"/>
                  <a:gd name="connsiteX88" fmla="*/ 550599 w 772759"/>
                  <a:gd name="connsiteY88" fmla="*/ 13140 h 782422"/>
                  <a:gd name="connsiteX89" fmla="*/ 559026 w 772759"/>
                  <a:gd name="connsiteY89" fmla="*/ 5131 h 782422"/>
                  <a:gd name="connsiteX90" fmla="*/ 582468 w 772759"/>
                  <a:gd name="connsiteY90" fmla="*/ 293 h 782422"/>
                  <a:gd name="connsiteX91" fmla="*/ 590894 w 772759"/>
                  <a:gd name="connsiteY91" fmla="*/ 5632 h 782422"/>
                  <a:gd name="connsiteX92" fmla="*/ 597569 w 772759"/>
                  <a:gd name="connsiteY92" fmla="*/ 10971 h 782422"/>
                  <a:gd name="connsiteX93" fmla="*/ 614838 w 772759"/>
                  <a:gd name="connsiteY93" fmla="*/ 17645 h 782422"/>
                  <a:gd name="connsiteX94" fmla="*/ 621512 w 772759"/>
                  <a:gd name="connsiteY94" fmla="*/ 19396 h 782422"/>
                  <a:gd name="connsiteX95" fmla="*/ 660973 w 772759"/>
                  <a:gd name="connsiteY95" fmla="*/ 37082 h 782422"/>
                  <a:gd name="connsiteX96" fmla="*/ 667146 w 772759"/>
                  <a:gd name="connsiteY96" fmla="*/ 40168 h 782422"/>
                  <a:gd name="connsiteX97" fmla="*/ 753994 w 772759"/>
                  <a:gd name="connsiteY97" fmla="*/ 68114 h 782422"/>
                  <a:gd name="connsiteX98" fmla="*/ 771680 w 772759"/>
                  <a:gd name="connsiteY98" fmla="*/ 65028 h 782422"/>
                  <a:gd name="connsiteX99" fmla="*/ 765507 w 772759"/>
                  <a:gd name="connsiteY99" fmla="*/ 94225 h 782422"/>
                  <a:gd name="connsiteX100" fmla="*/ 757999 w 772759"/>
                  <a:gd name="connsiteY100" fmla="*/ 100898 h 782422"/>
                  <a:gd name="connsiteX101" fmla="*/ 742898 w 772759"/>
                  <a:gd name="connsiteY101" fmla="*/ 118583 h 782422"/>
                  <a:gd name="connsiteX102" fmla="*/ 738059 w 772759"/>
                  <a:gd name="connsiteY102" fmla="*/ 144277 h 782422"/>
                  <a:gd name="connsiteX103" fmla="*/ 736308 w 772759"/>
                  <a:gd name="connsiteY103" fmla="*/ 158041 h 782422"/>
                  <a:gd name="connsiteX104" fmla="*/ 658303 w 772759"/>
                  <a:gd name="connsiteY104" fmla="*/ 270075 h 782422"/>
                  <a:gd name="connsiteX105" fmla="*/ 645038 w 772759"/>
                  <a:gd name="connsiteY105" fmla="*/ 283839 h 782422"/>
                  <a:gd name="connsiteX106" fmla="*/ 595900 w 772759"/>
                  <a:gd name="connsiteY106" fmla="*/ 313037 h 782422"/>
                  <a:gd name="connsiteX107" fmla="*/ 552017 w 772759"/>
                  <a:gd name="connsiteY107" fmla="*/ 364841 h 782422"/>
                  <a:gd name="connsiteX108" fmla="*/ 567535 w 772759"/>
                  <a:gd name="connsiteY108" fmla="*/ 405133 h 782422"/>
                  <a:gd name="connsiteX109" fmla="*/ 568453 w 772759"/>
                  <a:gd name="connsiteY109" fmla="*/ 456103 h 782422"/>
                  <a:gd name="connsiteX110" fmla="*/ 565366 w 772759"/>
                  <a:gd name="connsiteY110" fmla="*/ 462860 h 782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772759" h="782422" extrusionOk="0">
                    <a:moveTo>
                      <a:pt x="565366" y="462860"/>
                    </a:moveTo>
                    <a:cubicBezTo>
                      <a:pt x="560527" y="469033"/>
                      <a:pt x="554771" y="475707"/>
                      <a:pt x="554771" y="486301"/>
                    </a:cubicBezTo>
                    <a:cubicBezTo>
                      <a:pt x="554771" y="493392"/>
                      <a:pt x="557440" y="499148"/>
                      <a:pt x="560110" y="504487"/>
                    </a:cubicBezTo>
                    <a:cubicBezTo>
                      <a:pt x="561862" y="507991"/>
                      <a:pt x="563197" y="511577"/>
                      <a:pt x="564114" y="515081"/>
                    </a:cubicBezTo>
                    <a:cubicBezTo>
                      <a:pt x="565032" y="520420"/>
                      <a:pt x="567201" y="536354"/>
                      <a:pt x="534415" y="548783"/>
                    </a:cubicBezTo>
                    <a:cubicBezTo>
                      <a:pt x="528658" y="551035"/>
                      <a:pt x="521984" y="552287"/>
                      <a:pt x="514475" y="553621"/>
                    </a:cubicBezTo>
                    <a:cubicBezTo>
                      <a:pt x="496789" y="557125"/>
                      <a:pt x="477267" y="561630"/>
                      <a:pt x="466171" y="577980"/>
                    </a:cubicBezTo>
                    <a:cubicBezTo>
                      <a:pt x="459998" y="587323"/>
                      <a:pt x="461333" y="597501"/>
                      <a:pt x="462667" y="606760"/>
                    </a:cubicBezTo>
                    <a:cubicBezTo>
                      <a:pt x="464002" y="620024"/>
                      <a:pt x="464002" y="624946"/>
                      <a:pt x="454658" y="628867"/>
                    </a:cubicBezTo>
                    <a:cubicBezTo>
                      <a:pt x="447150" y="631953"/>
                      <a:pt x="440893" y="629284"/>
                      <a:pt x="431215" y="624028"/>
                    </a:cubicBezTo>
                    <a:cubicBezTo>
                      <a:pt x="421037" y="618689"/>
                      <a:pt x="408190" y="612099"/>
                      <a:pt x="392672" y="619607"/>
                    </a:cubicBezTo>
                    <a:cubicBezTo>
                      <a:pt x="376738" y="627615"/>
                      <a:pt x="369646" y="642214"/>
                      <a:pt x="363473" y="655061"/>
                    </a:cubicBezTo>
                    <a:cubicBezTo>
                      <a:pt x="359468" y="663486"/>
                      <a:pt x="355464" y="671411"/>
                      <a:pt x="349290" y="678085"/>
                    </a:cubicBezTo>
                    <a:cubicBezTo>
                      <a:pt x="342616" y="684759"/>
                      <a:pt x="330686" y="694018"/>
                      <a:pt x="321843" y="696687"/>
                    </a:cubicBezTo>
                    <a:cubicBezTo>
                      <a:pt x="314752" y="699357"/>
                      <a:pt x="312499" y="698022"/>
                      <a:pt x="306743" y="695353"/>
                    </a:cubicBezTo>
                    <a:cubicBezTo>
                      <a:pt x="304073" y="694018"/>
                      <a:pt x="300569" y="692266"/>
                      <a:pt x="296565" y="690932"/>
                    </a:cubicBezTo>
                    <a:cubicBezTo>
                      <a:pt x="287221" y="688262"/>
                      <a:pt x="280213" y="688262"/>
                      <a:pt x="274874" y="692266"/>
                    </a:cubicBezTo>
                    <a:cubicBezTo>
                      <a:pt x="266447" y="698022"/>
                      <a:pt x="266030" y="708617"/>
                      <a:pt x="265113" y="719295"/>
                    </a:cubicBezTo>
                    <a:cubicBezTo>
                      <a:pt x="264695" y="722798"/>
                      <a:pt x="264695" y="726385"/>
                      <a:pt x="264195" y="729889"/>
                    </a:cubicBezTo>
                    <a:cubicBezTo>
                      <a:pt x="262443" y="738731"/>
                      <a:pt x="256687" y="746239"/>
                      <a:pt x="250430" y="753831"/>
                    </a:cubicBezTo>
                    <a:cubicBezTo>
                      <a:pt x="245591" y="760504"/>
                      <a:pt x="240252" y="766677"/>
                      <a:pt x="236664" y="775103"/>
                    </a:cubicBezTo>
                    <a:cubicBezTo>
                      <a:pt x="235746" y="777355"/>
                      <a:pt x="234412" y="779524"/>
                      <a:pt x="233995" y="781776"/>
                    </a:cubicBezTo>
                    <a:lnTo>
                      <a:pt x="215807" y="782194"/>
                    </a:lnTo>
                    <a:cubicBezTo>
                      <a:pt x="209634" y="782611"/>
                      <a:pt x="203377" y="782611"/>
                      <a:pt x="198121" y="780859"/>
                    </a:cubicBezTo>
                    <a:cubicBezTo>
                      <a:pt x="192782" y="779524"/>
                      <a:pt x="188777" y="776855"/>
                      <a:pt x="187025" y="773351"/>
                    </a:cubicBezTo>
                    <a:cubicBezTo>
                      <a:pt x="184773" y="769847"/>
                      <a:pt x="184773" y="764509"/>
                      <a:pt x="184773" y="758752"/>
                    </a:cubicBezTo>
                    <a:lnTo>
                      <a:pt x="184356" y="754748"/>
                    </a:lnTo>
                    <a:cubicBezTo>
                      <a:pt x="183938" y="742319"/>
                      <a:pt x="180351" y="733893"/>
                      <a:pt x="172843" y="729472"/>
                    </a:cubicBezTo>
                    <a:cubicBezTo>
                      <a:pt x="168421" y="726802"/>
                      <a:pt x="163999" y="726385"/>
                      <a:pt x="159995" y="725968"/>
                    </a:cubicBezTo>
                    <a:cubicBezTo>
                      <a:pt x="156908" y="725551"/>
                      <a:pt x="153821" y="725050"/>
                      <a:pt x="151986" y="723716"/>
                    </a:cubicBezTo>
                    <a:cubicBezTo>
                      <a:pt x="149316" y="721464"/>
                      <a:pt x="148482" y="716625"/>
                      <a:pt x="147147" y="711286"/>
                    </a:cubicBezTo>
                    <a:cubicBezTo>
                      <a:pt x="145812" y="703278"/>
                      <a:pt x="143643" y="693601"/>
                      <a:pt x="134717" y="689180"/>
                    </a:cubicBezTo>
                    <a:cubicBezTo>
                      <a:pt x="129878" y="686928"/>
                      <a:pt x="124955" y="686928"/>
                      <a:pt x="120951" y="686928"/>
                    </a:cubicBezTo>
                    <a:cubicBezTo>
                      <a:pt x="109438" y="687345"/>
                      <a:pt x="95673" y="686510"/>
                      <a:pt x="83326" y="682506"/>
                    </a:cubicBezTo>
                    <a:cubicBezTo>
                      <a:pt x="66974" y="677167"/>
                      <a:pt x="57213" y="666573"/>
                      <a:pt x="49621" y="646218"/>
                    </a:cubicBezTo>
                    <a:cubicBezTo>
                      <a:pt x="48703" y="643549"/>
                      <a:pt x="47369" y="640879"/>
                      <a:pt x="45200" y="638210"/>
                    </a:cubicBezTo>
                    <a:cubicBezTo>
                      <a:pt x="39860" y="631536"/>
                      <a:pt x="30600" y="630202"/>
                      <a:pt x="26178" y="629784"/>
                    </a:cubicBezTo>
                    <a:cubicBezTo>
                      <a:pt x="21757" y="629367"/>
                      <a:pt x="17335" y="628867"/>
                      <a:pt x="12413" y="628867"/>
                    </a:cubicBezTo>
                    <a:cubicBezTo>
                      <a:pt x="11078" y="620858"/>
                      <a:pt x="7991" y="612933"/>
                      <a:pt x="5739" y="605426"/>
                    </a:cubicBezTo>
                    <a:cubicBezTo>
                      <a:pt x="3069" y="597000"/>
                      <a:pt x="-1353" y="583319"/>
                      <a:pt x="399" y="580149"/>
                    </a:cubicBezTo>
                    <a:cubicBezTo>
                      <a:pt x="3069" y="579232"/>
                      <a:pt x="3486" y="579232"/>
                      <a:pt x="6156" y="581484"/>
                    </a:cubicBezTo>
                    <a:cubicBezTo>
                      <a:pt x="9242" y="583736"/>
                      <a:pt x="14165" y="587657"/>
                      <a:pt x="21673" y="584570"/>
                    </a:cubicBezTo>
                    <a:cubicBezTo>
                      <a:pt x="29182" y="581901"/>
                      <a:pt x="32268" y="575728"/>
                      <a:pt x="34521" y="571307"/>
                    </a:cubicBezTo>
                    <a:cubicBezTo>
                      <a:pt x="35439" y="569555"/>
                      <a:pt x="36273" y="568220"/>
                      <a:pt x="37190" y="566468"/>
                    </a:cubicBezTo>
                    <a:cubicBezTo>
                      <a:pt x="40694" y="561630"/>
                      <a:pt x="46034" y="558960"/>
                      <a:pt x="51790" y="555874"/>
                    </a:cubicBezTo>
                    <a:cubicBezTo>
                      <a:pt x="58881" y="552370"/>
                      <a:pt x="66390" y="547865"/>
                      <a:pt x="72146" y="539523"/>
                    </a:cubicBezTo>
                    <a:cubicBezTo>
                      <a:pt x="81490" y="524424"/>
                      <a:pt x="87247" y="504070"/>
                      <a:pt x="88081" y="484132"/>
                    </a:cubicBezTo>
                    <a:cubicBezTo>
                      <a:pt x="88999" y="469534"/>
                      <a:pt x="93420" y="462860"/>
                      <a:pt x="101846" y="451348"/>
                    </a:cubicBezTo>
                    <a:cubicBezTo>
                      <a:pt x="103181" y="449096"/>
                      <a:pt x="104933" y="446927"/>
                      <a:pt x="106685" y="444257"/>
                    </a:cubicBezTo>
                    <a:cubicBezTo>
                      <a:pt x="118615" y="427406"/>
                      <a:pt x="118615" y="413725"/>
                      <a:pt x="119116" y="397708"/>
                    </a:cubicBezTo>
                    <a:cubicBezTo>
                      <a:pt x="119116" y="394622"/>
                      <a:pt x="119533" y="391535"/>
                      <a:pt x="119533" y="388365"/>
                    </a:cubicBezTo>
                    <a:cubicBezTo>
                      <a:pt x="119950" y="378605"/>
                      <a:pt x="123537" y="369345"/>
                      <a:pt x="126624" y="359585"/>
                    </a:cubicBezTo>
                    <a:cubicBezTo>
                      <a:pt x="128877" y="353412"/>
                      <a:pt x="131046" y="347156"/>
                      <a:pt x="132798" y="340983"/>
                    </a:cubicBezTo>
                    <a:cubicBezTo>
                      <a:pt x="134132" y="336561"/>
                      <a:pt x="134550" y="332140"/>
                      <a:pt x="135467" y="327218"/>
                    </a:cubicBezTo>
                    <a:cubicBezTo>
                      <a:pt x="135884" y="325883"/>
                      <a:pt x="135884" y="324549"/>
                      <a:pt x="136385" y="323214"/>
                    </a:cubicBezTo>
                    <a:cubicBezTo>
                      <a:pt x="137303" y="318375"/>
                      <a:pt x="138137" y="313454"/>
                      <a:pt x="139889" y="309033"/>
                    </a:cubicBezTo>
                    <a:cubicBezTo>
                      <a:pt x="141224" y="305028"/>
                      <a:pt x="143393" y="301525"/>
                      <a:pt x="146563" y="298438"/>
                    </a:cubicBezTo>
                    <a:cubicBezTo>
                      <a:pt x="147898" y="297103"/>
                      <a:pt x="150067" y="296186"/>
                      <a:pt x="152320" y="295351"/>
                    </a:cubicBezTo>
                    <a:cubicBezTo>
                      <a:pt x="154989" y="294017"/>
                      <a:pt x="158076" y="292682"/>
                      <a:pt x="160746" y="290013"/>
                    </a:cubicBezTo>
                    <a:cubicBezTo>
                      <a:pt x="167420" y="296686"/>
                      <a:pt x="172676" y="304194"/>
                      <a:pt x="178432" y="312119"/>
                    </a:cubicBezTo>
                    <a:cubicBezTo>
                      <a:pt x="181519" y="316540"/>
                      <a:pt x="184606" y="321462"/>
                      <a:pt x="188193" y="325883"/>
                    </a:cubicBezTo>
                    <a:cubicBezTo>
                      <a:pt x="205462" y="348907"/>
                      <a:pt x="222315" y="342734"/>
                      <a:pt x="236914" y="337396"/>
                    </a:cubicBezTo>
                    <a:cubicBezTo>
                      <a:pt x="244923" y="334309"/>
                      <a:pt x="253266" y="331222"/>
                      <a:pt x="262193" y="332557"/>
                    </a:cubicBezTo>
                    <a:cubicBezTo>
                      <a:pt x="278127" y="334309"/>
                      <a:pt x="294979" y="336061"/>
                      <a:pt x="310497" y="338730"/>
                    </a:cubicBezTo>
                    <a:cubicBezTo>
                      <a:pt x="314001" y="339147"/>
                      <a:pt x="318005" y="340983"/>
                      <a:pt x="322427" y="343152"/>
                    </a:cubicBezTo>
                    <a:cubicBezTo>
                      <a:pt x="328183" y="345821"/>
                      <a:pt x="334857" y="348907"/>
                      <a:pt x="341949" y="348907"/>
                    </a:cubicBezTo>
                    <a:cubicBezTo>
                      <a:pt x="344201" y="348907"/>
                      <a:pt x="345953" y="348490"/>
                      <a:pt x="348122" y="347990"/>
                    </a:cubicBezTo>
                    <a:cubicBezTo>
                      <a:pt x="362305" y="343569"/>
                      <a:pt x="370314" y="330305"/>
                      <a:pt x="370314" y="309867"/>
                    </a:cubicBezTo>
                    <a:cubicBezTo>
                      <a:pt x="370731" y="297020"/>
                      <a:pt x="365892" y="292182"/>
                      <a:pt x="360970" y="287760"/>
                    </a:cubicBezTo>
                    <a:cubicBezTo>
                      <a:pt x="359218" y="286426"/>
                      <a:pt x="357466" y="284674"/>
                      <a:pt x="354796" y="281587"/>
                    </a:cubicBezTo>
                    <a:cubicBezTo>
                      <a:pt x="340197" y="262567"/>
                      <a:pt x="347705" y="231535"/>
                      <a:pt x="355214" y="206759"/>
                    </a:cubicBezTo>
                    <a:cubicBezTo>
                      <a:pt x="359635" y="194329"/>
                      <a:pt x="362305" y="189074"/>
                      <a:pt x="373401" y="185070"/>
                    </a:cubicBezTo>
                    <a:lnTo>
                      <a:pt x="378239" y="183318"/>
                    </a:lnTo>
                    <a:cubicBezTo>
                      <a:pt x="389335" y="179814"/>
                      <a:pt x="409691" y="172723"/>
                      <a:pt x="404352" y="149616"/>
                    </a:cubicBezTo>
                    <a:cubicBezTo>
                      <a:pt x="402600" y="142525"/>
                      <a:pt x="399013" y="137186"/>
                      <a:pt x="395926" y="132765"/>
                    </a:cubicBezTo>
                    <a:cubicBezTo>
                      <a:pt x="391921" y="126592"/>
                      <a:pt x="389252" y="123005"/>
                      <a:pt x="390587" y="114579"/>
                    </a:cubicBezTo>
                    <a:cubicBezTo>
                      <a:pt x="392839" y="100815"/>
                      <a:pt x="400348" y="87134"/>
                      <a:pt x="405687" y="77791"/>
                    </a:cubicBezTo>
                    <a:cubicBezTo>
                      <a:pt x="407939" y="74287"/>
                      <a:pt x="411026" y="70283"/>
                      <a:pt x="414113" y="66696"/>
                    </a:cubicBezTo>
                    <a:cubicBezTo>
                      <a:pt x="419869" y="59188"/>
                      <a:pt x="426043" y="51180"/>
                      <a:pt x="428713" y="42337"/>
                    </a:cubicBezTo>
                    <a:cubicBezTo>
                      <a:pt x="430965" y="35246"/>
                      <a:pt x="430465" y="27738"/>
                      <a:pt x="429630" y="20231"/>
                    </a:cubicBezTo>
                    <a:cubicBezTo>
                      <a:pt x="432300" y="18896"/>
                      <a:pt x="434970" y="17561"/>
                      <a:pt x="437139" y="16227"/>
                    </a:cubicBezTo>
                    <a:cubicBezTo>
                      <a:pt x="444230" y="11805"/>
                      <a:pt x="449569" y="9136"/>
                      <a:pt x="457996" y="13140"/>
                    </a:cubicBezTo>
                    <a:cubicBezTo>
                      <a:pt x="460248" y="14058"/>
                      <a:pt x="462000" y="15810"/>
                      <a:pt x="464169" y="17561"/>
                    </a:cubicBezTo>
                    <a:cubicBezTo>
                      <a:pt x="468591" y="21065"/>
                      <a:pt x="473930" y="25987"/>
                      <a:pt x="481438" y="25987"/>
                    </a:cubicBezTo>
                    <a:cubicBezTo>
                      <a:pt x="488530" y="25569"/>
                      <a:pt x="492534" y="22900"/>
                      <a:pt x="495621" y="20231"/>
                    </a:cubicBezTo>
                    <a:cubicBezTo>
                      <a:pt x="496956" y="18896"/>
                      <a:pt x="498708" y="17561"/>
                      <a:pt x="500043" y="17561"/>
                    </a:cubicBezTo>
                    <a:cubicBezTo>
                      <a:pt x="504047" y="16227"/>
                      <a:pt x="508052" y="17978"/>
                      <a:pt x="513808" y="20648"/>
                    </a:cubicBezTo>
                    <a:cubicBezTo>
                      <a:pt x="520482" y="23734"/>
                      <a:pt x="528908" y="27738"/>
                      <a:pt x="539086" y="23317"/>
                    </a:cubicBezTo>
                    <a:cubicBezTo>
                      <a:pt x="543925" y="21065"/>
                      <a:pt x="547095" y="17144"/>
                      <a:pt x="550599" y="13140"/>
                    </a:cubicBezTo>
                    <a:cubicBezTo>
                      <a:pt x="553269" y="10053"/>
                      <a:pt x="555939" y="6967"/>
                      <a:pt x="559026" y="5131"/>
                    </a:cubicBezTo>
                    <a:cubicBezTo>
                      <a:pt x="563864" y="2462"/>
                      <a:pt x="573208" y="-1042"/>
                      <a:pt x="582468" y="293"/>
                    </a:cubicBezTo>
                    <a:cubicBezTo>
                      <a:pt x="586473" y="1211"/>
                      <a:pt x="588225" y="2962"/>
                      <a:pt x="590894" y="5632"/>
                    </a:cubicBezTo>
                    <a:cubicBezTo>
                      <a:pt x="593147" y="7384"/>
                      <a:pt x="594899" y="9136"/>
                      <a:pt x="597569" y="10971"/>
                    </a:cubicBezTo>
                    <a:cubicBezTo>
                      <a:pt x="602408" y="14058"/>
                      <a:pt x="608665" y="15810"/>
                      <a:pt x="614838" y="17645"/>
                    </a:cubicBezTo>
                    <a:cubicBezTo>
                      <a:pt x="617090" y="18062"/>
                      <a:pt x="619259" y="18979"/>
                      <a:pt x="621512" y="19396"/>
                    </a:cubicBezTo>
                    <a:cubicBezTo>
                      <a:pt x="634777" y="23818"/>
                      <a:pt x="647207" y="29991"/>
                      <a:pt x="660973" y="37082"/>
                    </a:cubicBezTo>
                    <a:lnTo>
                      <a:pt x="667146" y="40168"/>
                    </a:lnTo>
                    <a:cubicBezTo>
                      <a:pt x="694177" y="54350"/>
                      <a:pt x="721624" y="68948"/>
                      <a:pt x="753994" y="68114"/>
                    </a:cubicBezTo>
                    <a:cubicBezTo>
                      <a:pt x="760668" y="67697"/>
                      <a:pt x="766424" y="66779"/>
                      <a:pt x="771680" y="65028"/>
                    </a:cubicBezTo>
                    <a:cubicBezTo>
                      <a:pt x="773933" y="76122"/>
                      <a:pt x="773015" y="86300"/>
                      <a:pt x="765507" y="94225"/>
                    </a:cubicBezTo>
                    <a:cubicBezTo>
                      <a:pt x="763254" y="96894"/>
                      <a:pt x="760668" y="98646"/>
                      <a:pt x="757999" y="100898"/>
                    </a:cubicBezTo>
                    <a:cubicBezTo>
                      <a:pt x="752659" y="104902"/>
                      <a:pt x="746903" y="109741"/>
                      <a:pt x="742898" y="118583"/>
                    </a:cubicBezTo>
                    <a:cubicBezTo>
                      <a:pt x="739394" y="127009"/>
                      <a:pt x="738476" y="135852"/>
                      <a:pt x="738059" y="144277"/>
                    </a:cubicBezTo>
                    <a:cubicBezTo>
                      <a:pt x="737642" y="148698"/>
                      <a:pt x="737142" y="153620"/>
                      <a:pt x="736308" y="158041"/>
                    </a:cubicBezTo>
                    <a:cubicBezTo>
                      <a:pt x="727464" y="200085"/>
                      <a:pt x="690673" y="236874"/>
                      <a:pt x="658303" y="270075"/>
                    </a:cubicBezTo>
                    <a:cubicBezTo>
                      <a:pt x="653882" y="274496"/>
                      <a:pt x="649460" y="278918"/>
                      <a:pt x="645038" y="283839"/>
                    </a:cubicBezTo>
                    <a:cubicBezTo>
                      <a:pt x="629938" y="299356"/>
                      <a:pt x="616256" y="304695"/>
                      <a:pt x="595900" y="313037"/>
                    </a:cubicBezTo>
                    <a:cubicBezTo>
                      <a:pt x="583052" y="317875"/>
                      <a:pt x="549348" y="331639"/>
                      <a:pt x="552017" y="364841"/>
                    </a:cubicBezTo>
                    <a:cubicBezTo>
                      <a:pt x="553352" y="381692"/>
                      <a:pt x="560861" y="394038"/>
                      <a:pt x="567535" y="405133"/>
                    </a:cubicBezTo>
                    <a:cubicBezTo>
                      <a:pt x="577713" y="422818"/>
                      <a:pt x="584804" y="434330"/>
                      <a:pt x="568453" y="456103"/>
                    </a:cubicBezTo>
                    <a:cubicBezTo>
                      <a:pt x="567535" y="460190"/>
                      <a:pt x="566200" y="461525"/>
                      <a:pt x="565366" y="46286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32104348" name="Полилиния 392"/>
              <p:cNvSpPr/>
              <p:nvPr/>
            </p:nvSpPr>
            <p:spPr bwMode="auto">
              <a:xfrm>
                <a:off x="3488232" y="4173917"/>
                <a:ext cx="741407" cy="860643"/>
              </a:xfrm>
              <a:custGeom>
                <a:avLst/>
                <a:gdLst>
                  <a:gd name="connsiteX0" fmla="*/ 679256 w 832625"/>
                  <a:gd name="connsiteY0" fmla="*/ 890263 h 966530"/>
                  <a:gd name="connsiteX1" fmla="*/ 673500 w 832625"/>
                  <a:gd name="connsiteY1" fmla="*/ 930139 h 966530"/>
                  <a:gd name="connsiteX2" fmla="*/ 673917 w 832625"/>
                  <a:gd name="connsiteY2" fmla="*/ 935478 h 966530"/>
                  <a:gd name="connsiteX3" fmla="*/ 668578 w 832625"/>
                  <a:gd name="connsiteY3" fmla="*/ 955832 h 966530"/>
                  <a:gd name="connsiteX4" fmla="*/ 611013 w 832625"/>
                  <a:gd name="connsiteY4" fmla="*/ 936812 h 966530"/>
                  <a:gd name="connsiteX5" fmla="*/ 587070 w 832625"/>
                  <a:gd name="connsiteY5" fmla="*/ 954080 h 966530"/>
                  <a:gd name="connsiteX6" fmla="*/ 567548 w 832625"/>
                  <a:gd name="connsiteY6" fmla="*/ 966510 h 966530"/>
                  <a:gd name="connsiteX7" fmla="*/ 554283 w 832625"/>
                  <a:gd name="connsiteY7" fmla="*/ 957167 h 966530"/>
                  <a:gd name="connsiteX8" fmla="*/ 459927 w 832625"/>
                  <a:gd name="connsiteY8" fmla="*/ 913288 h 966530"/>
                  <a:gd name="connsiteX9" fmla="*/ 447997 w 832625"/>
                  <a:gd name="connsiteY9" fmla="*/ 912370 h 966530"/>
                  <a:gd name="connsiteX10" fmla="*/ 417880 w 832625"/>
                  <a:gd name="connsiteY10" fmla="*/ 913288 h 966530"/>
                  <a:gd name="connsiteX11" fmla="*/ 397524 w 832625"/>
                  <a:gd name="connsiteY11" fmla="*/ 927052 h 966530"/>
                  <a:gd name="connsiteX12" fmla="*/ 380255 w 832625"/>
                  <a:gd name="connsiteY12" fmla="*/ 938147 h 966530"/>
                  <a:gd name="connsiteX13" fmla="*/ 379337 w 832625"/>
                  <a:gd name="connsiteY13" fmla="*/ 938564 h 966530"/>
                  <a:gd name="connsiteX14" fmla="*/ 365154 w 832625"/>
                  <a:gd name="connsiteY14" fmla="*/ 933726 h 966530"/>
                  <a:gd name="connsiteX15" fmla="*/ 358480 w 832625"/>
                  <a:gd name="connsiteY15" fmla="*/ 920879 h 966530"/>
                  <a:gd name="connsiteX16" fmla="*/ 357146 w 832625"/>
                  <a:gd name="connsiteY16" fmla="*/ 917375 h 966530"/>
                  <a:gd name="connsiteX17" fmla="*/ 309342 w 832625"/>
                  <a:gd name="connsiteY17" fmla="*/ 895686 h 966530"/>
                  <a:gd name="connsiteX18" fmla="*/ 271716 w 832625"/>
                  <a:gd name="connsiteY18" fmla="*/ 888595 h 966530"/>
                  <a:gd name="connsiteX19" fmla="*/ 244686 w 832625"/>
                  <a:gd name="connsiteY19" fmla="*/ 876165 h 966530"/>
                  <a:gd name="connsiteX20" fmla="*/ 218991 w 832625"/>
                  <a:gd name="connsiteY20" fmla="*/ 864654 h 966530"/>
                  <a:gd name="connsiteX21" fmla="*/ 201721 w 832625"/>
                  <a:gd name="connsiteY21" fmla="*/ 847385 h 966530"/>
                  <a:gd name="connsiteX22" fmla="*/ 151665 w 832625"/>
                  <a:gd name="connsiteY22" fmla="*/ 819940 h 966530"/>
                  <a:gd name="connsiteX23" fmla="*/ 110869 w 832625"/>
                  <a:gd name="connsiteY23" fmla="*/ 837625 h 966530"/>
                  <a:gd name="connsiteX24" fmla="*/ 110452 w 832625"/>
                  <a:gd name="connsiteY24" fmla="*/ 838043 h 966530"/>
                  <a:gd name="connsiteX25" fmla="*/ 102026 w 832625"/>
                  <a:gd name="connsiteY25" fmla="*/ 838460 h 966530"/>
                  <a:gd name="connsiteX26" fmla="*/ 93183 w 832625"/>
                  <a:gd name="connsiteY26" fmla="*/ 832286 h 966530"/>
                  <a:gd name="connsiteX27" fmla="*/ 87009 w 832625"/>
                  <a:gd name="connsiteY27" fmla="*/ 825613 h 966530"/>
                  <a:gd name="connsiteX28" fmla="*/ 66653 w 832625"/>
                  <a:gd name="connsiteY28" fmla="*/ 814518 h 966530"/>
                  <a:gd name="connsiteX29" fmla="*/ 54223 w 832625"/>
                  <a:gd name="connsiteY29" fmla="*/ 809179 h 966530"/>
                  <a:gd name="connsiteX30" fmla="*/ 44462 w 832625"/>
                  <a:gd name="connsiteY30" fmla="*/ 801171 h 966530"/>
                  <a:gd name="connsiteX31" fmla="*/ 27192 w 832625"/>
                  <a:gd name="connsiteY31" fmla="*/ 788741 h 966530"/>
                  <a:gd name="connsiteX32" fmla="*/ 15262 w 832625"/>
                  <a:gd name="connsiteY32" fmla="*/ 785237 h 966530"/>
                  <a:gd name="connsiteX33" fmla="*/ 1080 w 832625"/>
                  <a:gd name="connsiteY33" fmla="*/ 776394 h 966530"/>
                  <a:gd name="connsiteX34" fmla="*/ 162 w 832625"/>
                  <a:gd name="connsiteY34" fmla="*/ 766635 h 966530"/>
                  <a:gd name="connsiteX35" fmla="*/ 4584 w 832625"/>
                  <a:gd name="connsiteY35" fmla="*/ 752453 h 966530"/>
                  <a:gd name="connsiteX36" fmla="*/ 5001 w 832625"/>
                  <a:gd name="connsiteY36" fmla="*/ 751535 h 966530"/>
                  <a:gd name="connsiteX37" fmla="*/ 16931 w 832625"/>
                  <a:gd name="connsiteY37" fmla="*/ 733350 h 966530"/>
                  <a:gd name="connsiteX38" fmla="*/ 33282 w 832625"/>
                  <a:gd name="connsiteY38" fmla="*/ 702818 h 966530"/>
                  <a:gd name="connsiteX39" fmla="*/ 34617 w 832625"/>
                  <a:gd name="connsiteY39" fmla="*/ 690388 h 966530"/>
                  <a:gd name="connsiteX40" fmla="*/ 38121 w 832625"/>
                  <a:gd name="connsiteY40" fmla="*/ 674038 h 966530"/>
                  <a:gd name="connsiteX41" fmla="*/ 47465 w 832625"/>
                  <a:gd name="connsiteY41" fmla="*/ 674955 h 966530"/>
                  <a:gd name="connsiteX42" fmla="*/ 55891 w 832625"/>
                  <a:gd name="connsiteY42" fmla="*/ 678042 h 966530"/>
                  <a:gd name="connsiteX43" fmla="*/ 81587 w 832625"/>
                  <a:gd name="connsiteY43" fmla="*/ 680294 h 966530"/>
                  <a:gd name="connsiteX44" fmla="*/ 114790 w 832625"/>
                  <a:gd name="connsiteY44" fmla="*/ 658104 h 966530"/>
                  <a:gd name="connsiteX45" fmla="*/ 131142 w 832625"/>
                  <a:gd name="connsiteY45" fmla="*/ 631076 h 966530"/>
                  <a:gd name="connsiteX46" fmla="*/ 153751 w 832625"/>
                  <a:gd name="connsiteY46" fmla="*/ 602296 h 966530"/>
                  <a:gd name="connsiteX47" fmla="*/ 179446 w 832625"/>
                  <a:gd name="connsiteY47" fmla="*/ 606300 h 966530"/>
                  <a:gd name="connsiteX48" fmla="*/ 214903 w 832625"/>
                  <a:gd name="connsiteY48" fmla="*/ 611639 h 966530"/>
                  <a:gd name="connsiteX49" fmla="*/ 231254 w 832625"/>
                  <a:gd name="connsiteY49" fmla="*/ 574851 h 966530"/>
                  <a:gd name="connsiteX50" fmla="*/ 232589 w 832625"/>
                  <a:gd name="connsiteY50" fmla="*/ 555831 h 966530"/>
                  <a:gd name="connsiteX51" fmla="*/ 272050 w 832625"/>
                  <a:gd name="connsiteY51" fmla="*/ 537228 h 966530"/>
                  <a:gd name="connsiteX52" fmla="*/ 294241 w 832625"/>
                  <a:gd name="connsiteY52" fmla="*/ 531055 h 966530"/>
                  <a:gd name="connsiteX53" fmla="*/ 332785 w 832625"/>
                  <a:gd name="connsiteY53" fmla="*/ 481920 h 966530"/>
                  <a:gd name="connsiteX54" fmla="*/ 327946 w 832625"/>
                  <a:gd name="connsiteY54" fmla="*/ 467739 h 966530"/>
                  <a:gd name="connsiteX55" fmla="*/ 323524 w 832625"/>
                  <a:gd name="connsiteY55" fmla="*/ 455309 h 966530"/>
                  <a:gd name="connsiteX56" fmla="*/ 330616 w 832625"/>
                  <a:gd name="connsiteY56" fmla="*/ 441128 h 966530"/>
                  <a:gd name="connsiteX57" fmla="*/ 334120 w 832625"/>
                  <a:gd name="connsiteY57" fmla="*/ 436706 h 966530"/>
                  <a:gd name="connsiteX58" fmla="*/ 334537 w 832625"/>
                  <a:gd name="connsiteY58" fmla="*/ 370304 h 966530"/>
                  <a:gd name="connsiteX59" fmla="*/ 320771 w 832625"/>
                  <a:gd name="connsiteY59" fmla="*/ 335768 h 966530"/>
                  <a:gd name="connsiteX60" fmla="*/ 355727 w 832625"/>
                  <a:gd name="connsiteY60" fmla="*/ 298145 h 966530"/>
                  <a:gd name="connsiteX61" fmla="*/ 409788 w 832625"/>
                  <a:gd name="connsiteY61" fmla="*/ 265778 h 966530"/>
                  <a:gd name="connsiteX62" fmla="*/ 423053 w 832625"/>
                  <a:gd name="connsiteY62" fmla="*/ 252013 h 966530"/>
                  <a:gd name="connsiteX63" fmla="*/ 504978 w 832625"/>
                  <a:gd name="connsiteY63" fmla="*/ 133306 h 966530"/>
                  <a:gd name="connsiteX64" fmla="*/ 507230 w 832625"/>
                  <a:gd name="connsiteY64" fmla="*/ 117372 h 966530"/>
                  <a:gd name="connsiteX65" fmla="*/ 510734 w 832625"/>
                  <a:gd name="connsiteY65" fmla="*/ 96517 h 966530"/>
                  <a:gd name="connsiteX66" fmla="*/ 521329 w 832625"/>
                  <a:gd name="connsiteY66" fmla="*/ 84588 h 966530"/>
                  <a:gd name="connsiteX67" fmla="*/ 530673 w 832625"/>
                  <a:gd name="connsiteY67" fmla="*/ 76163 h 966530"/>
                  <a:gd name="connsiteX68" fmla="*/ 539516 w 832625"/>
                  <a:gd name="connsiteY68" fmla="*/ 31449 h 966530"/>
                  <a:gd name="connsiteX69" fmla="*/ 568299 w 832625"/>
                  <a:gd name="connsiteY69" fmla="*/ 0 h 966530"/>
                  <a:gd name="connsiteX70" fmla="*/ 582064 w 832625"/>
                  <a:gd name="connsiteY70" fmla="*/ 21272 h 966530"/>
                  <a:gd name="connsiteX71" fmla="*/ 583399 w 832625"/>
                  <a:gd name="connsiteY71" fmla="*/ 24776 h 966530"/>
                  <a:gd name="connsiteX72" fmla="*/ 610846 w 832625"/>
                  <a:gd name="connsiteY72" fmla="*/ 65986 h 966530"/>
                  <a:gd name="connsiteX73" fmla="*/ 625446 w 832625"/>
                  <a:gd name="connsiteY73" fmla="*/ 75746 h 966530"/>
                  <a:gd name="connsiteX74" fmla="*/ 654228 w 832625"/>
                  <a:gd name="connsiteY74" fmla="*/ 97018 h 966530"/>
                  <a:gd name="connsiteX75" fmla="*/ 701198 w 832625"/>
                  <a:gd name="connsiteY75" fmla="*/ 161669 h 966530"/>
                  <a:gd name="connsiteX76" fmla="*/ 714045 w 832625"/>
                  <a:gd name="connsiteY76" fmla="*/ 181606 h 966530"/>
                  <a:gd name="connsiteX77" fmla="*/ 732232 w 832625"/>
                  <a:gd name="connsiteY77" fmla="*/ 223650 h 966530"/>
                  <a:gd name="connsiteX78" fmla="*/ 725141 w 832625"/>
                  <a:gd name="connsiteY78" fmla="*/ 260856 h 966530"/>
                  <a:gd name="connsiteX79" fmla="*/ 720302 w 832625"/>
                  <a:gd name="connsiteY79" fmla="*/ 275955 h 966530"/>
                  <a:gd name="connsiteX80" fmla="*/ 730481 w 832625"/>
                  <a:gd name="connsiteY80" fmla="*/ 392494 h 966530"/>
                  <a:gd name="connsiteX81" fmla="*/ 729146 w 832625"/>
                  <a:gd name="connsiteY81" fmla="*/ 474913 h 966530"/>
                  <a:gd name="connsiteX82" fmla="*/ 766354 w 832625"/>
                  <a:gd name="connsiteY82" fmla="*/ 549324 h 966530"/>
                  <a:gd name="connsiteX83" fmla="*/ 806649 w 832625"/>
                  <a:gd name="connsiteY83" fmla="*/ 586530 h 966530"/>
                  <a:gd name="connsiteX84" fmla="*/ 814158 w 832625"/>
                  <a:gd name="connsiteY84" fmla="*/ 634329 h 966530"/>
                  <a:gd name="connsiteX85" fmla="*/ 819914 w 832625"/>
                  <a:gd name="connsiteY85" fmla="*/ 678626 h 966530"/>
                  <a:gd name="connsiteX86" fmla="*/ 823001 w 832625"/>
                  <a:gd name="connsiteY86" fmla="*/ 689220 h 966530"/>
                  <a:gd name="connsiteX87" fmla="*/ 829675 w 832625"/>
                  <a:gd name="connsiteY87" fmla="*/ 715331 h 966530"/>
                  <a:gd name="connsiteX88" fmla="*/ 831927 w 832625"/>
                  <a:gd name="connsiteY88" fmla="*/ 729512 h 966530"/>
                  <a:gd name="connsiteX89" fmla="*/ 829258 w 832625"/>
                  <a:gd name="connsiteY89" fmla="*/ 764048 h 966530"/>
                  <a:gd name="connsiteX90" fmla="*/ 765436 w 832625"/>
                  <a:gd name="connsiteY90" fmla="*/ 803923 h 966530"/>
                  <a:gd name="connsiteX91" fmla="*/ 719385 w 832625"/>
                  <a:gd name="connsiteY91" fmla="*/ 818105 h 966530"/>
                  <a:gd name="connsiteX92" fmla="*/ 681259 w 832625"/>
                  <a:gd name="connsiteY92" fmla="*/ 879669 h 966530"/>
                  <a:gd name="connsiteX93" fmla="*/ 678172 w 832625"/>
                  <a:gd name="connsiteY93" fmla="*/ 890764 h 966530"/>
                  <a:gd name="connsiteX94" fmla="*/ 679256 w 832625"/>
                  <a:gd name="connsiteY94" fmla="*/ 890263 h 966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832625" h="966530" extrusionOk="0">
                    <a:moveTo>
                      <a:pt x="679256" y="890263"/>
                    </a:moveTo>
                    <a:cubicBezTo>
                      <a:pt x="675252" y="903528"/>
                      <a:pt x="671748" y="914622"/>
                      <a:pt x="673500" y="930139"/>
                    </a:cubicBezTo>
                    <a:lnTo>
                      <a:pt x="673917" y="935478"/>
                    </a:lnTo>
                    <a:cubicBezTo>
                      <a:pt x="675252" y="946072"/>
                      <a:pt x="675669" y="949659"/>
                      <a:pt x="668578" y="955832"/>
                    </a:cubicBezTo>
                    <a:cubicBezTo>
                      <a:pt x="646470" y="931056"/>
                      <a:pt x="625613" y="931056"/>
                      <a:pt x="611013" y="936812"/>
                    </a:cubicBezTo>
                    <a:cubicBezTo>
                      <a:pt x="601669" y="940316"/>
                      <a:pt x="593744" y="947407"/>
                      <a:pt x="587070" y="954080"/>
                    </a:cubicBezTo>
                    <a:cubicBezTo>
                      <a:pt x="579978" y="960754"/>
                      <a:pt x="573304" y="966927"/>
                      <a:pt x="567548" y="966510"/>
                    </a:cubicBezTo>
                    <a:cubicBezTo>
                      <a:pt x="564044" y="966093"/>
                      <a:pt x="559122" y="963423"/>
                      <a:pt x="554283" y="957167"/>
                    </a:cubicBezTo>
                    <a:cubicBezTo>
                      <a:pt x="530339" y="927970"/>
                      <a:pt x="500223" y="914205"/>
                      <a:pt x="459927" y="913288"/>
                    </a:cubicBezTo>
                    <a:cubicBezTo>
                      <a:pt x="456424" y="912870"/>
                      <a:pt x="451918" y="912370"/>
                      <a:pt x="447997" y="912370"/>
                    </a:cubicBezTo>
                    <a:cubicBezTo>
                      <a:pt x="438653" y="911035"/>
                      <a:pt x="428058" y="909701"/>
                      <a:pt x="417880" y="913288"/>
                    </a:cubicBezTo>
                    <a:cubicBezTo>
                      <a:pt x="409454" y="915957"/>
                      <a:pt x="403281" y="921713"/>
                      <a:pt x="397524" y="927052"/>
                    </a:cubicBezTo>
                    <a:cubicBezTo>
                      <a:pt x="392185" y="931891"/>
                      <a:pt x="386929" y="936395"/>
                      <a:pt x="380255" y="938147"/>
                    </a:cubicBezTo>
                    <a:cubicBezTo>
                      <a:pt x="379837" y="938564"/>
                      <a:pt x="379837" y="938564"/>
                      <a:pt x="379337" y="938564"/>
                    </a:cubicBezTo>
                    <a:cubicBezTo>
                      <a:pt x="372663" y="940316"/>
                      <a:pt x="368742" y="938981"/>
                      <a:pt x="365154" y="933726"/>
                    </a:cubicBezTo>
                    <a:cubicBezTo>
                      <a:pt x="362902" y="930639"/>
                      <a:pt x="360733" y="926635"/>
                      <a:pt x="358480" y="920879"/>
                    </a:cubicBezTo>
                    <a:lnTo>
                      <a:pt x="357146" y="917375"/>
                    </a:lnTo>
                    <a:cubicBezTo>
                      <a:pt x="346050" y="891265"/>
                      <a:pt x="327446" y="891682"/>
                      <a:pt x="309342" y="895686"/>
                    </a:cubicBezTo>
                    <a:cubicBezTo>
                      <a:pt x="290738" y="899690"/>
                      <a:pt x="287234" y="898773"/>
                      <a:pt x="271716" y="888595"/>
                    </a:cubicBezTo>
                    <a:cubicBezTo>
                      <a:pt x="262873" y="882839"/>
                      <a:pt x="253529" y="879753"/>
                      <a:pt x="244686" y="876165"/>
                    </a:cubicBezTo>
                    <a:cubicBezTo>
                      <a:pt x="235342" y="873079"/>
                      <a:pt x="226499" y="869992"/>
                      <a:pt x="218991" y="864654"/>
                    </a:cubicBezTo>
                    <a:cubicBezTo>
                      <a:pt x="212817" y="860232"/>
                      <a:pt x="207478" y="854059"/>
                      <a:pt x="201721" y="847385"/>
                    </a:cubicBezTo>
                    <a:cubicBezTo>
                      <a:pt x="189791" y="833204"/>
                      <a:pt x="176026" y="817688"/>
                      <a:pt x="151665" y="819940"/>
                    </a:cubicBezTo>
                    <a:cubicBezTo>
                      <a:pt x="137065" y="821275"/>
                      <a:pt x="122883" y="828366"/>
                      <a:pt x="110869" y="837625"/>
                    </a:cubicBezTo>
                    <a:cubicBezTo>
                      <a:pt x="110452" y="838043"/>
                      <a:pt x="110452" y="838043"/>
                      <a:pt x="110452" y="838043"/>
                    </a:cubicBezTo>
                    <a:cubicBezTo>
                      <a:pt x="107366" y="838460"/>
                      <a:pt x="104279" y="838960"/>
                      <a:pt x="102026" y="838460"/>
                    </a:cubicBezTo>
                    <a:cubicBezTo>
                      <a:pt x="97188" y="837542"/>
                      <a:pt x="95853" y="836207"/>
                      <a:pt x="93183" y="832286"/>
                    </a:cubicBezTo>
                    <a:cubicBezTo>
                      <a:pt x="91431" y="830034"/>
                      <a:pt x="89679" y="827865"/>
                      <a:pt x="87009" y="825613"/>
                    </a:cubicBezTo>
                    <a:cubicBezTo>
                      <a:pt x="80335" y="819440"/>
                      <a:pt x="72827" y="816770"/>
                      <a:pt x="66653" y="814518"/>
                    </a:cubicBezTo>
                    <a:cubicBezTo>
                      <a:pt x="62232" y="812766"/>
                      <a:pt x="58227" y="811431"/>
                      <a:pt x="54223" y="809179"/>
                    </a:cubicBezTo>
                    <a:cubicBezTo>
                      <a:pt x="51136" y="806926"/>
                      <a:pt x="48049" y="804340"/>
                      <a:pt x="44462" y="801171"/>
                    </a:cubicBezTo>
                    <a:cubicBezTo>
                      <a:pt x="39623" y="796332"/>
                      <a:pt x="34284" y="791410"/>
                      <a:pt x="27192" y="788741"/>
                    </a:cubicBezTo>
                    <a:cubicBezTo>
                      <a:pt x="23188" y="786989"/>
                      <a:pt x="19183" y="786071"/>
                      <a:pt x="15262" y="785237"/>
                    </a:cubicBezTo>
                    <a:cubicBezTo>
                      <a:pt x="7253" y="783485"/>
                      <a:pt x="3749" y="782568"/>
                      <a:pt x="1080" y="776394"/>
                    </a:cubicBezTo>
                    <a:cubicBezTo>
                      <a:pt x="162" y="773725"/>
                      <a:pt x="-255" y="770221"/>
                      <a:pt x="162" y="766635"/>
                    </a:cubicBezTo>
                    <a:cubicBezTo>
                      <a:pt x="579" y="762630"/>
                      <a:pt x="1914" y="757792"/>
                      <a:pt x="4584" y="752453"/>
                    </a:cubicBezTo>
                    <a:cubicBezTo>
                      <a:pt x="4584" y="752036"/>
                      <a:pt x="5001" y="752036"/>
                      <a:pt x="5001" y="751535"/>
                    </a:cubicBezTo>
                    <a:cubicBezTo>
                      <a:pt x="7670" y="744862"/>
                      <a:pt x="12092" y="739106"/>
                      <a:pt x="16931" y="733350"/>
                    </a:cubicBezTo>
                    <a:cubicBezTo>
                      <a:pt x="24022" y="724507"/>
                      <a:pt x="31113" y="715164"/>
                      <a:pt x="33282" y="702818"/>
                    </a:cubicBezTo>
                    <a:cubicBezTo>
                      <a:pt x="34200" y="699314"/>
                      <a:pt x="34200" y="694809"/>
                      <a:pt x="34617" y="690388"/>
                    </a:cubicBezTo>
                    <a:cubicBezTo>
                      <a:pt x="35035" y="684215"/>
                      <a:pt x="35535" y="675790"/>
                      <a:pt x="38121" y="674038"/>
                    </a:cubicBezTo>
                    <a:cubicBezTo>
                      <a:pt x="39456" y="673120"/>
                      <a:pt x="42960" y="673120"/>
                      <a:pt x="47465" y="674955"/>
                    </a:cubicBezTo>
                    <a:cubicBezTo>
                      <a:pt x="50552" y="675873"/>
                      <a:pt x="53221" y="677208"/>
                      <a:pt x="55891" y="678042"/>
                    </a:cubicBezTo>
                    <a:cubicBezTo>
                      <a:pt x="62565" y="681128"/>
                      <a:pt x="69156" y="684715"/>
                      <a:pt x="81587" y="680294"/>
                    </a:cubicBezTo>
                    <a:cubicBezTo>
                      <a:pt x="93099" y="676290"/>
                      <a:pt x="106865" y="665696"/>
                      <a:pt x="114790" y="658104"/>
                    </a:cubicBezTo>
                    <a:cubicBezTo>
                      <a:pt x="122800" y="650096"/>
                      <a:pt x="127221" y="640419"/>
                      <a:pt x="131142" y="631076"/>
                    </a:cubicBezTo>
                    <a:cubicBezTo>
                      <a:pt x="136899" y="618647"/>
                      <a:pt x="142238" y="608052"/>
                      <a:pt x="153751" y="602296"/>
                    </a:cubicBezTo>
                    <a:cubicBezTo>
                      <a:pt x="162594" y="597875"/>
                      <a:pt x="169268" y="600961"/>
                      <a:pt x="179446" y="606300"/>
                    </a:cubicBezTo>
                    <a:cubicBezTo>
                      <a:pt x="189207" y="611139"/>
                      <a:pt x="200720" y="617395"/>
                      <a:pt x="214903" y="611639"/>
                    </a:cubicBezTo>
                    <a:cubicBezTo>
                      <a:pt x="234842" y="603214"/>
                      <a:pt x="233090" y="586863"/>
                      <a:pt x="231254" y="574851"/>
                    </a:cubicBezTo>
                    <a:cubicBezTo>
                      <a:pt x="230337" y="567760"/>
                      <a:pt x="229920" y="560669"/>
                      <a:pt x="232589" y="555831"/>
                    </a:cubicBezTo>
                    <a:cubicBezTo>
                      <a:pt x="240598" y="543902"/>
                      <a:pt x="256032" y="540314"/>
                      <a:pt x="272050" y="537228"/>
                    </a:cubicBezTo>
                    <a:cubicBezTo>
                      <a:pt x="279558" y="535476"/>
                      <a:pt x="287567" y="534141"/>
                      <a:pt x="294241" y="531055"/>
                    </a:cubicBezTo>
                    <a:cubicBezTo>
                      <a:pt x="330532" y="517291"/>
                      <a:pt x="335038" y="496519"/>
                      <a:pt x="332785" y="481920"/>
                    </a:cubicBezTo>
                    <a:cubicBezTo>
                      <a:pt x="331867" y="476581"/>
                      <a:pt x="329698" y="472160"/>
                      <a:pt x="327946" y="467739"/>
                    </a:cubicBezTo>
                    <a:cubicBezTo>
                      <a:pt x="325694" y="463317"/>
                      <a:pt x="323524" y="459313"/>
                      <a:pt x="323524" y="455309"/>
                    </a:cubicBezTo>
                    <a:cubicBezTo>
                      <a:pt x="323524" y="450471"/>
                      <a:pt x="326194" y="446883"/>
                      <a:pt x="330616" y="441128"/>
                    </a:cubicBezTo>
                    <a:cubicBezTo>
                      <a:pt x="331951" y="439793"/>
                      <a:pt x="332868" y="438458"/>
                      <a:pt x="334120" y="436706"/>
                    </a:cubicBezTo>
                    <a:cubicBezTo>
                      <a:pt x="356228" y="407509"/>
                      <a:pt x="345215" y="388406"/>
                      <a:pt x="334537" y="370304"/>
                    </a:cubicBezTo>
                    <a:cubicBezTo>
                      <a:pt x="328363" y="360126"/>
                      <a:pt x="322106" y="349031"/>
                      <a:pt x="320771" y="335768"/>
                    </a:cubicBezTo>
                    <a:cubicBezTo>
                      <a:pt x="319437" y="319417"/>
                      <a:pt x="330115" y="308322"/>
                      <a:pt x="355727" y="298145"/>
                    </a:cubicBezTo>
                    <a:cubicBezTo>
                      <a:pt x="377418" y="289719"/>
                      <a:pt x="392936" y="283546"/>
                      <a:pt x="409788" y="265778"/>
                    </a:cubicBezTo>
                    <a:cubicBezTo>
                      <a:pt x="414210" y="261356"/>
                      <a:pt x="418631" y="256935"/>
                      <a:pt x="423053" y="252013"/>
                    </a:cubicBezTo>
                    <a:cubicBezTo>
                      <a:pt x="456757" y="218311"/>
                      <a:pt x="494800" y="179354"/>
                      <a:pt x="504978" y="133306"/>
                    </a:cubicBezTo>
                    <a:cubicBezTo>
                      <a:pt x="505896" y="128468"/>
                      <a:pt x="506313" y="123129"/>
                      <a:pt x="507230" y="117372"/>
                    </a:cubicBezTo>
                    <a:cubicBezTo>
                      <a:pt x="507648" y="109865"/>
                      <a:pt x="508148" y="102774"/>
                      <a:pt x="510734" y="96517"/>
                    </a:cubicBezTo>
                    <a:cubicBezTo>
                      <a:pt x="512987" y="91178"/>
                      <a:pt x="516908" y="88092"/>
                      <a:pt x="521329" y="84588"/>
                    </a:cubicBezTo>
                    <a:cubicBezTo>
                      <a:pt x="524416" y="81919"/>
                      <a:pt x="527503" y="79750"/>
                      <a:pt x="530673" y="76163"/>
                    </a:cubicBezTo>
                    <a:cubicBezTo>
                      <a:pt x="542603" y="63316"/>
                      <a:pt x="543104" y="46966"/>
                      <a:pt x="539516" y="31449"/>
                    </a:cubicBezTo>
                    <a:cubicBezTo>
                      <a:pt x="551447" y="24359"/>
                      <a:pt x="560373" y="12847"/>
                      <a:pt x="568299" y="0"/>
                    </a:cubicBezTo>
                    <a:cubicBezTo>
                      <a:pt x="574473" y="5339"/>
                      <a:pt x="578894" y="12430"/>
                      <a:pt x="582064" y="21272"/>
                    </a:cubicBezTo>
                    <a:lnTo>
                      <a:pt x="583399" y="24776"/>
                    </a:lnTo>
                    <a:cubicBezTo>
                      <a:pt x="588738" y="41126"/>
                      <a:pt x="593577" y="53973"/>
                      <a:pt x="610846" y="65986"/>
                    </a:cubicBezTo>
                    <a:cubicBezTo>
                      <a:pt x="615685" y="69072"/>
                      <a:pt x="620607" y="72659"/>
                      <a:pt x="625446" y="75746"/>
                    </a:cubicBezTo>
                    <a:cubicBezTo>
                      <a:pt x="636041" y="81919"/>
                      <a:pt x="645802" y="88175"/>
                      <a:pt x="654228" y="97018"/>
                    </a:cubicBezTo>
                    <a:cubicBezTo>
                      <a:pt x="671915" y="115621"/>
                      <a:pt x="687015" y="139062"/>
                      <a:pt x="701198" y="161669"/>
                    </a:cubicBezTo>
                    <a:cubicBezTo>
                      <a:pt x="705619" y="168342"/>
                      <a:pt x="709624" y="174933"/>
                      <a:pt x="714045" y="181606"/>
                    </a:cubicBezTo>
                    <a:cubicBezTo>
                      <a:pt x="722472" y="194453"/>
                      <a:pt x="730397" y="208218"/>
                      <a:pt x="732232" y="223650"/>
                    </a:cubicBezTo>
                    <a:cubicBezTo>
                      <a:pt x="733567" y="236497"/>
                      <a:pt x="729563" y="248009"/>
                      <a:pt x="725141" y="260856"/>
                    </a:cubicBezTo>
                    <a:cubicBezTo>
                      <a:pt x="723807" y="265694"/>
                      <a:pt x="722055" y="271033"/>
                      <a:pt x="720302" y="275955"/>
                    </a:cubicBezTo>
                    <a:cubicBezTo>
                      <a:pt x="710541" y="310908"/>
                      <a:pt x="713628" y="347697"/>
                      <a:pt x="730481" y="392494"/>
                    </a:cubicBezTo>
                    <a:cubicBezTo>
                      <a:pt x="742911" y="424861"/>
                      <a:pt x="739324" y="442546"/>
                      <a:pt x="729146" y="474913"/>
                    </a:cubicBezTo>
                    <a:cubicBezTo>
                      <a:pt x="714963" y="520127"/>
                      <a:pt x="741993" y="535560"/>
                      <a:pt x="766354" y="549324"/>
                    </a:cubicBezTo>
                    <a:cubicBezTo>
                      <a:pt x="782706" y="558667"/>
                      <a:pt x="799558" y="567927"/>
                      <a:pt x="806649" y="586530"/>
                    </a:cubicBezTo>
                    <a:cubicBezTo>
                      <a:pt x="811988" y="601628"/>
                      <a:pt x="813323" y="617562"/>
                      <a:pt x="814158" y="634329"/>
                    </a:cubicBezTo>
                    <a:cubicBezTo>
                      <a:pt x="815075" y="648928"/>
                      <a:pt x="815910" y="664027"/>
                      <a:pt x="819914" y="678626"/>
                    </a:cubicBezTo>
                    <a:lnTo>
                      <a:pt x="823001" y="689220"/>
                    </a:lnTo>
                    <a:cubicBezTo>
                      <a:pt x="825670" y="698063"/>
                      <a:pt x="827840" y="706905"/>
                      <a:pt x="829675" y="715331"/>
                    </a:cubicBezTo>
                    <a:cubicBezTo>
                      <a:pt x="830593" y="720169"/>
                      <a:pt x="831427" y="724674"/>
                      <a:pt x="831927" y="729512"/>
                    </a:cubicBezTo>
                    <a:cubicBezTo>
                      <a:pt x="833262" y="741024"/>
                      <a:pt x="832845" y="752954"/>
                      <a:pt x="829258" y="764048"/>
                    </a:cubicBezTo>
                    <a:cubicBezTo>
                      <a:pt x="819914" y="792411"/>
                      <a:pt x="794719" y="797750"/>
                      <a:pt x="765436" y="803923"/>
                    </a:cubicBezTo>
                    <a:cubicBezTo>
                      <a:pt x="749502" y="807010"/>
                      <a:pt x="733067" y="810597"/>
                      <a:pt x="719385" y="818105"/>
                    </a:cubicBezTo>
                    <a:cubicBezTo>
                      <a:pt x="694607" y="831869"/>
                      <a:pt x="687933" y="855727"/>
                      <a:pt x="681259" y="879669"/>
                    </a:cubicBezTo>
                    <a:cubicBezTo>
                      <a:pt x="680341" y="883173"/>
                      <a:pt x="679006" y="886760"/>
                      <a:pt x="678172" y="890764"/>
                    </a:cubicBezTo>
                    <a:lnTo>
                      <a:pt x="679256" y="890263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13744769" name="Полилиния 393"/>
              <p:cNvSpPr/>
              <p:nvPr/>
            </p:nvSpPr>
            <p:spPr bwMode="auto">
              <a:xfrm>
                <a:off x="3753510" y="4998008"/>
                <a:ext cx="526097" cy="351657"/>
              </a:xfrm>
              <a:custGeom>
                <a:avLst/>
                <a:gdLst>
                  <a:gd name="connsiteX0" fmla="*/ 580230 w 590825"/>
                  <a:gd name="connsiteY0" fmla="*/ 332417 h 394923"/>
                  <a:gd name="connsiteX1" fmla="*/ 590825 w 590825"/>
                  <a:gd name="connsiteY1" fmla="*/ 360363 h 394923"/>
                  <a:gd name="connsiteX2" fmla="*/ 554034 w 590825"/>
                  <a:gd name="connsiteY2" fmla="*/ 378048 h 394923"/>
                  <a:gd name="connsiteX3" fmla="*/ 547860 w 590825"/>
                  <a:gd name="connsiteY3" fmla="*/ 382469 h 394923"/>
                  <a:gd name="connsiteX4" fmla="*/ 514657 w 590825"/>
                  <a:gd name="connsiteY4" fmla="*/ 394899 h 394923"/>
                  <a:gd name="connsiteX5" fmla="*/ 484957 w 590825"/>
                  <a:gd name="connsiteY5" fmla="*/ 391813 h 394923"/>
                  <a:gd name="connsiteX6" fmla="*/ 446413 w 590825"/>
                  <a:gd name="connsiteY6" fmla="*/ 388726 h 394923"/>
                  <a:gd name="connsiteX7" fmla="*/ 391018 w 590825"/>
                  <a:gd name="connsiteY7" fmla="*/ 387391 h 394923"/>
                  <a:gd name="connsiteX8" fmla="*/ 326779 w 590825"/>
                  <a:gd name="connsiteY8" fmla="*/ 373627 h 394923"/>
                  <a:gd name="connsiteX9" fmla="*/ 324527 w 590825"/>
                  <a:gd name="connsiteY9" fmla="*/ 372709 h 394923"/>
                  <a:gd name="connsiteX10" fmla="*/ 272719 w 590825"/>
                  <a:gd name="connsiteY10" fmla="*/ 371375 h 394923"/>
                  <a:gd name="connsiteX11" fmla="*/ 257618 w 590825"/>
                  <a:gd name="connsiteY11" fmla="*/ 383304 h 394923"/>
                  <a:gd name="connsiteX12" fmla="*/ 236345 w 590825"/>
                  <a:gd name="connsiteY12" fmla="*/ 394398 h 394923"/>
                  <a:gd name="connsiteX13" fmla="*/ 216406 w 590825"/>
                  <a:gd name="connsiteY13" fmla="*/ 384221 h 394923"/>
                  <a:gd name="connsiteX14" fmla="*/ 195132 w 590825"/>
                  <a:gd name="connsiteY14" fmla="*/ 372292 h 394923"/>
                  <a:gd name="connsiteX15" fmla="*/ 150832 w 590825"/>
                  <a:gd name="connsiteY15" fmla="*/ 370040 h 394923"/>
                  <a:gd name="connsiteX16" fmla="*/ 132645 w 590825"/>
                  <a:gd name="connsiteY16" fmla="*/ 370957 h 394923"/>
                  <a:gd name="connsiteX17" fmla="*/ 71493 w 590825"/>
                  <a:gd name="connsiteY17" fmla="*/ 362949 h 394923"/>
                  <a:gd name="connsiteX18" fmla="*/ 68824 w 590825"/>
                  <a:gd name="connsiteY18" fmla="*/ 362532 h 394923"/>
                  <a:gd name="connsiteX19" fmla="*/ 59480 w 590825"/>
                  <a:gd name="connsiteY19" fmla="*/ 361197 h 394923"/>
                  <a:gd name="connsiteX20" fmla="*/ 59897 w 590825"/>
                  <a:gd name="connsiteY20" fmla="*/ 359862 h 394923"/>
                  <a:gd name="connsiteX21" fmla="*/ 73662 w 590825"/>
                  <a:gd name="connsiteY21" fmla="*/ 341260 h 394923"/>
                  <a:gd name="connsiteX22" fmla="*/ 93184 w 590825"/>
                  <a:gd name="connsiteY22" fmla="*/ 300050 h 394923"/>
                  <a:gd name="connsiteX23" fmla="*/ 58228 w 590825"/>
                  <a:gd name="connsiteY23" fmla="*/ 276108 h 394923"/>
                  <a:gd name="connsiteX24" fmla="*/ 36954 w 590825"/>
                  <a:gd name="connsiteY24" fmla="*/ 269435 h 394923"/>
                  <a:gd name="connsiteX25" fmla="*/ 11259 w 590825"/>
                  <a:gd name="connsiteY25" fmla="*/ 252166 h 394923"/>
                  <a:gd name="connsiteX26" fmla="*/ 163 w 590825"/>
                  <a:gd name="connsiteY26" fmla="*/ 238903 h 394923"/>
                  <a:gd name="connsiteX27" fmla="*/ 14763 w 590825"/>
                  <a:gd name="connsiteY27" fmla="*/ 215878 h 394923"/>
                  <a:gd name="connsiteX28" fmla="*/ 31115 w 590825"/>
                  <a:gd name="connsiteY28" fmla="*/ 191937 h 394923"/>
                  <a:gd name="connsiteX29" fmla="*/ 34202 w 590825"/>
                  <a:gd name="connsiteY29" fmla="*/ 179507 h 394923"/>
                  <a:gd name="connsiteX30" fmla="*/ 41293 w 590825"/>
                  <a:gd name="connsiteY30" fmla="*/ 162656 h 394923"/>
                  <a:gd name="connsiteX31" fmla="*/ 54558 w 590825"/>
                  <a:gd name="connsiteY31" fmla="*/ 157317 h 394923"/>
                  <a:gd name="connsiteX32" fmla="*/ 69157 w 590825"/>
                  <a:gd name="connsiteY32" fmla="*/ 151979 h 394923"/>
                  <a:gd name="connsiteX33" fmla="*/ 92600 w 590825"/>
                  <a:gd name="connsiteY33" fmla="*/ 81571 h 394923"/>
                  <a:gd name="connsiteX34" fmla="*/ 88178 w 590825"/>
                  <a:gd name="connsiteY34" fmla="*/ 61217 h 394923"/>
                  <a:gd name="connsiteX35" fmla="*/ 83340 w 590825"/>
                  <a:gd name="connsiteY35" fmla="*/ 37275 h 394923"/>
                  <a:gd name="connsiteX36" fmla="*/ 82422 w 590825"/>
                  <a:gd name="connsiteY36" fmla="*/ 27098 h 394923"/>
                  <a:gd name="connsiteX37" fmla="*/ 84675 w 590825"/>
                  <a:gd name="connsiteY37" fmla="*/ 26681 h 394923"/>
                  <a:gd name="connsiteX38" fmla="*/ 108618 w 590825"/>
                  <a:gd name="connsiteY38" fmla="*/ 12499 h 394923"/>
                  <a:gd name="connsiteX39" fmla="*/ 124553 w 590825"/>
                  <a:gd name="connsiteY39" fmla="*/ 1405 h 394923"/>
                  <a:gd name="connsiteX40" fmla="*/ 148496 w 590825"/>
                  <a:gd name="connsiteY40" fmla="*/ 988 h 394923"/>
                  <a:gd name="connsiteX41" fmla="*/ 161344 w 590825"/>
                  <a:gd name="connsiteY41" fmla="*/ 1905 h 394923"/>
                  <a:gd name="connsiteX42" fmla="*/ 245104 w 590825"/>
                  <a:gd name="connsiteY42" fmla="*/ 40862 h 394923"/>
                  <a:gd name="connsiteX43" fmla="*/ 268130 w 590825"/>
                  <a:gd name="connsiteY43" fmla="*/ 55461 h 394923"/>
                  <a:gd name="connsiteX44" fmla="*/ 298665 w 590825"/>
                  <a:gd name="connsiteY44" fmla="*/ 39110 h 394923"/>
                  <a:gd name="connsiteX45" fmla="*/ 317686 w 590825"/>
                  <a:gd name="connsiteY45" fmla="*/ 24929 h 394923"/>
                  <a:gd name="connsiteX46" fmla="*/ 358481 w 590825"/>
                  <a:gd name="connsiteY46" fmla="*/ 39110 h 394923"/>
                  <a:gd name="connsiteX47" fmla="*/ 338960 w 590825"/>
                  <a:gd name="connsiteY47" fmla="*/ 68808 h 394923"/>
                  <a:gd name="connsiteX48" fmla="*/ 356229 w 590825"/>
                  <a:gd name="connsiteY48" fmla="*/ 112687 h 394923"/>
                  <a:gd name="connsiteX49" fmla="*/ 363320 w 590825"/>
                  <a:gd name="connsiteY49" fmla="*/ 120195 h 394923"/>
                  <a:gd name="connsiteX50" fmla="*/ 379255 w 590825"/>
                  <a:gd name="connsiteY50" fmla="*/ 141468 h 394923"/>
                  <a:gd name="connsiteX51" fmla="*/ 382342 w 590825"/>
                  <a:gd name="connsiteY51" fmla="*/ 149893 h 394923"/>
                  <a:gd name="connsiteX52" fmla="*/ 397859 w 590825"/>
                  <a:gd name="connsiteY52" fmla="*/ 176921 h 394923"/>
                  <a:gd name="connsiteX53" fmla="*/ 446163 w 590825"/>
                  <a:gd name="connsiteY53" fmla="*/ 201280 h 394923"/>
                  <a:gd name="connsiteX54" fmla="*/ 471858 w 590825"/>
                  <a:gd name="connsiteY54" fmla="*/ 211040 h 394923"/>
                  <a:gd name="connsiteX55" fmla="*/ 501558 w 590825"/>
                  <a:gd name="connsiteY55" fmla="*/ 234481 h 394923"/>
                  <a:gd name="connsiteX56" fmla="*/ 506898 w 590825"/>
                  <a:gd name="connsiteY56" fmla="*/ 250832 h 394923"/>
                  <a:gd name="connsiteX57" fmla="*/ 515741 w 590825"/>
                  <a:gd name="connsiteY57" fmla="*/ 273856 h 394923"/>
                  <a:gd name="connsiteX58" fmla="*/ 543188 w 590825"/>
                  <a:gd name="connsiteY58" fmla="*/ 292459 h 394923"/>
                  <a:gd name="connsiteX59" fmla="*/ 559540 w 590825"/>
                  <a:gd name="connsiteY59" fmla="*/ 300884 h 394923"/>
                  <a:gd name="connsiteX60" fmla="*/ 580230 w 590825"/>
                  <a:gd name="connsiteY60" fmla="*/ 332417 h 394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90825" h="394923" extrusionOk="0">
                    <a:moveTo>
                      <a:pt x="580230" y="332417"/>
                    </a:moveTo>
                    <a:cubicBezTo>
                      <a:pt x="583734" y="341260"/>
                      <a:pt x="587321" y="350603"/>
                      <a:pt x="590825" y="360363"/>
                    </a:cubicBezTo>
                    <a:cubicBezTo>
                      <a:pt x="576643" y="365702"/>
                      <a:pt x="564713" y="371458"/>
                      <a:pt x="554034" y="378048"/>
                    </a:cubicBezTo>
                    <a:lnTo>
                      <a:pt x="547860" y="382469"/>
                    </a:lnTo>
                    <a:cubicBezTo>
                      <a:pt x="536348" y="390478"/>
                      <a:pt x="528339" y="395316"/>
                      <a:pt x="514657" y="394899"/>
                    </a:cubicBezTo>
                    <a:cubicBezTo>
                      <a:pt x="504478" y="394482"/>
                      <a:pt x="495135" y="393147"/>
                      <a:pt x="484957" y="391813"/>
                    </a:cubicBezTo>
                    <a:cubicBezTo>
                      <a:pt x="472526" y="390061"/>
                      <a:pt x="459678" y="388309"/>
                      <a:pt x="446413" y="388726"/>
                    </a:cubicBezTo>
                    <a:cubicBezTo>
                      <a:pt x="428226" y="389143"/>
                      <a:pt x="409622" y="389644"/>
                      <a:pt x="391018" y="387391"/>
                    </a:cubicBezTo>
                    <a:cubicBezTo>
                      <a:pt x="370662" y="385139"/>
                      <a:pt x="349805" y="380717"/>
                      <a:pt x="326779" y="373627"/>
                    </a:cubicBezTo>
                    <a:lnTo>
                      <a:pt x="324527" y="372709"/>
                    </a:lnTo>
                    <a:cubicBezTo>
                      <a:pt x="308592" y="367871"/>
                      <a:pt x="289988" y="362115"/>
                      <a:pt x="272719" y="371375"/>
                    </a:cubicBezTo>
                    <a:cubicBezTo>
                      <a:pt x="266962" y="374461"/>
                      <a:pt x="262123" y="379383"/>
                      <a:pt x="257618" y="383304"/>
                    </a:cubicBezTo>
                    <a:cubicBezTo>
                      <a:pt x="249609" y="390811"/>
                      <a:pt x="244771" y="395233"/>
                      <a:pt x="236345" y="394398"/>
                    </a:cubicBezTo>
                    <a:cubicBezTo>
                      <a:pt x="229670" y="393481"/>
                      <a:pt x="223497" y="389059"/>
                      <a:pt x="216406" y="384221"/>
                    </a:cubicBezTo>
                    <a:cubicBezTo>
                      <a:pt x="209732" y="379383"/>
                      <a:pt x="203141" y="374461"/>
                      <a:pt x="195132" y="372292"/>
                    </a:cubicBezTo>
                    <a:cubicBezTo>
                      <a:pt x="180532" y="367871"/>
                      <a:pt x="165432" y="369206"/>
                      <a:pt x="150832" y="370040"/>
                    </a:cubicBezTo>
                    <a:cubicBezTo>
                      <a:pt x="144659" y="370457"/>
                      <a:pt x="138902" y="370957"/>
                      <a:pt x="132645" y="370957"/>
                    </a:cubicBezTo>
                    <a:cubicBezTo>
                      <a:pt x="112289" y="371375"/>
                      <a:pt x="92350" y="367454"/>
                      <a:pt x="71493" y="362949"/>
                    </a:cubicBezTo>
                    <a:lnTo>
                      <a:pt x="68824" y="362532"/>
                    </a:lnTo>
                    <a:cubicBezTo>
                      <a:pt x="65737" y="362115"/>
                      <a:pt x="62650" y="361197"/>
                      <a:pt x="59480" y="361197"/>
                    </a:cubicBezTo>
                    <a:cubicBezTo>
                      <a:pt x="59897" y="360780"/>
                      <a:pt x="59897" y="360279"/>
                      <a:pt x="59897" y="359862"/>
                    </a:cubicBezTo>
                    <a:cubicBezTo>
                      <a:pt x="62150" y="354106"/>
                      <a:pt x="67906" y="347933"/>
                      <a:pt x="73662" y="341260"/>
                    </a:cubicBezTo>
                    <a:cubicBezTo>
                      <a:pt x="84258" y="329330"/>
                      <a:pt x="95770" y="315983"/>
                      <a:pt x="93184" y="300050"/>
                    </a:cubicBezTo>
                    <a:cubicBezTo>
                      <a:pt x="90098" y="282365"/>
                      <a:pt x="72327" y="278778"/>
                      <a:pt x="58228" y="276108"/>
                    </a:cubicBezTo>
                    <a:cubicBezTo>
                      <a:pt x="49802" y="274773"/>
                      <a:pt x="41376" y="273021"/>
                      <a:pt x="36954" y="269435"/>
                    </a:cubicBezTo>
                    <a:cubicBezTo>
                      <a:pt x="27610" y="261009"/>
                      <a:pt x="22355" y="257506"/>
                      <a:pt x="11259" y="252166"/>
                    </a:cubicBezTo>
                    <a:cubicBezTo>
                      <a:pt x="1498" y="247745"/>
                      <a:pt x="-671" y="246828"/>
                      <a:pt x="163" y="238903"/>
                    </a:cubicBezTo>
                    <a:cubicBezTo>
                      <a:pt x="580" y="230477"/>
                      <a:pt x="7254" y="223386"/>
                      <a:pt x="14763" y="215878"/>
                    </a:cubicBezTo>
                    <a:cubicBezTo>
                      <a:pt x="21437" y="208788"/>
                      <a:pt x="28028" y="201697"/>
                      <a:pt x="31115" y="191937"/>
                    </a:cubicBezTo>
                    <a:cubicBezTo>
                      <a:pt x="32449" y="187933"/>
                      <a:pt x="33367" y="183511"/>
                      <a:pt x="34202" y="179507"/>
                    </a:cubicBezTo>
                    <a:cubicBezTo>
                      <a:pt x="35536" y="171499"/>
                      <a:pt x="36454" y="166660"/>
                      <a:pt x="41293" y="162656"/>
                    </a:cubicBezTo>
                    <a:cubicBezTo>
                      <a:pt x="44796" y="159987"/>
                      <a:pt x="49719" y="158652"/>
                      <a:pt x="54558" y="157317"/>
                    </a:cubicBezTo>
                    <a:cubicBezTo>
                      <a:pt x="59396" y="155983"/>
                      <a:pt x="64735" y="154648"/>
                      <a:pt x="69157" y="151979"/>
                    </a:cubicBezTo>
                    <a:cubicBezTo>
                      <a:pt x="89513" y="140466"/>
                      <a:pt x="98357" y="114773"/>
                      <a:pt x="92600" y="81571"/>
                    </a:cubicBezTo>
                    <a:cubicBezTo>
                      <a:pt x="91683" y="74481"/>
                      <a:pt x="89930" y="67807"/>
                      <a:pt x="88178" y="61217"/>
                    </a:cubicBezTo>
                    <a:cubicBezTo>
                      <a:pt x="85926" y="53208"/>
                      <a:pt x="83757" y="45283"/>
                      <a:pt x="83340" y="37275"/>
                    </a:cubicBezTo>
                    <a:cubicBezTo>
                      <a:pt x="82923" y="33772"/>
                      <a:pt x="82422" y="30602"/>
                      <a:pt x="82422" y="27098"/>
                    </a:cubicBezTo>
                    <a:cubicBezTo>
                      <a:pt x="82839" y="27098"/>
                      <a:pt x="83757" y="27098"/>
                      <a:pt x="84675" y="26681"/>
                    </a:cubicBezTo>
                    <a:cubicBezTo>
                      <a:pt x="94435" y="24428"/>
                      <a:pt x="101944" y="18255"/>
                      <a:pt x="108618" y="12499"/>
                    </a:cubicBezTo>
                    <a:cubicBezTo>
                      <a:pt x="113957" y="7661"/>
                      <a:pt x="118796" y="3657"/>
                      <a:pt x="124553" y="1405"/>
                    </a:cubicBezTo>
                    <a:cubicBezTo>
                      <a:pt x="131227" y="-848"/>
                      <a:pt x="139653" y="70"/>
                      <a:pt x="148496" y="988"/>
                    </a:cubicBezTo>
                    <a:cubicBezTo>
                      <a:pt x="152918" y="1405"/>
                      <a:pt x="157339" y="1905"/>
                      <a:pt x="161344" y="1905"/>
                    </a:cubicBezTo>
                    <a:cubicBezTo>
                      <a:pt x="197635" y="2823"/>
                      <a:pt x="223330" y="14752"/>
                      <a:pt x="245104" y="40862"/>
                    </a:cubicBezTo>
                    <a:cubicBezTo>
                      <a:pt x="252613" y="50206"/>
                      <a:pt x="260205" y="55044"/>
                      <a:pt x="268130" y="55461"/>
                    </a:cubicBezTo>
                    <a:cubicBezTo>
                      <a:pt x="280060" y="55878"/>
                      <a:pt x="289404" y="47452"/>
                      <a:pt x="298665" y="39110"/>
                    </a:cubicBezTo>
                    <a:cubicBezTo>
                      <a:pt x="304838" y="33772"/>
                      <a:pt x="311095" y="27599"/>
                      <a:pt x="317686" y="24929"/>
                    </a:cubicBezTo>
                    <a:cubicBezTo>
                      <a:pt x="332786" y="18756"/>
                      <a:pt x="346885" y="26264"/>
                      <a:pt x="358481" y="39110"/>
                    </a:cubicBezTo>
                    <a:cubicBezTo>
                      <a:pt x="349638" y="45283"/>
                      <a:pt x="340795" y="52875"/>
                      <a:pt x="338960" y="68808"/>
                    </a:cubicBezTo>
                    <a:cubicBezTo>
                      <a:pt x="337625" y="83407"/>
                      <a:pt x="343381" y="99340"/>
                      <a:pt x="356229" y="112687"/>
                    </a:cubicBezTo>
                    <a:cubicBezTo>
                      <a:pt x="358481" y="115357"/>
                      <a:pt x="361068" y="117526"/>
                      <a:pt x="363320" y="120195"/>
                    </a:cubicBezTo>
                    <a:cubicBezTo>
                      <a:pt x="370412" y="126869"/>
                      <a:pt x="375751" y="132124"/>
                      <a:pt x="379255" y="141468"/>
                    </a:cubicBezTo>
                    <a:cubicBezTo>
                      <a:pt x="380590" y="144554"/>
                      <a:pt x="381507" y="147224"/>
                      <a:pt x="382342" y="149893"/>
                    </a:cubicBezTo>
                    <a:cubicBezTo>
                      <a:pt x="385429" y="159236"/>
                      <a:pt x="389016" y="168496"/>
                      <a:pt x="397859" y="176921"/>
                    </a:cubicBezTo>
                    <a:cubicBezTo>
                      <a:pt x="411624" y="189768"/>
                      <a:pt x="429311" y="195524"/>
                      <a:pt x="446163" y="201280"/>
                    </a:cubicBezTo>
                    <a:cubicBezTo>
                      <a:pt x="455507" y="204367"/>
                      <a:pt x="463850" y="207036"/>
                      <a:pt x="471858" y="211040"/>
                    </a:cubicBezTo>
                    <a:cubicBezTo>
                      <a:pt x="482954" y="216379"/>
                      <a:pt x="495301" y="223470"/>
                      <a:pt x="501558" y="234481"/>
                    </a:cubicBezTo>
                    <a:cubicBezTo>
                      <a:pt x="504228" y="239320"/>
                      <a:pt x="505980" y="244658"/>
                      <a:pt x="506898" y="250832"/>
                    </a:cubicBezTo>
                    <a:cubicBezTo>
                      <a:pt x="509150" y="258840"/>
                      <a:pt x="510402" y="266765"/>
                      <a:pt x="515741" y="273856"/>
                    </a:cubicBezTo>
                    <a:cubicBezTo>
                      <a:pt x="522832" y="284033"/>
                      <a:pt x="533928" y="288454"/>
                      <a:pt x="543188" y="292459"/>
                    </a:cubicBezTo>
                    <a:cubicBezTo>
                      <a:pt x="549362" y="295128"/>
                      <a:pt x="555119" y="297297"/>
                      <a:pt x="559540" y="300884"/>
                    </a:cubicBezTo>
                    <a:cubicBezTo>
                      <a:pt x="570469" y="308058"/>
                      <a:pt x="574974" y="318653"/>
                      <a:pt x="580230" y="33241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47130779" name="Полилиния 394"/>
              <p:cNvSpPr/>
              <p:nvPr/>
            </p:nvSpPr>
            <p:spPr bwMode="auto">
              <a:xfrm>
                <a:off x="4068366" y="4704822"/>
                <a:ext cx="836293" cy="663484"/>
              </a:xfrm>
              <a:custGeom>
                <a:avLst/>
                <a:gdLst>
                  <a:gd name="connsiteX0" fmla="*/ 434454 w 939186"/>
                  <a:gd name="connsiteY0" fmla="*/ 704220 h 745115"/>
                  <a:gd name="connsiteX1" fmla="*/ 424693 w 939186"/>
                  <a:gd name="connsiteY1" fmla="*/ 716650 h 745115"/>
                  <a:gd name="connsiteX2" fmla="*/ 416684 w 939186"/>
                  <a:gd name="connsiteY2" fmla="*/ 725075 h 745115"/>
                  <a:gd name="connsiteX3" fmla="*/ 406923 w 939186"/>
                  <a:gd name="connsiteY3" fmla="*/ 740592 h 745115"/>
                  <a:gd name="connsiteX4" fmla="*/ 406006 w 939186"/>
                  <a:gd name="connsiteY4" fmla="*/ 741009 h 745115"/>
                  <a:gd name="connsiteX5" fmla="*/ 364792 w 939186"/>
                  <a:gd name="connsiteY5" fmla="*/ 726827 h 745115"/>
                  <a:gd name="connsiteX6" fmla="*/ 353697 w 939186"/>
                  <a:gd name="connsiteY6" fmla="*/ 712646 h 745115"/>
                  <a:gd name="connsiteX7" fmla="*/ 255754 w 939186"/>
                  <a:gd name="connsiteY7" fmla="*/ 683866 h 745115"/>
                  <a:gd name="connsiteX8" fmla="*/ 250915 w 939186"/>
                  <a:gd name="connsiteY8" fmla="*/ 685201 h 745115"/>
                  <a:gd name="connsiteX9" fmla="*/ 239819 w 939186"/>
                  <a:gd name="connsiteY9" fmla="*/ 656838 h 745115"/>
                  <a:gd name="connsiteX10" fmla="*/ 215458 w 939186"/>
                  <a:gd name="connsiteY10" fmla="*/ 619215 h 745115"/>
                  <a:gd name="connsiteX11" fmla="*/ 196437 w 939186"/>
                  <a:gd name="connsiteY11" fmla="*/ 609037 h 745115"/>
                  <a:gd name="connsiteX12" fmla="*/ 174746 w 939186"/>
                  <a:gd name="connsiteY12" fmla="*/ 594856 h 745115"/>
                  <a:gd name="connsiteX13" fmla="*/ 168072 w 939186"/>
                  <a:gd name="connsiteY13" fmla="*/ 577171 h 745115"/>
                  <a:gd name="connsiteX14" fmla="*/ 160981 w 939186"/>
                  <a:gd name="connsiteY14" fmla="*/ 556816 h 745115"/>
                  <a:gd name="connsiteX15" fmla="*/ 125107 w 939186"/>
                  <a:gd name="connsiteY15" fmla="*/ 528036 h 745115"/>
                  <a:gd name="connsiteX16" fmla="*/ 97660 w 939186"/>
                  <a:gd name="connsiteY16" fmla="*/ 517859 h 745115"/>
                  <a:gd name="connsiteX17" fmla="*/ 54695 w 939186"/>
                  <a:gd name="connsiteY17" fmla="*/ 496587 h 745115"/>
                  <a:gd name="connsiteX18" fmla="*/ 42765 w 939186"/>
                  <a:gd name="connsiteY18" fmla="*/ 474897 h 745115"/>
                  <a:gd name="connsiteX19" fmla="*/ 39678 w 939186"/>
                  <a:gd name="connsiteY19" fmla="*/ 466055 h 745115"/>
                  <a:gd name="connsiteX20" fmla="*/ 20157 w 939186"/>
                  <a:gd name="connsiteY20" fmla="*/ 439944 h 745115"/>
                  <a:gd name="connsiteX21" fmla="*/ 13065 w 939186"/>
                  <a:gd name="connsiteY21" fmla="*/ 432854 h 745115"/>
                  <a:gd name="connsiteX22" fmla="*/ 217 w 939186"/>
                  <a:gd name="connsiteY22" fmla="*/ 400069 h 745115"/>
                  <a:gd name="connsiteX23" fmla="*/ 14817 w 939186"/>
                  <a:gd name="connsiteY23" fmla="*/ 379714 h 745115"/>
                  <a:gd name="connsiteX24" fmla="*/ 15735 w 939186"/>
                  <a:gd name="connsiteY24" fmla="*/ 378797 h 745115"/>
                  <a:gd name="connsiteX25" fmla="*/ 25496 w 939186"/>
                  <a:gd name="connsiteY25" fmla="*/ 371706 h 745115"/>
                  <a:gd name="connsiteX26" fmla="*/ 25913 w 939186"/>
                  <a:gd name="connsiteY26" fmla="*/ 371289 h 745115"/>
                  <a:gd name="connsiteX27" fmla="*/ 36508 w 939186"/>
                  <a:gd name="connsiteY27" fmla="*/ 338088 h 745115"/>
                  <a:gd name="connsiteX28" fmla="*/ 36091 w 939186"/>
                  <a:gd name="connsiteY28" fmla="*/ 332749 h 745115"/>
                  <a:gd name="connsiteX29" fmla="*/ 41430 w 939186"/>
                  <a:gd name="connsiteY29" fmla="*/ 298212 h 745115"/>
                  <a:gd name="connsiteX30" fmla="*/ 41847 w 939186"/>
                  <a:gd name="connsiteY30" fmla="*/ 296461 h 745115"/>
                  <a:gd name="connsiteX31" fmla="*/ 44934 w 939186"/>
                  <a:gd name="connsiteY31" fmla="*/ 285366 h 745115"/>
                  <a:gd name="connsiteX32" fmla="*/ 76386 w 939186"/>
                  <a:gd name="connsiteY32" fmla="*/ 232644 h 745115"/>
                  <a:gd name="connsiteX33" fmla="*/ 118433 w 939186"/>
                  <a:gd name="connsiteY33" fmla="*/ 219797 h 745115"/>
                  <a:gd name="connsiteX34" fmla="*/ 193267 w 939186"/>
                  <a:gd name="connsiteY34" fmla="*/ 170663 h 745115"/>
                  <a:gd name="connsiteX35" fmla="*/ 196771 w 939186"/>
                  <a:gd name="connsiteY35" fmla="*/ 131205 h 745115"/>
                  <a:gd name="connsiteX36" fmla="*/ 207366 w 939186"/>
                  <a:gd name="connsiteY36" fmla="*/ 130788 h 745115"/>
                  <a:gd name="connsiteX37" fmla="*/ 209619 w 939186"/>
                  <a:gd name="connsiteY37" fmla="*/ 130788 h 745115"/>
                  <a:gd name="connsiteX38" fmla="*/ 210036 w 939186"/>
                  <a:gd name="connsiteY38" fmla="*/ 130788 h 745115"/>
                  <a:gd name="connsiteX39" fmla="*/ 261010 w 939186"/>
                  <a:gd name="connsiteY39" fmla="*/ 114854 h 745115"/>
                  <a:gd name="connsiteX40" fmla="*/ 266349 w 939186"/>
                  <a:gd name="connsiteY40" fmla="*/ 108681 h 745115"/>
                  <a:gd name="connsiteX41" fmla="*/ 296049 w 939186"/>
                  <a:gd name="connsiteY41" fmla="*/ 94500 h 745115"/>
                  <a:gd name="connsiteX42" fmla="*/ 336844 w 939186"/>
                  <a:gd name="connsiteY42" fmla="*/ 86074 h 745115"/>
                  <a:gd name="connsiteX43" fmla="*/ 351027 w 939186"/>
                  <a:gd name="connsiteY43" fmla="*/ 80735 h 745115"/>
                  <a:gd name="connsiteX44" fmla="*/ 385983 w 939186"/>
                  <a:gd name="connsiteY44" fmla="*/ 78066 h 745115"/>
                  <a:gd name="connsiteX45" fmla="*/ 406339 w 939186"/>
                  <a:gd name="connsiteY45" fmla="*/ 78984 h 745115"/>
                  <a:gd name="connsiteX46" fmla="*/ 443965 w 939186"/>
                  <a:gd name="connsiteY46" fmla="*/ 59463 h 745115"/>
                  <a:gd name="connsiteX47" fmla="*/ 450639 w 939186"/>
                  <a:gd name="connsiteY47" fmla="*/ 53290 h 745115"/>
                  <a:gd name="connsiteX48" fmla="*/ 485178 w 939186"/>
                  <a:gd name="connsiteY48" fmla="*/ 38692 h 745115"/>
                  <a:gd name="connsiteX49" fmla="*/ 496273 w 939186"/>
                  <a:gd name="connsiteY49" fmla="*/ 36439 h 745115"/>
                  <a:gd name="connsiteX50" fmla="*/ 514461 w 939186"/>
                  <a:gd name="connsiteY50" fmla="*/ 16919 h 745115"/>
                  <a:gd name="connsiteX51" fmla="*/ 516713 w 939186"/>
                  <a:gd name="connsiteY51" fmla="*/ 6741 h 745115"/>
                  <a:gd name="connsiteX52" fmla="*/ 524221 w 939186"/>
                  <a:gd name="connsiteY52" fmla="*/ 568 h 745115"/>
                  <a:gd name="connsiteX53" fmla="*/ 565017 w 939186"/>
                  <a:gd name="connsiteY53" fmla="*/ 12998 h 745115"/>
                  <a:gd name="connsiteX54" fmla="*/ 573026 w 939186"/>
                  <a:gd name="connsiteY54" fmla="*/ 17836 h 745115"/>
                  <a:gd name="connsiteX55" fmla="*/ 611986 w 939186"/>
                  <a:gd name="connsiteY55" fmla="*/ 37774 h 745115"/>
                  <a:gd name="connsiteX56" fmla="*/ 636347 w 939186"/>
                  <a:gd name="connsiteY56" fmla="*/ 43530 h 745115"/>
                  <a:gd name="connsiteX57" fmla="*/ 658038 w 939186"/>
                  <a:gd name="connsiteY57" fmla="*/ 48368 h 745115"/>
                  <a:gd name="connsiteX58" fmla="*/ 683316 w 939186"/>
                  <a:gd name="connsiteY58" fmla="*/ 70558 h 745115"/>
                  <a:gd name="connsiteX59" fmla="*/ 689991 w 939186"/>
                  <a:gd name="connsiteY59" fmla="*/ 78984 h 745115"/>
                  <a:gd name="connsiteX60" fmla="*/ 702421 w 939186"/>
                  <a:gd name="connsiteY60" fmla="*/ 93165 h 745115"/>
                  <a:gd name="connsiteX61" fmla="*/ 722360 w 939186"/>
                  <a:gd name="connsiteY61" fmla="*/ 117524 h 745115"/>
                  <a:gd name="connsiteX62" fmla="*/ 734790 w 939186"/>
                  <a:gd name="connsiteY62" fmla="*/ 147221 h 745115"/>
                  <a:gd name="connsiteX63" fmla="*/ 744134 w 939186"/>
                  <a:gd name="connsiteY63" fmla="*/ 171580 h 745115"/>
                  <a:gd name="connsiteX64" fmla="*/ 762738 w 939186"/>
                  <a:gd name="connsiteY64" fmla="*/ 195522 h 745115"/>
                  <a:gd name="connsiteX65" fmla="*/ 776504 w 939186"/>
                  <a:gd name="connsiteY65" fmla="*/ 211455 h 745115"/>
                  <a:gd name="connsiteX66" fmla="*/ 786682 w 939186"/>
                  <a:gd name="connsiteY66" fmla="*/ 229641 h 745115"/>
                  <a:gd name="connsiteX67" fmla="*/ 833234 w 939186"/>
                  <a:gd name="connsiteY67" fmla="*/ 270851 h 745115"/>
                  <a:gd name="connsiteX68" fmla="*/ 861182 w 939186"/>
                  <a:gd name="connsiteY68" fmla="*/ 283697 h 745115"/>
                  <a:gd name="connsiteX69" fmla="*/ 880704 w 939186"/>
                  <a:gd name="connsiteY69" fmla="*/ 293458 h 745115"/>
                  <a:gd name="connsiteX70" fmla="*/ 902395 w 939186"/>
                  <a:gd name="connsiteY70" fmla="*/ 300966 h 745115"/>
                  <a:gd name="connsiteX71" fmla="*/ 924086 w 939186"/>
                  <a:gd name="connsiteY71" fmla="*/ 308473 h 745115"/>
                  <a:gd name="connsiteX72" fmla="*/ 939186 w 939186"/>
                  <a:gd name="connsiteY72" fmla="*/ 320402 h 745115"/>
                  <a:gd name="connsiteX73" fmla="*/ 925004 w 939186"/>
                  <a:gd name="connsiteY73" fmla="*/ 334167 h 745115"/>
                  <a:gd name="connsiteX74" fmla="*/ 860348 w 939186"/>
                  <a:gd name="connsiteY74" fmla="*/ 369621 h 745115"/>
                  <a:gd name="connsiteX75" fmla="*/ 807622 w 939186"/>
                  <a:gd name="connsiteY75" fmla="*/ 364282 h 745115"/>
                  <a:gd name="connsiteX76" fmla="*/ 787266 w 939186"/>
                  <a:gd name="connsiteY76" fmla="*/ 357608 h 745115"/>
                  <a:gd name="connsiteX77" fmla="*/ 748723 w 939186"/>
                  <a:gd name="connsiteY77" fmla="*/ 361112 h 745115"/>
                  <a:gd name="connsiteX78" fmla="*/ 722110 w 939186"/>
                  <a:gd name="connsiteY78" fmla="*/ 365533 h 745115"/>
                  <a:gd name="connsiteX79" fmla="*/ 675557 w 939186"/>
                  <a:gd name="connsiteY79" fmla="*/ 342092 h 745115"/>
                  <a:gd name="connsiteX80" fmla="*/ 637932 w 939186"/>
                  <a:gd name="connsiteY80" fmla="*/ 325741 h 745115"/>
                  <a:gd name="connsiteX81" fmla="*/ 629923 w 939186"/>
                  <a:gd name="connsiteY81" fmla="*/ 325324 h 745115"/>
                  <a:gd name="connsiteX82" fmla="*/ 610401 w 939186"/>
                  <a:gd name="connsiteY82" fmla="*/ 318233 h 745115"/>
                  <a:gd name="connsiteX83" fmla="*/ 609984 w 939186"/>
                  <a:gd name="connsiteY83" fmla="*/ 305387 h 745115"/>
                  <a:gd name="connsiteX84" fmla="*/ 613488 w 939186"/>
                  <a:gd name="connsiteY84" fmla="*/ 295210 h 745115"/>
                  <a:gd name="connsiteX85" fmla="*/ 601975 w 939186"/>
                  <a:gd name="connsiteY85" fmla="*/ 251831 h 745115"/>
                  <a:gd name="connsiteX86" fmla="*/ 547497 w 939186"/>
                  <a:gd name="connsiteY86" fmla="*/ 285950 h 745115"/>
                  <a:gd name="connsiteX87" fmla="*/ 542659 w 939186"/>
                  <a:gd name="connsiteY87" fmla="*/ 294375 h 745115"/>
                  <a:gd name="connsiteX88" fmla="*/ 532898 w 939186"/>
                  <a:gd name="connsiteY88" fmla="*/ 307222 h 745115"/>
                  <a:gd name="connsiteX89" fmla="*/ 514711 w 939186"/>
                  <a:gd name="connsiteY89" fmla="*/ 350184 h 745115"/>
                  <a:gd name="connsiteX90" fmla="*/ 514711 w 939186"/>
                  <a:gd name="connsiteY90" fmla="*/ 356357 h 745115"/>
                  <a:gd name="connsiteX91" fmla="*/ 504115 w 939186"/>
                  <a:gd name="connsiteY91" fmla="*/ 408161 h 745115"/>
                  <a:gd name="connsiteX92" fmla="*/ 519633 w 939186"/>
                  <a:gd name="connsiteY92" fmla="*/ 457796 h 745115"/>
                  <a:gd name="connsiteX93" fmla="*/ 564350 w 939186"/>
                  <a:gd name="connsiteY93" fmla="*/ 498589 h 745115"/>
                  <a:gd name="connsiteX94" fmla="*/ 569689 w 939186"/>
                  <a:gd name="connsiteY94" fmla="*/ 524699 h 745115"/>
                  <a:gd name="connsiteX95" fmla="*/ 558593 w 939186"/>
                  <a:gd name="connsiteY95" fmla="*/ 536629 h 745115"/>
                  <a:gd name="connsiteX96" fmla="*/ 541741 w 939186"/>
                  <a:gd name="connsiteY96" fmla="*/ 543719 h 745115"/>
                  <a:gd name="connsiteX97" fmla="*/ 501446 w 939186"/>
                  <a:gd name="connsiteY97" fmla="*/ 569830 h 745115"/>
                  <a:gd name="connsiteX98" fmla="*/ 473498 w 939186"/>
                  <a:gd name="connsiteY98" fmla="*/ 624721 h 745115"/>
                  <a:gd name="connsiteX99" fmla="*/ 472580 w 939186"/>
                  <a:gd name="connsiteY99" fmla="*/ 628224 h 745115"/>
                  <a:gd name="connsiteX100" fmla="*/ 456228 w 939186"/>
                  <a:gd name="connsiteY100" fmla="*/ 650331 h 745115"/>
                  <a:gd name="connsiteX101" fmla="*/ 438542 w 939186"/>
                  <a:gd name="connsiteY101" fmla="*/ 673772 h 745115"/>
                  <a:gd name="connsiteX102" fmla="*/ 435455 w 939186"/>
                  <a:gd name="connsiteY102" fmla="*/ 691040 h 745115"/>
                  <a:gd name="connsiteX103" fmla="*/ 434454 w 939186"/>
                  <a:gd name="connsiteY103" fmla="*/ 704220 h 745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39186" h="745115" extrusionOk="0">
                    <a:moveTo>
                      <a:pt x="434454" y="704220"/>
                    </a:moveTo>
                    <a:cubicBezTo>
                      <a:pt x="432702" y="709059"/>
                      <a:pt x="429115" y="712646"/>
                      <a:pt x="424693" y="716650"/>
                    </a:cubicBezTo>
                    <a:cubicBezTo>
                      <a:pt x="422023" y="719319"/>
                      <a:pt x="419354" y="721989"/>
                      <a:pt x="416684" y="725075"/>
                    </a:cubicBezTo>
                    <a:cubicBezTo>
                      <a:pt x="413180" y="729914"/>
                      <a:pt x="409593" y="735253"/>
                      <a:pt x="406923" y="740592"/>
                    </a:cubicBezTo>
                    <a:cubicBezTo>
                      <a:pt x="406506" y="740592"/>
                      <a:pt x="406506" y="741009"/>
                      <a:pt x="406006" y="741009"/>
                    </a:cubicBezTo>
                    <a:cubicBezTo>
                      <a:pt x="381645" y="749851"/>
                      <a:pt x="377223" y="744095"/>
                      <a:pt x="364792" y="726827"/>
                    </a:cubicBezTo>
                    <a:cubicBezTo>
                      <a:pt x="361706" y="722406"/>
                      <a:pt x="358118" y="717985"/>
                      <a:pt x="353697" y="712646"/>
                    </a:cubicBezTo>
                    <a:cubicBezTo>
                      <a:pt x="329753" y="684283"/>
                      <a:pt x="292128" y="673188"/>
                      <a:pt x="255754" y="683866"/>
                    </a:cubicBezTo>
                    <a:cubicBezTo>
                      <a:pt x="254002" y="684283"/>
                      <a:pt x="252667" y="684783"/>
                      <a:pt x="250915" y="685201"/>
                    </a:cubicBezTo>
                    <a:cubicBezTo>
                      <a:pt x="247411" y="675440"/>
                      <a:pt x="243406" y="665680"/>
                      <a:pt x="239819" y="656838"/>
                    </a:cubicBezTo>
                    <a:cubicBezTo>
                      <a:pt x="234981" y="643991"/>
                      <a:pt x="229224" y="629392"/>
                      <a:pt x="215458" y="619215"/>
                    </a:cubicBezTo>
                    <a:cubicBezTo>
                      <a:pt x="209702" y="614793"/>
                      <a:pt x="203028" y="611707"/>
                      <a:pt x="196437" y="609037"/>
                    </a:cubicBezTo>
                    <a:cubicBezTo>
                      <a:pt x="187594" y="605534"/>
                      <a:pt x="179585" y="601947"/>
                      <a:pt x="174746" y="594856"/>
                    </a:cubicBezTo>
                    <a:cubicBezTo>
                      <a:pt x="171242" y="590018"/>
                      <a:pt x="169908" y="583761"/>
                      <a:pt x="168072" y="577171"/>
                    </a:cubicBezTo>
                    <a:cubicBezTo>
                      <a:pt x="166737" y="570497"/>
                      <a:pt x="164985" y="563407"/>
                      <a:pt x="160981" y="556816"/>
                    </a:cubicBezTo>
                    <a:cubicBezTo>
                      <a:pt x="152555" y="542635"/>
                      <a:pt x="137955" y="534710"/>
                      <a:pt x="125107" y="528036"/>
                    </a:cubicBezTo>
                    <a:cubicBezTo>
                      <a:pt x="116264" y="524032"/>
                      <a:pt x="106920" y="520945"/>
                      <a:pt x="97660" y="517859"/>
                    </a:cubicBezTo>
                    <a:cubicBezTo>
                      <a:pt x="81308" y="512520"/>
                      <a:pt x="65791" y="507264"/>
                      <a:pt x="54695" y="496587"/>
                    </a:cubicBezTo>
                    <a:cubicBezTo>
                      <a:pt x="48522" y="490414"/>
                      <a:pt x="45852" y="483740"/>
                      <a:pt x="42765" y="474897"/>
                    </a:cubicBezTo>
                    <a:cubicBezTo>
                      <a:pt x="41847" y="471811"/>
                      <a:pt x="40513" y="468724"/>
                      <a:pt x="39678" y="466055"/>
                    </a:cubicBezTo>
                    <a:cubicBezTo>
                      <a:pt x="34839" y="454126"/>
                      <a:pt x="27748" y="447452"/>
                      <a:pt x="20157" y="439944"/>
                    </a:cubicBezTo>
                    <a:cubicBezTo>
                      <a:pt x="17904" y="437692"/>
                      <a:pt x="15318" y="435523"/>
                      <a:pt x="13065" y="432854"/>
                    </a:cubicBezTo>
                    <a:cubicBezTo>
                      <a:pt x="7726" y="426680"/>
                      <a:pt x="-1534" y="414668"/>
                      <a:pt x="217" y="400069"/>
                    </a:cubicBezTo>
                    <a:cubicBezTo>
                      <a:pt x="1135" y="389475"/>
                      <a:pt x="6391" y="385470"/>
                      <a:pt x="14817" y="379714"/>
                    </a:cubicBezTo>
                    <a:cubicBezTo>
                      <a:pt x="15234" y="379297"/>
                      <a:pt x="15735" y="379297"/>
                      <a:pt x="15735" y="378797"/>
                    </a:cubicBezTo>
                    <a:cubicBezTo>
                      <a:pt x="18822" y="376545"/>
                      <a:pt x="22409" y="374376"/>
                      <a:pt x="25496" y="371706"/>
                    </a:cubicBezTo>
                    <a:cubicBezTo>
                      <a:pt x="25913" y="371289"/>
                      <a:pt x="25913" y="371289"/>
                      <a:pt x="25913" y="371289"/>
                    </a:cubicBezTo>
                    <a:cubicBezTo>
                      <a:pt x="39178" y="360194"/>
                      <a:pt x="37843" y="349600"/>
                      <a:pt x="36508" y="338088"/>
                    </a:cubicBezTo>
                    <a:lnTo>
                      <a:pt x="36091" y="332749"/>
                    </a:lnTo>
                    <a:cubicBezTo>
                      <a:pt x="34756" y="320319"/>
                      <a:pt x="37426" y="310559"/>
                      <a:pt x="41430" y="298212"/>
                    </a:cubicBezTo>
                    <a:lnTo>
                      <a:pt x="41847" y="296461"/>
                    </a:lnTo>
                    <a:cubicBezTo>
                      <a:pt x="43182" y="292957"/>
                      <a:pt x="44100" y="288953"/>
                      <a:pt x="44934" y="285366"/>
                    </a:cubicBezTo>
                    <a:cubicBezTo>
                      <a:pt x="51108" y="263676"/>
                      <a:pt x="56447" y="243322"/>
                      <a:pt x="76386" y="232644"/>
                    </a:cubicBezTo>
                    <a:cubicBezTo>
                      <a:pt x="88316" y="225971"/>
                      <a:pt x="102999" y="222884"/>
                      <a:pt x="118433" y="219797"/>
                    </a:cubicBezTo>
                    <a:cubicBezTo>
                      <a:pt x="147633" y="213624"/>
                      <a:pt x="181337" y="206951"/>
                      <a:pt x="193267" y="170663"/>
                    </a:cubicBezTo>
                    <a:cubicBezTo>
                      <a:pt x="197689" y="157399"/>
                      <a:pt x="198106" y="144552"/>
                      <a:pt x="196771" y="131205"/>
                    </a:cubicBezTo>
                    <a:cubicBezTo>
                      <a:pt x="200275" y="130788"/>
                      <a:pt x="203862" y="130788"/>
                      <a:pt x="207366" y="130788"/>
                    </a:cubicBezTo>
                    <a:lnTo>
                      <a:pt x="209619" y="130788"/>
                    </a:lnTo>
                    <a:cubicBezTo>
                      <a:pt x="210036" y="130788"/>
                      <a:pt x="210036" y="130788"/>
                      <a:pt x="210036" y="130788"/>
                    </a:cubicBezTo>
                    <a:cubicBezTo>
                      <a:pt x="228223" y="130788"/>
                      <a:pt x="245492" y="130788"/>
                      <a:pt x="261010" y="114854"/>
                    </a:cubicBezTo>
                    <a:cubicBezTo>
                      <a:pt x="262762" y="112602"/>
                      <a:pt x="264514" y="110850"/>
                      <a:pt x="266349" y="108681"/>
                    </a:cubicBezTo>
                    <a:cubicBezTo>
                      <a:pt x="276527" y="98087"/>
                      <a:pt x="280114" y="93165"/>
                      <a:pt x="296049" y="94500"/>
                    </a:cubicBezTo>
                    <a:cubicBezTo>
                      <a:pt x="313318" y="95835"/>
                      <a:pt x="323997" y="91413"/>
                      <a:pt x="336844" y="86074"/>
                    </a:cubicBezTo>
                    <a:cubicBezTo>
                      <a:pt x="341266" y="84322"/>
                      <a:pt x="345688" y="82570"/>
                      <a:pt x="351027" y="80735"/>
                    </a:cubicBezTo>
                    <a:cubicBezTo>
                      <a:pt x="362957" y="76731"/>
                      <a:pt x="374053" y="77649"/>
                      <a:pt x="385983" y="78066"/>
                    </a:cubicBezTo>
                    <a:cubicBezTo>
                      <a:pt x="392657" y="78483"/>
                      <a:pt x="399248" y="78984"/>
                      <a:pt x="406339" y="78984"/>
                    </a:cubicBezTo>
                    <a:cubicBezTo>
                      <a:pt x="424526" y="78066"/>
                      <a:pt x="433787" y="69223"/>
                      <a:pt x="443965" y="59463"/>
                    </a:cubicBezTo>
                    <a:cubicBezTo>
                      <a:pt x="446217" y="57211"/>
                      <a:pt x="448386" y="55042"/>
                      <a:pt x="450639" y="53290"/>
                    </a:cubicBezTo>
                    <a:cubicBezTo>
                      <a:pt x="462569" y="42696"/>
                      <a:pt x="471496" y="40860"/>
                      <a:pt x="485178" y="38692"/>
                    </a:cubicBezTo>
                    <a:cubicBezTo>
                      <a:pt x="488681" y="38274"/>
                      <a:pt x="492269" y="37357"/>
                      <a:pt x="496273" y="36439"/>
                    </a:cubicBezTo>
                    <a:cubicBezTo>
                      <a:pt x="511791" y="32935"/>
                      <a:pt x="514461" y="26679"/>
                      <a:pt x="514461" y="16919"/>
                    </a:cubicBezTo>
                    <a:cubicBezTo>
                      <a:pt x="514461" y="13832"/>
                      <a:pt x="514461" y="10746"/>
                      <a:pt x="516713" y="6741"/>
                    </a:cubicBezTo>
                    <a:cubicBezTo>
                      <a:pt x="518465" y="3655"/>
                      <a:pt x="521135" y="1402"/>
                      <a:pt x="524221" y="568"/>
                    </a:cubicBezTo>
                    <a:cubicBezTo>
                      <a:pt x="533065" y="-1684"/>
                      <a:pt x="547664" y="2821"/>
                      <a:pt x="565017" y="12998"/>
                    </a:cubicBezTo>
                    <a:lnTo>
                      <a:pt x="573026" y="17836"/>
                    </a:lnTo>
                    <a:cubicBezTo>
                      <a:pt x="585456" y="24927"/>
                      <a:pt x="597804" y="32435"/>
                      <a:pt x="611986" y="37774"/>
                    </a:cubicBezTo>
                    <a:cubicBezTo>
                      <a:pt x="619995" y="40860"/>
                      <a:pt x="628338" y="42195"/>
                      <a:pt x="636347" y="43530"/>
                    </a:cubicBezTo>
                    <a:cubicBezTo>
                      <a:pt x="644356" y="44865"/>
                      <a:pt x="650947" y="46199"/>
                      <a:pt x="658038" y="48368"/>
                    </a:cubicBezTo>
                    <a:cubicBezTo>
                      <a:pt x="669134" y="52372"/>
                      <a:pt x="675724" y="60798"/>
                      <a:pt x="683316" y="70558"/>
                    </a:cubicBezTo>
                    <a:cubicBezTo>
                      <a:pt x="685569" y="73645"/>
                      <a:pt x="687738" y="76314"/>
                      <a:pt x="689991" y="78984"/>
                    </a:cubicBezTo>
                    <a:cubicBezTo>
                      <a:pt x="693995" y="83822"/>
                      <a:pt x="698417" y="88744"/>
                      <a:pt x="702421" y="93165"/>
                    </a:cubicBezTo>
                    <a:cubicBezTo>
                      <a:pt x="709929" y="101173"/>
                      <a:pt x="717021" y="108681"/>
                      <a:pt x="722360" y="117524"/>
                    </a:cubicBezTo>
                    <a:cubicBezTo>
                      <a:pt x="727699" y="126867"/>
                      <a:pt x="731203" y="136544"/>
                      <a:pt x="734790" y="147221"/>
                    </a:cubicBezTo>
                    <a:cubicBezTo>
                      <a:pt x="737460" y="155230"/>
                      <a:pt x="740130" y="163572"/>
                      <a:pt x="744134" y="171580"/>
                    </a:cubicBezTo>
                    <a:cubicBezTo>
                      <a:pt x="748973" y="181341"/>
                      <a:pt x="756064" y="188849"/>
                      <a:pt x="762738" y="195522"/>
                    </a:cubicBezTo>
                    <a:cubicBezTo>
                      <a:pt x="767577" y="200861"/>
                      <a:pt x="772500" y="205699"/>
                      <a:pt x="776504" y="211455"/>
                    </a:cubicBezTo>
                    <a:cubicBezTo>
                      <a:pt x="780926" y="218129"/>
                      <a:pt x="783595" y="224302"/>
                      <a:pt x="786682" y="229641"/>
                    </a:cubicBezTo>
                    <a:cubicBezTo>
                      <a:pt x="796443" y="247326"/>
                      <a:pt x="803952" y="261507"/>
                      <a:pt x="833234" y="270851"/>
                    </a:cubicBezTo>
                    <a:cubicBezTo>
                      <a:pt x="842995" y="273937"/>
                      <a:pt x="851839" y="278859"/>
                      <a:pt x="861182" y="283697"/>
                    </a:cubicBezTo>
                    <a:cubicBezTo>
                      <a:pt x="867856" y="286784"/>
                      <a:pt x="874030" y="290371"/>
                      <a:pt x="880704" y="293458"/>
                    </a:cubicBezTo>
                    <a:cubicBezTo>
                      <a:pt x="887796" y="296544"/>
                      <a:pt x="895304" y="298797"/>
                      <a:pt x="902395" y="300966"/>
                    </a:cubicBezTo>
                    <a:cubicBezTo>
                      <a:pt x="910404" y="303218"/>
                      <a:pt x="917495" y="305387"/>
                      <a:pt x="924086" y="308473"/>
                    </a:cubicBezTo>
                    <a:cubicBezTo>
                      <a:pt x="931595" y="311977"/>
                      <a:pt x="936517" y="315564"/>
                      <a:pt x="939186" y="320402"/>
                    </a:cubicBezTo>
                    <a:cubicBezTo>
                      <a:pt x="934765" y="325241"/>
                      <a:pt x="930343" y="330163"/>
                      <a:pt x="925004" y="334167"/>
                    </a:cubicBezTo>
                    <a:cubicBezTo>
                      <a:pt x="901060" y="351852"/>
                      <a:pt x="878952" y="363865"/>
                      <a:pt x="860348" y="369621"/>
                    </a:cubicBezTo>
                    <a:cubicBezTo>
                      <a:pt x="840826" y="375794"/>
                      <a:pt x="825392" y="370538"/>
                      <a:pt x="807622" y="364282"/>
                    </a:cubicBezTo>
                    <a:cubicBezTo>
                      <a:pt x="801449" y="362029"/>
                      <a:pt x="794775" y="359443"/>
                      <a:pt x="787266" y="357608"/>
                    </a:cubicBezTo>
                    <a:cubicBezTo>
                      <a:pt x="772667" y="353604"/>
                      <a:pt x="759819" y="358025"/>
                      <a:pt x="748723" y="361112"/>
                    </a:cubicBezTo>
                    <a:cubicBezTo>
                      <a:pt x="739880" y="364198"/>
                      <a:pt x="731453" y="366868"/>
                      <a:pt x="722110" y="365533"/>
                    </a:cubicBezTo>
                    <a:cubicBezTo>
                      <a:pt x="703923" y="362863"/>
                      <a:pt x="685819" y="353604"/>
                      <a:pt x="675557" y="342092"/>
                    </a:cubicBezTo>
                    <a:cubicBezTo>
                      <a:pt x="662710" y="327910"/>
                      <a:pt x="651614" y="326575"/>
                      <a:pt x="637932" y="325741"/>
                    </a:cubicBezTo>
                    <a:cubicBezTo>
                      <a:pt x="635262" y="325324"/>
                      <a:pt x="633093" y="325324"/>
                      <a:pt x="629923" y="325324"/>
                    </a:cubicBezTo>
                    <a:cubicBezTo>
                      <a:pt x="619328" y="323990"/>
                      <a:pt x="612654" y="321821"/>
                      <a:pt x="610401" y="318233"/>
                    </a:cubicBezTo>
                    <a:cubicBezTo>
                      <a:pt x="608149" y="315564"/>
                      <a:pt x="608149" y="311143"/>
                      <a:pt x="609984" y="305387"/>
                    </a:cubicBezTo>
                    <a:cubicBezTo>
                      <a:pt x="610902" y="302300"/>
                      <a:pt x="612237" y="298713"/>
                      <a:pt x="613488" y="295210"/>
                    </a:cubicBezTo>
                    <a:cubicBezTo>
                      <a:pt x="618327" y="283280"/>
                      <a:pt x="626336" y="262842"/>
                      <a:pt x="601975" y="251831"/>
                    </a:cubicBezTo>
                    <a:cubicBezTo>
                      <a:pt x="574027" y="239401"/>
                      <a:pt x="557675" y="268181"/>
                      <a:pt x="547497" y="285950"/>
                    </a:cubicBezTo>
                    <a:cubicBezTo>
                      <a:pt x="545746" y="289036"/>
                      <a:pt x="543994" y="292123"/>
                      <a:pt x="542659" y="294375"/>
                    </a:cubicBezTo>
                    <a:cubicBezTo>
                      <a:pt x="539572" y="299214"/>
                      <a:pt x="535984" y="303218"/>
                      <a:pt x="532898" y="307222"/>
                    </a:cubicBezTo>
                    <a:cubicBezTo>
                      <a:pt x="524055" y="318734"/>
                      <a:pt x="514711" y="330663"/>
                      <a:pt x="514711" y="350184"/>
                    </a:cubicBezTo>
                    <a:lnTo>
                      <a:pt x="514711" y="356357"/>
                    </a:lnTo>
                    <a:cubicBezTo>
                      <a:pt x="515128" y="378046"/>
                      <a:pt x="515128" y="388724"/>
                      <a:pt x="504115" y="408161"/>
                    </a:cubicBezTo>
                    <a:cubicBezTo>
                      <a:pt x="489516" y="433854"/>
                      <a:pt x="503698" y="447619"/>
                      <a:pt x="519633" y="457796"/>
                    </a:cubicBezTo>
                    <a:cubicBezTo>
                      <a:pt x="539572" y="469725"/>
                      <a:pt x="554171" y="479903"/>
                      <a:pt x="564350" y="498589"/>
                    </a:cubicBezTo>
                    <a:cubicBezTo>
                      <a:pt x="567854" y="505679"/>
                      <a:pt x="572359" y="516274"/>
                      <a:pt x="569689" y="524699"/>
                    </a:cubicBezTo>
                    <a:cubicBezTo>
                      <a:pt x="568354" y="529538"/>
                      <a:pt x="564350" y="533542"/>
                      <a:pt x="558593" y="536629"/>
                    </a:cubicBezTo>
                    <a:cubicBezTo>
                      <a:pt x="552837" y="539715"/>
                      <a:pt x="547080" y="541967"/>
                      <a:pt x="541741" y="543719"/>
                    </a:cubicBezTo>
                    <a:cubicBezTo>
                      <a:pt x="527975" y="549475"/>
                      <a:pt x="514711" y="554814"/>
                      <a:pt x="501446" y="569830"/>
                    </a:cubicBezTo>
                    <a:cubicBezTo>
                      <a:pt x="484176" y="588433"/>
                      <a:pt x="479755" y="603031"/>
                      <a:pt x="473498" y="624721"/>
                    </a:cubicBezTo>
                    <a:lnTo>
                      <a:pt x="472580" y="628224"/>
                    </a:lnTo>
                    <a:cubicBezTo>
                      <a:pt x="469910" y="637984"/>
                      <a:pt x="463236" y="644158"/>
                      <a:pt x="456228" y="650331"/>
                    </a:cubicBezTo>
                    <a:cubicBezTo>
                      <a:pt x="449554" y="657004"/>
                      <a:pt x="442463" y="664095"/>
                      <a:pt x="438542" y="673772"/>
                    </a:cubicBezTo>
                    <a:cubicBezTo>
                      <a:pt x="435872" y="679945"/>
                      <a:pt x="435872" y="685701"/>
                      <a:pt x="435455" y="691040"/>
                    </a:cubicBezTo>
                    <a:cubicBezTo>
                      <a:pt x="435789" y="697130"/>
                      <a:pt x="435789" y="701050"/>
                      <a:pt x="434454" y="70422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82402080" name="Полилиния 395"/>
              <p:cNvSpPr/>
              <p:nvPr/>
            </p:nvSpPr>
            <p:spPr bwMode="auto">
              <a:xfrm>
                <a:off x="4446754" y="4939465"/>
                <a:ext cx="496035" cy="743568"/>
              </a:xfrm>
              <a:custGeom>
                <a:avLst/>
                <a:gdLst>
                  <a:gd name="connsiteX0" fmla="*/ 429899 w 557064"/>
                  <a:gd name="connsiteY0" fmla="*/ 711740 h 835052"/>
                  <a:gd name="connsiteX1" fmla="*/ 421055 w 557064"/>
                  <a:gd name="connsiteY1" fmla="*/ 745859 h 835052"/>
                  <a:gd name="connsiteX2" fmla="*/ 412629 w 557064"/>
                  <a:gd name="connsiteY2" fmla="*/ 777309 h 835052"/>
                  <a:gd name="connsiteX3" fmla="*/ 390521 w 557064"/>
                  <a:gd name="connsiteY3" fmla="*/ 789238 h 835052"/>
                  <a:gd name="connsiteX4" fmla="*/ 367495 w 557064"/>
                  <a:gd name="connsiteY4" fmla="*/ 801167 h 835052"/>
                  <a:gd name="connsiteX5" fmla="*/ 345804 w 557064"/>
                  <a:gd name="connsiteY5" fmla="*/ 805588 h 835052"/>
                  <a:gd name="connsiteX6" fmla="*/ 313435 w 557064"/>
                  <a:gd name="connsiteY6" fmla="*/ 814014 h 835052"/>
                  <a:gd name="connsiteX7" fmla="*/ 299252 w 557064"/>
                  <a:gd name="connsiteY7" fmla="*/ 823774 h 835052"/>
                  <a:gd name="connsiteX8" fmla="*/ 277561 w 557064"/>
                  <a:gd name="connsiteY8" fmla="*/ 834869 h 835052"/>
                  <a:gd name="connsiteX9" fmla="*/ 249613 w 557064"/>
                  <a:gd name="connsiteY9" fmla="*/ 830031 h 835052"/>
                  <a:gd name="connsiteX10" fmla="*/ 222166 w 557064"/>
                  <a:gd name="connsiteY10" fmla="*/ 824692 h 835052"/>
                  <a:gd name="connsiteX11" fmla="*/ 211070 w 557064"/>
                  <a:gd name="connsiteY11" fmla="*/ 825109 h 835052"/>
                  <a:gd name="connsiteX12" fmla="*/ 181370 w 557064"/>
                  <a:gd name="connsiteY12" fmla="*/ 815349 h 835052"/>
                  <a:gd name="connsiteX13" fmla="*/ 186710 w 557064"/>
                  <a:gd name="connsiteY13" fmla="*/ 792325 h 835052"/>
                  <a:gd name="connsiteX14" fmla="*/ 202227 w 557064"/>
                  <a:gd name="connsiteY14" fmla="*/ 787904 h 835052"/>
                  <a:gd name="connsiteX15" fmla="*/ 230175 w 557064"/>
                  <a:gd name="connsiteY15" fmla="*/ 775474 h 835052"/>
                  <a:gd name="connsiteX16" fmla="*/ 235514 w 557064"/>
                  <a:gd name="connsiteY16" fmla="*/ 755119 h 835052"/>
                  <a:gd name="connsiteX17" fmla="*/ 215992 w 557064"/>
                  <a:gd name="connsiteY17" fmla="*/ 739603 h 835052"/>
                  <a:gd name="connsiteX18" fmla="*/ 200058 w 557064"/>
                  <a:gd name="connsiteY18" fmla="*/ 736934 h 835052"/>
                  <a:gd name="connsiteX19" fmla="*/ 175280 w 557064"/>
                  <a:gd name="connsiteY19" fmla="*/ 725838 h 835052"/>
                  <a:gd name="connsiteX20" fmla="*/ 136319 w 557064"/>
                  <a:gd name="connsiteY20" fmla="*/ 724921 h 835052"/>
                  <a:gd name="connsiteX21" fmla="*/ 121720 w 557064"/>
                  <a:gd name="connsiteY21" fmla="*/ 730260 h 835052"/>
                  <a:gd name="connsiteX22" fmla="*/ 116881 w 557064"/>
                  <a:gd name="connsiteY22" fmla="*/ 699728 h 835052"/>
                  <a:gd name="connsiteX23" fmla="*/ 116881 w 557064"/>
                  <a:gd name="connsiteY23" fmla="*/ 695724 h 835052"/>
                  <a:gd name="connsiteX24" fmla="*/ 100946 w 557064"/>
                  <a:gd name="connsiteY24" fmla="*/ 662939 h 835052"/>
                  <a:gd name="connsiteX25" fmla="*/ 65073 w 557064"/>
                  <a:gd name="connsiteY25" fmla="*/ 672700 h 835052"/>
                  <a:gd name="connsiteX26" fmla="*/ 54478 w 557064"/>
                  <a:gd name="connsiteY26" fmla="*/ 679373 h 835052"/>
                  <a:gd name="connsiteX27" fmla="*/ 10178 w 557064"/>
                  <a:gd name="connsiteY27" fmla="*/ 670948 h 835052"/>
                  <a:gd name="connsiteX28" fmla="*/ 7508 w 557064"/>
                  <a:gd name="connsiteY28" fmla="*/ 647924 h 835052"/>
                  <a:gd name="connsiteX29" fmla="*/ 13265 w 557064"/>
                  <a:gd name="connsiteY29" fmla="*/ 637330 h 835052"/>
                  <a:gd name="connsiteX30" fmla="*/ 27447 w 557064"/>
                  <a:gd name="connsiteY30" fmla="*/ 592115 h 835052"/>
                  <a:gd name="connsiteX31" fmla="*/ 30951 w 557064"/>
                  <a:gd name="connsiteY31" fmla="*/ 559331 h 835052"/>
                  <a:gd name="connsiteX32" fmla="*/ 34038 w 557064"/>
                  <a:gd name="connsiteY32" fmla="*/ 533221 h 835052"/>
                  <a:gd name="connsiteX33" fmla="*/ 17687 w 557064"/>
                  <a:gd name="connsiteY33" fmla="*/ 480499 h 835052"/>
                  <a:gd name="connsiteX34" fmla="*/ 0 w 557064"/>
                  <a:gd name="connsiteY34" fmla="*/ 474326 h 835052"/>
                  <a:gd name="connsiteX35" fmla="*/ 2670 w 557064"/>
                  <a:gd name="connsiteY35" fmla="*/ 470822 h 835052"/>
                  <a:gd name="connsiteX36" fmla="*/ 9344 w 557064"/>
                  <a:gd name="connsiteY36" fmla="*/ 464148 h 835052"/>
                  <a:gd name="connsiteX37" fmla="*/ 22192 w 557064"/>
                  <a:gd name="connsiteY37" fmla="*/ 446463 h 835052"/>
                  <a:gd name="connsiteX38" fmla="*/ 24861 w 557064"/>
                  <a:gd name="connsiteY38" fmla="*/ 430113 h 835052"/>
                  <a:gd name="connsiteX39" fmla="*/ 26613 w 557064"/>
                  <a:gd name="connsiteY39" fmla="*/ 417683 h 835052"/>
                  <a:gd name="connsiteX40" fmla="*/ 41213 w 557064"/>
                  <a:gd name="connsiteY40" fmla="*/ 399080 h 835052"/>
                  <a:gd name="connsiteX41" fmla="*/ 61152 w 557064"/>
                  <a:gd name="connsiteY41" fmla="*/ 370300 h 835052"/>
                  <a:gd name="connsiteX42" fmla="*/ 62487 w 557064"/>
                  <a:gd name="connsiteY42" fmla="*/ 366797 h 835052"/>
                  <a:gd name="connsiteX43" fmla="*/ 87265 w 557064"/>
                  <a:gd name="connsiteY43" fmla="*/ 317161 h 835052"/>
                  <a:gd name="connsiteX44" fmla="*/ 122721 w 557064"/>
                  <a:gd name="connsiteY44" fmla="*/ 295055 h 835052"/>
                  <a:gd name="connsiteX45" fmla="*/ 140408 w 557064"/>
                  <a:gd name="connsiteY45" fmla="*/ 287046 h 835052"/>
                  <a:gd name="connsiteX46" fmla="*/ 159012 w 557064"/>
                  <a:gd name="connsiteY46" fmla="*/ 266692 h 835052"/>
                  <a:gd name="connsiteX47" fmla="*/ 152337 w 557064"/>
                  <a:gd name="connsiteY47" fmla="*/ 229486 h 835052"/>
                  <a:gd name="connsiteX48" fmla="*/ 102699 w 557064"/>
                  <a:gd name="connsiteY48" fmla="*/ 183438 h 835052"/>
                  <a:gd name="connsiteX49" fmla="*/ 92103 w 557064"/>
                  <a:gd name="connsiteY49" fmla="*/ 152906 h 835052"/>
                  <a:gd name="connsiteX50" fmla="*/ 104951 w 557064"/>
                  <a:gd name="connsiteY50" fmla="*/ 93511 h 835052"/>
                  <a:gd name="connsiteX51" fmla="*/ 104951 w 557064"/>
                  <a:gd name="connsiteY51" fmla="*/ 87338 h 835052"/>
                  <a:gd name="connsiteX52" fmla="*/ 120051 w 557064"/>
                  <a:gd name="connsiteY52" fmla="*/ 53219 h 835052"/>
                  <a:gd name="connsiteX53" fmla="*/ 130229 w 557064"/>
                  <a:gd name="connsiteY53" fmla="*/ 39037 h 835052"/>
                  <a:gd name="connsiteX54" fmla="*/ 135569 w 557064"/>
                  <a:gd name="connsiteY54" fmla="*/ 29694 h 835052"/>
                  <a:gd name="connsiteX55" fmla="*/ 171859 w 557064"/>
                  <a:gd name="connsiteY55" fmla="*/ 1748 h 835052"/>
                  <a:gd name="connsiteX56" fmla="*/ 175864 w 557064"/>
                  <a:gd name="connsiteY56" fmla="*/ 27025 h 835052"/>
                  <a:gd name="connsiteX57" fmla="*/ 171859 w 557064"/>
                  <a:gd name="connsiteY57" fmla="*/ 38537 h 835052"/>
                  <a:gd name="connsiteX58" fmla="*/ 174112 w 557064"/>
                  <a:gd name="connsiteY58" fmla="*/ 63313 h 835052"/>
                  <a:gd name="connsiteX59" fmla="*/ 204229 w 557064"/>
                  <a:gd name="connsiteY59" fmla="*/ 76160 h 835052"/>
                  <a:gd name="connsiteX60" fmla="*/ 212238 w 557064"/>
                  <a:gd name="connsiteY60" fmla="*/ 77077 h 835052"/>
                  <a:gd name="connsiteX61" fmla="*/ 240186 w 557064"/>
                  <a:gd name="connsiteY61" fmla="*/ 88172 h 835052"/>
                  <a:gd name="connsiteX62" fmla="*/ 295582 w 557064"/>
                  <a:gd name="connsiteY62" fmla="*/ 116118 h 835052"/>
                  <a:gd name="connsiteX63" fmla="*/ 328785 w 557064"/>
                  <a:gd name="connsiteY63" fmla="*/ 111280 h 835052"/>
                  <a:gd name="connsiteX64" fmla="*/ 359320 w 557064"/>
                  <a:gd name="connsiteY64" fmla="*/ 107776 h 835052"/>
                  <a:gd name="connsiteX65" fmla="*/ 378841 w 557064"/>
                  <a:gd name="connsiteY65" fmla="*/ 113949 h 835052"/>
                  <a:gd name="connsiteX66" fmla="*/ 440410 w 557064"/>
                  <a:gd name="connsiteY66" fmla="*/ 119288 h 835052"/>
                  <a:gd name="connsiteX67" fmla="*/ 509071 w 557064"/>
                  <a:gd name="connsiteY67" fmla="*/ 81665 h 835052"/>
                  <a:gd name="connsiteX68" fmla="*/ 517080 w 557064"/>
                  <a:gd name="connsiteY68" fmla="*/ 74992 h 835052"/>
                  <a:gd name="connsiteX69" fmla="*/ 509071 w 557064"/>
                  <a:gd name="connsiteY69" fmla="*/ 101102 h 835052"/>
                  <a:gd name="connsiteX70" fmla="*/ 508153 w 557064"/>
                  <a:gd name="connsiteY70" fmla="*/ 102854 h 835052"/>
                  <a:gd name="connsiteX71" fmla="*/ 503314 w 557064"/>
                  <a:gd name="connsiteY71" fmla="*/ 145816 h 835052"/>
                  <a:gd name="connsiteX72" fmla="*/ 517914 w 557064"/>
                  <a:gd name="connsiteY72" fmla="*/ 162166 h 835052"/>
                  <a:gd name="connsiteX73" fmla="*/ 528509 w 557064"/>
                  <a:gd name="connsiteY73" fmla="*/ 173261 h 835052"/>
                  <a:gd name="connsiteX74" fmla="*/ 528092 w 557064"/>
                  <a:gd name="connsiteY74" fmla="*/ 200289 h 835052"/>
                  <a:gd name="connsiteX75" fmla="*/ 525840 w 557064"/>
                  <a:gd name="connsiteY75" fmla="*/ 225566 h 835052"/>
                  <a:gd name="connsiteX76" fmla="*/ 538270 w 557064"/>
                  <a:gd name="connsiteY76" fmla="*/ 264106 h 835052"/>
                  <a:gd name="connsiteX77" fmla="*/ 544944 w 557064"/>
                  <a:gd name="connsiteY77" fmla="*/ 279622 h 835052"/>
                  <a:gd name="connsiteX78" fmla="*/ 548448 w 557064"/>
                  <a:gd name="connsiteY78" fmla="*/ 290717 h 835052"/>
                  <a:gd name="connsiteX79" fmla="*/ 552453 w 557064"/>
                  <a:gd name="connsiteY79" fmla="*/ 304899 h 835052"/>
                  <a:gd name="connsiteX80" fmla="*/ 550701 w 557064"/>
                  <a:gd name="connsiteY80" fmla="*/ 370050 h 835052"/>
                  <a:gd name="connsiteX81" fmla="*/ 540105 w 557064"/>
                  <a:gd name="connsiteY81" fmla="*/ 384648 h 835052"/>
                  <a:gd name="connsiteX82" fmla="*/ 523754 w 557064"/>
                  <a:gd name="connsiteY82" fmla="*/ 413011 h 835052"/>
                  <a:gd name="connsiteX83" fmla="*/ 529093 w 557064"/>
                  <a:gd name="connsiteY83" fmla="*/ 440040 h 835052"/>
                  <a:gd name="connsiteX84" fmla="*/ 533932 w 557064"/>
                  <a:gd name="connsiteY84" fmla="*/ 453304 h 835052"/>
                  <a:gd name="connsiteX85" fmla="*/ 506902 w 557064"/>
                  <a:gd name="connsiteY85" fmla="*/ 466150 h 835052"/>
                  <a:gd name="connsiteX86" fmla="*/ 495806 w 557064"/>
                  <a:gd name="connsiteY86" fmla="*/ 467068 h 835052"/>
                  <a:gd name="connsiteX87" fmla="*/ 424059 w 557064"/>
                  <a:gd name="connsiteY87" fmla="*/ 520707 h 835052"/>
                  <a:gd name="connsiteX88" fmla="*/ 414715 w 557064"/>
                  <a:gd name="connsiteY88" fmla="*/ 552574 h 835052"/>
                  <a:gd name="connsiteX89" fmla="*/ 410293 w 557064"/>
                  <a:gd name="connsiteY89" fmla="*/ 572095 h 835052"/>
                  <a:gd name="connsiteX90" fmla="*/ 402284 w 557064"/>
                  <a:gd name="connsiteY90" fmla="*/ 626151 h 835052"/>
                  <a:gd name="connsiteX91" fmla="*/ 416884 w 557064"/>
                  <a:gd name="connsiteY91" fmla="*/ 665609 h 835052"/>
                  <a:gd name="connsiteX92" fmla="*/ 429899 w 557064"/>
                  <a:gd name="connsiteY92" fmla="*/ 711740 h 835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557064" h="835052" extrusionOk="0">
                    <a:moveTo>
                      <a:pt x="429899" y="711740"/>
                    </a:moveTo>
                    <a:cubicBezTo>
                      <a:pt x="428147" y="723670"/>
                      <a:pt x="424559" y="735182"/>
                      <a:pt x="421055" y="745859"/>
                    </a:cubicBezTo>
                    <a:cubicBezTo>
                      <a:pt x="417968" y="756037"/>
                      <a:pt x="414381" y="766214"/>
                      <a:pt x="412629" y="777309"/>
                    </a:cubicBezTo>
                    <a:cubicBezTo>
                      <a:pt x="404620" y="780396"/>
                      <a:pt x="397529" y="784817"/>
                      <a:pt x="390521" y="789238"/>
                    </a:cubicBezTo>
                    <a:cubicBezTo>
                      <a:pt x="383013" y="794077"/>
                      <a:pt x="375921" y="798581"/>
                      <a:pt x="367495" y="801167"/>
                    </a:cubicBezTo>
                    <a:cubicBezTo>
                      <a:pt x="360821" y="803419"/>
                      <a:pt x="353313" y="804671"/>
                      <a:pt x="345804" y="805588"/>
                    </a:cubicBezTo>
                    <a:cubicBezTo>
                      <a:pt x="335209" y="806923"/>
                      <a:pt x="324113" y="808675"/>
                      <a:pt x="313435" y="814014"/>
                    </a:cubicBezTo>
                    <a:cubicBezTo>
                      <a:pt x="308096" y="816684"/>
                      <a:pt x="303674" y="820187"/>
                      <a:pt x="299252" y="823774"/>
                    </a:cubicBezTo>
                    <a:cubicBezTo>
                      <a:pt x="292161" y="829113"/>
                      <a:pt x="285487" y="833951"/>
                      <a:pt x="277561" y="834869"/>
                    </a:cubicBezTo>
                    <a:cubicBezTo>
                      <a:pt x="268718" y="835787"/>
                      <a:pt x="259374" y="833117"/>
                      <a:pt x="249613" y="830031"/>
                    </a:cubicBezTo>
                    <a:cubicBezTo>
                      <a:pt x="240770" y="827361"/>
                      <a:pt x="231927" y="824692"/>
                      <a:pt x="222166" y="824692"/>
                    </a:cubicBezTo>
                    <a:cubicBezTo>
                      <a:pt x="218662" y="824692"/>
                      <a:pt x="215075" y="824692"/>
                      <a:pt x="211070" y="825109"/>
                    </a:cubicBezTo>
                    <a:cubicBezTo>
                      <a:pt x="196470" y="826026"/>
                      <a:pt x="187627" y="825526"/>
                      <a:pt x="181370" y="815349"/>
                    </a:cubicBezTo>
                    <a:cubicBezTo>
                      <a:pt x="176031" y="806506"/>
                      <a:pt x="178283" y="797163"/>
                      <a:pt x="186710" y="792325"/>
                    </a:cubicBezTo>
                    <a:cubicBezTo>
                      <a:pt x="191131" y="790072"/>
                      <a:pt x="196470" y="789238"/>
                      <a:pt x="202227" y="787904"/>
                    </a:cubicBezTo>
                    <a:cubicBezTo>
                      <a:pt x="211571" y="786569"/>
                      <a:pt x="222166" y="784400"/>
                      <a:pt x="230175" y="775474"/>
                    </a:cubicBezTo>
                    <a:cubicBezTo>
                      <a:pt x="237266" y="767048"/>
                      <a:pt x="237266" y="759541"/>
                      <a:pt x="235514" y="755119"/>
                    </a:cubicBezTo>
                    <a:cubicBezTo>
                      <a:pt x="233262" y="748028"/>
                      <a:pt x="226671" y="742272"/>
                      <a:pt x="215992" y="739603"/>
                    </a:cubicBezTo>
                    <a:cubicBezTo>
                      <a:pt x="209318" y="738268"/>
                      <a:pt x="204479" y="737351"/>
                      <a:pt x="200058" y="736934"/>
                    </a:cubicBezTo>
                    <a:cubicBezTo>
                      <a:pt x="190297" y="735599"/>
                      <a:pt x="184957" y="734681"/>
                      <a:pt x="175280" y="725838"/>
                    </a:cubicBezTo>
                    <a:cubicBezTo>
                      <a:pt x="159345" y="711240"/>
                      <a:pt x="150002" y="715661"/>
                      <a:pt x="136319" y="724921"/>
                    </a:cubicBezTo>
                    <a:cubicBezTo>
                      <a:pt x="128311" y="730260"/>
                      <a:pt x="123472" y="731094"/>
                      <a:pt x="121720" y="730260"/>
                    </a:cubicBezTo>
                    <a:cubicBezTo>
                      <a:pt x="116881" y="727590"/>
                      <a:pt x="116881" y="709405"/>
                      <a:pt x="116881" y="699728"/>
                    </a:cubicBezTo>
                    <a:lnTo>
                      <a:pt x="116881" y="695724"/>
                    </a:lnTo>
                    <a:cubicBezTo>
                      <a:pt x="116881" y="685546"/>
                      <a:pt x="116464" y="669613"/>
                      <a:pt x="100946" y="662939"/>
                    </a:cubicBezTo>
                    <a:cubicBezTo>
                      <a:pt x="86764" y="656766"/>
                      <a:pt x="74834" y="665609"/>
                      <a:pt x="65073" y="672700"/>
                    </a:cubicBezTo>
                    <a:cubicBezTo>
                      <a:pt x="61569" y="675369"/>
                      <a:pt x="57982" y="677538"/>
                      <a:pt x="54478" y="679373"/>
                    </a:cubicBezTo>
                    <a:cubicBezTo>
                      <a:pt x="40713" y="685546"/>
                      <a:pt x="20356" y="681626"/>
                      <a:pt x="10178" y="670948"/>
                    </a:cubicBezTo>
                    <a:cubicBezTo>
                      <a:pt x="4005" y="664274"/>
                      <a:pt x="3504" y="656766"/>
                      <a:pt x="7508" y="647924"/>
                    </a:cubicBezTo>
                    <a:cubicBezTo>
                      <a:pt x="9761" y="643920"/>
                      <a:pt x="11513" y="640416"/>
                      <a:pt x="13265" y="637330"/>
                    </a:cubicBezTo>
                    <a:cubicBezTo>
                      <a:pt x="20356" y="623565"/>
                      <a:pt x="26530" y="612971"/>
                      <a:pt x="27447" y="592115"/>
                    </a:cubicBezTo>
                    <a:cubicBezTo>
                      <a:pt x="28365" y="581521"/>
                      <a:pt x="29700" y="570426"/>
                      <a:pt x="30951" y="559331"/>
                    </a:cubicBezTo>
                    <a:cubicBezTo>
                      <a:pt x="32286" y="550906"/>
                      <a:pt x="33204" y="542063"/>
                      <a:pt x="34038" y="533221"/>
                    </a:cubicBezTo>
                    <a:cubicBezTo>
                      <a:pt x="36291" y="509279"/>
                      <a:pt x="30034" y="489842"/>
                      <a:pt x="17687" y="480499"/>
                    </a:cubicBezTo>
                    <a:cubicBezTo>
                      <a:pt x="13682" y="477412"/>
                      <a:pt x="7926" y="474743"/>
                      <a:pt x="0" y="474326"/>
                    </a:cubicBezTo>
                    <a:cubicBezTo>
                      <a:pt x="918" y="472991"/>
                      <a:pt x="1335" y="471656"/>
                      <a:pt x="2670" y="470822"/>
                    </a:cubicBezTo>
                    <a:cubicBezTo>
                      <a:pt x="4922" y="468152"/>
                      <a:pt x="7091" y="466401"/>
                      <a:pt x="9344" y="464148"/>
                    </a:cubicBezTo>
                    <a:cubicBezTo>
                      <a:pt x="14183" y="459727"/>
                      <a:pt x="19522" y="454388"/>
                      <a:pt x="22192" y="446463"/>
                    </a:cubicBezTo>
                    <a:cubicBezTo>
                      <a:pt x="24444" y="441124"/>
                      <a:pt x="24444" y="435368"/>
                      <a:pt x="24861" y="430113"/>
                    </a:cubicBezTo>
                    <a:cubicBezTo>
                      <a:pt x="24861" y="425692"/>
                      <a:pt x="25279" y="421270"/>
                      <a:pt x="26613" y="417683"/>
                    </a:cubicBezTo>
                    <a:cubicBezTo>
                      <a:pt x="29700" y="410175"/>
                      <a:pt x="35456" y="404836"/>
                      <a:pt x="41213" y="399080"/>
                    </a:cubicBezTo>
                    <a:cubicBezTo>
                      <a:pt x="48721" y="391990"/>
                      <a:pt x="57147" y="383564"/>
                      <a:pt x="61152" y="370300"/>
                    </a:cubicBezTo>
                    <a:lnTo>
                      <a:pt x="62487" y="366797"/>
                    </a:lnTo>
                    <a:cubicBezTo>
                      <a:pt x="68661" y="346442"/>
                      <a:pt x="72248" y="333595"/>
                      <a:pt x="87265" y="317161"/>
                    </a:cubicBezTo>
                    <a:cubicBezTo>
                      <a:pt x="98360" y="304732"/>
                      <a:pt x="108956" y="300311"/>
                      <a:pt x="122721" y="295055"/>
                    </a:cubicBezTo>
                    <a:cubicBezTo>
                      <a:pt x="128060" y="292803"/>
                      <a:pt x="133817" y="290217"/>
                      <a:pt x="140408" y="287046"/>
                    </a:cubicBezTo>
                    <a:cubicBezTo>
                      <a:pt x="150168" y="282208"/>
                      <a:pt x="156342" y="275535"/>
                      <a:pt x="159012" y="266692"/>
                    </a:cubicBezTo>
                    <a:cubicBezTo>
                      <a:pt x="162099" y="256098"/>
                      <a:pt x="159929" y="243251"/>
                      <a:pt x="152337" y="229486"/>
                    </a:cubicBezTo>
                    <a:cubicBezTo>
                      <a:pt x="140408" y="207797"/>
                      <a:pt x="123555" y="196285"/>
                      <a:pt x="102699" y="183438"/>
                    </a:cubicBezTo>
                    <a:cubicBezTo>
                      <a:pt x="86347" y="173261"/>
                      <a:pt x="84094" y="167088"/>
                      <a:pt x="92103" y="152906"/>
                    </a:cubicBezTo>
                    <a:cubicBezTo>
                      <a:pt x="105368" y="129882"/>
                      <a:pt x="104951" y="116619"/>
                      <a:pt x="104951" y="93511"/>
                    </a:cubicBezTo>
                    <a:lnTo>
                      <a:pt x="104951" y="87338"/>
                    </a:lnTo>
                    <a:cubicBezTo>
                      <a:pt x="104534" y="72739"/>
                      <a:pt x="111625" y="64314"/>
                      <a:pt x="120051" y="53219"/>
                    </a:cubicBezTo>
                    <a:cubicBezTo>
                      <a:pt x="123555" y="48798"/>
                      <a:pt x="127142" y="44376"/>
                      <a:pt x="130229" y="39037"/>
                    </a:cubicBezTo>
                    <a:cubicBezTo>
                      <a:pt x="131981" y="36368"/>
                      <a:pt x="133733" y="32864"/>
                      <a:pt x="135569" y="29694"/>
                    </a:cubicBezTo>
                    <a:cubicBezTo>
                      <a:pt x="147082" y="9757"/>
                      <a:pt x="157260" y="-5259"/>
                      <a:pt x="171859" y="1748"/>
                    </a:cubicBezTo>
                    <a:cubicBezTo>
                      <a:pt x="182955" y="6587"/>
                      <a:pt x="182038" y="11926"/>
                      <a:pt x="175864" y="27025"/>
                    </a:cubicBezTo>
                    <a:cubicBezTo>
                      <a:pt x="174529" y="31029"/>
                      <a:pt x="172777" y="35033"/>
                      <a:pt x="171859" y="38537"/>
                    </a:cubicBezTo>
                    <a:cubicBezTo>
                      <a:pt x="169190" y="48714"/>
                      <a:pt x="169607" y="57140"/>
                      <a:pt x="174112" y="63313"/>
                    </a:cubicBezTo>
                    <a:cubicBezTo>
                      <a:pt x="180786" y="73073"/>
                      <a:pt x="193634" y="75242"/>
                      <a:pt x="204229" y="76160"/>
                    </a:cubicBezTo>
                    <a:cubicBezTo>
                      <a:pt x="206899" y="76577"/>
                      <a:pt x="209568" y="76577"/>
                      <a:pt x="212238" y="77077"/>
                    </a:cubicBezTo>
                    <a:cubicBezTo>
                      <a:pt x="224669" y="77995"/>
                      <a:pt x="231259" y="78412"/>
                      <a:pt x="240186" y="88172"/>
                    </a:cubicBezTo>
                    <a:cubicBezTo>
                      <a:pt x="252617" y="102354"/>
                      <a:pt x="273891" y="112948"/>
                      <a:pt x="295582" y="116118"/>
                    </a:cubicBezTo>
                    <a:cubicBezTo>
                      <a:pt x="308012" y="117870"/>
                      <a:pt x="318607" y="114366"/>
                      <a:pt x="328785" y="111280"/>
                    </a:cubicBezTo>
                    <a:cubicBezTo>
                      <a:pt x="339381" y="107776"/>
                      <a:pt x="348307" y="104606"/>
                      <a:pt x="359320" y="107776"/>
                    </a:cubicBezTo>
                    <a:cubicBezTo>
                      <a:pt x="365994" y="109528"/>
                      <a:pt x="372167" y="111780"/>
                      <a:pt x="378841" y="113949"/>
                    </a:cubicBezTo>
                    <a:cubicBezTo>
                      <a:pt x="397028" y="120623"/>
                      <a:pt x="416050" y="127213"/>
                      <a:pt x="440410" y="119288"/>
                    </a:cubicBezTo>
                    <a:cubicBezTo>
                      <a:pt x="460350" y="113115"/>
                      <a:pt x="483375" y="100685"/>
                      <a:pt x="509071" y="81665"/>
                    </a:cubicBezTo>
                    <a:cubicBezTo>
                      <a:pt x="511740" y="79413"/>
                      <a:pt x="514410" y="77244"/>
                      <a:pt x="517080" y="74992"/>
                    </a:cubicBezTo>
                    <a:cubicBezTo>
                      <a:pt x="515745" y="82500"/>
                      <a:pt x="512658" y="90925"/>
                      <a:pt x="509071" y="101102"/>
                    </a:cubicBezTo>
                    <a:lnTo>
                      <a:pt x="508153" y="102854"/>
                    </a:lnTo>
                    <a:cubicBezTo>
                      <a:pt x="502814" y="117036"/>
                      <a:pt x="497558" y="132552"/>
                      <a:pt x="503314" y="145816"/>
                    </a:cubicBezTo>
                    <a:cubicBezTo>
                      <a:pt x="506401" y="152906"/>
                      <a:pt x="512658" y="157745"/>
                      <a:pt x="517914" y="162166"/>
                    </a:cubicBezTo>
                    <a:cubicBezTo>
                      <a:pt x="522335" y="165670"/>
                      <a:pt x="526757" y="168840"/>
                      <a:pt x="528509" y="173261"/>
                    </a:cubicBezTo>
                    <a:cubicBezTo>
                      <a:pt x="532013" y="180769"/>
                      <a:pt x="530261" y="190112"/>
                      <a:pt x="528092" y="200289"/>
                    </a:cubicBezTo>
                    <a:cubicBezTo>
                      <a:pt x="526757" y="208715"/>
                      <a:pt x="525005" y="217140"/>
                      <a:pt x="525840" y="225566"/>
                    </a:cubicBezTo>
                    <a:cubicBezTo>
                      <a:pt x="527591" y="239330"/>
                      <a:pt x="532931" y="251676"/>
                      <a:pt x="538270" y="264106"/>
                    </a:cubicBezTo>
                    <a:cubicBezTo>
                      <a:pt x="540522" y="268944"/>
                      <a:pt x="542692" y="274283"/>
                      <a:pt x="544944" y="279622"/>
                    </a:cubicBezTo>
                    <a:cubicBezTo>
                      <a:pt x="545862" y="282292"/>
                      <a:pt x="547197" y="285795"/>
                      <a:pt x="548448" y="290717"/>
                    </a:cubicBezTo>
                    <a:cubicBezTo>
                      <a:pt x="549783" y="295138"/>
                      <a:pt x="551118" y="299560"/>
                      <a:pt x="552453" y="304899"/>
                    </a:cubicBezTo>
                    <a:cubicBezTo>
                      <a:pt x="557291" y="324836"/>
                      <a:pt x="560462" y="351447"/>
                      <a:pt x="550701" y="370050"/>
                    </a:cubicBezTo>
                    <a:cubicBezTo>
                      <a:pt x="548031" y="375389"/>
                      <a:pt x="544026" y="380227"/>
                      <a:pt x="540105" y="384648"/>
                    </a:cubicBezTo>
                    <a:cubicBezTo>
                      <a:pt x="533431" y="392657"/>
                      <a:pt x="526340" y="400999"/>
                      <a:pt x="523754" y="413011"/>
                    </a:cubicBezTo>
                    <a:cubicBezTo>
                      <a:pt x="521084" y="425441"/>
                      <a:pt x="525506" y="433366"/>
                      <a:pt x="529093" y="440040"/>
                    </a:cubicBezTo>
                    <a:cubicBezTo>
                      <a:pt x="531763" y="444461"/>
                      <a:pt x="533932" y="448465"/>
                      <a:pt x="533932" y="453304"/>
                    </a:cubicBezTo>
                    <a:cubicBezTo>
                      <a:pt x="533932" y="463064"/>
                      <a:pt x="525923" y="464816"/>
                      <a:pt x="506902" y="466150"/>
                    </a:cubicBezTo>
                    <a:cubicBezTo>
                      <a:pt x="502480" y="466568"/>
                      <a:pt x="498892" y="466568"/>
                      <a:pt x="495806" y="467068"/>
                    </a:cubicBezTo>
                    <a:cubicBezTo>
                      <a:pt x="463937" y="471906"/>
                      <a:pt x="436406" y="492344"/>
                      <a:pt x="424059" y="520707"/>
                    </a:cubicBezTo>
                    <a:cubicBezTo>
                      <a:pt x="419637" y="530885"/>
                      <a:pt x="417385" y="542397"/>
                      <a:pt x="414715" y="552574"/>
                    </a:cubicBezTo>
                    <a:cubicBezTo>
                      <a:pt x="413380" y="559248"/>
                      <a:pt x="412045" y="565421"/>
                      <a:pt x="410293" y="572095"/>
                    </a:cubicBezTo>
                    <a:cubicBezTo>
                      <a:pt x="405454" y="589363"/>
                      <a:pt x="400115" y="607048"/>
                      <a:pt x="402284" y="626151"/>
                    </a:cubicBezTo>
                    <a:cubicBezTo>
                      <a:pt x="404036" y="640332"/>
                      <a:pt x="410711" y="653179"/>
                      <a:pt x="416884" y="665609"/>
                    </a:cubicBezTo>
                    <a:cubicBezTo>
                      <a:pt x="424976" y="680791"/>
                      <a:pt x="432068" y="695807"/>
                      <a:pt x="429899" y="71174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53213244" name="Полилиния 396"/>
              <p:cNvSpPr/>
              <p:nvPr/>
            </p:nvSpPr>
            <p:spPr bwMode="auto">
              <a:xfrm>
                <a:off x="4818135" y="5211258"/>
                <a:ext cx="793413" cy="603239"/>
              </a:xfrm>
              <a:custGeom>
                <a:avLst/>
                <a:gdLst>
                  <a:gd name="connsiteX0" fmla="*/ 187355 w 891029"/>
                  <a:gd name="connsiteY0" fmla="*/ 634246 h 677458"/>
                  <a:gd name="connsiteX1" fmla="*/ 166999 w 891029"/>
                  <a:gd name="connsiteY1" fmla="*/ 603214 h 677458"/>
                  <a:gd name="connsiteX2" fmla="*/ 135130 w 891029"/>
                  <a:gd name="connsiteY2" fmla="*/ 572682 h 677458"/>
                  <a:gd name="connsiteX3" fmla="*/ 102343 w 891029"/>
                  <a:gd name="connsiteY3" fmla="*/ 541232 h 677458"/>
                  <a:gd name="connsiteX4" fmla="*/ 117444 w 891029"/>
                  <a:gd name="connsiteY4" fmla="*/ 487593 h 677458"/>
                  <a:gd name="connsiteX5" fmla="*/ 133378 w 891029"/>
                  <a:gd name="connsiteY5" fmla="*/ 445048 h 677458"/>
                  <a:gd name="connsiteX6" fmla="*/ 103261 w 891029"/>
                  <a:gd name="connsiteY6" fmla="*/ 439710 h 677458"/>
                  <a:gd name="connsiteX7" fmla="*/ 78900 w 891029"/>
                  <a:gd name="connsiteY7" fmla="*/ 444131 h 677458"/>
                  <a:gd name="connsiteX8" fmla="*/ 43944 w 891029"/>
                  <a:gd name="connsiteY8" fmla="*/ 452556 h 677458"/>
                  <a:gd name="connsiteX9" fmla="*/ 15162 w 891029"/>
                  <a:gd name="connsiteY9" fmla="*/ 464068 h 677458"/>
                  <a:gd name="connsiteX10" fmla="*/ 11658 w 891029"/>
                  <a:gd name="connsiteY10" fmla="*/ 465403 h 677458"/>
                  <a:gd name="connsiteX11" fmla="*/ 17832 w 891029"/>
                  <a:gd name="connsiteY11" fmla="*/ 444131 h 677458"/>
                  <a:gd name="connsiteX12" fmla="*/ 27593 w 891029"/>
                  <a:gd name="connsiteY12" fmla="*/ 407843 h 677458"/>
                  <a:gd name="connsiteX13" fmla="*/ 13410 w 891029"/>
                  <a:gd name="connsiteY13" fmla="*/ 353369 h 677458"/>
                  <a:gd name="connsiteX14" fmla="*/ 563 w 891029"/>
                  <a:gd name="connsiteY14" fmla="*/ 318416 h 677458"/>
                  <a:gd name="connsiteX15" fmla="*/ 8071 w 891029"/>
                  <a:gd name="connsiteY15" fmla="*/ 269698 h 677458"/>
                  <a:gd name="connsiteX16" fmla="*/ 12910 w 891029"/>
                  <a:gd name="connsiteY16" fmla="*/ 249761 h 677458"/>
                  <a:gd name="connsiteX17" fmla="*/ 21336 w 891029"/>
                  <a:gd name="connsiteY17" fmla="*/ 220564 h 677458"/>
                  <a:gd name="connsiteX18" fmla="*/ 81987 w 891029"/>
                  <a:gd name="connsiteY18" fmla="*/ 175350 h 677458"/>
                  <a:gd name="connsiteX19" fmla="*/ 92165 w 891029"/>
                  <a:gd name="connsiteY19" fmla="*/ 174432 h 677458"/>
                  <a:gd name="connsiteX20" fmla="*/ 132460 w 891029"/>
                  <a:gd name="connsiteY20" fmla="*/ 147404 h 677458"/>
                  <a:gd name="connsiteX21" fmla="*/ 125786 w 891029"/>
                  <a:gd name="connsiteY21" fmla="*/ 127466 h 677458"/>
                  <a:gd name="connsiteX22" fmla="*/ 121782 w 891029"/>
                  <a:gd name="connsiteY22" fmla="*/ 110199 h 677458"/>
                  <a:gd name="connsiteX23" fmla="*/ 135047 w 891029"/>
                  <a:gd name="connsiteY23" fmla="*/ 88092 h 677458"/>
                  <a:gd name="connsiteX24" fmla="*/ 147477 w 891029"/>
                  <a:gd name="connsiteY24" fmla="*/ 70407 h 677458"/>
                  <a:gd name="connsiteX25" fmla="*/ 151482 w 891029"/>
                  <a:gd name="connsiteY25" fmla="*/ 0 h 677458"/>
                  <a:gd name="connsiteX26" fmla="*/ 161660 w 891029"/>
                  <a:gd name="connsiteY26" fmla="*/ 1752 h 677458"/>
                  <a:gd name="connsiteX27" fmla="*/ 223229 w 891029"/>
                  <a:gd name="connsiteY27" fmla="*/ 19437 h 677458"/>
                  <a:gd name="connsiteX28" fmla="*/ 261772 w 891029"/>
                  <a:gd name="connsiteY28" fmla="*/ 30949 h 677458"/>
                  <a:gd name="connsiteX29" fmla="*/ 281711 w 891029"/>
                  <a:gd name="connsiteY29" fmla="*/ 36288 h 677458"/>
                  <a:gd name="connsiteX30" fmla="*/ 427041 w 891029"/>
                  <a:gd name="connsiteY30" fmla="*/ 99604 h 677458"/>
                  <a:gd name="connsiteX31" fmla="*/ 450066 w 891029"/>
                  <a:gd name="connsiteY31" fmla="*/ 135892 h 677458"/>
                  <a:gd name="connsiteX32" fmla="*/ 467336 w 891029"/>
                  <a:gd name="connsiteY32" fmla="*/ 167342 h 677458"/>
                  <a:gd name="connsiteX33" fmla="*/ 527570 w 891029"/>
                  <a:gd name="connsiteY33" fmla="*/ 190365 h 677458"/>
                  <a:gd name="connsiteX34" fmla="*/ 538666 w 891029"/>
                  <a:gd name="connsiteY34" fmla="*/ 191283 h 677458"/>
                  <a:gd name="connsiteX35" fmla="*/ 573204 w 891029"/>
                  <a:gd name="connsiteY35" fmla="*/ 207216 h 677458"/>
                  <a:gd name="connsiteX36" fmla="*/ 602904 w 891029"/>
                  <a:gd name="connsiteY36" fmla="*/ 224902 h 677458"/>
                  <a:gd name="connsiteX37" fmla="*/ 652543 w 891029"/>
                  <a:gd name="connsiteY37" fmla="*/ 225819 h 677458"/>
                  <a:gd name="connsiteX38" fmla="*/ 671147 w 891029"/>
                  <a:gd name="connsiteY38" fmla="*/ 224485 h 677458"/>
                  <a:gd name="connsiteX39" fmla="*/ 710608 w 891029"/>
                  <a:gd name="connsiteY39" fmla="*/ 217394 h 677458"/>
                  <a:gd name="connsiteX40" fmla="*/ 720786 w 891029"/>
                  <a:gd name="connsiteY40" fmla="*/ 210720 h 677458"/>
                  <a:gd name="connsiteX41" fmla="*/ 736721 w 891029"/>
                  <a:gd name="connsiteY41" fmla="*/ 203630 h 677458"/>
                  <a:gd name="connsiteX42" fmla="*/ 741560 w 891029"/>
                  <a:gd name="connsiteY42" fmla="*/ 206299 h 677458"/>
                  <a:gd name="connsiteX43" fmla="*/ 741977 w 891029"/>
                  <a:gd name="connsiteY43" fmla="*/ 239083 h 677458"/>
                  <a:gd name="connsiteX44" fmla="*/ 740225 w 891029"/>
                  <a:gd name="connsiteY44" fmla="*/ 247091 h 677458"/>
                  <a:gd name="connsiteX45" fmla="*/ 737555 w 891029"/>
                  <a:gd name="connsiteY45" fmla="*/ 269698 h 677458"/>
                  <a:gd name="connsiteX46" fmla="*/ 744646 w 891029"/>
                  <a:gd name="connsiteY46" fmla="*/ 284798 h 677458"/>
                  <a:gd name="connsiteX47" fmla="*/ 749485 w 891029"/>
                  <a:gd name="connsiteY47" fmla="*/ 294975 h 677458"/>
                  <a:gd name="connsiteX48" fmla="*/ 748150 w 891029"/>
                  <a:gd name="connsiteY48" fmla="*/ 308239 h 677458"/>
                  <a:gd name="connsiteX49" fmla="*/ 750403 w 891029"/>
                  <a:gd name="connsiteY49" fmla="*/ 337937 h 677458"/>
                  <a:gd name="connsiteX50" fmla="*/ 769424 w 891029"/>
                  <a:gd name="connsiteY50" fmla="*/ 345945 h 677458"/>
                  <a:gd name="connsiteX51" fmla="*/ 770759 w 891029"/>
                  <a:gd name="connsiteY51" fmla="*/ 345945 h 677458"/>
                  <a:gd name="connsiteX52" fmla="*/ 807550 w 891029"/>
                  <a:gd name="connsiteY52" fmla="*/ 322003 h 677458"/>
                  <a:gd name="connsiteX53" fmla="*/ 832829 w 891029"/>
                  <a:gd name="connsiteY53" fmla="*/ 302066 h 677458"/>
                  <a:gd name="connsiteX54" fmla="*/ 845259 w 891029"/>
                  <a:gd name="connsiteY54" fmla="*/ 300731 h 677458"/>
                  <a:gd name="connsiteX55" fmla="*/ 856355 w 891029"/>
                  <a:gd name="connsiteY55" fmla="*/ 299396 h 677458"/>
                  <a:gd name="connsiteX56" fmla="*/ 856772 w 891029"/>
                  <a:gd name="connsiteY56" fmla="*/ 303400 h 677458"/>
                  <a:gd name="connsiteX57" fmla="*/ 873124 w 891029"/>
                  <a:gd name="connsiteY57" fmla="*/ 357457 h 677458"/>
                  <a:gd name="connsiteX58" fmla="*/ 876211 w 891029"/>
                  <a:gd name="connsiteY58" fmla="*/ 367634 h 677458"/>
                  <a:gd name="connsiteX59" fmla="*/ 874876 w 891029"/>
                  <a:gd name="connsiteY59" fmla="*/ 370721 h 677458"/>
                  <a:gd name="connsiteX60" fmla="*/ 873541 w 891029"/>
                  <a:gd name="connsiteY60" fmla="*/ 373807 h 677458"/>
                  <a:gd name="connsiteX61" fmla="*/ 874876 w 891029"/>
                  <a:gd name="connsiteY61" fmla="*/ 398166 h 677458"/>
                  <a:gd name="connsiteX62" fmla="*/ 877128 w 891029"/>
                  <a:gd name="connsiteY62" fmla="*/ 401670 h 677458"/>
                  <a:gd name="connsiteX63" fmla="*/ 879381 w 891029"/>
                  <a:gd name="connsiteY63" fmla="*/ 406091 h 677458"/>
                  <a:gd name="connsiteX64" fmla="*/ 878463 w 891029"/>
                  <a:gd name="connsiteY64" fmla="*/ 410930 h 677458"/>
                  <a:gd name="connsiteX65" fmla="*/ 877128 w 891029"/>
                  <a:gd name="connsiteY65" fmla="*/ 414934 h 677458"/>
                  <a:gd name="connsiteX66" fmla="*/ 881550 w 891029"/>
                  <a:gd name="connsiteY66" fmla="*/ 438375 h 677458"/>
                  <a:gd name="connsiteX67" fmla="*/ 882885 w 891029"/>
                  <a:gd name="connsiteY67" fmla="*/ 440127 h 677458"/>
                  <a:gd name="connsiteX68" fmla="*/ 884220 w 891029"/>
                  <a:gd name="connsiteY68" fmla="*/ 442379 h 677458"/>
                  <a:gd name="connsiteX69" fmla="*/ 883302 w 891029"/>
                  <a:gd name="connsiteY69" fmla="*/ 446383 h 677458"/>
                  <a:gd name="connsiteX70" fmla="*/ 881550 w 891029"/>
                  <a:gd name="connsiteY70" fmla="*/ 453057 h 677458"/>
                  <a:gd name="connsiteX71" fmla="*/ 886889 w 891029"/>
                  <a:gd name="connsiteY71" fmla="*/ 471659 h 677458"/>
                  <a:gd name="connsiteX72" fmla="*/ 890393 w 891029"/>
                  <a:gd name="connsiteY72" fmla="*/ 478750 h 677458"/>
                  <a:gd name="connsiteX73" fmla="*/ 889058 w 891029"/>
                  <a:gd name="connsiteY73" fmla="*/ 496436 h 677458"/>
                  <a:gd name="connsiteX74" fmla="*/ 887723 w 891029"/>
                  <a:gd name="connsiteY74" fmla="*/ 502609 h 677458"/>
                  <a:gd name="connsiteX75" fmla="*/ 888141 w 891029"/>
                  <a:gd name="connsiteY75" fmla="*/ 524298 h 677458"/>
                  <a:gd name="connsiteX76" fmla="*/ 889058 w 891029"/>
                  <a:gd name="connsiteY76" fmla="*/ 535393 h 677458"/>
                  <a:gd name="connsiteX77" fmla="*/ 885554 w 891029"/>
                  <a:gd name="connsiteY77" fmla="*/ 548656 h 677458"/>
                  <a:gd name="connsiteX78" fmla="*/ 885137 w 891029"/>
                  <a:gd name="connsiteY78" fmla="*/ 549074 h 677458"/>
                  <a:gd name="connsiteX79" fmla="*/ 876294 w 891029"/>
                  <a:gd name="connsiteY79" fmla="*/ 557499 h 677458"/>
                  <a:gd name="connsiteX80" fmla="*/ 844425 w 891029"/>
                  <a:gd name="connsiteY80" fmla="*/ 582776 h 677458"/>
                  <a:gd name="connsiteX81" fmla="*/ 837334 w 891029"/>
                  <a:gd name="connsiteY81" fmla="*/ 587197 h 677458"/>
                  <a:gd name="connsiteX82" fmla="*/ 828490 w 891029"/>
                  <a:gd name="connsiteY82" fmla="*/ 585862 h 677458"/>
                  <a:gd name="connsiteX83" fmla="*/ 817395 w 891029"/>
                  <a:gd name="connsiteY83" fmla="*/ 583610 h 677458"/>
                  <a:gd name="connsiteX84" fmla="*/ 796121 w 891029"/>
                  <a:gd name="connsiteY84" fmla="*/ 591118 h 677458"/>
                  <a:gd name="connsiteX85" fmla="*/ 783690 w 891029"/>
                  <a:gd name="connsiteY85" fmla="*/ 596457 h 677458"/>
                  <a:gd name="connsiteX86" fmla="*/ 771760 w 891029"/>
                  <a:gd name="connsiteY86" fmla="*/ 594705 h 677458"/>
                  <a:gd name="connsiteX87" fmla="*/ 767756 w 891029"/>
                  <a:gd name="connsiteY87" fmla="*/ 593787 h 677458"/>
                  <a:gd name="connsiteX88" fmla="*/ 743812 w 891029"/>
                  <a:gd name="connsiteY88" fmla="*/ 597291 h 677458"/>
                  <a:gd name="connsiteX89" fmla="*/ 736721 w 891029"/>
                  <a:gd name="connsiteY89" fmla="*/ 606134 h 677458"/>
                  <a:gd name="connsiteX90" fmla="*/ 734469 w 891029"/>
                  <a:gd name="connsiteY90" fmla="*/ 609220 h 677458"/>
                  <a:gd name="connsiteX91" fmla="*/ 731382 w 891029"/>
                  <a:gd name="connsiteY91" fmla="*/ 611889 h 677458"/>
                  <a:gd name="connsiteX92" fmla="*/ 729630 w 891029"/>
                  <a:gd name="connsiteY92" fmla="*/ 609637 h 677458"/>
                  <a:gd name="connsiteX93" fmla="*/ 726126 w 891029"/>
                  <a:gd name="connsiteY93" fmla="*/ 605216 h 677458"/>
                  <a:gd name="connsiteX94" fmla="*/ 707104 w 891029"/>
                  <a:gd name="connsiteY94" fmla="*/ 601712 h 677458"/>
                  <a:gd name="connsiteX95" fmla="*/ 693339 w 891029"/>
                  <a:gd name="connsiteY95" fmla="*/ 608803 h 677458"/>
                  <a:gd name="connsiteX96" fmla="*/ 657882 w 891029"/>
                  <a:gd name="connsiteY96" fmla="*/ 642004 h 677458"/>
                  <a:gd name="connsiteX97" fmla="*/ 651208 w 891029"/>
                  <a:gd name="connsiteY97" fmla="*/ 655769 h 677458"/>
                  <a:gd name="connsiteX98" fmla="*/ 646787 w 891029"/>
                  <a:gd name="connsiteY98" fmla="*/ 665529 h 677458"/>
                  <a:gd name="connsiteX99" fmla="*/ 636192 w 891029"/>
                  <a:gd name="connsiteY99" fmla="*/ 677458 h 677458"/>
                  <a:gd name="connsiteX100" fmla="*/ 623344 w 891029"/>
                  <a:gd name="connsiteY100" fmla="*/ 670367 h 677458"/>
                  <a:gd name="connsiteX101" fmla="*/ 619340 w 891029"/>
                  <a:gd name="connsiteY101" fmla="*/ 663277 h 677458"/>
                  <a:gd name="connsiteX102" fmla="*/ 611330 w 891029"/>
                  <a:gd name="connsiteY102" fmla="*/ 651347 h 677458"/>
                  <a:gd name="connsiteX103" fmla="*/ 597565 w 891029"/>
                  <a:gd name="connsiteY103" fmla="*/ 643839 h 677458"/>
                  <a:gd name="connsiteX104" fmla="*/ 594478 w 891029"/>
                  <a:gd name="connsiteY104" fmla="*/ 642505 h 677458"/>
                  <a:gd name="connsiteX105" fmla="*/ 586469 w 891029"/>
                  <a:gd name="connsiteY105" fmla="*/ 636332 h 677458"/>
                  <a:gd name="connsiteX106" fmla="*/ 586052 w 891029"/>
                  <a:gd name="connsiteY106" fmla="*/ 630993 h 677458"/>
                  <a:gd name="connsiteX107" fmla="*/ 586469 w 891029"/>
                  <a:gd name="connsiteY107" fmla="*/ 626154 h 677458"/>
                  <a:gd name="connsiteX108" fmla="*/ 581630 w 891029"/>
                  <a:gd name="connsiteY108" fmla="*/ 607969 h 677458"/>
                  <a:gd name="connsiteX109" fmla="*/ 551096 w 891029"/>
                  <a:gd name="connsiteY109" fmla="*/ 578771 h 677458"/>
                  <a:gd name="connsiteX110" fmla="*/ 527153 w 891029"/>
                  <a:gd name="connsiteY110" fmla="*/ 557499 h 677458"/>
                  <a:gd name="connsiteX111" fmla="*/ 524066 w 891029"/>
                  <a:gd name="connsiteY111" fmla="*/ 550825 h 677458"/>
                  <a:gd name="connsiteX112" fmla="*/ 511218 w 891029"/>
                  <a:gd name="connsiteY112" fmla="*/ 532640 h 677458"/>
                  <a:gd name="connsiteX113" fmla="*/ 478014 w 891029"/>
                  <a:gd name="connsiteY113" fmla="*/ 535309 h 677458"/>
                  <a:gd name="connsiteX114" fmla="*/ 467836 w 891029"/>
                  <a:gd name="connsiteY114" fmla="*/ 543318 h 677458"/>
                  <a:gd name="connsiteX115" fmla="*/ 457241 w 891029"/>
                  <a:gd name="connsiteY115" fmla="*/ 551743 h 677458"/>
                  <a:gd name="connsiteX116" fmla="*/ 435550 w 891029"/>
                  <a:gd name="connsiteY116" fmla="*/ 558834 h 677458"/>
                  <a:gd name="connsiteX117" fmla="*/ 408937 w 891029"/>
                  <a:gd name="connsiteY117" fmla="*/ 568177 h 677458"/>
                  <a:gd name="connsiteX118" fmla="*/ 396506 w 891029"/>
                  <a:gd name="connsiteY118" fmla="*/ 578354 h 677458"/>
                  <a:gd name="connsiteX119" fmla="*/ 394254 w 891029"/>
                  <a:gd name="connsiteY119" fmla="*/ 580607 h 677458"/>
                  <a:gd name="connsiteX120" fmla="*/ 294141 w 891029"/>
                  <a:gd name="connsiteY120" fmla="*/ 609387 h 677458"/>
                  <a:gd name="connsiteX121" fmla="*/ 283547 w 891029"/>
                  <a:gd name="connsiteY121" fmla="*/ 607134 h 677458"/>
                  <a:gd name="connsiteX122" fmla="*/ 257434 w 891029"/>
                  <a:gd name="connsiteY122" fmla="*/ 619981 h 677458"/>
                  <a:gd name="connsiteX123" fmla="*/ 254764 w 891029"/>
                  <a:gd name="connsiteY123" fmla="*/ 622651 h 677458"/>
                  <a:gd name="connsiteX124" fmla="*/ 237078 w 891029"/>
                  <a:gd name="connsiteY124" fmla="*/ 627989 h 677458"/>
                  <a:gd name="connsiteX125" fmla="*/ 235743 w 891029"/>
                  <a:gd name="connsiteY125" fmla="*/ 624486 h 677458"/>
                  <a:gd name="connsiteX126" fmla="*/ 233073 w 891029"/>
                  <a:gd name="connsiteY126" fmla="*/ 615643 h 677458"/>
                  <a:gd name="connsiteX127" fmla="*/ 221143 w 891029"/>
                  <a:gd name="connsiteY127" fmla="*/ 606801 h 677458"/>
                  <a:gd name="connsiteX128" fmla="*/ 206543 w 891029"/>
                  <a:gd name="connsiteY128" fmla="*/ 609053 h 677458"/>
                  <a:gd name="connsiteX129" fmla="*/ 187355 w 891029"/>
                  <a:gd name="connsiteY129" fmla="*/ 634246 h 67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891029" h="677458" extrusionOk="0">
                    <a:moveTo>
                      <a:pt x="187355" y="634246"/>
                    </a:moveTo>
                    <a:cubicBezTo>
                      <a:pt x="181599" y="623652"/>
                      <a:pt x="174925" y="612974"/>
                      <a:pt x="166999" y="603214"/>
                    </a:cubicBezTo>
                    <a:cubicBezTo>
                      <a:pt x="157655" y="591284"/>
                      <a:pt x="146142" y="581942"/>
                      <a:pt x="135130" y="572682"/>
                    </a:cubicBezTo>
                    <a:cubicBezTo>
                      <a:pt x="122699" y="562504"/>
                      <a:pt x="111187" y="553162"/>
                      <a:pt x="102343" y="541232"/>
                    </a:cubicBezTo>
                    <a:cubicBezTo>
                      <a:pt x="86826" y="519960"/>
                      <a:pt x="94334" y="507530"/>
                      <a:pt x="117444" y="487593"/>
                    </a:cubicBezTo>
                    <a:cubicBezTo>
                      <a:pt x="130291" y="476081"/>
                      <a:pt x="140469" y="457061"/>
                      <a:pt x="133378" y="445048"/>
                    </a:cubicBezTo>
                    <a:cubicBezTo>
                      <a:pt x="130291" y="439292"/>
                      <a:pt x="122282" y="433536"/>
                      <a:pt x="103261" y="439710"/>
                    </a:cubicBezTo>
                    <a:cubicBezTo>
                      <a:pt x="95252" y="442379"/>
                      <a:pt x="87326" y="443213"/>
                      <a:pt x="78900" y="444131"/>
                    </a:cubicBezTo>
                    <a:cubicBezTo>
                      <a:pt x="66970" y="445466"/>
                      <a:pt x="55457" y="447217"/>
                      <a:pt x="43944" y="452556"/>
                    </a:cubicBezTo>
                    <a:cubicBezTo>
                      <a:pt x="34183" y="457395"/>
                      <a:pt x="25340" y="460565"/>
                      <a:pt x="15162" y="464068"/>
                    </a:cubicBezTo>
                    <a:cubicBezTo>
                      <a:pt x="13827" y="464485"/>
                      <a:pt x="12910" y="464986"/>
                      <a:pt x="11658" y="465403"/>
                    </a:cubicBezTo>
                    <a:cubicBezTo>
                      <a:pt x="12993" y="458312"/>
                      <a:pt x="15162" y="451639"/>
                      <a:pt x="17832" y="444131"/>
                    </a:cubicBezTo>
                    <a:cubicBezTo>
                      <a:pt x="21336" y="433036"/>
                      <a:pt x="25340" y="421107"/>
                      <a:pt x="27593" y="407843"/>
                    </a:cubicBezTo>
                    <a:cubicBezTo>
                      <a:pt x="30680" y="387488"/>
                      <a:pt x="21836" y="370220"/>
                      <a:pt x="13410" y="353369"/>
                    </a:cubicBezTo>
                    <a:cubicBezTo>
                      <a:pt x="7654" y="341440"/>
                      <a:pt x="1897" y="330345"/>
                      <a:pt x="563" y="318416"/>
                    </a:cubicBezTo>
                    <a:cubicBezTo>
                      <a:pt x="-1690" y="302483"/>
                      <a:pt x="3232" y="286967"/>
                      <a:pt x="8071" y="269698"/>
                    </a:cubicBezTo>
                    <a:cubicBezTo>
                      <a:pt x="10324" y="263525"/>
                      <a:pt x="11158" y="256852"/>
                      <a:pt x="12910" y="249761"/>
                    </a:cubicBezTo>
                    <a:cubicBezTo>
                      <a:pt x="15162" y="239166"/>
                      <a:pt x="17331" y="229406"/>
                      <a:pt x="21336" y="220564"/>
                    </a:cubicBezTo>
                    <a:cubicBezTo>
                      <a:pt x="31931" y="196622"/>
                      <a:pt x="55040" y="179354"/>
                      <a:pt x="81987" y="175350"/>
                    </a:cubicBezTo>
                    <a:cubicBezTo>
                      <a:pt x="85074" y="174933"/>
                      <a:pt x="88661" y="174432"/>
                      <a:pt x="92165" y="174432"/>
                    </a:cubicBezTo>
                    <a:cubicBezTo>
                      <a:pt x="107682" y="173515"/>
                      <a:pt x="132961" y="171763"/>
                      <a:pt x="132460" y="147404"/>
                    </a:cubicBezTo>
                    <a:cubicBezTo>
                      <a:pt x="132043" y="138979"/>
                      <a:pt x="128956" y="132805"/>
                      <a:pt x="125786" y="127466"/>
                    </a:cubicBezTo>
                    <a:cubicBezTo>
                      <a:pt x="122699" y="121710"/>
                      <a:pt x="120447" y="117289"/>
                      <a:pt x="121782" y="110199"/>
                    </a:cubicBezTo>
                    <a:cubicBezTo>
                      <a:pt x="124034" y="101773"/>
                      <a:pt x="129290" y="94682"/>
                      <a:pt x="135047" y="88092"/>
                    </a:cubicBezTo>
                    <a:cubicBezTo>
                      <a:pt x="139468" y="82753"/>
                      <a:pt x="143890" y="77498"/>
                      <a:pt x="147477" y="70407"/>
                    </a:cubicBezTo>
                    <a:cubicBezTo>
                      <a:pt x="158072" y="49552"/>
                      <a:pt x="156321" y="22106"/>
                      <a:pt x="151482" y="0"/>
                    </a:cubicBezTo>
                    <a:cubicBezTo>
                      <a:pt x="154986" y="417"/>
                      <a:pt x="158156" y="918"/>
                      <a:pt x="161660" y="1752"/>
                    </a:cubicBezTo>
                    <a:cubicBezTo>
                      <a:pt x="182016" y="6590"/>
                      <a:pt x="202873" y="12847"/>
                      <a:pt x="223229" y="19437"/>
                    </a:cubicBezTo>
                    <a:cubicBezTo>
                      <a:pt x="236076" y="23441"/>
                      <a:pt x="248924" y="27445"/>
                      <a:pt x="261772" y="30949"/>
                    </a:cubicBezTo>
                    <a:lnTo>
                      <a:pt x="281711" y="36288"/>
                    </a:lnTo>
                    <a:cubicBezTo>
                      <a:pt x="333519" y="50469"/>
                      <a:pt x="387580" y="65068"/>
                      <a:pt x="427041" y="99604"/>
                    </a:cubicBezTo>
                    <a:cubicBezTo>
                      <a:pt x="438136" y="109364"/>
                      <a:pt x="444310" y="122211"/>
                      <a:pt x="450066" y="135892"/>
                    </a:cubicBezTo>
                    <a:cubicBezTo>
                      <a:pt x="454488" y="146487"/>
                      <a:pt x="459827" y="157164"/>
                      <a:pt x="467336" y="167342"/>
                    </a:cubicBezTo>
                    <a:cubicBezTo>
                      <a:pt x="483687" y="188197"/>
                      <a:pt x="506296" y="189031"/>
                      <a:pt x="527570" y="190365"/>
                    </a:cubicBezTo>
                    <a:cubicBezTo>
                      <a:pt x="531074" y="190782"/>
                      <a:pt x="535078" y="190782"/>
                      <a:pt x="538666" y="191283"/>
                    </a:cubicBezTo>
                    <a:cubicBezTo>
                      <a:pt x="554600" y="192618"/>
                      <a:pt x="561692" y="195705"/>
                      <a:pt x="573204" y="207216"/>
                    </a:cubicBezTo>
                    <a:cubicBezTo>
                      <a:pt x="582548" y="216977"/>
                      <a:pt x="590057" y="222316"/>
                      <a:pt x="602904" y="224902"/>
                    </a:cubicBezTo>
                    <a:cubicBezTo>
                      <a:pt x="619256" y="228405"/>
                      <a:pt x="636108" y="227154"/>
                      <a:pt x="652543" y="225819"/>
                    </a:cubicBezTo>
                    <a:cubicBezTo>
                      <a:pt x="658717" y="225402"/>
                      <a:pt x="664473" y="224902"/>
                      <a:pt x="671147" y="224485"/>
                    </a:cubicBezTo>
                    <a:cubicBezTo>
                      <a:pt x="684412" y="224068"/>
                      <a:pt x="696843" y="223567"/>
                      <a:pt x="710608" y="217394"/>
                    </a:cubicBezTo>
                    <a:cubicBezTo>
                      <a:pt x="713695" y="216059"/>
                      <a:pt x="717283" y="213390"/>
                      <a:pt x="720786" y="210720"/>
                    </a:cubicBezTo>
                    <a:cubicBezTo>
                      <a:pt x="726126" y="207216"/>
                      <a:pt x="732717" y="202712"/>
                      <a:pt x="736721" y="203630"/>
                    </a:cubicBezTo>
                    <a:cubicBezTo>
                      <a:pt x="739808" y="204047"/>
                      <a:pt x="741143" y="204964"/>
                      <a:pt x="741560" y="206299"/>
                    </a:cubicBezTo>
                    <a:cubicBezTo>
                      <a:pt x="746398" y="212972"/>
                      <a:pt x="743812" y="229740"/>
                      <a:pt x="741977" y="239083"/>
                    </a:cubicBezTo>
                    <a:cubicBezTo>
                      <a:pt x="741560" y="241752"/>
                      <a:pt x="740642" y="244422"/>
                      <a:pt x="740225" y="247091"/>
                    </a:cubicBezTo>
                    <a:cubicBezTo>
                      <a:pt x="737972" y="254182"/>
                      <a:pt x="736220" y="262191"/>
                      <a:pt x="737555" y="269698"/>
                    </a:cubicBezTo>
                    <a:cubicBezTo>
                      <a:pt x="738890" y="275871"/>
                      <a:pt x="741977" y="280293"/>
                      <a:pt x="744646" y="284798"/>
                    </a:cubicBezTo>
                    <a:cubicBezTo>
                      <a:pt x="747316" y="288301"/>
                      <a:pt x="749068" y="291888"/>
                      <a:pt x="749485" y="294975"/>
                    </a:cubicBezTo>
                    <a:cubicBezTo>
                      <a:pt x="749903" y="298061"/>
                      <a:pt x="749068" y="303400"/>
                      <a:pt x="748150" y="308239"/>
                    </a:cubicBezTo>
                    <a:cubicBezTo>
                      <a:pt x="745898" y="318416"/>
                      <a:pt x="743729" y="329928"/>
                      <a:pt x="750403" y="337937"/>
                    </a:cubicBezTo>
                    <a:cubicBezTo>
                      <a:pt x="753907" y="342775"/>
                      <a:pt x="760581" y="345444"/>
                      <a:pt x="769424" y="345945"/>
                    </a:cubicBezTo>
                    <a:lnTo>
                      <a:pt x="770759" y="345945"/>
                    </a:lnTo>
                    <a:cubicBezTo>
                      <a:pt x="788028" y="345945"/>
                      <a:pt x="798207" y="333098"/>
                      <a:pt x="807550" y="322003"/>
                    </a:cubicBezTo>
                    <a:cubicBezTo>
                      <a:pt x="815559" y="312243"/>
                      <a:pt x="822650" y="303817"/>
                      <a:pt x="832829" y="302066"/>
                    </a:cubicBezTo>
                    <a:cubicBezTo>
                      <a:pt x="837250" y="301148"/>
                      <a:pt x="841255" y="300731"/>
                      <a:pt x="845259" y="300731"/>
                    </a:cubicBezTo>
                    <a:cubicBezTo>
                      <a:pt x="848763" y="300314"/>
                      <a:pt x="852351" y="299813"/>
                      <a:pt x="856355" y="299396"/>
                    </a:cubicBezTo>
                    <a:cubicBezTo>
                      <a:pt x="856772" y="300731"/>
                      <a:pt x="856772" y="302066"/>
                      <a:pt x="856772" y="303400"/>
                    </a:cubicBezTo>
                    <a:cubicBezTo>
                      <a:pt x="858524" y="321586"/>
                      <a:pt x="863863" y="340189"/>
                      <a:pt x="873124" y="357457"/>
                    </a:cubicBezTo>
                    <a:cubicBezTo>
                      <a:pt x="875376" y="360960"/>
                      <a:pt x="877128" y="364965"/>
                      <a:pt x="876211" y="367634"/>
                    </a:cubicBezTo>
                    <a:cubicBezTo>
                      <a:pt x="876211" y="368552"/>
                      <a:pt x="875293" y="369886"/>
                      <a:pt x="874876" y="370721"/>
                    </a:cubicBezTo>
                    <a:cubicBezTo>
                      <a:pt x="874459" y="371638"/>
                      <a:pt x="873958" y="372973"/>
                      <a:pt x="873541" y="373807"/>
                    </a:cubicBezTo>
                    <a:cubicBezTo>
                      <a:pt x="870454" y="381815"/>
                      <a:pt x="870871" y="391075"/>
                      <a:pt x="874876" y="398166"/>
                    </a:cubicBezTo>
                    <a:cubicBezTo>
                      <a:pt x="875293" y="399501"/>
                      <a:pt x="876211" y="400418"/>
                      <a:pt x="877128" y="401670"/>
                    </a:cubicBezTo>
                    <a:cubicBezTo>
                      <a:pt x="878046" y="403422"/>
                      <a:pt x="879381" y="404756"/>
                      <a:pt x="879381" y="406091"/>
                    </a:cubicBezTo>
                    <a:cubicBezTo>
                      <a:pt x="879798" y="407009"/>
                      <a:pt x="878964" y="408761"/>
                      <a:pt x="878463" y="410930"/>
                    </a:cubicBezTo>
                    <a:cubicBezTo>
                      <a:pt x="878046" y="412264"/>
                      <a:pt x="877546" y="413599"/>
                      <a:pt x="877128" y="414934"/>
                    </a:cubicBezTo>
                    <a:cubicBezTo>
                      <a:pt x="874876" y="422942"/>
                      <a:pt x="876711" y="431785"/>
                      <a:pt x="881550" y="438375"/>
                    </a:cubicBezTo>
                    <a:lnTo>
                      <a:pt x="882885" y="440127"/>
                    </a:lnTo>
                    <a:cubicBezTo>
                      <a:pt x="883302" y="440544"/>
                      <a:pt x="884220" y="441878"/>
                      <a:pt x="884220" y="442379"/>
                    </a:cubicBezTo>
                    <a:cubicBezTo>
                      <a:pt x="884637" y="442796"/>
                      <a:pt x="883803" y="445048"/>
                      <a:pt x="883302" y="446383"/>
                    </a:cubicBezTo>
                    <a:cubicBezTo>
                      <a:pt x="882384" y="448635"/>
                      <a:pt x="881967" y="450387"/>
                      <a:pt x="881550" y="453057"/>
                    </a:cubicBezTo>
                    <a:cubicBezTo>
                      <a:pt x="880632" y="460565"/>
                      <a:pt x="883803" y="466821"/>
                      <a:pt x="886889" y="471659"/>
                    </a:cubicBezTo>
                    <a:cubicBezTo>
                      <a:pt x="888224" y="474329"/>
                      <a:pt x="889559" y="476498"/>
                      <a:pt x="890393" y="478750"/>
                    </a:cubicBezTo>
                    <a:cubicBezTo>
                      <a:pt x="891728" y="483588"/>
                      <a:pt x="890810" y="489845"/>
                      <a:pt x="889058" y="496436"/>
                    </a:cubicBezTo>
                    <a:cubicBezTo>
                      <a:pt x="888641" y="498688"/>
                      <a:pt x="888141" y="500440"/>
                      <a:pt x="887723" y="502609"/>
                    </a:cubicBezTo>
                    <a:cubicBezTo>
                      <a:pt x="886388" y="510116"/>
                      <a:pt x="887306" y="517207"/>
                      <a:pt x="888141" y="524298"/>
                    </a:cubicBezTo>
                    <a:cubicBezTo>
                      <a:pt x="888558" y="528302"/>
                      <a:pt x="889058" y="532306"/>
                      <a:pt x="889058" y="535393"/>
                    </a:cubicBezTo>
                    <a:cubicBezTo>
                      <a:pt x="889058" y="540231"/>
                      <a:pt x="888141" y="545153"/>
                      <a:pt x="885554" y="548656"/>
                    </a:cubicBezTo>
                    <a:cubicBezTo>
                      <a:pt x="885554" y="549074"/>
                      <a:pt x="885137" y="549074"/>
                      <a:pt x="885137" y="549074"/>
                    </a:cubicBezTo>
                    <a:cubicBezTo>
                      <a:pt x="882885" y="552160"/>
                      <a:pt x="879798" y="554830"/>
                      <a:pt x="876294" y="557499"/>
                    </a:cubicBezTo>
                    <a:lnTo>
                      <a:pt x="844425" y="582776"/>
                    </a:lnTo>
                    <a:cubicBezTo>
                      <a:pt x="841755" y="585028"/>
                      <a:pt x="839586" y="586780"/>
                      <a:pt x="837334" y="587197"/>
                    </a:cubicBezTo>
                    <a:cubicBezTo>
                      <a:pt x="834664" y="587614"/>
                      <a:pt x="831994" y="586780"/>
                      <a:pt x="828490" y="585862"/>
                    </a:cubicBezTo>
                    <a:cubicBezTo>
                      <a:pt x="824987" y="584944"/>
                      <a:pt x="821399" y="583610"/>
                      <a:pt x="817395" y="583610"/>
                    </a:cubicBezTo>
                    <a:cubicBezTo>
                      <a:pt x="808969" y="584027"/>
                      <a:pt x="802294" y="587614"/>
                      <a:pt x="796121" y="591118"/>
                    </a:cubicBezTo>
                    <a:cubicBezTo>
                      <a:pt x="791699" y="593787"/>
                      <a:pt x="787695" y="595956"/>
                      <a:pt x="783690" y="596457"/>
                    </a:cubicBezTo>
                    <a:cubicBezTo>
                      <a:pt x="780186" y="596874"/>
                      <a:pt x="775681" y="595539"/>
                      <a:pt x="771760" y="594705"/>
                    </a:cubicBezTo>
                    <a:lnTo>
                      <a:pt x="767756" y="593787"/>
                    </a:lnTo>
                    <a:cubicBezTo>
                      <a:pt x="757578" y="591535"/>
                      <a:pt x="749568" y="592869"/>
                      <a:pt x="743812" y="597291"/>
                    </a:cubicBezTo>
                    <a:cubicBezTo>
                      <a:pt x="740726" y="599960"/>
                      <a:pt x="738473" y="603047"/>
                      <a:pt x="736721" y="606134"/>
                    </a:cubicBezTo>
                    <a:cubicBezTo>
                      <a:pt x="735803" y="607051"/>
                      <a:pt x="735386" y="608386"/>
                      <a:pt x="734469" y="609220"/>
                    </a:cubicBezTo>
                    <a:cubicBezTo>
                      <a:pt x="733134" y="610972"/>
                      <a:pt x="731799" y="611889"/>
                      <a:pt x="731382" y="611889"/>
                    </a:cubicBezTo>
                    <a:cubicBezTo>
                      <a:pt x="730964" y="611472"/>
                      <a:pt x="730047" y="610555"/>
                      <a:pt x="729630" y="609637"/>
                    </a:cubicBezTo>
                    <a:cubicBezTo>
                      <a:pt x="728712" y="608302"/>
                      <a:pt x="727377" y="606551"/>
                      <a:pt x="726126" y="605216"/>
                    </a:cubicBezTo>
                    <a:cubicBezTo>
                      <a:pt x="721287" y="601211"/>
                      <a:pt x="714196" y="599877"/>
                      <a:pt x="707104" y="601712"/>
                    </a:cubicBezTo>
                    <a:cubicBezTo>
                      <a:pt x="701765" y="603047"/>
                      <a:pt x="697344" y="606134"/>
                      <a:pt x="693339" y="608803"/>
                    </a:cubicBezTo>
                    <a:cubicBezTo>
                      <a:pt x="680908" y="617228"/>
                      <a:pt x="666726" y="627406"/>
                      <a:pt x="657882" y="642004"/>
                    </a:cubicBezTo>
                    <a:cubicBezTo>
                      <a:pt x="655213" y="646425"/>
                      <a:pt x="653044" y="650847"/>
                      <a:pt x="651208" y="655769"/>
                    </a:cubicBezTo>
                    <a:cubicBezTo>
                      <a:pt x="649873" y="658855"/>
                      <a:pt x="648539" y="661942"/>
                      <a:pt x="646787" y="665529"/>
                    </a:cubicBezTo>
                    <a:cubicBezTo>
                      <a:pt x="641948" y="675289"/>
                      <a:pt x="637944" y="677458"/>
                      <a:pt x="636192" y="677458"/>
                    </a:cubicBezTo>
                    <a:cubicBezTo>
                      <a:pt x="633105" y="677458"/>
                      <a:pt x="626014" y="673454"/>
                      <a:pt x="623344" y="670367"/>
                    </a:cubicBezTo>
                    <a:cubicBezTo>
                      <a:pt x="622009" y="668115"/>
                      <a:pt x="620674" y="665946"/>
                      <a:pt x="619340" y="663277"/>
                    </a:cubicBezTo>
                    <a:cubicBezTo>
                      <a:pt x="617087" y="659272"/>
                      <a:pt x="614918" y="654851"/>
                      <a:pt x="611330" y="651347"/>
                    </a:cubicBezTo>
                    <a:cubicBezTo>
                      <a:pt x="606909" y="647343"/>
                      <a:pt x="601987" y="645591"/>
                      <a:pt x="597565" y="643839"/>
                    </a:cubicBezTo>
                    <a:lnTo>
                      <a:pt x="594478" y="642505"/>
                    </a:lnTo>
                    <a:cubicBezTo>
                      <a:pt x="590057" y="640252"/>
                      <a:pt x="587387" y="638501"/>
                      <a:pt x="586469" y="636332"/>
                    </a:cubicBezTo>
                    <a:cubicBezTo>
                      <a:pt x="586052" y="634997"/>
                      <a:pt x="586052" y="633245"/>
                      <a:pt x="586052" y="630993"/>
                    </a:cubicBezTo>
                    <a:cubicBezTo>
                      <a:pt x="586469" y="629658"/>
                      <a:pt x="586469" y="627906"/>
                      <a:pt x="586469" y="626154"/>
                    </a:cubicBezTo>
                    <a:cubicBezTo>
                      <a:pt x="586469" y="619481"/>
                      <a:pt x="583800" y="612890"/>
                      <a:pt x="581630" y="607969"/>
                    </a:cubicBezTo>
                    <a:cubicBezTo>
                      <a:pt x="575457" y="594204"/>
                      <a:pt x="563444" y="586279"/>
                      <a:pt x="551096" y="578771"/>
                    </a:cubicBezTo>
                    <a:cubicBezTo>
                      <a:pt x="541335" y="572598"/>
                      <a:pt x="532075" y="566842"/>
                      <a:pt x="527153" y="557499"/>
                    </a:cubicBezTo>
                    <a:cubicBezTo>
                      <a:pt x="525818" y="555247"/>
                      <a:pt x="524900" y="553078"/>
                      <a:pt x="524066" y="550825"/>
                    </a:cubicBezTo>
                    <a:cubicBezTo>
                      <a:pt x="521396" y="544152"/>
                      <a:pt x="518310" y="537061"/>
                      <a:pt x="511218" y="532640"/>
                    </a:cubicBezTo>
                    <a:cubicBezTo>
                      <a:pt x="500623" y="525966"/>
                      <a:pt x="487275" y="529553"/>
                      <a:pt x="478014" y="535309"/>
                    </a:cubicBezTo>
                    <a:cubicBezTo>
                      <a:pt x="474510" y="537979"/>
                      <a:pt x="470923" y="540648"/>
                      <a:pt x="467836" y="543318"/>
                    </a:cubicBezTo>
                    <a:cubicBezTo>
                      <a:pt x="464332" y="546404"/>
                      <a:pt x="460745" y="549491"/>
                      <a:pt x="457241" y="551743"/>
                    </a:cubicBezTo>
                    <a:cubicBezTo>
                      <a:pt x="451067" y="555247"/>
                      <a:pt x="443476" y="557082"/>
                      <a:pt x="435550" y="558834"/>
                    </a:cubicBezTo>
                    <a:cubicBezTo>
                      <a:pt x="426707" y="561086"/>
                      <a:pt x="417363" y="563255"/>
                      <a:pt x="408937" y="568177"/>
                    </a:cubicBezTo>
                    <a:cubicBezTo>
                      <a:pt x="404098" y="571264"/>
                      <a:pt x="400511" y="574851"/>
                      <a:pt x="396506" y="578354"/>
                    </a:cubicBezTo>
                    <a:lnTo>
                      <a:pt x="394254" y="580607"/>
                    </a:lnTo>
                    <a:cubicBezTo>
                      <a:pt x="370811" y="601879"/>
                      <a:pt x="332268" y="620482"/>
                      <a:pt x="294141" y="609387"/>
                    </a:cubicBezTo>
                    <a:cubicBezTo>
                      <a:pt x="291055" y="608469"/>
                      <a:pt x="287467" y="607134"/>
                      <a:pt x="283547" y="607134"/>
                    </a:cubicBezTo>
                    <a:cubicBezTo>
                      <a:pt x="272450" y="607551"/>
                      <a:pt x="264024" y="613808"/>
                      <a:pt x="257434" y="619981"/>
                    </a:cubicBezTo>
                    <a:lnTo>
                      <a:pt x="254764" y="622651"/>
                    </a:lnTo>
                    <a:cubicBezTo>
                      <a:pt x="249007" y="627489"/>
                      <a:pt x="241499" y="630659"/>
                      <a:pt x="237078" y="627989"/>
                    </a:cubicBezTo>
                    <a:cubicBezTo>
                      <a:pt x="236660" y="627572"/>
                      <a:pt x="236160" y="626655"/>
                      <a:pt x="235743" y="624486"/>
                    </a:cubicBezTo>
                    <a:cubicBezTo>
                      <a:pt x="235326" y="621816"/>
                      <a:pt x="234825" y="618730"/>
                      <a:pt x="233073" y="615643"/>
                    </a:cubicBezTo>
                    <a:cubicBezTo>
                      <a:pt x="230821" y="611222"/>
                      <a:pt x="226399" y="608553"/>
                      <a:pt x="221143" y="606801"/>
                    </a:cubicBezTo>
                    <a:cubicBezTo>
                      <a:pt x="215804" y="605466"/>
                      <a:pt x="210548" y="605883"/>
                      <a:pt x="206543" y="609053"/>
                    </a:cubicBezTo>
                    <a:cubicBezTo>
                      <a:pt x="196198" y="612473"/>
                      <a:pt x="190859" y="624486"/>
                      <a:pt x="187355" y="6342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20296785" name="Полилиния 397"/>
              <p:cNvSpPr/>
              <p:nvPr/>
            </p:nvSpPr>
            <p:spPr bwMode="auto">
              <a:xfrm>
                <a:off x="4002295" y="3738925"/>
                <a:ext cx="1740517" cy="1240499"/>
              </a:xfrm>
              <a:custGeom>
                <a:avLst/>
                <a:gdLst>
                  <a:gd name="connsiteX0" fmla="*/ 257872 w 1954659"/>
                  <a:gd name="connsiteY0" fmla="*/ 1160796 h 1393122"/>
                  <a:gd name="connsiteX1" fmla="*/ 252533 w 1954659"/>
                  <a:gd name="connsiteY1" fmla="*/ 1119170 h 1393122"/>
                  <a:gd name="connsiteX2" fmla="*/ 244107 w 1954659"/>
                  <a:gd name="connsiteY2" fmla="*/ 1067365 h 1393122"/>
                  <a:gd name="connsiteX3" fmla="*/ 197555 w 1954659"/>
                  <a:gd name="connsiteY3" fmla="*/ 1022652 h 1393122"/>
                  <a:gd name="connsiteX4" fmla="*/ 166520 w 1954659"/>
                  <a:gd name="connsiteY4" fmla="*/ 965092 h 1393122"/>
                  <a:gd name="connsiteX5" fmla="*/ 167855 w 1954659"/>
                  <a:gd name="connsiteY5" fmla="*/ 873413 h 1393122"/>
                  <a:gd name="connsiteX6" fmla="*/ 158094 w 1954659"/>
                  <a:gd name="connsiteY6" fmla="*/ 765800 h 1393122"/>
                  <a:gd name="connsiteX7" fmla="*/ 162515 w 1954659"/>
                  <a:gd name="connsiteY7" fmla="*/ 751619 h 1393122"/>
                  <a:gd name="connsiteX8" fmla="*/ 170524 w 1954659"/>
                  <a:gd name="connsiteY8" fmla="*/ 708240 h 1393122"/>
                  <a:gd name="connsiteX9" fmla="*/ 150168 w 1954659"/>
                  <a:gd name="connsiteY9" fmla="*/ 659940 h 1393122"/>
                  <a:gd name="connsiteX10" fmla="*/ 137321 w 1954659"/>
                  <a:gd name="connsiteY10" fmla="*/ 640419 h 1393122"/>
                  <a:gd name="connsiteX11" fmla="*/ 89016 w 1954659"/>
                  <a:gd name="connsiteY11" fmla="*/ 573516 h 1393122"/>
                  <a:gd name="connsiteX12" fmla="*/ 57565 w 1954659"/>
                  <a:gd name="connsiteY12" fmla="*/ 549574 h 1393122"/>
                  <a:gd name="connsiteX13" fmla="*/ 43382 w 1954659"/>
                  <a:gd name="connsiteY13" fmla="*/ 540732 h 1393122"/>
                  <a:gd name="connsiteX14" fmla="*/ 21274 w 1954659"/>
                  <a:gd name="connsiteY14" fmla="*/ 506195 h 1393122"/>
                  <a:gd name="connsiteX15" fmla="*/ 19939 w 1954659"/>
                  <a:gd name="connsiteY15" fmla="*/ 502692 h 1393122"/>
                  <a:gd name="connsiteX16" fmla="*/ 0 w 1954659"/>
                  <a:gd name="connsiteY16" fmla="*/ 474329 h 1393122"/>
                  <a:gd name="connsiteX17" fmla="*/ 1752 w 1954659"/>
                  <a:gd name="connsiteY17" fmla="*/ 471242 h 1393122"/>
                  <a:gd name="connsiteX18" fmla="*/ 18103 w 1954659"/>
                  <a:gd name="connsiteY18" fmla="*/ 445966 h 1393122"/>
                  <a:gd name="connsiteX19" fmla="*/ 35373 w 1954659"/>
                  <a:gd name="connsiteY19" fmla="*/ 419855 h 1393122"/>
                  <a:gd name="connsiteX20" fmla="*/ 44216 w 1954659"/>
                  <a:gd name="connsiteY20" fmla="*/ 391492 h 1393122"/>
                  <a:gd name="connsiteX21" fmla="*/ 49973 w 1954659"/>
                  <a:gd name="connsiteY21" fmla="*/ 370637 h 1393122"/>
                  <a:gd name="connsiteX22" fmla="*/ 56146 w 1954659"/>
                  <a:gd name="connsiteY22" fmla="*/ 360460 h 1393122"/>
                  <a:gd name="connsiteX23" fmla="*/ 64155 w 1954659"/>
                  <a:gd name="connsiteY23" fmla="*/ 328593 h 1393122"/>
                  <a:gd name="connsiteX24" fmla="*/ 73499 w 1954659"/>
                  <a:gd name="connsiteY24" fmla="*/ 286967 h 1393122"/>
                  <a:gd name="connsiteX25" fmla="*/ 140824 w 1954659"/>
                  <a:gd name="connsiteY25" fmla="*/ 204130 h 1393122"/>
                  <a:gd name="connsiteX26" fmla="*/ 146164 w 1954659"/>
                  <a:gd name="connsiteY26" fmla="*/ 199292 h 1393122"/>
                  <a:gd name="connsiteX27" fmla="*/ 171442 w 1954659"/>
                  <a:gd name="connsiteY27" fmla="*/ 162503 h 1393122"/>
                  <a:gd name="connsiteX28" fmla="*/ 182037 w 1954659"/>
                  <a:gd name="connsiteY28" fmla="*/ 119959 h 1393122"/>
                  <a:gd name="connsiteX29" fmla="*/ 185124 w 1954659"/>
                  <a:gd name="connsiteY29" fmla="*/ 104443 h 1393122"/>
                  <a:gd name="connsiteX30" fmla="*/ 191798 w 1954659"/>
                  <a:gd name="connsiteY30" fmla="*/ 82753 h 1393122"/>
                  <a:gd name="connsiteX31" fmla="*/ 231259 w 1954659"/>
                  <a:gd name="connsiteY31" fmla="*/ 51721 h 1393122"/>
                  <a:gd name="connsiteX32" fmla="*/ 257872 w 1954659"/>
                  <a:gd name="connsiteY32" fmla="*/ 57060 h 1393122"/>
                  <a:gd name="connsiteX33" fmla="*/ 295498 w 1954659"/>
                  <a:gd name="connsiteY33" fmla="*/ 71241 h 1393122"/>
                  <a:gd name="connsiteX34" fmla="*/ 356650 w 1954659"/>
                  <a:gd name="connsiteY34" fmla="*/ 34035 h 1393122"/>
                  <a:gd name="connsiteX35" fmla="*/ 377006 w 1954659"/>
                  <a:gd name="connsiteY35" fmla="*/ 16351 h 1393122"/>
                  <a:gd name="connsiteX36" fmla="*/ 415966 w 1954659"/>
                  <a:gd name="connsiteY36" fmla="*/ 0 h 1393122"/>
                  <a:gd name="connsiteX37" fmla="*/ 419470 w 1954659"/>
                  <a:gd name="connsiteY37" fmla="*/ 45214 h 1393122"/>
                  <a:gd name="connsiteX38" fmla="*/ 424809 w 1954659"/>
                  <a:gd name="connsiteY38" fmla="*/ 61564 h 1393122"/>
                  <a:gd name="connsiteX39" fmla="*/ 429648 w 1954659"/>
                  <a:gd name="connsiteY39" fmla="*/ 80167 h 1393122"/>
                  <a:gd name="connsiteX40" fmla="*/ 422557 w 1954659"/>
                  <a:gd name="connsiteY40" fmla="*/ 94766 h 1393122"/>
                  <a:gd name="connsiteX41" fmla="*/ 416383 w 1954659"/>
                  <a:gd name="connsiteY41" fmla="*/ 105360 h 1393122"/>
                  <a:gd name="connsiteX42" fmla="*/ 409292 w 1954659"/>
                  <a:gd name="connsiteY42" fmla="*/ 131054 h 1393122"/>
                  <a:gd name="connsiteX43" fmla="*/ 399114 w 1954659"/>
                  <a:gd name="connsiteY43" fmla="*/ 159417 h 1393122"/>
                  <a:gd name="connsiteX44" fmla="*/ 393358 w 1954659"/>
                  <a:gd name="connsiteY44" fmla="*/ 165590 h 1393122"/>
                  <a:gd name="connsiteX45" fmla="*/ 381427 w 1954659"/>
                  <a:gd name="connsiteY45" fmla="*/ 192618 h 1393122"/>
                  <a:gd name="connsiteX46" fmla="*/ 395193 w 1954659"/>
                  <a:gd name="connsiteY46" fmla="*/ 208551 h 1393122"/>
                  <a:gd name="connsiteX47" fmla="*/ 400032 w 1954659"/>
                  <a:gd name="connsiteY47" fmla="*/ 209886 h 1393122"/>
                  <a:gd name="connsiteX48" fmla="*/ 412879 w 1954659"/>
                  <a:gd name="connsiteY48" fmla="*/ 228906 h 1393122"/>
                  <a:gd name="connsiteX49" fmla="*/ 423058 w 1954659"/>
                  <a:gd name="connsiteY49" fmla="*/ 254182 h 1393122"/>
                  <a:gd name="connsiteX50" fmla="*/ 496556 w 1954659"/>
                  <a:gd name="connsiteY50" fmla="*/ 266612 h 1393122"/>
                  <a:gd name="connsiteX51" fmla="*/ 506317 w 1954659"/>
                  <a:gd name="connsiteY51" fmla="*/ 266195 h 1393122"/>
                  <a:gd name="connsiteX52" fmla="*/ 533348 w 1954659"/>
                  <a:gd name="connsiteY52" fmla="*/ 262691 h 1393122"/>
                  <a:gd name="connsiteX53" fmla="*/ 570139 w 1954659"/>
                  <a:gd name="connsiteY53" fmla="*/ 259605 h 1393122"/>
                  <a:gd name="connsiteX54" fmla="*/ 622865 w 1954659"/>
                  <a:gd name="connsiteY54" fmla="*/ 284881 h 1393122"/>
                  <a:gd name="connsiteX55" fmla="*/ 636130 w 1954659"/>
                  <a:gd name="connsiteY55" fmla="*/ 293724 h 1393122"/>
                  <a:gd name="connsiteX56" fmla="*/ 643638 w 1954659"/>
                  <a:gd name="connsiteY56" fmla="*/ 318499 h 1393122"/>
                  <a:gd name="connsiteX57" fmla="*/ 640551 w 1954659"/>
                  <a:gd name="connsiteY57" fmla="*/ 343776 h 1393122"/>
                  <a:gd name="connsiteX58" fmla="*/ 669333 w 1954659"/>
                  <a:gd name="connsiteY58" fmla="*/ 384569 h 1393122"/>
                  <a:gd name="connsiteX59" fmla="*/ 728733 w 1954659"/>
                  <a:gd name="connsiteY59" fmla="*/ 388072 h 1393122"/>
                  <a:gd name="connsiteX60" fmla="*/ 731403 w 1954659"/>
                  <a:gd name="connsiteY60" fmla="*/ 387155 h 1393122"/>
                  <a:gd name="connsiteX61" fmla="*/ 736742 w 1954659"/>
                  <a:gd name="connsiteY61" fmla="*/ 384902 h 1393122"/>
                  <a:gd name="connsiteX62" fmla="*/ 752677 w 1954659"/>
                  <a:gd name="connsiteY62" fmla="*/ 381399 h 1393122"/>
                  <a:gd name="connsiteX63" fmla="*/ 758851 w 1954659"/>
                  <a:gd name="connsiteY63" fmla="*/ 383150 h 1393122"/>
                  <a:gd name="connsiteX64" fmla="*/ 775703 w 1954659"/>
                  <a:gd name="connsiteY64" fmla="*/ 384485 h 1393122"/>
                  <a:gd name="connsiteX65" fmla="*/ 793890 w 1954659"/>
                  <a:gd name="connsiteY65" fmla="*/ 371638 h 1393122"/>
                  <a:gd name="connsiteX66" fmla="*/ 813412 w 1954659"/>
                  <a:gd name="connsiteY66" fmla="*/ 364548 h 1393122"/>
                  <a:gd name="connsiteX67" fmla="*/ 847116 w 1954659"/>
                  <a:gd name="connsiteY67" fmla="*/ 383150 h 1393122"/>
                  <a:gd name="connsiteX68" fmla="*/ 863468 w 1954659"/>
                  <a:gd name="connsiteY68" fmla="*/ 393745 h 1393122"/>
                  <a:gd name="connsiteX69" fmla="*/ 870142 w 1954659"/>
                  <a:gd name="connsiteY69" fmla="*/ 397249 h 1393122"/>
                  <a:gd name="connsiteX70" fmla="*/ 904681 w 1954659"/>
                  <a:gd name="connsiteY70" fmla="*/ 425195 h 1393122"/>
                  <a:gd name="connsiteX71" fmla="*/ 901176 w 1954659"/>
                  <a:gd name="connsiteY71" fmla="*/ 449136 h 1393122"/>
                  <a:gd name="connsiteX72" fmla="*/ 894085 w 1954659"/>
                  <a:gd name="connsiteY72" fmla="*/ 466821 h 1393122"/>
                  <a:gd name="connsiteX73" fmla="*/ 914442 w 1954659"/>
                  <a:gd name="connsiteY73" fmla="*/ 521295 h 1393122"/>
                  <a:gd name="connsiteX74" fmla="*/ 934798 w 1954659"/>
                  <a:gd name="connsiteY74" fmla="*/ 557583 h 1393122"/>
                  <a:gd name="connsiteX75" fmla="*/ 933880 w 1954659"/>
                  <a:gd name="connsiteY75" fmla="*/ 568678 h 1393122"/>
                  <a:gd name="connsiteX76" fmla="*/ 950232 w 1954659"/>
                  <a:gd name="connsiteY76" fmla="*/ 613891 h 1393122"/>
                  <a:gd name="connsiteX77" fmla="*/ 1005627 w 1954659"/>
                  <a:gd name="connsiteY77" fmla="*/ 616978 h 1393122"/>
                  <a:gd name="connsiteX78" fmla="*/ 1014053 w 1954659"/>
                  <a:gd name="connsiteY78" fmla="*/ 613474 h 1393122"/>
                  <a:gd name="connsiteX79" fmla="*/ 1040666 w 1954659"/>
                  <a:gd name="connsiteY79" fmla="*/ 613891 h 1393122"/>
                  <a:gd name="connsiteX80" fmla="*/ 1050845 w 1954659"/>
                  <a:gd name="connsiteY80" fmla="*/ 629408 h 1393122"/>
                  <a:gd name="connsiteX81" fmla="*/ 1073870 w 1954659"/>
                  <a:gd name="connsiteY81" fmla="*/ 654184 h 1393122"/>
                  <a:gd name="connsiteX82" fmla="*/ 1091140 w 1954659"/>
                  <a:gd name="connsiteY82" fmla="*/ 661275 h 1393122"/>
                  <a:gd name="connsiteX83" fmla="*/ 1122592 w 1954659"/>
                  <a:gd name="connsiteY83" fmla="*/ 676373 h 1393122"/>
                  <a:gd name="connsiteX84" fmla="*/ 1170395 w 1954659"/>
                  <a:gd name="connsiteY84" fmla="*/ 698063 h 1393122"/>
                  <a:gd name="connsiteX85" fmla="*/ 1194756 w 1954659"/>
                  <a:gd name="connsiteY85" fmla="*/ 699397 h 1393122"/>
                  <a:gd name="connsiteX86" fmla="*/ 1231964 w 1954659"/>
                  <a:gd name="connsiteY86" fmla="*/ 706071 h 1393122"/>
                  <a:gd name="connsiteX87" fmla="*/ 1246146 w 1954659"/>
                  <a:gd name="connsiteY87" fmla="*/ 717166 h 1393122"/>
                  <a:gd name="connsiteX88" fmla="*/ 1275846 w 1954659"/>
                  <a:gd name="connsiteY88" fmla="*/ 734434 h 1393122"/>
                  <a:gd name="connsiteX89" fmla="*/ 1315308 w 1954659"/>
                  <a:gd name="connsiteY89" fmla="*/ 761462 h 1393122"/>
                  <a:gd name="connsiteX90" fmla="*/ 1359607 w 1954659"/>
                  <a:gd name="connsiteY90" fmla="*/ 814601 h 1393122"/>
                  <a:gd name="connsiteX91" fmla="*/ 1418089 w 1954659"/>
                  <a:gd name="connsiteY91" fmla="*/ 833204 h 1393122"/>
                  <a:gd name="connsiteX92" fmla="*/ 1439780 w 1954659"/>
                  <a:gd name="connsiteY92" fmla="*/ 832287 h 1393122"/>
                  <a:gd name="connsiteX93" fmla="*/ 1484497 w 1954659"/>
                  <a:gd name="connsiteY93" fmla="*/ 830034 h 1393122"/>
                  <a:gd name="connsiteX94" fmla="*/ 1535888 w 1954659"/>
                  <a:gd name="connsiteY94" fmla="*/ 807010 h 1393122"/>
                  <a:gd name="connsiteX95" fmla="*/ 1542062 w 1954659"/>
                  <a:gd name="connsiteY95" fmla="*/ 802172 h 1393122"/>
                  <a:gd name="connsiteX96" fmla="*/ 1551406 w 1954659"/>
                  <a:gd name="connsiteY96" fmla="*/ 795498 h 1393122"/>
                  <a:gd name="connsiteX97" fmla="*/ 1578436 w 1954659"/>
                  <a:gd name="connsiteY97" fmla="*/ 771556 h 1393122"/>
                  <a:gd name="connsiteX98" fmla="*/ 1594370 w 1954659"/>
                  <a:gd name="connsiteY98" fmla="*/ 760461 h 1393122"/>
                  <a:gd name="connsiteX99" fmla="*/ 1622318 w 1954659"/>
                  <a:gd name="connsiteY99" fmla="*/ 791911 h 1393122"/>
                  <a:gd name="connsiteX100" fmla="*/ 1632496 w 1954659"/>
                  <a:gd name="connsiteY100" fmla="*/ 808762 h 1393122"/>
                  <a:gd name="connsiteX101" fmla="*/ 1684805 w 1954659"/>
                  <a:gd name="connsiteY101" fmla="*/ 835373 h 1393122"/>
                  <a:gd name="connsiteX102" fmla="*/ 1730022 w 1954659"/>
                  <a:gd name="connsiteY102" fmla="*/ 849137 h 1393122"/>
                  <a:gd name="connsiteX103" fmla="*/ 1739783 w 1954659"/>
                  <a:gd name="connsiteY103" fmla="*/ 858481 h 1393122"/>
                  <a:gd name="connsiteX104" fmla="*/ 1772570 w 1954659"/>
                  <a:gd name="connsiteY104" fmla="*/ 882422 h 1393122"/>
                  <a:gd name="connsiteX105" fmla="*/ 1798265 w 1954659"/>
                  <a:gd name="connsiteY105" fmla="*/ 886426 h 1393122"/>
                  <a:gd name="connsiteX106" fmla="*/ 1814200 w 1954659"/>
                  <a:gd name="connsiteY106" fmla="*/ 887761 h 1393122"/>
                  <a:gd name="connsiteX107" fmla="*/ 1835891 w 1954659"/>
                  <a:gd name="connsiteY107" fmla="*/ 908116 h 1393122"/>
                  <a:gd name="connsiteX108" fmla="*/ 1845652 w 1954659"/>
                  <a:gd name="connsiteY108" fmla="*/ 922297 h 1393122"/>
                  <a:gd name="connsiteX109" fmla="*/ 1854495 w 1954659"/>
                  <a:gd name="connsiteY109" fmla="*/ 929805 h 1393122"/>
                  <a:gd name="connsiteX110" fmla="*/ 1853577 w 1954659"/>
                  <a:gd name="connsiteY110" fmla="*/ 933309 h 1393122"/>
                  <a:gd name="connsiteX111" fmla="*/ 1862003 w 1954659"/>
                  <a:gd name="connsiteY111" fmla="*/ 994873 h 1393122"/>
                  <a:gd name="connsiteX112" fmla="*/ 1912060 w 1954659"/>
                  <a:gd name="connsiteY112" fmla="*/ 1028575 h 1393122"/>
                  <a:gd name="connsiteX113" fmla="*/ 1933333 w 1954659"/>
                  <a:gd name="connsiteY113" fmla="*/ 1039169 h 1393122"/>
                  <a:gd name="connsiteX114" fmla="*/ 1937338 w 1954659"/>
                  <a:gd name="connsiteY114" fmla="*/ 1041839 h 1393122"/>
                  <a:gd name="connsiteX115" fmla="*/ 1954607 w 1954659"/>
                  <a:gd name="connsiteY115" fmla="*/ 1055603 h 1393122"/>
                  <a:gd name="connsiteX116" fmla="*/ 1951103 w 1954659"/>
                  <a:gd name="connsiteY116" fmla="*/ 1062694 h 1393122"/>
                  <a:gd name="connsiteX117" fmla="*/ 1945347 w 1954659"/>
                  <a:gd name="connsiteY117" fmla="*/ 1068450 h 1393122"/>
                  <a:gd name="connsiteX118" fmla="*/ 1933417 w 1954659"/>
                  <a:gd name="connsiteY118" fmla="*/ 1082631 h 1393122"/>
                  <a:gd name="connsiteX119" fmla="*/ 1930330 w 1954659"/>
                  <a:gd name="connsiteY119" fmla="*/ 1089722 h 1393122"/>
                  <a:gd name="connsiteX120" fmla="*/ 1921487 w 1954659"/>
                  <a:gd name="connsiteY120" fmla="*/ 1098565 h 1393122"/>
                  <a:gd name="connsiteX121" fmla="*/ 1910391 w 1954659"/>
                  <a:gd name="connsiteY121" fmla="*/ 1100817 h 1393122"/>
                  <a:gd name="connsiteX122" fmla="*/ 1894039 w 1954659"/>
                  <a:gd name="connsiteY122" fmla="*/ 1104321 h 1393122"/>
                  <a:gd name="connsiteX123" fmla="*/ 1870096 w 1954659"/>
                  <a:gd name="connsiteY123" fmla="*/ 1119837 h 1393122"/>
                  <a:gd name="connsiteX124" fmla="*/ 1858583 w 1954659"/>
                  <a:gd name="connsiteY124" fmla="*/ 1128262 h 1393122"/>
                  <a:gd name="connsiteX125" fmla="*/ 1854161 w 1954659"/>
                  <a:gd name="connsiteY125" fmla="*/ 1130932 h 1393122"/>
                  <a:gd name="connsiteX126" fmla="*/ 1831136 w 1954659"/>
                  <a:gd name="connsiteY126" fmla="*/ 1144696 h 1393122"/>
                  <a:gd name="connsiteX127" fmla="*/ 1817370 w 1954659"/>
                  <a:gd name="connsiteY127" fmla="*/ 1149535 h 1393122"/>
                  <a:gd name="connsiteX128" fmla="*/ 1803605 w 1954659"/>
                  <a:gd name="connsiteY128" fmla="*/ 1149118 h 1393122"/>
                  <a:gd name="connsiteX129" fmla="*/ 1785418 w 1954659"/>
                  <a:gd name="connsiteY129" fmla="*/ 1133184 h 1393122"/>
                  <a:gd name="connsiteX130" fmla="*/ 1755301 w 1954659"/>
                  <a:gd name="connsiteY130" fmla="*/ 1111078 h 1393122"/>
                  <a:gd name="connsiteX131" fmla="*/ 1711001 w 1954659"/>
                  <a:gd name="connsiteY131" fmla="*/ 1123507 h 1393122"/>
                  <a:gd name="connsiteX132" fmla="*/ 1691479 w 1954659"/>
                  <a:gd name="connsiteY132" fmla="*/ 1146531 h 1393122"/>
                  <a:gd name="connsiteX133" fmla="*/ 1651184 w 1954659"/>
                  <a:gd name="connsiteY133" fmla="*/ 1179733 h 1393122"/>
                  <a:gd name="connsiteX134" fmla="*/ 1628575 w 1954659"/>
                  <a:gd name="connsiteY134" fmla="*/ 1171308 h 1393122"/>
                  <a:gd name="connsiteX135" fmla="*/ 1604215 w 1954659"/>
                  <a:gd name="connsiteY135" fmla="*/ 1160713 h 1393122"/>
                  <a:gd name="connsiteX136" fmla="*/ 1592702 w 1954659"/>
                  <a:gd name="connsiteY136" fmla="*/ 1160296 h 1393122"/>
                  <a:gd name="connsiteX137" fmla="*/ 1582106 w 1954659"/>
                  <a:gd name="connsiteY137" fmla="*/ 1159378 h 1393122"/>
                  <a:gd name="connsiteX138" fmla="*/ 1573263 w 1954659"/>
                  <a:gd name="connsiteY138" fmla="*/ 1147449 h 1393122"/>
                  <a:gd name="connsiteX139" fmla="*/ 1564420 w 1954659"/>
                  <a:gd name="connsiteY139" fmla="*/ 1134185 h 1393122"/>
                  <a:gd name="connsiteX140" fmla="*/ 1512612 w 1954659"/>
                  <a:gd name="connsiteY140" fmla="*/ 1131516 h 1393122"/>
                  <a:gd name="connsiteX141" fmla="*/ 1501516 w 1954659"/>
                  <a:gd name="connsiteY141" fmla="*/ 1135937 h 1393122"/>
                  <a:gd name="connsiteX142" fmla="*/ 1438195 w 1954659"/>
                  <a:gd name="connsiteY142" fmla="*/ 1126177 h 1393122"/>
                  <a:gd name="connsiteX143" fmla="*/ 1433774 w 1954659"/>
                  <a:gd name="connsiteY143" fmla="*/ 1123090 h 1393122"/>
                  <a:gd name="connsiteX144" fmla="*/ 1378378 w 1954659"/>
                  <a:gd name="connsiteY144" fmla="*/ 1102235 h 1393122"/>
                  <a:gd name="connsiteX145" fmla="*/ 1299957 w 1954659"/>
                  <a:gd name="connsiteY145" fmla="*/ 1086719 h 1393122"/>
                  <a:gd name="connsiteX146" fmla="*/ 1240140 w 1954659"/>
                  <a:gd name="connsiteY146" fmla="*/ 1094727 h 1393122"/>
                  <a:gd name="connsiteX147" fmla="*/ 1233966 w 1954659"/>
                  <a:gd name="connsiteY147" fmla="*/ 1107157 h 1393122"/>
                  <a:gd name="connsiteX148" fmla="*/ 1229545 w 1954659"/>
                  <a:gd name="connsiteY148" fmla="*/ 1116917 h 1393122"/>
                  <a:gd name="connsiteX149" fmla="*/ 1221118 w 1954659"/>
                  <a:gd name="connsiteY149" fmla="*/ 1125343 h 1393122"/>
                  <a:gd name="connsiteX150" fmla="*/ 1206936 w 1954659"/>
                  <a:gd name="connsiteY150" fmla="*/ 1143028 h 1393122"/>
                  <a:gd name="connsiteX151" fmla="*/ 1207353 w 1954659"/>
                  <a:gd name="connsiteY151" fmla="*/ 1162048 h 1393122"/>
                  <a:gd name="connsiteX152" fmla="*/ 1208271 w 1954659"/>
                  <a:gd name="connsiteY152" fmla="*/ 1172642 h 1393122"/>
                  <a:gd name="connsiteX153" fmla="*/ 1201597 w 1954659"/>
                  <a:gd name="connsiteY153" fmla="*/ 1185489 h 1393122"/>
                  <a:gd name="connsiteX154" fmla="*/ 1192753 w 1954659"/>
                  <a:gd name="connsiteY154" fmla="*/ 1203674 h 1393122"/>
                  <a:gd name="connsiteX155" fmla="*/ 1189250 w 1954659"/>
                  <a:gd name="connsiteY155" fmla="*/ 1224029 h 1393122"/>
                  <a:gd name="connsiteX156" fmla="*/ 1178154 w 1954659"/>
                  <a:gd name="connsiteY156" fmla="*/ 1260317 h 1393122"/>
                  <a:gd name="connsiteX157" fmla="*/ 1159550 w 1954659"/>
                  <a:gd name="connsiteY157" fmla="*/ 1270077 h 1393122"/>
                  <a:gd name="connsiteX158" fmla="*/ 1147119 w 1954659"/>
                  <a:gd name="connsiteY158" fmla="*/ 1267825 h 1393122"/>
                  <a:gd name="connsiteX159" fmla="*/ 1083798 w 1954659"/>
                  <a:gd name="connsiteY159" fmla="*/ 1315208 h 1393122"/>
                  <a:gd name="connsiteX160" fmla="*/ 1077624 w 1954659"/>
                  <a:gd name="connsiteY160" fmla="*/ 1337314 h 1393122"/>
                  <a:gd name="connsiteX161" fmla="*/ 1074538 w 1954659"/>
                  <a:gd name="connsiteY161" fmla="*/ 1351913 h 1393122"/>
                  <a:gd name="connsiteX162" fmla="*/ 1061273 w 1954659"/>
                  <a:gd name="connsiteY162" fmla="*/ 1365177 h 1393122"/>
                  <a:gd name="connsiteX163" fmla="*/ 1058603 w 1954659"/>
                  <a:gd name="connsiteY163" fmla="*/ 1367429 h 1393122"/>
                  <a:gd name="connsiteX164" fmla="*/ 1048008 w 1954659"/>
                  <a:gd name="connsiteY164" fmla="*/ 1374520 h 1393122"/>
                  <a:gd name="connsiteX165" fmla="*/ 1027652 w 1954659"/>
                  <a:gd name="connsiteY165" fmla="*/ 1390036 h 1393122"/>
                  <a:gd name="connsiteX166" fmla="*/ 1024982 w 1954659"/>
                  <a:gd name="connsiteY166" fmla="*/ 1393123 h 1393122"/>
                  <a:gd name="connsiteX167" fmla="*/ 1006378 w 1954659"/>
                  <a:gd name="connsiteY167" fmla="*/ 1379358 h 1393122"/>
                  <a:gd name="connsiteX168" fmla="*/ 982434 w 1954659"/>
                  <a:gd name="connsiteY168" fmla="*/ 1370933 h 1393122"/>
                  <a:gd name="connsiteX169" fmla="*/ 962495 w 1954659"/>
                  <a:gd name="connsiteY169" fmla="*/ 1364259 h 1393122"/>
                  <a:gd name="connsiteX170" fmla="*/ 943891 w 1954659"/>
                  <a:gd name="connsiteY170" fmla="*/ 1354916 h 1393122"/>
                  <a:gd name="connsiteX171" fmla="*/ 913357 w 1954659"/>
                  <a:gd name="connsiteY171" fmla="*/ 1341152 h 1393122"/>
                  <a:gd name="connsiteX172" fmla="*/ 875231 w 1954659"/>
                  <a:gd name="connsiteY172" fmla="*/ 1306615 h 1393122"/>
                  <a:gd name="connsiteX173" fmla="*/ 864135 w 1954659"/>
                  <a:gd name="connsiteY173" fmla="*/ 1287596 h 1393122"/>
                  <a:gd name="connsiteX174" fmla="*/ 848618 w 1954659"/>
                  <a:gd name="connsiteY174" fmla="*/ 1269410 h 1393122"/>
                  <a:gd name="connsiteX175" fmla="*/ 832683 w 1954659"/>
                  <a:gd name="connsiteY175" fmla="*/ 1249055 h 1393122"/>
                  <a:gd name="connsiteX176" fmla="*/ 824257 w 1954659"/>
                  <a:gd name="connsiteY176" fmla="*/ 1226449 h 1393122"/>
                  <a:gd name="connsiteX177" fmla="*/ 810492 w 1954659"/>
                  <a:gd name="connsiteY177" fmla="*/ 1193664 h 1393122"/>
                  <a:gd name="connsiteX178" fmla="*/ 788801 w 1954659"/>
                  <a:gd name="connsiteY178" fmla="*/ 1167053 h 1393122"/>
                  <a:gd name="connsiteX179" fmla="*/ 776870 w 1954659"/>
                  <a:gd name="connsiteY179" fmla="*/ 1153289 h 1393122"/>
                  <a:gd name="connsiteX180" fmla="*/ 770697 w 1954659"/>
                  <a:gd name="connsiteY180" fmla="*/ 1145280 h 1393122"/>
                  <a:gd name="connsiteX181" fmla="*/ 739245 w 1954659"/>
                  <a:gd name="connsiteY181" fmla="*/ 1118252 h 1393122"/>
                  <a:gd name="connsiteX182" fmla="*/ 715302 w 1954659"/>
                  <a:gd name="connsiteY182" fmla="*/ 1112496 h 1393122"/>
                  <a:gd name="connsiteX183" fmla="*/ 693194 w 1954659"/>
                  <a:gd name="connsiteY183" fmla="*/ 1107657 h 1393122"/>
                  <a:gd name="connsiteX184" fmla="*/ 656402 w 1954659"/>
                  <a:gd name="connsiteY184" fmla="*/ 1089055 h 1393122"/>
                  <a:gd name="connsiteX185" fmla="*/ 647976 w 1954659"/>
                  <a:gd name="connsiteY185" fmla="*/ 1084217 h 1393122"/>
                  <a:gd name="connsiteX186" fmla="*/ 596168 w 1954659"/>
                  <a:gd name="connsiteY186" fmla="*/ 1070452 h 1393122"/>
                  <a:gd name="connsiteX187" fmla="*/ 579817 w 1954659"/>
                  <a:gd name="connsiteY187" fmla="*/ 1083299 h 1393122"/>
                  <a:gd name="connsiteX188" fmla="*/ 576312 w 1954659"/>
                  <a:gd name="connsiteY188" fmla="*/ 1100150 h 1393122"/>
                  <a:gd name="connsiteX189" fmla="*/ 576312 w 1954659"/>
                  <a:gd name="connsiteY189" fmla="*/ 1102819 h 1393122"/>
                  <a:gd name="connsiteX190" fmla="*/ 569221 w 1954659"/>
                  <a:gd name="connsiteY190" fmla="*/ 1105489 h 1393122"/>
                  <a:gd name="connsiteX191" fmla="*/ 558626 w 1954659"/>
                  <a:gd name="connsiteY191" fmla="*/ 1107741 h 1393122"/>
                  <a:gd name="connsiteX192" fmla="*/ 517413 w 1954659"/>
                  <a:gd name="connsiteY192" fmla="*/ 1125927 h 1393122"/>
                  <a:gd name="connsiteX193" fmla="*/ 510322 w 1954659"/>
                  <a:gd name="connsiteY193" fmla="*/ 1132600 h 1393122"/>
                  <a:gd name="connsiteX194" fmla="*/ 481957 w 1954659"/>
                  <a:gd name="connsiteY194" fmla="*/ 1148116 h 1393122"/>
                  <a:gd name="connsiteX195" fmla="*/ 462935 w 1954659"/>
                  <a:gd name="connsiteY195" fmla="*/ 1147699 h 1393122"/>
                  <a:gd name="connsiteX196" fmla="*/ 422640 w 1954659"/>
                  <a:gd name="connsiteY196" fmla="*/ 1150786 h 1393122"/>
                  <a:gd name="connsiteX197" fmla="*/ 407123 w 1954659"/>
                  <a:gd name="connsiteY197" fmla="*/ 1156542 h 1393122"/>
                  <a:gd name="connsiteX198" fmla="*/ 373419 w 1954659"/>
                  <a:gd name="connsiteY198" fmla="*/ 1163633 h 1393122"/>
                  <a:gd name="connsiteX199" fmla="*/ 332205 w 1954659"/>
                  <a:gd name="connsiteY199" fmla="*/ 1182236 h 1393122"/>
                  <a:gd name="connsiteX200" fmla="*/ 326866 w 1954659"/>
                  <a:gd name="connsiteY200" fmla="*/ 1187992 h 1393122"/>
                  <a:gd name="connsiteX201" fmla="*/ 286571 w 1954659"/>
                  <a:gd name="connsiteY201" fmla="*/ 1199921 h 1393122"/>
                  <a:gd name="connsiteX202" fmla="*/ 286154 w 1954659"/>
                  <a:gd name="connsiteY202" fmla="*/ 1199921 h 1393122"/>
                  <a:gd name="connsiteX203" fmla="*/ 283901 w 1954659"/>
                  <a:gd name="connsiteY203" fmla="*/ 1199921 h 1393122"/>
                  <a:gd name="connsiteX204" fmla="*/ 271054 w 1954659"/>
                  <a:gd name="connsiteY204" fmla="*/ 1200338 h 1393122"/>
                  <a:gd name="connsiteX205" fmla="*/ 263045 w 1954659"/>
                  <a:gd name="connsiteY205" fmla="*/ 1170223 h 1393122"/>
                  <a:gd name="connsiteX206" fmla="*/ 257872 w 1954659"/>
                  <a:gd name="connsiteY206" fmla="*/ 1160796 h 139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1954659" h="1393122" extrusionOk="0">
                    <a:moveTo>
                      <a:pt x="257872" y="1160796"/>
                    </a:moveTo>
                    <a:cubicBezTo>
                      <a:pt x="254368" y="1147533"/>
                      <a:pt x="253451" y="1133768"/>
                      <a:pt x="252533" y="1119170"/>
                    </a:cubicBezTo>
                    <a:cubicBezTo>
                      <a:pt x="251615" y="1101901"/>
                      <a:pt x="250281" y="1084217"/>
                      <a:pt x="244107" y="1067365"/>
                    </a:cubicBezTo>
                    <a:cubicBezTo>
                      <a:pt x="235681" y="1043924"/>
                      <a:pt x="215325" y="1032829"/>
                      <a:pt x="197555" y="1022652"/>
                    </a:cubicBezTo>
                    <a:cubicBezTo>
                      <a:pt x="173611" y="1008888"/>
                      <a:pt x="155925" y="999211"/>
                      <a:pt x="166520" y="965092"/>
                    </a:cubicBezTo>
                    <a:cubicBezTo>
                      <a:pt x="178450" y="928804"/>
                      <a:pt x="181120" y="907949"/>
                      <a:pt x="167855" y="873413"/>
                    </a:cubicBezTo>
                    <a:cubicBezTo>
                      <a:pt x="151920" y="831369"/>
                      <a:pt x="148833" y="798584"/>
                      <a:pt x="158094" y="765800"/>
                    </a:cubicBezTo>
                    <a:cubicBezTo>
                      <a:pt x="159429" y="760962"/>
                      <a:pt x="161180" y="756040"/>
                      <a:pt x="162515" y="751619"/>
                    </a:cubicBezTo>
                    <a:cubicBezTo>
                      <a:pt x="167354" y="737854"/>
                      <a:pt x="172276" y="724174"/>
                      <a:pt x="170524" y="708240"/>
                    </a:cubicBezTo>
                    <a:cubicBezTo>
                      <a:pt x="168272" y="690055"/>
                      <a:pt x="159429" y="673287"/>
                      <a:pt x="150168" y="659940"/>
                    </a:cubicBezTo>
                    <a:cubicBezTo>
                      <a:pt x="145746" y="653767"/>
                      <a:pt x="141742" y="647093"/>
                      <a:pt x="137321" y="640419"/>
                    </a:cubicBezTo>
                    <a:cubicBezTo>
                      <a:pt x="122721" y="617395"/>
                      <a:pt x="107203" y="593453"/>
                      <a:pt x="89016" y="573516"/>
                    </a:cubicBezTo>
                    <a:cubicBezTo>
                      <a:pt x="79255" y="563339"/>
                      <a:pt x="68159" y="556248"/>
                      <a:pt x="57565" y="549574"/>
                    </a:cubicBezTo>
                    <a:cubicBezTo>
                      <a:pt x="52726" y="546905"/>
                      <a:pt x="47803" y="543818"/>
                      <a:pt x="43382" y="540732"/>
                    </a:cubicBezTo>
                    <a:cubicBezTo>
                      <a:pt x="29617" y="531389"/>
                      <a:pt x="26530" y="522129"/>
                      <a:pt x="21274" y="506195"/>
                    </a:cubicBezTo>
                    <a:lnTo>
                      <a:pt x="19939" y="502692"/>
                    </a:lnTo>
                    <a:cubicBezTo>
                      <a:pt x="15517" y="490263"/>
                      <a:pt x="8843" y="481420"/>
                      <a:pt x="0" y="474329"/>
                    </a:cubicBezTo>
                    <a:cubicBezTo>
                      <a:pt x="417" y="473411"/>
                      <a:pt x="1335" y="472077"/>
                      <a:pt x="1752" y="471242"/>
                    </a:cubicBezTo>
                    <a:cubicBezTo>
                      <a:pt x="6591" y="462400"/>
                      <a:pt x="12347" y="453975"/>
                      <a:pt x="18103" y="445966"/>
                    </a:cubicBezTo>
                    <a:cubicBezTo>
                      <a:pt x="23860" y="437541"/>
                      <a:pt x="30034" y="428698"/>
                      <a:pt x="35373" y="419855"/>
                    </a:cubicBezTo>
                    <a:cubicBezTo>
                      <a:pt x="40712" y="410095"/>
                      <a:pt x="42464" y="400836"/>
                      <a:pt x="44216" y="391492"/>
                    </a:cubicBezTo>
                    <a:cubicBezTo>
                      <a:pt x="45551" y="383984"/>
                      <a:pt x="46886" y="376894"/>
                      <a:pt x="49973" y="370637"/>
                    </a:cubicBezTo>
                    <a:cubicBezTo>
                      <a:pt x="52225" y="366216"/>
                      <a:pt x="53977" y="363129"/>
                      <a:pt x="56146" y="360460"/>
                    </a:cubicBezTo>
                    <a:cubicBezTo>
                      <a:pt x="60985" y="352035"/>
                      <a:pt x="66324" y="344110"/>
                      <a:pt x="64155" y="328593"/>
                    </a:cubicBezTo>
                    <a:cubicBezTo>
                      <a:pt x="61902" y="312243"/>
                      <a:pt x="63738" y="303317"/>
                      <a:pt x="73499" y="286967"/>
                    </a:cubicBezTo>
                    <a:cubicBezTo>
                      <a:pt x="91185" y="256852"/>
                      <a:pt x="115546" y="226737"/>
                      <a:pt x="140824" y="204130"/>
                    </a:cubicBezTo>
                    <a:lnTo>
                      <a:pt x="146164" y="199292"/>
                    </a:lnTo>
                    <a:cubicBezTo>
                      <a:pt x="157260" y="189532"/>
                      <a:pt x="167855" y="180689"/>
                      <a:pt x="171442" y="162503"/>
                    </a:cubicBezTo>
                    <a:cubicBezTo>
                      <a:pt x="174946" y="145235"/>
                      <a:pt x="178116" y="133306"/>
                      <a:pt x="182037" y="119959"/>
                    </a:cubicBezTo>
                    <a:cubicBezTo>
                      <a:pt x="183372" y="115120"/>
                      <a:pt x="184290" y="109781"/>
                      <a:pt x="185124" y="104443"/>
                    </a:cubicBezTo>
                    <a:cubicBezTo>
                      <a:pt x="186459" y="96434"/>
                      <a:pt x="187377" y="88926"/>
                      <a:pt x="191798" y="82753"/>
                    </a:cubicBezTo>
                    <a:cubicBezTo>
                      <a:pt x="198472" y="73911"/>
                      <a:pt x="211737" y="63233"/>
                      <a:pt x="231259" y="51721"/>
                    </a:cubicBezTo>
                    <a:cubicBezTo>
                      <a:pt x="243690" y="44213"/>
                      <a:pt x="248946" y="48634"/>
                      <a:pt x="257872" y="57060"/>
                    </a:cubicBezTo>
                    <a:cubicBezTo>
                      <a:pt x="266298" y="65068"/>
                      <a:pt x="276894" y="74328"/>
                      <a:pt x="295498" y="71241"/>
                    </a:cubicBezTo>
                    <a:cubicBezTo>
                      <a:pt x="319858" y="66820"/>
                      <a:pt x="338462" y="49969"/>
                      <a:pt x="356650" y="34035"/>
                    </a:cubicBezTo>
                    <a:cubicBezTo>
                      <a:pt x="363741" y="27362"/>
                      <a:pt x="370415" y="21606"/>
                      <a:pt x="377006" y="16351"/>
                    </a:cubicBezTo>
                    <a:cubicBezTo>
                      <a:pt x="389436" y="7508"/>
                      <a:pt x="402284" y="2586"/>
                      <a:pt x="415966" y="0"/>
                    </a:cubicBezTo>
                    <a:cubicBezTo>
                      <a:pt x="416383" y="15516"/>
                      <a:pt x="417301" y="31450"/>
                      <a:pt x="419470" y="45214"/>
                    </a:cubicBezTo>
                    <a:cubicBezTo>
                      <a:pt x="420388" y="50970"/>
                      <a:pt x="422557" y="56309"/>
                      <a:pt x="424809" y="61564"/>
                    </a:cubicBezTo>
                    <a:cubicBezTo>
                      <a:pt x="427479" y="68238"/>
                      <a:pt x="430149" y="74411"/>
                      <a:pt x="429648" y="80167"/>
                    </a:cubicBezTo>
                    <a:cubicBezTo>
                      <a:pt x="429231" y="85506"/>
                      <a:pt x="426144" y="89927"/>
                      <a:pt x="422557" y="94766"/>
                    </a:cubicBezTo>
                    <a:cubicBezTo>
                      <a:pt x="420304" y="98269"/>
                      <a:pt x="418135" y="101439"/>
                      <a:pt x="416383" y="105360"/>
                    </a:cubicBezTo>
                    <a:cubicBezTo>
                      <a:pt x="412879" y="113785"/>
                      <a:pt x="411044" y="122628"/>
                      <a:pt x="409292" y="131054"/>
                    </a:cubicBezTo>
                    <a:cubicBezTo>
                      <a:pt x="407039" y="141648"/>
                      <a:pt x="405287" y="151408"/>
                      <a:pt x="399114" y="159417"/>
                    </a:cubicBezTo>
                    <a:cubicBezTo>
                      <a:pt x="397362" y="161669"/>
                      <a:pt x="395610" y="163421"/>
                      <a:pt x="393358" y="165590"/>
                    </a:cubicBezTo>
                    <a:cubicBezTo>
                      <a:pt x="387184" y="171346"/>
                      <a:pt x="379175" y="178853"/>
                      <a:pt x="381427" y="192618"/>
                    </a:cubicBezTo>
                    <a:cubicBezTo>
                      <a:pt x="383179" y="204547"/>
                      <a:pt x="388519" y="206799"/>
                      <a:pt x="395193" y="208551"/>
                    </a:cubicBezTo>
                    <a:cubicBezTo>
                      <a:pt x="396528" y="208968"/>
                      <a:pt x="398280" y="209469"/>
                      <a:pt x="400032" y="209886"/>
                    </a:cubicBezTo>
                    <a:cubicBezTo>
                      <a:pt x="411127" y="214307"/>
                      <a:pt x="411962" y="220063"/>
                      <a:pt x="412879" y="228906"/>
                    </a:cubicBezTo>
                    <a:cubicBezTo>
                      <a:pt x="413797" y="235997"/>
                      <a:pt x="415132" y="245256"/>
                      <a:pt x="423058" y="254182"/>
                    </a:cubicBezTo>
                    <a:cubicBezTo>
                      <a:pt x="438575" y="271033"/>
                      <a:pt x="472196" y="268364"/>
                      <a:pt x="496556" y="266612"/>
                    </a:cubicBezTo>
                    <a:cubicBezTo>
                      <a:pt x="500060" y="266195"/>
                      <a:pt x="503648" y="266195"/>
                      <a:pt x="506317" y="266195"/>
                    </a:cubicBezTo>
                    <a:cubicBezTo>
                      <a:pt x="515161" y="265778"/>
                      <a:pt x="524504" y="263942"/>
                      <a:pt x="533348" y="262691"/>
                    </a:cubicBezTo>
                    <a:cubicBezTo>
                      <a:pt x="546195" y="260439"/>
                      <a:pt x="558626" y="258687"/>
                      <a:pt x="570139" y="259605"/>
                    </a:cubicBezTo>
                    <a:cubicBezTo>
                      <a:pt x="587826" y="260939"/>
                      <a:pt x="606430" y="273786"/>
                      <a:pt x="622865" y="284881"/>
                    </a:cubicBezTo>
                    <a:cubicBezTo>
                      <a:pt x="627286" y="287968"/>
                      <a:pt x="631708" y="291054"/>
                      <a:pt x="636130" y="293724"/>
                    </a:cubicBezTo>
                    <a:cubicBezTo>
                      <a:pt x="648560" y="301732"/>
                      <a:pt x="647225" y="306570"/>
                      <a:pt x="643638" y="318499"/>
                    </a:cubicBezTo>
                    <a:cubicBezTo>
                      <a:pt x="641385" y="325590"/>
                      <a:pt x="639216" y="334016"/>
                      <a:pt x="640551" y="343776"/>
                    </a:cubicBezTo>
                    <a:cubicBezTo>
                      <a:pt x="642804" y="361461"/>
                      <a:pt x="668916" y="384569"/>
                      <a:pt x="669333" y="384569"/>
                    </a:cubicBezTo>
                    <a:cubicBezTo>
                      <a:pt x="688855" y="401420"/>
                      <a:pt x="709629" y="394329"/>
                      <a:pt x="728733" y="388072"/>
                    </a:cubicBezTo>
                    <a:lnTo>
                      <a:pt x="731403" y="387155"/>
                    </a:lnTo>
                    <a:cubicBezTo>
                      <a:pt x="733155" y="386237"/>
                      <a:pt x="734907" y="385820"/>
                      <a:pt x="736742" y="384902"/>
                    </a:cubicBezTo>
                    <a:cubicBezTo>
                      <a:pt x="742499" y="382650"/>
                      <a:pt x="747838" y="380898"/>
                      <a:pt x="752677" y="381399"/>
                    </a:cubicBezTo>
                    <a:cubicBezTo>
                      <a:pt x="754929" y="381816"/>
                      <a:pt x="756181" y="382316"/>
                      <a:pt x="758851" y="383150"/>
                    </a:cubicBezTo>
                    <a:cubicBezTo>
                      <a:pt x="763272" y="384485"/>
                      <a:pt x="768611" y="386654"/>
                      <a:pt x="775703" y="384485"/>
                    </a:cubicBezTo>
                    <a:cubicBezTo>
                      <a:pt x="784546" y="381816"/>
                      <a:pt x="789468" y="376060"/>
                      <a:pt x="793890" y="371638"/>
                    </a:cubicBezTo>
                    <a:cubicBezTo>
                      <a:pt x="799646" y="364965"/>
                      <a:pt x="802733" y="361461"/>
                      <a:pt x="813412" y="364548"/>
                    </a:cubicBezTo>
                    <a:cubicBezTo>
                      <a:pt x="824007" y="367634"/>
                      <a:pt x="835520" y="375642"/>
                      <a:pt x="847116" y="383150"/>
                    </a:cubicBezTo>
                    <a:cubicBezTo>
                      <a:pt x="852455" y="387155"/>
                      <a:pt x="858212" y="391159"/>
                      <a:pt x="863468" y="393745"/>
                    </a:cubicBezTo>
                    <a:lnTo>
                      <a:pt x="870142" y="397249"/>
                    </a:lnTo>
                    <a:cubicBezTo>
                      <a:pt x="883407" y="404339"/>
                      <a:pt x="898090" y="413182"/>
                      <a:pt x="904681" y="425195"/>
                    </a:cubicBezTo>
                    <a:cubicBezTo>
                      <a:pt x="909102" y="433620"/>
                      <a:pt x="906433" y="439376"/>
                      <a:pt x="901176" y="449136"/>
                    </a:cubicBezTo>
                    <a:cubicBezTo>
                      <a:pt x="898507" y="454475"/>
                      <a:pt x="895837" y="460231"/>
                      <a:pt x="894085" y="466821"/>
                    </a:cubicBezTo>
                    <a:cubicBezTo>
                      <a:pt x="887912" y="492515"/>
                      <a:pt x="893168" y="507614"/>
                      <a:pt x="914442" y="521295"/>
                    </a:cubicBezTo>
                    <a:cubicBezTo>
                      <a:pt x="928624" y="531055"/>
                      <a:pt x="935298" y="541649"/>
                      <a:pt x="934798" y="557583"/>
                    </a:cubicBezTo>
                    <a:cubicBezTo>
                      <a:pt x="934381" y="561086"/>
                      <a:pt x="934381" y="565090"/>
                      <a:pt x="933880" y="568678"/>
                    </a:cubicBezTo>
                    <a:cubicBezTo>
                      <a:pt x="932545" y="583777"/>
                      <a:pt x="930793" y="602380"/>
                      <a:pt x="950232" y="613891"/>
                    </a:cubicBezTo>
                    <a:cubicBezTo>
                      <a:pt x="967501" y="624486"/>
                      <a:pt x="990527" y="622734"/>
                      <a:pt x="1005627" y="616978"/>
                    </a:cubicBezTo>
                    <a:cubicBezTo>
                      <a:pt x="1008297" y="615643"/>
                      <a:pt x="1010966" y="614309"/>
                      <a:pt x="1014053" y="613474"/>
                    </a:cubicBezTo>
                    <a:cubicBezTo>
                      <a:pt x="1026484" y="608136"/>
                      <a:pt x="1032240" y="605466"/>
                      <a:pt x="1040666" y="613891"/>
                    </a:cubicBezTo>
                    <a:cubicBezTo>
                      <a:pt x="1045505" y="618313"/>
                      <a:pt x="1048175" y="623652"/>
                      <a:pt x="1050845" y="629408"/>
                    </a:cubicBezTo>
                    <a:cubicBezTo>
                      <a:pt x="1054849" y="637833"/>
                      <a:pt x="1059687" y="647593"/>
                      <a:pt x="1073870" y="654184"/>
                    </a:cubicBezTo>
                    <a:cubicBezTo>
                      <a:pt x="1079627" y="656853"/>
                      <a:pt x="1085383" y="659022"/>
                      <a:pt x="1091140" y="661275"/>
                    </a:cubicBezTo>
                    <a:cubicBezTo>
                      <a:pt x="1102235" y="665279"/>
                      <a:pt x="1112413" y="669283"/>
                      <a:pt x="1122592" y="676373"/>
                    </a:cubicBezTo>
                    <a:cubicBezTo>
                      <a:pt x="1135022" y="684799"/>
                      <a:pt x="1153126" y="694976"/>
                      <a:pt x="1170395" y="698063"/>
                    </a:cubicBezTo>
                    <a:cubicBezTo>
                      <a:pt x="1178404" y="699397"/>
                      <a:pt x="1186747" y="699397"/>
                      <a:pt x="1194756" y="699397"/>
                    </a:cubicBezTo>
                    <a:cubicBezTo>
                      <a:pt x="1208521" y="699397"/>
                      <a:pt x="1221369" y="699397"/>
                      <a:pt x="1231964" y="706071"/>
                    </a:cubicBezTo>
                    <a:cubicBezTo>
                      <a:pt x="1237304" y="709158"/>
                      <a:pt x="1242142" y="713162"/>
                      <a:pt x="1246146" y="717166"/>
                    </a:cubicBezTo>
                    <a:cubicBezTo>
                      <a:pt x="1254573" y="723840"/>
                      <a:pt x="1262498" y="730931"/>
                      <a:pt x="1275846" y="734434"/>
                    </a:cubicBezTo>
                    <a:cubicBezTo>
                      <a:pt x="1297120" y="739273"/>
                      <a:pt x="1304212" y="743277"/>
                      <a:pt x="1315308" y="761462"/>
                    </a:cubicBezTo>
                    <a:cubicBezTo>
                      <a:pt x="1326820" y="780983"/>
                      <a:pt x="1341003" y="797750"/>
                      <a:pt x="1359607" y="814601"/>
                    </a:cubicBezTo>
                    <a:cubicBezTo>
                      <a:pt x="1379963" y="833204"/>
                      <a:pt x="1392394" y="834539"/>
                      <a:pt x="1418089" y="833204"/>
                    </a:cubicBezTo>
                    <a:cubicBezTo>
                      <a:pt x="1425180" y="832787"/>
                      <a:pt x="1432272" y="832787"/>
                      <a:pt x="1439780" y="832287"/>
                    </a:cubicBezTo>
                    <a:cubicBezTo>
                      <a:pt x="1454380" y="831870"/>
                      <a:pt x="1469480" y="831369"/>
                      <a:pt x="1484497" y="830034"/>
                    </a:cubicBezTo>
                    <a:cubicBezTo>
                      <a:pt x="1508858" y="828282"/>
                      <a:pt x="1519953" y="819440"/>
                      <a:pt x="1535888" y="807010"/>
                    </a:cubicBezTo>
                    <a:lnTo>
                      <a:pt x="1542062" y="802172"/>
                    </a:lnTo>
                    <a:cubicBezTo>
                      <a:pt x="1545149" y="799502"/>
                      <a:pt x="1548235" y="797750"/>
                      <a:pt x="1551406" y="795498"/>
                    </a:cubicBezTo>
                    <a:cubicBezTo>
                      <a:pt x="1561166" y="788407"/>
                      <a:pt x="1569592" y="782651"/>
                      <a:pt x="1578436" y="771556"/>
                    </a:cubicBezTo>
                    <a:cubicBezTo>
                      <a:pt x="1584609" y="764048"/>
                      <a:pt x="1589531" y="760044"/>
                      <a:pt x="1594370" y="760461"/>
                    </a:cubicBezTo>
                    <a:cubicBezTo>
                      <a:pt x="1604131" y="761379"/>
                      <a:pt x="1614309" y="779064"/>
                      <a:pt x="1622318" y="791911"/>
                    </a:cubicBezTo>
                    <a:cubicBezTo>
                      <a:pt x="1625822" y="798084"/>
                      <a:pt x="1629410" y="804341"/>
                      <a:pt x="1632496" y="808762"/>
                    </a:cubicBezTo>
                    <a:cubicBezTo>
                      <a:pt x="1643092" y="822526"/>
                      <a:pt x="1658609" y="838460"/>
                      <a:pt x="1684805" y="835373"/>
                    </a:cubicBezTo>
                    <a:cubicBezTo>
                      <a:pt x="1706079" y="832704"/>
                      <a:pt x="1713587" y="834038"/>
                      <a:pt x="1730022" y="849137"/>
                    </a:cubicBezTo>
                    <a:cubicBezTo>
                      <a:pt x="1733526" y="852224"/>
                      <a:pt x="1736696" y="855310"/>
                      <a:pt x="1739783" y="858481"/>
                    </a:cubicBezTo>
                    <a:cubicBezTo>
                      <a:pt x="1749127" y="867823"/>
                      <a:pt x="1757970" y="876666"/>
                      <a:pt x="1772570" y="882422"/>
                    </a:cubicBezTo>
                    <a:cubicBezTo>
                      <a:pt x="1782331" y="885926"/>
                      <a:pt x="1790757" y="885926"/>
                      <a:pt x="1798265" y="886426"/>
                    </a:cubicBezTo>
                    <a:cubicBezTo>
                      <a:pt x="1803605" y="886426"/>
                      <a:pt x="1808860" y="886844"/>
                      <a:pt x="1814200" y="887761"/>
                    </a:cubicBezTo>
                    <a:cubicBezTo>
                      <a:pt x="1825713" y="890848"/>
                      <a:pt x="1830134" y="898355"/>
                      <a:pt x="1835891" y="908116"/>
                    </a:cubicBezTo>
                    <a:cubicBezTo>
                      <a:pt x="1838978" y="912954"/>
                      <a:pt x="1841647" y="917876"/>
                      <a:pt x="1845652" y="922297"/>
                    </a:cubicBezTo>
                    <a:cubicBezTo>
                      <a:pt x="1848322" y="925384"/>
                      <a:pt x="1850991" y="927636"/>
                      <a:pt x="1854495" y="929805"/>
                    </a:cubicBezTo>
                    <a:cubicBezTo>
                      <a:pt x="1854078" y="931140"/>
                      <a:pt x="1853577" y="932057"/>
                      <a:pt x="1853577" y="933309"/>
                    </a:cubicBezTo>
                    <a:cubicBezTo>
                      <a:pt x="1850074" y="951494"/>
                      <a:pt x="1851825" y="979857"/>
                      <a:pt x="1862003" y="994873"/>
                    </a:cubicBezTo>
                    <a:cubicBezTo>
                      <a:pt x="1872182" y="1010389"/>
                      <a:pt x="1893456" y="1020149"/>
                      <a:pt x="1912060" y="1028575"/>
                    </a:cubicBezTo>
                    <a:cubicBezTo>
                      <a:pt x="1920069" y="1032079"/>
                      <a:pt x="1927577" y="1035666"/>
                      <a:pt x="1933333" y="1039169"/>
                    </a:cubicBezTo>
                    <a:lnTo>
                      <a:pt x="1937338" y="1041839"/>
                    </a:lnTo>
                    <a:cubicBezTo>
                      <a:pt x="1944429" y="1045843"/>
                      <a:pt x="1953689" y="1051182"/>
                      <a:pt x="1954607" y="1055603"/>
                    </a:cubicBezTo>
                    <a:cubicBezTo>
                      <a:pt x="1955024" y="1057856"/>
                      <a:pt x="1952855" y="1060442"/>
                      <a:pt x="1951103" y="1062694"/>
                    </a:cubicBezTo>
                    <a:cubicBezTo>
                      <a:pt x="1948851" y="1064946"/>
                      <a:pt x="1947099" y="1066698"/>
                      <a:pt x="1945347" y="1068450"/>
                    </a:cubicBezTo>
                    <a:cubicBezTo>
                      <a:pt x="1940925" y="1071954"/>
                      <a:pt x="1936921" y="1075958"/>
                      <a:pt x="1933417" y="1082631"/>
                    </a:cubicBezTo>
                    <a:cubicBezTo>
                      <a:pt x="1932082" y="1085301"/>
                      <a:pt x="1930747" y="1087470"/>
                      <a:pt x="1930330" y="1089722"/>
                    </a:cubicBezTo>
                    <a:cubicBezTo>
                      <a:pt x="1927661" y="1095061"/>
                      <a:pt x="1927243" y="1096396"/>
                      <a:pt x="1921487" y="1098565"/>
                    </a:cubicBezTo>
                    <a:cubicBezTo>
                      <a:pt x="1918400" y="1099899"/>
                      <a:pt x="1914395" y="1099899"/>
                      <a:pt x="1910391" y="1100817"/>
                    </a:cubicBezTo>
                    <a:cubicBezTo>
                      <a:pt x="1905552" y="1101234"/>
                      <a:pt x="1899796" y="1101735"/>
                      <a:pt x="1894039" y="1104321"/>
                    </a:cubicBezTo>
                    <a:cubicBezTo>
                      <a:pt x="1885613" y="1107824"/>
                      <a:pt x="1877688" y="1114081"/>
                      <a:pt x="1870096" y="1119837"/>
                    </a:cubicBezTo>
                    <a:cubicBezTo>
                      <a:pt x="1866592" y="1122924"/>
                      <a:pt x="1862087" y="1126010"/>
                      <a:pt x="1858583" y="1128262"/>
                    </a:cubicBezTo>
                    <a:lnTo>
                      <a:pt x="1854161" y="1130932"/>
                    </a:lnTo>
                    <a:cubicBezTo>
                      <a:pt x="1847487" y="1135353"/>
                      <a:pt x="1839562" y="1140692"/>
                      <a:pt x="1831136" y="1144696"/>
                    </a:cubicBezTo>
                    <a:cubicBezTo>
                      <a:pt x="1826714" y="1146949"/>
                      <a:pt x="1821792" y="1148200"/>
                      <a:pt x="1817370" y="1149535"/>
                    </a:cubicBezTo>
                    <a:cubicBezTo>
                      <a:pt x="1812532" y="1150452"/>
                      <a:pt x="1807609" y="1150452"/>
                      <a:pt x="1803605" y="1149118"/>
                    </a:cubicBezTo>
                    <a:cubicBezTo>
                      <a:pt x="1796513" y="1146448"/>
                      <a:pt x="1790757" y="1140275"/>
                      <a:pt x="1785418" y="1133184"/>
                    </a:cubicBezTo>
                    <a:cubicBezTo>
                      <a:pt x="1777909" y="1124342"/>
                      <a:pt x="1769483" y="1114582"/>
                      <a:pt x="1755301" y="1111078"/>
                    </a:cubicBezTo>
                    <a:cubicBezTo>
                      <a:pt x="1739783" y="1106657"/>
                      <a:pt x="1725183" y="1111078"/>
                      <a:pt x="1711001" y="1123507"/>
                    </a:cubicBezTo>
                    <a:cubicBezTo>
                      <a:pt x="1703910" y="1129681"/>
                      <a:pt x="1698153" y="1138106"/>
                      <a:pt x="1691479" y="1146531"/>
                    </a:cubicBezTo>
                    <a:cubicBezTo>
                      <a:pt x="1679549" y="1162465"/>
                      <a:pt x="1667535" y="1178899"/>
                      <a:pt x="1651184" y="1179733"/>
                    </a:cubicBezTo>
                    <a:cubicBezTo>
                      <a:pt x="1643175" y="1180650"/>
                      <a:pt x="1636584" y="1176229"/>
                      <a:pt x="1628575" y="1171308"/>
                    </a:cubicBezTo>
                    <a:cubicBezTo>
                      <a:pt x="1621484" y="1166886"/>
                      <a:pt x="1613976" y="1161964"/>
                      <a:pt x="1604215" y="1160713"/>
                    </a:cubicBezTo>
                    <a:cubicBezTo>
                      <a:pt x="1599793" y="1159795"/>
                      <a:pt x="1596205" y="1160296"/>
                      <a:pt x="1592702" y="1160296"/>
                    </a:cubicBezTo>
                    <a:cubicBezTo>
                      <a:pt x="1587863" y="1160713"/>
                      <a:pt x="1584693" y="1161214"/>
                      <a:pt x="1582106" y="1159378"/>
                    </a:cubicBezTo>
                    <a:cubicBezTo>
                      <a:pt x="1577685" y="1157126"/>
                      <a:pt x="1575432" y="1152704"/>
                      <a:pt x="1573263" y="1147449"/>
                    </a:cubicBezTo>
                    <a:cubicBezTo>
                      <a:pt x="1571011" y="1143028"/>
                      <a:pt x="1568425" y="1138106"/>
                      <a:pt x="1564420" y="1134185"/>
                    </a:cubicBezTo>
                    <a:cubicBezTo>
                      <a:pt x="1547151" y="1117835"/>
                      <a:pt x="1528129" y="1125343"/>
                      <a:pt x="1512612" y="1131516"/>
                    </a:cubicBezTo>
                    <a:cubicBezTo>
                      <a:pt x="1509108" y="1132851"/>
                      <a:pt x="1505104" y="1134602"/>
                      <a:pt x="1501516" y="1135937"/>
                    </a:cubicBezTo>
                    <a:cubicBezTo>
                      <a:pt x="1484247" y="1141276"/>
                      <a:pt x="1453713" y="1136354"/>
                      <a:pt x="1438195" y="1126177"/>
                    </a:cubicBezTo>
                    <a:lnTo>
                      <a:pt x="1433774" y="1123090"/>
                    </a:lnTo>
                    <a:cubicBezTo>
                      <a:pt x="1415586" y="1111161"/>
                      <a:pt x="1404574" y="1103570"/>
                      <a:pt x="1378378" y="1102235"/>
                    </a:cubicBezTo>
                    <a:cubicBezTo>
                      <a:pt x="1346509" y="1100484"/>
                      <a:pt x="1325652" y="1098732"/>
                      <a:pt x="1299957" y="1086719"/>
                    </a:cubicBezTo>
                    <a:cubicBezTo>
                      <a:pt x="1287526" y="1081380"/>
                      <a:pt x="1258744" y="1068116"/>
                      <a:pt x="1240140" y="1094727"/>
                    </a:cubicBezTo>
                    <a:cubicBezTo>
                      <a:pt x="1237470" y="1098732"/>
                      <a:pt x="1235718" y="1103153"/>
                      <a:pt x="1233966" y="1107157"/>
                    </a:cubicBezTo>
                    <a:cubicBezTo>
                      <a:pt x="1232632" y="1110661"/>
                      <a:pt x="1231297" y="1113831"/>
                      <a:pt x="1229545" y="1116917"/>
                    </a:cubicBezTo>
                    <a:cubicBezTo>
                      <a:pt x="1227292" y="1119587"/>
                      <a:pt x="1224706" y="1122256"/>
                      <a:pt x="1221118" y="1125343"/>
                    </a:cubicBezTo>
                    <a:cubicBezTo>
                      <a:pt x="1215779" y="1130181"/>
                      <a:pt x="1209606" y="1135520"/>
                      <a:pt x="1206936" y="1143028"/>
                    </a:cubicBezTo>
                    <a:cubicBezTo>
                      <a:pt x="1204684" y="1150119"/>
                      <a:pt x="1206018" y="1156292"/>
                      <a:pt x="1207353" y="1162048"/>
                    </a:cubicBezTo>
                    <a:cubicBezTo>
                      <a:pt x="1208271" y="1165552"/>
                      <a:pt x="1208688" y="1169556"/>
                      <a:pt x="1208271" y="1172642"/>
                    </a:cubicBezTo>
                    <a:cubicBezTo>
                      <a:pt x="1207353" y="1177063"/>
                      <a:pt x="1204767" y="1181485"/>
                      <a:pt x="1201597" y="1185489"/>
                    </a:cubicBezTo>
                    <a:cubicBezTo>
                      <a:pt x="1198093" y="1190828"/>
                      <a:pt x="1194505" y="1196584"/>
                      <a:pt x="1192753" y="1203674"/>
                    </a:cubicBezTo>
                    <a:cubicBezTo>
                      <a:pt x="1191002" y="1210765"/>
                      <a:pt x="1190084" y="1217856"/>
                      <a:pt x="1189250" y="1224029"/>
                    </a:cubicBezTo>
                    <a:cubicBezTo>
                      <a:pt x="1187498" y="1236876"/>
                      <a:pt x="1186163" y="1247470"/>
                      <a:pt x="1178154" y="1260317"/>
                    </a:cubicBezTo>
                    <a:cubicBezTo>
                      <a:pt x="1170645" y="1272246"/>
                      <a:pt x="1169311" y="1272246"/>
                      <a:pt x="1159550" y="1270077"/>
                    </a:cubicBezTo>
                    <a:cubicBezTo>
                      <a:pt x="1156045" y="1269160"/>
                      <a:pt x="1152041" y="1268742"/>
                      <a:pt x="1147119" y="1267825"/>
                    </a:cubicBezTo>
                    <a:cubicBezTo>
                      <a:pt x="1115250" y="1265156"/>
                      <a:pt x="1092224" y="1299692"/>
                      <a:pt x="1083798" y="1315208"/>
                    </a:cubicBezTo>
                    <a:cubicBezTo>
                      <a:pt x="1079376" y="1323216"/>
                      <a:pt x="1078458" y="1330724"/>
                      <a:pt x="1077624" y="1337314"/>
                    </a:cubicBezTo>
                    <a:cubicBezTo>
                      <a:pt x="1077207" y="1342653"/>
                      <a:pt x="1076707" y="1347491"/>
                      <a:pt x="1074538" y="1351913"/>
                    </a:cubicBezTo>
                    <a:cubicBezTo>
                      <a:pt x="1072285" y="1357252"/>
                      <a:pt x="1067029" y="1361256"/>
                      <a:pt x="1061273" y="1365177"/>
                    </a:cubicBezTo>
                    <a:lnTo>
                      <a:pt x="1058603" y="1367429"/>
                    </a:lnTo>
                    <a:cubicBezTo>
                      <a:pt x="1055099" y="1370098"/>
                      <a:pt x="1051512" y="1372267"/>
                      <a:pt x="1048008" y="1374520"/>
                    </a:cubicBezTo>
                    <a:cubicBezTo>
                      <a:pt x="1040916" y="1378941"/>
                      <a:pt x="1033825" y="1383863"/>
                      <a:pt x="1027652" y="1390036"/>
                    </a:cubicBezTo>
                    <a:cubicBezTo>
                      <a:pt x="1026734" y="1390954"/>
                      <a:pt x="1025399" y="1392288"/>
                      <a:pt x="1024982" y="1393123"/>
                    </a:cubicBezTo>
                    <a:cubicBezTo>
                      <a:pt x="1020977" y="1387784"/>
                      <a:pt x="1014804" y="1383362"/>
                      <a:pt x="1006378" y="1379358"/>
                    </a:cubicBezTo>
                    <a:cubicBezTo>
                      <a:pt x="998369" y="1375854"/>
                      <a:pt x="990443" y="1373185"/>
                      <a:pt x="982434" y="1370933"/>
                    </a:cubicBezTo>
                    <a:cubicBezTo>
                      <a:pt x="975343" y="1368681"/>
                      <a:pt x="968669" y="1366929"/>
                      <a:pt x="962495" y="1364259"/>
                    </a:cubicBezTo>
                    <a:cubicBezTo>
                      <a:pt x="955821" y="1361173"/>
                      <a:pt x="950065" y="1358086"/>
                      <a:pt x="943891" y="1354916"/>
                    </a:cubicBezTo>
                    <a:cubicBezTo>
                      <a:pt x="934130" y="1350077"/>
                      <a:pt x="924369" y="1344739"/>
                      <a:pt x="913357" y="1341152"/>
                    </a:cubicBezTo>
                    <a:cubicBezTo>
                      <a:pt x="889914" y="1333644"/>
                      <a:pt x="884157" y="1323466"/>
                      <a:pt x="875231" y="1306615"/>
                    </a:cubicBezTo>
                    <a:cubicBezTo>
                      <a:pt x="872144" y="1300859"/>
                      <a:pt x="868557" y="1294186"/>
                      <a:pt x="864135" y="1287596"/>
                    </a:cubicBezTo>
                    <a:cubicBezTo>
                      <a:pt x="859714" y="1280505"/>
                      <a:pt x="853957" y="1274749"/>
                      <a:pt x="848618" y="1269410"/>
                    </a:cubicBezTo>
                    <a:cubicBezTo>
                      <a:pt x="842444" y="1262736"/>
                      <a:pt x="836187" y="1256980"/>
                      <a:pt x="832683" y="1249055"/>
                    </a:cubicBezTo>
                    <a:cubicBezTo>
                      <a:pt x="829596" y="1241964"/>
                      <a:pt x="826927" y="1234457"/>
                      <a:pt x="824257" y="1226449"/>
                    </a:cubicBezTo>
                    <a:cubicBezTo>
                      <a:pt x="820753" y="1215854"/>
                      <a:pt x="817166" y="1204342"/>
                      <a:pt x="810492" y="1193664"/>
                    </a:cubicBezTo>
                    <a:cubicBezTo>
                      <a:pt x="804318" y="1183487"/>
                      <a:pt x="796309" y="1175479"/>
                      <a:pt x="788801" y="1167053"/>
                    </a:cubicBezTo>
                    <a:cubicBezTo>
                      <a:pt x="784796" y="1162632"/>
                      <a:pt x="780375" y="1158210"/>
                      <a:pt x="776870" y="1153289"/>
                    </a:cubicBezTo>
                    <a:cubicBezTo>
                      <a:pt x="774618" y="1150619"/>
                      <a:pt x="772449" y="1147950"/>
                      <a:pt x="770697" y="1145280"/>
                    </a:cubicBezTo>
                    <a:cubicBezTo>
                      <a:pt x="762688" y="1134686"/>
                      <a:pt x="754345" y="1123591"/>
                      <a:pt x="739245" y="1118252"/>
                    </a:cubicBezTo>
                    <a:cubicBezTo>
                      <a:pt x="731236" y="1115165"/>
                      <a:pt x="722894" y="1113831"/>
                      <a:pt x="715302" y="1112496"/>
                    </a:cubicBezTo>
                    <a:cubicBezTo>
                      <a:pt x="707293" y="1111161"/>
                      <a:pt x="700201" y="1109826"/>
                      <a:pt x="693194" y="1107657"/>
                    </a:cubicBezTo>
                    <a:cubicBezTo>
                      <a:pt x="680346" y="1102819"/>
                      <a:pt x="668833" y="1096146"/>
                      <a:pt x="656402" y="1089055"/>
                    </a:cubicBezTo>
                    <a:lnTo>
                      <a:pt x="647976" y="1084217"/>
                    </a:lnTo>
                    <a:cubicBezTo>
                      <a:pt x="626285" y="1071787"/>
                      <a:pt x="609016" y="1066948"/>
                      <a:pt x="596168" y="1070452"/>
                    </a:cubicBezTo>
                    <a:cubicBezTo>
                      <a:pt x="589077" y="1072704"/>
                      <a:pt x="583737" y="1076625"/>
                      <a:pt x="579817" y="1083299"/>
                    </a:cubicBezTo>
                    <a:cubicBezTo>
                      <a:pt x="576312" y="1090390"/>
                      <a:pt x="576312" y="1096146"/>
                      <a:pt x="576312" y="1100150"/>
                    </a:cubicBezTo>
                    <a:lnTo>
                      <a:pt x="576312" y="1102819"/>
                    </a:lnTo>
                    <a:cubicBezTo>
                      <a:pt x="576312" y="1102819"/>
                      <a:pt x="574978" y="1104154"/>
                      <a:pt x="569221" y="1105489"/>
                    </a:cubicBezTo>
                    <a:cubicBezTo>
                      <a:pt x="565717" y="1106406"/>
                      <a:pt x="562130" y="1106823"/>
                      <a:pt x="558626" y="1107741"/>
                    </a:cubicBezTo>
                    <a:cubicBezTo>
                      <a:pt x="544444" y="1110411"/>
                      <a:pt x="532013" y="1112580"/>
                      <a:pt x="517413" y="1125927"/>
                    </a:cubicBezTo>
                    <a:cubicBezTo>
                      <a:pt x="514744" y="1128179"/>
                      <a:pt x="512574" y="1130348"/>
                      <a:pt x="510322" y="1132600"/>
                    </a:cubicBezTo>
                    <a:cubicBezTo>
                      <a:pt x="501479" y="1141443"/>
                      <a:pt x="494805" y="1147699"/>
                      <a:pt x="481957" y="1148116"/>
                    </a:cubicBezTo>
                    <a:cubicBezTo>
                      <a:pt x="475282" y="1148533"/>
                      <a:pt x="469109" y="1147699"/>
                      <a:pt x="462935" y="1147699"/>
                    </a:cubicBezTo>
                    <a:cubicBezTo>
                      <a:pt x="450088" y="1146782"/>
                      <a:pt x="437240" y="1145948"/>
                      <a:pt x="422640" y="1150786"/>
                    </a:cubicBezTo>
                    <a:cubicBezTo>
                      <a:pt x="417301" y="1153038"/>
                      <a:pt x="412045" y="1154790"/>
                      <a:pt x="407123" y="1156542"/>
                    </a:cubicBezTo>
                    <a:cubicBezTo>
                      <a:pt x="395610" y="1161381"/>
                      <a:pt x="387184" y="1164967"/>
                      <a:pt x="373419" y="1163633"/>
                    </a:cubicBezTo>
                    <a:cubicBezTo>
                      <a:pt x="350393" y="1161881"/>
                      <a:pt x="342384" y="1170723"/>
                      <a:pt x="332205" y="1182236"/>
                    </a:cubicBezTo>
                    <a:lnTo>
                      <a:pt x="326866" y="1187992"/>
                    </a:lnTo>
                    <a:cubicBezTo>
                      <a:pt x="316271" y="1199503"/>
                      <a:pt x="303423" y="1199921"/>
                      <a:pt x="286571" y="1199921"/>
                    </a:cubicBezTo>
                    <a:lnTo>
                      <a:pt x="286154" y="1199921"/>
                    </a:lnTo>
                    <a:lnTo>
                      <a:pt x="283901" y="1199921"/>
                    </a:lnTo>
                    <a:cubicBezTo>
                      <a:pt x="279480" y="1199921"/>
                      <a:pt x="275475" y="1199921"/>
                      <a:pt x="271054" y="1200338"/>
                    </a:cubicBezTo>
                    <a:cubicBezTo>
                      <a:pt x="268801" y="1190161"/>
                      <a:pt x="266215" y="1180400"/>
                      <a:pt x="263045" y="1170223"/>
                    </a:cubicBezTo>
                    <a:lnTo>
                      <a:pt x="257872" y="1160796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81278589" name="Полилиния 398"/>
              <p:cNvSpPr/>
              <p:nvPr/>
            </p:nvSpPr>
            <p:spPr bwMode="auto">
              <a:xfrm>
                <a:off x="5592336" y="5380322"/>
                <a:ext cx="382150" cy="659172"/>
              </a:xfrm>
              <a:custGeom>
                <a:avLst/>
                <a:gdLst>
                  <a:gd name="connsiteX0" fmla="*/ 204312 w 429168"/>
                  <a:gd name="connsiteY0" fmla="*/ 624653 h 740273"/>
                  <a:gd name="connsiteX1" fmla="*/ 194969 w 429168"/>
                  <a:gd name="connsiteY1" fmla="*/ 589199 h 740273"/>
                  <a:gd name="connsiteX2" fmla="*/ 188295 w 429168"/>
                  <a:gd name="connsiteY2" fmla="*/ 582108 h 740273"/>
                  <a:gd name="connsiteX3" fmla="*/ 183873 w 429168"/>
                  <a:gd name="connsiteY3" fmla="*/ 571013 h 740273"/>
                  <a:gd name="connsiteX4" fmla="*/ 190547 w 429168"/>
                  <a:gd name="connsiteY4" fmla="*/ 563923 h 740273"/>
                  <a:gd name="connsiteX5" fmla="*/ 201142 w 429168"/>
                  <a:gd name="connsiteY5" fmla="*/ 534725 h 740273"/>
                  <a:gd name="connsiteX6" fmla="*/ 183873 w 429168"/>
                  <a:gd name="connsiteY6" fmla="*/ 526717 h 740273"/>
                  <a:gd name="connsiteX7" fmla="*/ 180369 w 429168"/>
                  <a:gd name="connsiteY7" fmla="*/ 526717 h 740273"/>
                  <a:gd name="connsiteX8" fmla="*/ 168439 w 429168"/>
                  <a:gd name="connsiteY8" fmla="*/ 518291 h 740273"/>
                  <a:gd name="connsiteX9" fmla="*/ 152921 w 429168"/>
                  <a:gd name="connsiteY9" fmla="*/ 487259 h 740273"/>
                  <a:gd name="connsiteX10" fmla="*/ 128561 w 429168"/>
                  <a:gd name="connsiteY10" fmla="*/ 445215 h 740273"/>
                  <a:gd name="connsiteX11" fmla="*/ 116631 w 429168"/>
                  <a:gd name="connsiteY11" fmla="*/ 434120 h 740273"/>
                  <a:gd name="connsiteX12" fmla="*/ 99361 w 429168"/>
                  <a:gd name="connsiteY12" fmla="*/ 416852 h 740273"/>
                  <a:gd name="connsiteX13" fmla="*/ 77670 w 429168"/>
                  <a:gd name="connsiteY13" fmla="*/ 401753 h 740273"/>
                  <a:gd name="connsiteX14" fmla="*/ 63071 w 429168"/>
                  <a:gd name="connsiteY14" fmla="*/ 392911 h 740273"/>
                  <a:gd name="connsiteX15" fmla="*/ 51140 w 429168"/>
                  <a:gd name="connsiteY15" fmla="*/ 376977 h 740273"/>
                  <a:gd name="connsiteX16" fmla="*/ 37375 w 429168"/>
                  <a:gd name="connsiteY16" fmla="*/ 358374 h 740273"/>
                  <a:gd name="connsiteX17" fmla="*/ 31619 w 429168"/>
                  <a:gd name="connsiteY17" fmla="*/ 353536 h 740273"/>
                  <a:gd name="connsiteX18" fmla="*/ 31619 w 429168"/>
                  <a:gd name="connsiteY18" fmla="*/ 332264 h 740273"/>
                  <a:gd name="connsiteX19" fmla="*/ 31202 w 429168"/>
                  <a:gd name="connsiteY19" fmla="*/ 314578 h 740273"/>
                  <a:gd name="connsiteX20" fmla="*/ 32536 w 429168"/>
                  <a:gd name="connsiteY20" fmla="*/ 308822 h 740273"/>
                  <a:gd name="connsiteX21" fmla="*/ 33454 w 429168"/>
                  <a:gd name="connsiteY21" fmla="*/ 284047 h 740273"/>
                  <a:gd name="connsiteX22" fmla="*/ 29032 w 429168"/>
                  <a:gd name="connsiteY22" fmla="*/ 273869 h 740273"/>
                  <a:gd name="connsiteX23" fmla="*/ 25529 w 429168"/>
                  <a:gd name="connsiteY23" fmla="*/ 263692 h 740273"/>
                  <a:gd name="connsiteX24" fmla="*/ 26446 w 429168"/>
                  <a:gd name="connsiteY24" fmla="*/ 260188 h 740273"/>
                  <a:gd name="connsiteX25" fmla="*/ 27781 w 429168"/>
                  <a:gd name="connsiteY25" fmla="*/ 247342 h 740273"/>
                  <a:gd name="connsiteX26" fmla="*/ 22942 w 429168"/>
                  <a:gd name="connsiteY26" fmla="*/ 239333 h 740273"/>
                  <a:gd name="connsiteX27" fmla="*/ 20690 w 429168"/>
                  <a:gd name="connsiteY27" fmla="*/ 227404 h 740273"/>
                  <a:gd name="connsiteX28" fmla="*/ 21607 w 429168"/>
                  <a:gd name="connsiteY28" fmla="*/ 224735 h 740273"/>
                  <a:gd name="connsiteX29" fmla="*/ 22942 w 429168"/>
                  <a:gd name="connsiteY29" fmla="*/ 213640 h 740273"/>
                  <a:gd name="connsiteX30" fmla="*/ 18521 w 429168"/>
                  <a:gd name="connsiteY30" fmla="*/ 203463 h 740273"/>
                  <a:gd name="connsiteX31" fmla="*/ 17186 w 429168"/>
                  <a:gd name="connsiteY31" fmla="*/ 200793 h 740273"/>
                  <a:gd name="connsiteX32" fmla="*/ 16268 w 429168"/>
                  <a:gd name="connsiteY32" fmla="*/ 188363 h 740273"/>
                  <a:gd name="connsiteX33" fmla="*/ 17186 w 429168"/>
                  <a:gd name="connsiteY33" fmla="*/ 186111 h 740273"/>
                  <a:gd name="connsiteX34" fmla="*/ 19855 w 429168"/>
                  <a:gd name="connsiteY34" fmla="*/ 179437 h 740273"/>
                  <a:gd name="connsiteX35" fmla="*/ 15017 w 429168"/>
                  <a:gd name="connsiteY35" fmla="*/ 159083 h 740273"/>
                  <a:gd name="connsiteX36" fmla="*/ 417 w 429168"/>
                  <a:gd name="connsiteY36" fmla="*/ 110782 h 740273"/>
                  <a:gd name="connsiteX37" fmla="*/ 0 w 429168"/>
                  <a:gd name="connsiteY37" fmla="*/ 105026 h 740273"/>
                  <a:gd name="connsiteX38" fmla="*/ 918 w 429168"/>
                  <a:gd name="connsiteY38" fmla="*/ 104609 h 740273"/>
                  <a:gd name="connsiteX39" fmla="*/ 14183 w 429168"/>
                  <a:gd name="connsiteY39" fmla="*/ 99270 h 740273"/>
                  <a:gd name="connsiteX40" fmla="*/ 34539 w 429168"/>
                  <a:gd name="connsiteY40" fmla="*/ 92180 h 740273"/>
                  <a:gd name="connsiteX41" fmla="*/ 56230 w 429168"/>
                  <a:gd name="connsiteY41" fmla="*/ 91262 h 740273"/>
                  <a:gd name="connsiteX42" fmla="*/ 83677 w 429168"/>
                  <a:gd name="connsiteY42" fmla="*/ 89510 h 740273"/>
                  <a:gd name="connsiteX43" fmla="*/ 120885 w 429168"/>
                  <a:gd name="connsiteY43" fmla="*/ 67404 h 740273"/>
                  <a:gd name="connsiteX44" fmla="*/ 135068 w 429168"/>
                  <a:gd name="connsiteY44" fmla="*/ 51470 h 740273"/>
                  <a:gd name="connsiteX45" fmla="*/ 159012 w 429168"/>
                  <a:gd name="connsiteY45" fmla="*/ 30198 h 740273"/>
                  <a:gd name="connsiteX46" fmla="*/ 164351 w 429168"/>
                  <a:gd name="connsiteY46" fmla="*/ 31950 h 740273"/>
                  <a:gd name="connsiteX47" fmla="*/ 174529 w 429168"/>
                  <a:gd name="connsiteY47" fmla="*/ 34620 h 740273"/>
                  <a:gd name="connsiteX48" fmla="*/ 187794 w 429168"/>
                  <a:gd name="connsiteY48" fmla="*/ 29781 h 740273"/>
                  <a:gd name="connsiteX49" fmla="*/ 191298 w 429168"/>
                  <a:gd name="connsiteY49" fmla="*/ 27529 h 740273"/>
                  <a:gd name="connsiteX50" fmla="*/ 204146 w 429168"/>
                  <a:gd name="connsiteY50" fmla="*/ 29781 h 740273"/>
                  <a:gd name="connsiteX51" fmla="*/ 211237 w 429168"/>
                  <a:gd name="connsiteY51" fmla="*/ 32868 h 740273"/>
                  <a:gd name="connsiteX52" fmla="*/ 246693 w 429168"/>
                  <a:gd name="connsiteY52" fmla="*/ 30198 h 740273"/>
                  <a:gd name="connsiteX53" fmla="*/ 266215 w 429168"/>
                  <a:gd name="connsiteY53" fmla="*/ 25360 h 740273"/>
                  <a:gd name="connsiteX54" fmla="*/ 279981 w 429168"/>
                  <a:gd name="connsiteY54" fmla="*/ 29781 h 740273"/>
                  <a:gd name="connsiteX55" fmla="*/ 308763 w 429168"/>
                  <a:gd name="connsiteY55" fmla="*/ 33285 h 740273"/>
                  <a:gd name="connsiteX56" fmla="*/ 327367 w 429168"/>
                  <a:gd name="connsiteY56" fmla="*/ 20438 h 740273"/>
                  <a:gd name="connsiteX57" fmla="*/ 335376 w 429168"/>
                  <a:gd name="connsiteY57" fmla="*/ 13764 h 740273"/>
                  <a:gd name="connsiteX58" fmla="*/ 365910 w 429168"/>
                  <a:gd name="connsiteY58" fmla="*/ 0 h 740273"/>
                  <a:gd name="connsiteX59" fmla="*/ 366327 w 429168"/>
                  <a:gd name="connsiteY59" fmla="*/ 14599 h 740273"/>
                  <a:gd name="connsiteX60" fmla="*/ 364075 w 429168"/>
                  <a:gd name="connsiteY60" fmla="*/ 25693 h 740273"/>
                  <a:gd name="connsiteX61" fmla="*/ 366744 w 429168"/>
                  <a:gd name="connsiteY61" fmla="*/ 59395 h 740273"/>
                  <a:gd name="connsiteX62" fmla="*/ 386266 w 429168"/>
                  <a:gd name="connsiteY62" fmla="*/ 74911 h 740273"/>
                  <a:gd name="connsiteX63" fmla="*/ 398697 w 429168"/>
                  <a:gd name="connsiteY63" fmla="*/ 82920 h 740273"/>
                  <a:gd name="connsiteX64" fmla="*/ 402201 w 429168"/>
                  <a:gd name="connsiteY64" fmla="*/ 90011 h 740273"/>
                  <a:gd name="connsiteX65" fmla="*/ 405705 w 429168"/>
                  <a:gd name="connsiteY65" fmla="*/ 98019 h 740273"/>
                  <a:gd name="connsiteX66" fmla="*/ 413714 w 429168"/>
                  <a:gd name="connsiteY66" fmla="*/ 106861 h 740273"/>
                  <a:gd name="connsiteX67" fmla="*/ 418135 w 429168"/>
                  <a:gd name="connsiteY67" fmla="*/ 111283 h 740273"/>
                  <a:gd name="connsiteX68" fmla="*/ 428730 w 429168"/>
                  <a:gd name="connsiteY68" fmla="*/ 146737 h 740273"/>
                  <a:gd name="connsiteX69" fmla="*/ 414548 w 429168"/>
                  <a:gd name="connsiteY69" fmla="*/ 167091 h 740273"/>
                  <a:gd name="connsiteX70" fmla="*/ 372000 w 429168"/>
                  <a:gd name="connsiteY70" fmla="*/ 198124 h 740273"/>
                  <a:gd name="connsiteX71" fmla="*/ 362239 w 429168"/>
                  <a:gd name="connsiteY71" fmla="*/ 208718 h 740273"/>
                  <a:gd name="connsiteX72" fmla="*/ 351143 w 429168"/>
                  <a:gd name="connsiteY72" fmla="*/ 224234 h 740273"/>
                  <a:gd name="connsiteX73" fmla="*/ 348891 w 429168"/>
                  <a:gd name="connsiteY73" fmla="*/ 272535 h 740273"/>
                  <a:gd name="connsiteX74" fmla="*/ 356900 w 429168"/>
                  <a:gd name="connsiteY74" fmla="*/ 291138 h 740273"/>
                  <a:gd name="connsiteX75" fmla="*/ 365326 w 429168"/>
                  <a:gd name="connsiteY75" fmla="*/ 313244 h 740273"/>
                  <a:gd name="connsiteX76" fmla="*/ 358652 w 429168"/>
                  <a:gd name="connsiteY76" fmla="*/ 342024 h 740273"/>
                  <a:gd name="connsiteX77" fmla="*/ 353813 w 429168"/>
                  <a:gd name="connsiteY77" fmla="*/ 356206 h 740273"/>
                  <a:gd name="connsiteX78" fmla="*/ 348474 w 429168"/>
                  <a:gd name="connsiteY78" fmla="*/ 367717 h 740273"/>
                  <a:gd name="connsiteX79" fmla="*/ 340465 w 429168"/>
                  <a:gd name="connsiteY79" fmla="*/ 395163 h 740273"/>
                  <a:gd name="connsiteX80" fmla="*/ 348474 w 429168"/>
                  <a:gd name="connsiteY80" fmla="*/ 407092 h 740273"/>
                  <a:gd name="connsiteX81" fmla="*/ 369331 w 429168"/>
                  <a:gd name="connsiteY81" fmla="*/ 405757 h 740273"/>
                  <a:gd name="connsiteX82" fmla="*/ 372417 w 429168"/>
                  <a:gd name="connsiteY82" fmla="*/ 404840 h 740273"/>
                  <a:gd name="connsiteX83" fmla="*/ 399865 w 429168"/>
                  <a:gd name="connsiteY83" fmla="*/ 403505 h 740273"/>
                  <a:gd name="connsiteX84" fmla="*/ 404704 w 429168"/>
                  <a:gd name="connsiteY84" fmla="*/ 429616 h 740273"/>
                  <a:gd name="connsiteX85" fmla="*/ 399865 w 429168"/>
                  <a:gd name="connsiteY85" fmla="*/ 462817 h 740273"/>
                  <a:gd name="connsiteX86" fmla="*/ 402117 w 429168"/>
                  <a:gd name="connsiteY86" fmla="*/ 468156 h 740273"/>
                  <a:gd name="connsiteX87" fmla="*/ 401700 w 429168"/>
                  <a:gd name="connsiteY87" fmla="*/ 493849 h 740273"/>
                  <a:gd name="connsiteX88" fmla="*/ 393274 w 429168"/>
                  <a:gd name="connsiteY88" fmla="*/ 504444 h 740273"/>
                  <a:gd name="connsiteX89" fmla="*/ 380009 w 429168"/>
                  <a:gd name="connsiteY89" fmla="*/ 525299 h 740273"/>
                  <a:gd name="connsiteX90" fmla="*/ 384848 w 429168"/>
                  <a:gd name="connsiteY90" fmla="*/ 569178 h 740273"/>
                  <a:gd name="connsiteX91" fmla="*/ 386600 w 429168"/>
                  <a:gd name="connsiteY91" fmla="*/ 590033 h 740273"/>
                  <a:gd name="connsiteX92" fmla="*/ 385265 w 429168"/>
                  <a:gd name="connsiteY92" fmla="*/ 607718 h 740273"/>
                  <a:gd name="connsiteX93" fmla="*/ 395443 w 429168"/>
                  <a:gd name="connsiteY93" fmla="*/ 629908 h 740273"/>
                  <a:gd name="connsiteX94" fmla="*/ 402117 w 429168"/>
                  <a:gd name="connsiteY94" fmla="*/ 641837 h 740273"/>
                  <a:gd name="connsiteX95" fmla="*/ 395443 w 429168"/>
                  <a:gd name="connsiteY95" fmla="*/ 675539 h 740273"/>
                  <a:gd name="connsiteX96" fmla="*/ 369331 w 429168"/>
                  <a:gd name="connsiteY96" fmla="*/ 706989 h 740273"/>
                  <a:gd name="connsiteX97" fmla="*/ 356483 w 429168"/>
                  <a:gd name="connsiteY97" fmla="*/ 722088 h 740273"/>
                  <a:gd name="connsiteX98" fmla="*/ 344553 w 429168"/>
                  <a:gd name="connsiteY98" fmla="*/ 735852 h 740273"/>
                  <a:gd name="connsiteX99" fmla="*/ 338796 w 429168"/>
                  <a:gd name="connsiteY99" fmla="*/ 740274 h 740273"/>
                  <a:gd name="connsiteX100" fmla="*/ 321110 w 429168"/>
                  <a:gd name="connsiteY100" fmla="*/ 703068 h 740273"/>
                  <a:gd name="connsiteX101" fmla="*/ 284318 w 429168"/>
                  <a:gd name="connsiteY101" fmla="*/ 691139 h 740273"/>
                  <a:gd name="connsiteX102" fmla="*/ 266632 w 429168"/>
                  <a:gd name="connsiteY102" fmla="*/ 692473 h 740273"/>
                  <a:gd name="connsiteX103" fmla="*/ 244941 w 429168"/>
                  <a:gd name="connsiteY103" fmla="*/ 691556 h 740273"/>
                  <a:gd name="connsiteX104" fmla="*/ 218828 w 429168"/>
                  <a:gd name="connsiteY104" fmla="*/ 671201 h 740273"/>
                  <a:gd name="connsiteX105" fmla="*/ 210820 w 429168"/>
                  <a:gd name="connsiteY105" fmla="*/ 659272 h 740273"/>
                  <a:gd name="connsiteX106" fmla="*/ 204312 w 429168"/>
                  <a:gd name="connsiteY106" fmla="*/ 624653 h 740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429168" h="740273" extrusionOk="0">
                    <a:moveTo>
                      <a:pt x="204312" y="624653"/>
                    </a:moveTo>
                    <a:cubicBezTo>
                      <a:pt x="205647" y="610054"/>
                      <a:pt x="205647" y="601628"/>
                      <a:pt x="194969" y="589199"/>
                    </a:cubicBezTo>
                    <a:cubicBezTo>
                      <a:pt x="192716" y="586529"/>
                      <a:pt x="190547" y="584361"/>
                      <a:pt x="188295" y="582108"/>
                    </a:cubicBezTo>
                    <a:cubicBezTo>
                      <a:pt x="182121" y="576769"/>
                      <a:pt x="181620" y="575935"/>
                      <a:pt x="183873" y="571013"/>
                    </a:cubicBezTo>
                    <a:cubicBezTo>
                      <a:pt x="184290" y="569261"/>
                      <a:pt x="187377" y="566175"/>
                      <a:pt x="190547" y="563923"/>
                    </a:cubicBezTo>
                    <a:cubicBezTo>
                      <a:pt x="197638" y="557249"/>
                      <a:pt x="208734" y="547072"/>
                      <a:pt x="201142" y="534725"/>
                    </a:cubicBezTo>
                    <a:cubicBezTo>
                      <a:pt x="195803" y="525883"/>
                      <a:pt x="188295" y="526717"/>
                      <a:pt x="183873" y="526717"/>
                    </a:cubicBezTo>
                    <a:cubicBezTo>
                      <a:pt x="182538" y="527134"/>
                      <a:pt x="181203" y="527134"/>
                      <a:pt x="180369" y="526717"/>
                    </a:cubicBezTo>
                    <a:cubicBezTo>
                      <a:pt x="172861" y="524047"/>
                      <a:pt x="172861" y="524047"/>
                      <a:pt x="168439" y="518291"/>
                    </a:cubicBezTo>
                    <a:cubicBezTo>
                      <a:pt x="161765" y="508948"/>
                      <a:pt x="157343" y="498771"/>
                      <a:pt x="152921" y="487259"/>
                    </a:cubicBezTo>
                    <a:cubicBezTo>
                      <a:pt x="146748" y="472660"/>
                      <a:pt x="140491" y="457562"/>
                      <a:pt x="128561" y="445215"/>
                    </a:cubicBezTo>
                    <a:cubicBezTo>
                      <a:pt x="125057" y="441712"/>
                      <a:pt x="120552" y="437707"/>
                      <a:pt x="116631" y="434120"/>
                    </a:cubicBezTo>
                    <a:cubicBezTo>
                      <a:pt x="110874" y="428781"/>
                      <a:pt x="104701" y="423526"/>
                      <a:pt x="99361" y="416852"/>
                    </a:cubicBezTo>
                    <a:cubicBezTo>
                      <a:pt x="92270" y="409344"/>
                      <a:pt x="85179" y="405757"/>
                      <a:pt x="77670" y="401753"/>
                    </a:cubicBezTo>
                    <a:cubicBezTo>
                      <a:pt x="72831" y="399084"/>
                      <a:pt x="67492" y="396414"/>
                      <a:pt x="63071" y="392911"/>
                    </a:cubicBezTo>
                    <a:cubicBezTo>
                      <a:pt x="58232" y="388489"/>
                      <a:pt x="55062" y="382733"/>
                      <a:pt x="51140" y="376977"/>
                    </a:cubicBezTo>
                    <a:cubicBezTo>
                      <a:pt x="47637" y="370304"/>
                      <a:pt x="43132" y="363713"/>
                      <a:pt x="37375" y="358374"/>
                    </a:cubicBezTo>
                    <a:cubicBezTo>
                      <a:pt x="35623" y="356623"/>
                      <a:pt x="33871" y="355288"/>
                      <a:pt x="31619" y="353536"/>
                    </a:cubicBezTo>
                    <a:cubicBezTo>
                      <a:pt x="32954" y="346445"/>
                      <a:pt x="32536" y="338937"/>
                      <a:pt x="31619" y="332264"/>
                    </a:cubicBezTo>
                    <a:cubicBezTo>
                      <a:pt x="31202" y="326091"/>
                      <a:pt x="30284" y="319834"/>
                      <a:pt x="31202" y="314578"/>
                    </a:cubicBezTo>
                    <a:cubicBezTo>
                      <a:pt x="31619" y="312326"/>
                      <a:pt x="32119" y="311075"/>
                      <a:pt x="32536" y="308822"/>
                    </a:cubicBezTo>
                    <a:cubicBezTo>
                      <a:pt x="34289" y="301315"/>
                      <a:pt x="36041" y="292472"/>
                      <a:pt x="33454" y="284047"/>
                    </a:cubicBezTo>
                    <a:cubicBezTo>
                      <a:pt x="32536" y="280543"/>
                      <a:pt x="30367" y="276956"/>
                      <a:pt x="29032" y="273869"/>
                    </a:cubicBezTo>
                    <a:cubicBezTo>
                      <a:pt x="26780" y="269865"/>
                      <a:pt x="25028" y="266779"/>
                      <a:pt x="25529" y="263692"/>
                    </a:cubicBezTo>
                    <a:cubicBezTo>
                      <a:pt x="25946" y="262775"/>
                      <a:pt x="26446" y="261440"/>
                      <a:pt x="26446" y="260188"/>
                    </a:cubicBezTo>
                    <a:cubicBezTo>
                      <a:pt x="27781" y="257102"/>
                      <a:pt x="29116" y="252180"/>
                      <a:pt x="27781" y="247342"/>
                    </a:cubicBezTo>
                    <a:cubicBezTo>
                      <a:pt x="26864" y="244255"/>
                      <a:pt x="25112" y="242503"/>
                      <a:pt x="22942" y="239333"/>
                    </a:cubicBezTo>
                    <a:cubicBezTo>
                      <a:pt x="20690" y="236247"/>
                      <a:pt x="19855" y="231325"/>
                      <a:pt x="20690" y="227404"/>
                    </a:cubicBezTo>
                    <a:cubicBezTo>
                      <a:pt x="21107" y="226487"/>
                      <a:pt x="21107" y="225652"/>
                      <a:pt x="21607" y="224735"/>
                    </a:cubicBezTo>
                    <a:cubicBezTo>
                      <a:pt x="22525" y="221648"/>
                      <a:pt x="23860" y="218061"/>
                      <a:pt x="22942" y="213640"/>
                    </a:cubicBezTo>
                    <a:cubicBezTo>
                      <a:pt x="22525" y="209218"/>
                      <a:pt x="20273" y="206132"/>
                      <a:pt x="18521" y="203463"/>
                    </a:cubicBezTo>
                    <a:cubicBezTo>
                      <a:pt x="18104" y="202545"/>
                      <a:pt x="17186" y="201711"/>
                      <a:pt x="17186" y="200793"/>
                    </a:cubicBezTo>
                    <a:cubicBezTo>
                      <a:pt x="14933" y="197290"/>
                      <a:pt x="14516" y="192367"/>
                      <a:pt x="16268" y="188363"/>
                    </a:cubicBezTo>
                    <a:lnTo>
                      <a:pt x="17186" y="186111"/>
                    </a:lnTo>
                    <a:cubicBezTo>
                      <a:pt x="18104" y="184359"/>
                      <a:pt x="19438" y="182107"/>
                      <a:pt x="19855" y="179437"/>
                    </a:cubicBezTo>
                    <a:cubicBezTo>
                      <a:pt x="21190" y="171429"/>
                      <a:pt x="17603" y="165256"/>
                      <a:pt x="15017" y="159083"/>
                    </a:cubicBezTo>
                    <a:cubicBezTo>
                      <a:pt x="7008" y="143983"/>
                      <a:pt x="2169" y="127633"/>
                      <a:pt x="417" y="110782"/>
                    </a:cubicBezTo>
                    <a:cubicBezTo>
                      <a:pt x="0" y="109030"/>
                      <a:pt x="0" y="107278"/>
                      <a:pt x="0" y="105026"/>
                    </a:cubicBezTo>
                    <a:cubicBezTo>
                      <a:pt x="417" y="105026"/>
                      <a:pt x="417" y="104609"/>
                      <a:pt x="918" y="104609"/>
                    </a:cubicBezTo>
                    <a:cubicBezTo>
                      <a:pt x="5339" y="103274"/>
                      <a:pt x="9761" y="101523"/>
                      <a:pt x="14183" y="99270"/>
                    </a:cubicBezTo>
                    <a:cubicBezTo>
                      <a:pt x="21274" y="96184"/>
                      <a:pt x="27948" y="93514"/>
                      <a:pt x="34539" y="92180"/>
                    </a:cubicBezTo>
                    <a:cubicBezTo>
                      <a:pt x="41213" y="90845"/>
                      <a:pt x="48721" y="90845"/>
                      <a:pt x="56230" y="91262"/>
                    </a:cubicBezTo>
                    <a:cubicBezTo>
                      <a:pt x="65073" y="91679"/>
                      <a:pt x="74417" y="92180"/>
                      <a:pt x="83677" y="89510"/>
                    </a:cubicBezTo>
                    <a:cubicBezTo>
                      <a:pt x="97860" y="86006"/>
                      <a:pt x="109790" y="76663"/>
                      <a:pt x="120885" y="67404"/>
                    </a:cubicBezTo>
                    <a:cubicBezTo>
                      <a:pt x="126225" y="62982"/>
                      <a:pt x="130647" y="57226"/>
                      <a:pt x="135068" y="51470"/>
                    </a:cubicBezTo>
                    <a:cubicBezTo>
                      <a:pt x="142576" y="41710"/>
                      <a:pt x="150168" y="31533"/>
                      <a:pt x="159012" y="30198"/>
                    </a:cubicBezTo>
                    <a:cubicBezTo>
                      <a:pt x="160347" y="29781"/>
                      <a:pt x="162098" y="30615"/>
                      <a:pt x="164351" y="31950"/>
                    </a:cubicBezTo>
                    <a:cubicBezTo>
                      <a:pt x="167021" y="33285"/>
                      <a:pt x="171025" y="34620"/>
                      <a:pt x="174529" y="34620"/>
                    </a:cubicBezTo>
                    <a:cubicBezTo>
                      <a:pt x="181620" y="34202"/>
                      <a:pt x="185625" y="31533"/>
                      <a:pt x="187794" y="29781"/>
                    </a:cubicBezTo>
                    <a:cubicBezTo>
                      <a:pt x="189129" y="28446"/>
                      <a:pt x="190046" y="28029"/>
                      <a:pt x="191298" y="27529"/>
                    </a:cubicBezTo>
                    <a:cubicBezTo>
                      <a:pt x="197972" y="26194"/>
                      <a:pt x="199307" y="27112"/>
                      <a:pt x="204146" y="29781"/>
                    </a:cubicBezTo>
                    <a:cubicBezTo>
                      <a:pt x="206398" y="30699"/>
                      <a:pt x="208567" y="32033"/>
                      <a:pt x="211237" y="32868"/>
                    </a:cubicBezTo>
                    <a:cubicBezTo>
                      <a:pt x="225837" y="39041"/>
                      <a:pt x="236932" y="34202"/>
                      <a:pt x="246693" y="30198"/>
                    </a:cubicBezTo>
                    <a:cubicBezTo>
                      <a:pt x="252867" y="27529"/>
                      <a:pt x="259124" y="24859"/>
                      <a:pt x="266215" y="25360"/>
                    </a:cubicBezTo>
                    <a:cubicBezTo>
                      <a:pt x="270637" y="25777"/>
                      <a:pt x="275058" y="27612"/>
                      <a:pt x="279981" y="29781"/>
                    </a:cubicBezTo>
                    <a:cubicBezTo>
                      <a:pt x="287990" y="33285"/>
                      <a:pt x="297250" y="37289"/>
                      <a:pt x="308763" y="33285"/>
                    </a:cubicBezTo>
                    <a:cubicBezTo>
                      <a:pt x="316271" y="30615"/>
                      <a:pt x="322528" y="25276"/>
                      <a:pt x="327367" y="20438"/>
                    </a:cubicBezTo>
                    <a:cubicBezTo>
                      <a:pt x="330037" y="17768"/>
                      <a:pt x="332706" y="15599"/>
                      <a:pt x="335376" y="13764"/>
                    </a:cubicBezTo>
                    <a:cubicBezTo>
                      <a:pt x="344219" y="7591"/>
                      <a:pt x="355315" y="2252"/>
                      <a:pt x="365910" y="0"/>
                    </a:cubicBezTo>
                    <a:cubicBezTo>
                      <a:pt x="366828" y="4838"/>
                      <a:pt x="367245" y="9343"/>
                      <a:pt x="366327" y="14599"/>
                    </a:cubicBezTo>
                    <a:cubicBezTo>
                      <a:pt x="365910" y="18102"/>
                      <a:pt x="364992" y="22106"/>
                      <a:pt x="364075" y="25693"/>
                    </a:cubicBezTo>
                    <a:cubicBezTo>
                      <a:pt x="361405" y="35454"/>
                      <a:pt x="358318" y="46548"/>
                      <a:pt x="366744" y="59395"/>
                    </a:cubicBezTo>
                    <a:cubicBezTo>
                      <a:pt x="372084" y="67404"/>
                      <a:pt x="379592" y="71325"/>
                      <a:pt x="386266" y="74911"/>
                    </a:cubicBezTo>
                    <a:cubicBezTo>
                      <a:pt x="391105" y="77164"/>
                      <a:pt x="395110" y="79333"/>
                      <a:pt x="398697" y="82920"/>
                    </a:cubicBezTo>
                    <a:cubicBezTo>
                      <a:pt x="400449" y="85172"/>
                      <a:pt x="401367" y="87341"/>
                      <a:pt x="402201" y="90011"/>
                    </a:cubicBezTo>
                    <a:cubicBezTo>
                      <a:pt x="403536" y="92680"/>
                      <a:pt x="404453" y="95349"/>
                      <a:pt x="405705" y="98019"/>
                    </a:cubicBezTo>
                    <a:cubicBezTo>
                      <a:pt x="408374" y="101523"/>
                      <a:pt x="411044" y="104693"/>
                      <a:pt x="413714" y="106861"/>
                    </a:cubicBezTo>
                    <a:cubicBezTo>
                      <a:pt x="415049" y="108196"/>
                      <a:pt x="416801" y="109531"/>
                      <a:pt x="418135" y="111283"/>
                    </a:cubicBezTo>
                    <a:cubicBezTo>
                      <a:pt x="426561" y="121877"/>
                      <a:pt x="430566" y="135224"/>
                      <a:pt x="428730" y="146737"/>
                    </a:cubicBezTo>
                    <a:cubicBezTo>
                      <a:pt x="426978" y="155162"/>
                      <a:pt x="422056" y="162253"/>
                      <a:pt x="414548" y="167091"/>
                    </a:cubicBezTo>
                    <a:cubicBezTo>
                      <a:pt x="398196" y="176851"/>
                      <a:pt x="384014" y="186611"/>
                      <a:pt x="372000" y="198124"/>
                    </a:cubicBezTo>
                    <a:cubicBezTo>
                      <a:pt x="367996" y="201210"/>
                      <a:pt x="363991" y="206132"/>
                      <a:pt x="362239" y="208718"/>
                    </a:cubicBezTo>
                    <a:cubicBezTo>
                      <a:pt x="358735" y="213557"/>
                      <a:pt x="354731" y="218895"/>
                      <a:pt x="351143" y="224234"/>
                    </a:cubicBezTo>
                    <a:cubicBezTo>
                      <a:pt x="340048" y="242837"/>
                      <a:pt x="344469" y="256601"/>
                      <a:pt x="348891" y="272535"/>
                    </a:cubicBezTo>
                    <a:cubicBezTo>
                      <a:pt x="351143" y="279208"/>
                      <a:pt x="353730" y="285381"/>
                      <a:pt x="356900" y="291138"/>
                    </a:cubicBezTo>
                    <a:cubicBezTo>
                      <a:pt x="360404" y="298645"/>
                      <a:pt x="363991" y="306653"/>
                      <a:pt x="365326" y="313244"/>
                    </a:cubicBezTo>
                    <a:cubicBezTo>
                      <a:pt x="366661" y="320752"/>
                      <a:pt x="362657" y="331847"/>
                      <a:pt x="358652" y="342024"/>
                    </a:cubicBezTo>
                    <a:cubicBezTo>
                      <a:pt x="356900" y="346862"/>
                      <a:pt x="355148" y="351784"/>
                      <a:pt x="353813" y="356206"/>
                    </a:cubicBezTo>
                    <a:cubicBezTo>
                      <a:pt x="352896" y="359292"/>
                      <a:pt x="350726" y="363296"/>
                      <a:pt x="348474" y="367717"/>
                    </a:cubicBezTo>
                    <a:cubicBezTo>
                      <a:pt x="343635" y="376143"/>
                      <a:pt x="338296" y="385903"/>
                      <a:pt x="340465" y="395163"/>
                    </a:cubicBezTo>
                    <a:cubicBezTo>
                      <a:pt x="341800" y="400919"/>
                      <a:pt x="344469" y="404923"/>
                      <a:pt x="348474" y="407092"/>
                    </a:cubicBezTo>
                    <a:cubicBezTo>
                      <a:pt x="355148" y="410596"/>
                      <a:pt x="362657" y="408009"/>
                      <a:pt x="369331" y="405757"/>
                    </a:cubicBezTo>
                    <a:lnTo>
                      <a:pt x="372417" y="404840"/>
                    </a:lnTo>
                    <a:cubicBezTo>
                      <a:pt x="383513" y="401336"/>
                      <a:pt x="391022" y="399084"/>
                      <a:pt x="399865" y="403505"/>
                    </a:cubicBezTo>
                    <a:cubicBezTo>
                      <a:pt x="412296" y="409678"/>
                      <a:pt x="410961" y="415017"/>
                      <a:pt x="404704" y="429616"/>
                    </a:cubicBezTo>
                    <a:cubicBezTo>
                      <a:pt x="400282" y="439376"/>
                      <a:pt x="394943" y="450888"/>
                      <a:pt x="399865" y="462817"/>
                    </a:cubicBezTo>
                    <a:lnTo>
                      <a:pt x="402117" y="468156"/>
                    </a:lnTo>
                    <a:cubicBezTo>
                      <a:pt x="406956" y="479251"/>
                      <a:pt x="408291" y="482754"/>
                      <a:pt x="401700" y="493849"/>
                    </a:cubicBezTo>
                    <a:cubicBezTo>
                      <a:pt x="399030" y="497353"/>
                      <a:pt x="396361" y="500940"/>
                      <a:pt x="393274" y="504444"/>
                    </a:cubicBezTo>
                    <a:cubicBezTo>
                      <a:pt x="388435" y="510617"/>
                      <a:pt x="383096" y="516873"/>
                      <a:pt x="380009" y="525299"/>
                    </a:cubicBezTo>
                    <a:cubicBezTo>
                      <a:pt x="373836" y="542567"/>
                      <a:pt x="379091" y="554496"/>
                      <a:pt x="384848" y="569178"/>
                    </a:cubicBezTo>
                    <a:cubicBezTo>
                      <a:pt x="388352" y="577604"/>
                      <a:pt x="387518" y="582942"/>
                      <a:pt x="386600" y="590033"/>
                    </a:cubicBezTo>
                    <a:cubicBezTo>
                      <a:pt x="385682" y="594871"/>
                      <a:pt x="384848" y="600628"/>
                      <a:pt x="385265" y="607718"/>
                    </a:cubicBezTo>
                    <a:cubicBezTo>
                      <a:pt x="386183" y="617478"/>
                      <a:pt x="390605" y="624069"/>
                      <a:pt x="395443" y="629908"/>
                    </a:cubicBezTo>
                    <a:cubicBezTo>
                      <a:pt x="398113" y="633912"/>
                      <a:pt x="400782" y="637916"/>
                      <a:pt x="402117" y="641837"/>
                    </a:cubicBezTo>
                    <a:cubicBezTo>
                      <a:pt x="404787" y="651180"/>
                      <a:pt x="402534" y="661775"/>
                      <a:pt x="395443" y="675539"/>
                    </a:cubicBezTo>
                    <a:cubicBezTo>
                      <a:pt x="389270" y="687969"/>
                      <a:pt x="380343" y="696811"/>
                      <a:pt x="369331" y="706989"/>
                    </a:cubicBezTo>
                    <a:cubicBezTo>
                      <a:pt x="364492" y="711410"/>
                      <a:pt x="359987" y="716749"/>
                      <a:pt x="356483" y="722088"/>
                    </a:cubicBezTo>
                    <a:cubicBezTo>
                      <a:pt x="352478" y="726926"/>
                      <a:pt x="348974" y="731848"/>
                      <a:pt x="344553" y="735852"/>
                    </a:cubicBezTo>
                    <a:cubicBezTo>
                      <a:pt x="342801" y="737187"/>
                      <a:pt x="341049" y="738939"/>
                      <a:pt x="338796" y="740274"/>
                    </a:cubicBezTo>
                    <a:cubicBezTo>
                      <a:pt x="337462" y="724757"/>
                      <a:pt x="333457" y="710576"/>
                      <a:pt x="321110" y="703068"/>
                    </a:cubicBezTo>
                    <a:cubicBezTo>
                      <a:pt x="312266" y="697312"/>
                      <a:pt x="295832" y="691973"/>
                      <a:pt x="284318" y="691139"/>
                    </a:cubicBezTo>
                    <a:cubicBezTo>
                      <a:pt x="277644" y="690722"/>
                      <a:pt x="271888" y="691556"/>
                      <a:pt x="266632" y="692473"/>
                    </a:cubicBezTo>
                    <a:cubicBezTo>
                      <a:pt x="258623" y="693391"/>
                      <a:pt x="252450" y="694225"/>
                      <a:pt x="244941" y="691556"/>
                    </a:cubicBezTo>
                    <a:cubicBezTo>
                      <a:pt x="234763" y="687552"/>
                      <a:pt x="225419" y="680461"/>
                      <a:pt x="218828" y="671201"/>
                    </a:cubicBezTo>
                    <a:cubicBezTo>
                      <a:pt x="215742" y="667698"/>
                      <a:pt x="213489" y="663193"/>
                      <a:pt x="210820" y="659272"/>
                    </a:cubicBezTo>
                    <a:cubicBezTo>
                      <a:pt x="205647" y="648094"/>
                      <a:pt x="203478" y="636165"/>
                      <a:pt x="204312" y="62465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74438384" name="Полилиния 399"/>
              <p:cNvSpPr/>
              <p:nvPr/>
            </p:nvSpPr>
            <p:spPr bwMode="auto">
              <a:xfrm>
                <a:off x="4905211" y="4713134"/>
                <a:ext cx="1080022" cy="793404"/>
              </a:xfrm>
              <a:custGeom>
                <a:avLst/>
                <a:gdLst>
                  <a:gd name="connsiteX0" fmla="*/ 662791 w 1212901"/>
                  <a:gd name="connsiteY0" fmla="*/ 870234 h 891019"/>
                  <a:gd name="connsiteX1" fmla="*/ 664543 w 1212901"/>
                  <a:gd name="connsiteY1" fmla="*/ 852548 h 891019"/>
                  <a:gd name="connsiteX2" fmla="*/ 657452 w 1212901"/>
                  <a:gd name="connsiteY2" fmla="*/ 836198 h 891019"/>
                  <a:gd name="connsiteX3" fmla="*/ 652613 w 1212901"/>
                  <a:gd name="connsiteY3" fmla="*/ 826438 h 891019"/>
                  <a:gd name="connsiteX4" fmla="*/ 655283 w 1212901"/>
                  <a:gd name="connsiteY4" fmla="*/ 810087 h 891019"/>
                  <a:gd name="connsiteX5" fmla="*/ 657535 w 1212901"/>
                  <a:gd name="connsiteY5" fmla="*/ 799493 h 891019"/>
                  <a:gd name="connsiteX6" fmla="*/ 654448 w 1212901"/>
                  <a:gd name="connsiteY6" fmla="*/ 757449 h 891019"/>
                  <a:gd name="connsiteX7" fmla="*/ 639849 w 1212901"/>
                  <a:gd name="connsiteY7" fmla="*/ 749023 h 891019"/>
                  <a:gd name="connsiteX8" fmla="*/ 613736 w 1212901"/>
                  <a:gd name="connsiteY8" fmla="*/ 759201 h 891019"/>
                  <a:gd name="connsiteX9" fmla="*/ 605727 w 1212901"/>
                  <a:gd name="connsiteY9" fmla="*/ 764540 h 891019"/>
                  <a:gd name="connsiteX10" fmla="*/ 571188 w 1212901"/>
                  <a:gd name="connsiteY10" fmla="*/ 770713 h 891019"/>
                  <a:gd name="connsiteX11" fmla="*/ 552584 w 1212901"/>
                  <a:gd name="connsiteY11" fmla="*/ 772048 h 891019"/>
                  <a:gd name="connsiteX12" fmla="*/ 507367 w 1212901"/>
                  <a:gd name="connsiteY12" fmla="*/ 771130 h 891019"/>
                  <a:gd name="connsiteX13" fmla="*/ 484341 w 1212901"/>
                  <a:gd name="connsiteY13" fmla="*/ 757365 h 891019"/>
                  <a:gd name="connsiteX14" fmla="*/ 441376 w 1212901"/>
                  <a:gd name="connsiteY14" fmla="*/ 737011 h 891019"/>
                  <a:gd name="connsiteX15" fmla="*/ 429863 w 1212901"/>
                  <a:gd name="connsiteY15" fmla="*/ 736093 h 891019"/>
                  <a:gd name="connsiteX16" fmla="*/ 379807 w 1212901"/>
                  <a:gd name="connsiteY16" fmla="*/ 718408 h 891019"/>
                  <a:gd name="connsiteX17" fmla="*/ 364290 w 1212901"/>
                  <a:gd name="connsiteY17" fmla="*/ 690045 h 891019"/>
                  <a:gd name="connsiteX18" fmla="*/ 337259 w 1212901"/>
                  <a:gd name="connsiteY18" fmla="*/ 648835 h 891019"/>
                  <a:gd name="connsiteX19" fmla="*/ 186174 w 1212901"/>
                  <a:gd name="connsiteY19" fmla="*/ 582850 h 891019"/>
                  <a:gd name="connsiteX20" fmla="*/ 166234 w 1212901"/>
                  <a:gd name="connsiteY20" fmla="*/ 577511 h 891019"/>
                  <a:gd name="connsiteX21" fmla="*/ 128609 w 1212901"/>
                  <a:gd name="connsiteY21" fmla="*/ 565999 h 891019"/>
                  <a:gd name="connsiteX22" fmla="*/ 65705 w 1212901"/>
                  <a:gd name="connsiteY22" fmla="*/ 548314 h 891019"/>
                  <a:gd name="connsiteX23" fmla="*/ 48436 w 1212901"/>
                  <a:gd name="connsiteY23" fmla="*/ 545644 h 891019"/>
                  <a:gd name="connsiteX24" fmla="*/ 43097 w 1212901"/>
                  <a:gd name="connsiteY24" fmla="*/ 528793 h 891019"/>
                  <a:gd name="connsiteX25" fmla="*/ 36422 w 1212901"/>
                  <a:gd name="connsiteY25" fmla="*/ 512443 h 891019"/>
                  <a:gd name="connsiteX26" fmla="*/ 24909 w 1212901"/>
                  <a:gd name="connsiteY26" fmla="*/ 477907 h 891019"/>
                  <a:gd name="connsiteX27" fmla="*/ 27162 w 1212901"/>
                  <a:gd name="connsiteY27" fmla="*/ 457052 h 891019"/>
                  <a:gd name="connsiteX28" fmla="*/ 26244 w 1212901"/>
                  <a:gd name="connsiteY28" fmla="*/ 421598 h 891019"/>
                  <a:gd name="connsiteX29" fmla="*/ 11645 w 1212901"/>
                  <a:gd name="connsiteY29" fmla="*/ 405664 h 891019"/>
                  <a:gd name="connsiteX30" fmla="*/ 1049 w 1212901"/>
                  <a:gd name="connsiteY30" fmla="*/ 394570 h 891019"/>
                  <a:gd name="connsiteX31" fmla="*/ 6389 w 1212901"/>
                  <a:gd name="connsiteY31" fmla="*/ 362703 h 891019"/>
                  <a:gd name="connsiteX32" fmla="*/ 7306 w 1212901"/>
                  <a:gd name="connsiteY32" fmla="*/ 360951 h 891019"/>
                  <a:gd name="connsiteX33" fmla="*/ 16149 w 1212901"/>
                  <a:gd name="connsiteY33" fmla="*/ 314403 h 891019"/>
                  <a:gd name="connsiteX34" fmla="*/ 22323 w 1212901"/>
                  <a:gd name="connsiteY34" fmla="*/ 307729 h 891019"/>
                  <a:gd name="connsiteX35" fmla="*/ 40510 w 1212901"/>
                  <a:gd name="connsiteY35" fmla="*/ 293964 h 891019"/>
                  <a:gd name="connsiteX36" fmla="*/ 52023 w 1212901"/>
                  <a:gd name="connsiteY36" fmla="*/ 285956 h 891019"/>
                  <a:gd name="connsiteX37" fmla="*/ 54693 w 1212901"/>
                  <a:gd name="connsiteY37" fmla="*/ 283704 h 891019"/>
                  <a:gd name="connsiteX38" fmla="*/ 72880 w 1212901"/>
                  <a:gd name="connsiteY38" fmla="*/ 265101 h 891019"/>
                  <a:gd name="connsiteX39" fmla="*/ 77302 w 1212901"/>
                  <a:gd name="connsiteY39" fmla="*/ 246498 h 891019"/>
                  <a:gd name="connsiteX40" fmla="*/ 81723 w 1212901"/>
                  <a:gd name="connsiteY40" fmla="*/ 229230 h 891019"/>
                  <a:gd name="connsiteX41" fmla="*/ 131362 w 1212901"/>
                  <a:gd name="connsiteY41" fmla="*/ 188938 h 891019"/>
                  <a:gd name="connsiteX42" fmla="*/ 142458 w 1212901"/>
                  <a:gd name="connsiteY42" fmla="*/ 191191 h 891019"/>
                  <a:gd name="connsiteX43" fmla="*/ 176162 w 1212901"/>
                  <a:gd name="connsiteY43" fmla="*/ 175257 h 891019"/>
                  <a:gd name="connsiteX44" fmla="*/ 189427 w 1212901"/>
                  <a:gd name="connsiteY44" fmla="*/ 133631 h 891019"/>
                  <a:gd name="connsiteX45" fmla="*/ 192514 w 1212901"/>
                  <a:gd name="connsiteY45" fmla="*/ 114610 h 891019"/>
                  <a:gd name="connsiteX46" fmla="*/ 199605 w 1212901"/>
                  <a:gd name="connsiteY46" fmla="*/ 100846 h 891019"/>
                  <a:gd name="connsiteX47" fmla="*/ 208448 w 1212901"/>
                  <a:gd name="connsiteY47" fmla="*/ 82660 h 891019"/>
                  <a:gd name="connsiteX48" fmla="*/ 207531 w 1212901"/>
                  <a:gd name="connsiteY48" fmla="*/ 66310 h 891019"/>
                  <a:gd name="connsiteX49" fmla="*/ 206613 w 1212901"/>
                  <a:gd name="connsiteY49" fmla="*/ 54798 h 891019"/>
                  <a:gd name="connsiteX50" fmla="*/ 216791 w 1212901"/>
                  <a:gd name="connsiteY50" fmla="*/ 43286 h 891019"/>
                  <a:gd name="connsiteX51" fmla="*/ 227386 w 1212901"/>
                  <a:gd name="connsiteY51" fmla="*/ 31774 h 891019"/>
                  <a:gd name="connsiteX52" fmla="*/ 233560 w 1212901"/>
                  <a:gd name="connsiteY52" fmla="*/ 19845 h 891019"/>
                  <a:gd name="connsiteX53" fmla="*/ 237981 w 1212901"/>
                  <a:gd name="connsiteY53" fmla="*/ 10085 h 891019"/>
                  <a:gd name="connsiteX54" fmla="*/ 280029 w 1212901"/>
                  <a:gd name="connsiteY54" fmla="*/ 6998 h 891019"/>
                  <a:gd name="connsiteX55" fmla="*/ 363789 w 1212901"/>
                  <a:gd name="connsiteY55" fmla="*/ 23348 h 891019"/>
                  <a:gd name="connsiteX56" fmla="*/ 412093 w 1212901"/>
                  <a:gd name="connsiteY56" fmla="*/ 41951 h 891019"/>
                  <a:gd name="connsiteX57" fmla="*/ 416515 w 1212901"/>
                  <a:gd name="connsiteY57" fmla="*/ 45038 h 891019"/>
                  <a:gd name="connsiteX58" fmla="*/ 491849 w 1212901"/>
                  <a:gd name="connsiteY58" fmla="*/ 56550 h 891019"/>
                  <a:gd name="connsiteX59" fmla="*/ 504697 w 1212901"/>
                  <a:gd name="connsiteY59" fmla="*/ 51711 h 891019"/>
                  <a:gd name="connsiteX60" fmla="*/ 540988 w 1212901"/>
                  <a:gd name="connsiteY60" fmla="*/ 51711 h 891019"/>
                  <a:gd name="connsiteX61" fmla="*/ 547161 w 1212901"/>
                  <a:gd name="connsiteY61" fmla="*/ 61472 h 891019"/>
                  <a:gd name="connsiteX62" fmla="*/ 562679 w 1212901"/>
                  <a:gd name="connsiteY62" fmla="*/ 79157 h 891019"/>
                  <a:gd name="connsiteX63" fmla="*/ 581283 w 1212901"/>
                  <a:gd name="connsiteY63" fmla="*/ 81826 h 891019"/>
                  <a:gd name="connsiteX64" fmla="*/ 589709 w 1212901"/>
                  <a:gd name="connsiteY64" fmla="*/ 81826 h 891019"/>
                  <a:gd name="connsiteX65" fmla="*/ 608313 w 1212901"/>
                  <a:gd name="connsiteY65" fmla="*/ 90252 h 891019"/>
                  <a:gd name="connsiteX66" fmla="*/ 639348 w 1212901"/>
                  <a:gd name="connsiteY66" fmla="*/ 100846 h 891019"/>
                  <a:gd name="connsiteX67" fmla="*/ 690322 w 1212901"/>
                  <a:gd name="connsiteY67" fmla="*/ 61889 h 891019"/>
                  <a:gd name="connsiteX68" fmla="*/ 707591 w 1212901"/>
                  <a:gd name="connsiteY68" fmla="*/ 41034 h 891019"/>
                  <a:gd name="connsiteX69" fmla="*/ 739043 w 1212901"/>
                  <a:gd name="connsiteY69" fmla="*/ 31273 h 891019"/>
                  <a:gd name="connsiteX70" fmla="*/ 761652 w 1212901"/>
                  <a:gd name="connsiteY70" fmla="*/ 49459 h 891019"/>
                  <a:gd name="connsiteX71" fmla="*/ 786013 w 1212901"/>
                  <a:gd name="connsiteY71" fmla="*/ 69397 h 891019"/>
                  <a:gd name="connsiteX72" fmla="*/ 812125 w 1212901"/>
                  <a:gd name="connsiteY72" fmla="*/ 69814 h 891019"/>
                  <a:gd name="connsiteX73" fmla="*/ 839155 w 1212901"/>
                  <a:gd name="connsiteY73" fmla="*/ 138886 h 891019"/>
                  <a:gd name="connsiteX74" fmla="*/ 829395 w 1212901"/>
                  <a:gd name="connsiteY74" fmla="*/ 166331 h 891019"/>
                  <a:gd name="connsiteX75" fmla="*/ 827642 w 1212901"/>
                  <a:gd name="connsiteY75" fmla="*/ 220805 h 891019"/>
                  <a:gd name="connsiteX76" fmla="*/ 912237 w 1212901"/>
                  <a:gd name="connsiteY76" fmla="*/ 231900 h 891019"/>
                  <a:gd name="connsiteX77" fmla="*/ 933094 w 1212901"/>
                  <a:gd name="connsiteY77" fmla="*/ 229230 h 891019"/>
                  <a:gd name="connsiteX78" fmla="*/ 1022111 w 1212901"/>
                  <a:gd name="connsiteY78" fmla="*/ 246498 h 891019"/>
                  <a:gd name="connsiteX79" fmla="*/ 1029202 w 1212901"/>
                  <a:gd name="connsiteY79" fmla="*/ 256676 h 891019"/>
                  <a:gd name="connsiteX80" fmla="*/ 1043801 w 1212901"/>
                  <a:gd name="connsiteY80" fmla="*/ 273944 h 891019"/>
                  <a:gd name="connsiteX81" fmla="*/ 1055314 w 1212901"/>
                  <a:gd name="connsiteY81" fmla="*/ 278782 h 891019"/>
                  <a:gd name="connsiteX82" fmla="*/ 1069080 w 1212901"/>
                  <a:gd name="connsiteY82" fmla="*/ 288959 h 891019"/>
                  <a:gd name="connsiteX83" fmla="*/ 1074836 w 1212901"/>
                  <a:gd name="connsiteY83" fmla="*/ 309814 h 891019"/>
                  <a:gd name="connsiteX84" fmla="*/ 1115131 w 1212901"/>
                  <a:gd name="connsiteY84" fmla="*/ 345268 h 891019"/>
                  <a:gd name="connsiteX85" fmla="*/ 1121305 w 1212901"/>
                  <a:gd name="connsiteY85" fmla="*/ 344851 h 891019"/>
                  <a:gd name="connsiteX86" fmla="*/ 1147918 w 1212901"/>
                  <a:gd name="connsiteY86" fmla="*/ 350190 h 891019"/>
                  <a:gd name="connsiteX87" fmla="*/ 1153257 w 1212901"/>
                  <a:gd name="connsiteY87" fmla="*/ 377636 h 891019"/>
                  <a:gd name="connsiteX88" fmla="*/ 1139075 w 1212901"/>
                  <a:gd name="connsiteY88" fmla="*/ 390482 h 891019"/>
                  <a:gd name="connsiteX89" fmla="*/ 1126227 w 1212901"/>
                  <a:gd name="connsiteY89" fmla="*/ 399325 h 891019"/>
                  <a:gd name="connsiteX90" fmla="*/ 1096527 w 1212901"/>
                  <a:gd name="connsiteY90" fmla="*/ 437865 h 891019"/>
                  <a:gd name="connsiteX91" fmla="*/ 1096944 w 1212901"/>
                  <a:gd name="connsiteY91" fmla="*/ 517114 h 891019"/>
                  <a:gd name="connsiteX92" fmla="*/ 1130649 w 1212901"/>
                  <a:gd name="connsiteY92" fmla="*/ 546812 h 891019"/>
                  <a:gd name="connsiteX93" fmla="*/ 1144831 w 1212901"/>
                  <a:gd name="connsiteY93" fmla="*/ 552151 h 891019"/>
                  <a:gd name="connsiteX94" fmla="*/ 1177618 w 1212901"/>
                  <a:gd name="connsiteY94" fmla="*/ 562746 h 891019"/>
                  <a:gd name="connsiteX95" fmla="*/ 1190883 w 1212901"/>
                  <a:gd name="connsiteY95" fmla="*/ 563163 h 891019"/>
                  <a:gd name="connsiteX96" fmla="*/ 1211239 w 1212901"/>
                  <a:gd name="connsiteY96" fmla="*/ 568001 h 891019"/>
                  <a:gd name="connsiteX97" fmla="*/ 1208570 w 1212901"/>
                  <a:gd name="connsiteY97" fmla="*/ 587938 h 891019"/>
                  <a:gd name="connsiteX98" fmla="*/ 1179370 w 1212901"/>
                  <a:gd name="connsiteY98" fmla="*/ 629983 h 891019"/>
                  <a:gd name="connsiteX99" fmla="*/ 1162101 w 1212901"/>
                  <a:gd name="connsiteY99" fmla="*/ 652089 h 891019"/>
                  <a:gd name="connsiteX100" fmla="*/ 1155426 w 1212901"/>
                  <a:gd name="connsiteY100" fmla="*/ 660514 h 891019"/>
                  <a:gd name="connsiteX101" fmla="*/ 1136822 w 1212901"/>
                  <a:gd name="connsiteY101" fmla="*/ 696802 h 891019"/>
                  <a:gd name="connsiteX102" fmla="*/ 1142579 w 1212901"/>
                  <a:gd name="connsiteY102" fmla="*/ 709232 h 891019"/>
                  <a:gd name="connsiteX103" fmla="*/ 1144831 w 1212901"/>
                  <a:gd name="connsiteY103" fmla="*/ 712735 h 891019"/>
                  <a:gd name="connsiteX104" fmla="*/ 1143914 w 1212901"/>
                  <a:gd name="connsiteY104" fmla="*/ 717574 h 891019"/>
                  <a:gd name="connsiteX105" fmla="*/ 1140827 w 1212901"/>
                  <a:gd name="connsiteY105" fmla="*/ 723747 h 891019"/>
                  <a:gd name="connsiteX106" fmla="*/ 1138157 w 1212901"/>
                  <a:gd name="connsiteY106" fmla="*/ 735259 h 891019"/>
                  <a:gd name="connsiteX107" fmla="*/ 1100031 w 1212901"/>
                  <a:gd name="connsiteY107" fmla="*/ 751609 h 891019"/>
                  <a:gd name="connsiteX108" fmla="*/ 1090270 w 1212901"/>
                  <a:gd name="connsiteY108" fmla="*/ 759618 h 891019"/>
                  <a:gd name="connsiteX109" fmla="*/ 1076505 w 1212901"/>
                  <a:gd name="connsiteY109" fmla="*/ 769795 h 891019"/>
                  <a:gd name="connsiteX110" fmla="*/ 1058318 w 1212901"/>
                  <a:gd name="connsiteY110" fmla="*/ 766292 h 891019"/>
                  <a:gd name="connsiteX111" fmla="*/ 1039713 w 1212901"/>
                  <a:gd name="connsiteY111" fmla="*/ 760536 h 891019"/>
                  <a:gd name="connsiteX112" fmla="*/ 1014018 w 1212901"/>
                  <a:gd name="connsiteY112" fmla="*/ 766292 h 891019"/>
                  <a:gd name="connsiteX113" fmla="*/ 989657 w 1212901"/>
                  <a:gd name="connsiteY113" fmla="*/ 768961 h 891019"/>
                  <a:gd name="connsiteX114" fmla="*/ 983484 w 1212901"/>
                  <a:gd name="connsiteY114" fmla="*/ 765874 h 891019"/>
                  <a:gd name="connsiteX115" fmla="*/ 961793 w 1212901"/>
                  <a:gd name="connsiteY115" fmla="*/ 762788 h 891019"/>
                  <a:gd name="connsiteX116" fmla="*/ 952032 w 1212901"/>
                  <a:gd name="connsiteY116" fmla="*/ 767209 h 891019"/>
                  <a:gd name="connsiteX117" fmla="*/ 947193 w 1212901"/>
                  <a:gd name="connsiteY117" fmla="*/ 769461 h 891019"/>
                  <a:gd name="connsiteX118" fmla="*/ 943189 w 1212901"/>
                  <a:gd name="connsiteY118" fmla="*/ 768127 h 891019"/>
                  <a:gd name="connsiteX119" fmla="*/ 929924 w 1212901"/>
                  <a:gd name="connsiteY119" fmla="*/ 765457 h 891019"/>
                  <a:gd name="connsiteX120" fmla="*/ 896720 w 1212901"/>
                  <a:gd name="connsiteY120" fmla="*/ 792068 h 891019"/>
                  <a:gd name="connsiteX121" fmla="*/ 884790 w 1212901"/>
                  <a:gd name="connsiteY121" fmla="*/ 805833 h 891019"/>
                  <a:gd name="connsiteX122" fmla="*/ 853338 w 1212901"/>
                  <a:gd name="connsiteY122" fmla="*/ 825353 h 891019"/>
                  <a:gd name="connsiteX123" fmla="*/ 830312 w 1212901"/>
                  <a:gd name="connsiteY123" fmla="*/ 826688 h 891019"/>
                  <a:gd name="connsiteX124" fmla="*/ 804617 w 1212901"/>
                  <a:gd name="connsiteY124" fmla="*/ 828023 h 891019"/>
                  <a:gd name="connsiteX125" fmla="*/ 781174 w 1212901"/>
                  <a:gd name="connsiteY125" fmla="*/ 836448 h 891019"/>
                  <a:gd name="connsiteX126" fmla="*/ 771413 w 1212901"/>
                  <a:gd name="connsiteY126" fmla="*/ 840452 h 891019"/>
                  <a:gd name="connsiteX127" fmla="*/ 768743 w 1212901"/>
                  <a:gd name="connsiteY127" fmla="*/ 841370 h 891019"/>
                  <a:gd name="connsiteX128" fmla="*/ 757647 w 1212901"/>
                  <a:gd name="connsiteY128" fmla="*/ 844039 h 891019"/>
                  <a:gd name="connsiteX129" fmla="*/ 746134 w 1212901"/>
                  <a:gd name="connsiteY129" fmla="*/ 845374 h 891019"/>
                  <a:gd name="connsiteX130" fmla="*/ 732870 w 1212901"/>
                  <a:gd name="connsiteY130" fmla="*/ 847126 h 891019"/>
                  <a:gd name="connsiteX131" fmla="*/ 698748 w 1212901"/>
                  <a:gd name="connsiteY131" fmla="*/ 872402 h 891019"/>
                  <a:gd name="connsiteX132" fmla="*/ 672635 w 1212901"/>
                  <a:gd name="connsiteY132" fmla="*/ 891005 h 891019"/>
                  <a:gd name="connsiteX133" fmla="*/ 664209 w 1212901"/>
                  <a:gd name="connsiteY133" fmla="*/ 888336 h 891019"/>
                  <a:gd name="connsiteX134" fmla="*/ 662791 w 1212901"/>
                  <a:gd name="connsiteY134" fmla="*/ 870234 h 8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212901" h="891019" extrusionOk="0">
                    <a:moveTo>
                      <a:pt x="662791" y="870234"/>
                    </a:moveTo>
                    <a:cubicBezTo>
                      <a:pt x="664126" y="864060"/>
                      <a:pt x="665461" y="857804"/>
                      <a:pt x="664543" y="852548"/>
                    </a:cubicBezTo>
                    <a:cubicBezTo>
                      <a:pt x="663625" y="845875"/>
                      <a:pt x="660121" y="840619"/>
                      <a:pt x="657452" y="836198"/>
                    </a:cubicBezTo>
                    <a:cubicBezTo>
                      <a:pt x="654782" y="832694"/>
                      <a:pt x="653030" y="829524"/>
                      <a:pt x="652613" y="826438"/>
                    </a:cubicBezTo>
                    <a:cubicBezTo>
                      <a:pt x="651695" y="822016"/>
                      <a:pt x="653531" y="815843"/>
                      <a:pt x="655283" y="810087"/>
                    </a:cubicBezTo>
                    <a:cubicBezTo>
                      <a:pt x="656200" y="807001"/>
                      <a:pt x="656617" y="803914"/>
                      <a:pt x="657535" y="799493"/>
                    </a:cubicBezTo>
                    <a:cubicBezTo>
                      <a:pt x="659287" y="788398"/>
                      <a:pt x="662374" y="768961"/>
                      <a:pt x="654448" y="757449"/>
                    </a:cubicBezTo>
                    <a:cubicBezTo>
                      <a:pt x="650944" y="752611"/>
                      <a:pt x="646022" y="749941"/>
                      <a:pt x="639849" y="749023"/>
                    </a:cubicBezTo>
                    <a:cubicBezTo>
                      <a:pt x="629670" y="747689"/>
                      <a:pt x="621245" y="753862"/>
                      <a:pt x="613736" y="759201"/>
                    </a:cubicBezTo>
                    <a:cubicBezTo>
                      <a:pt x="611066" y="761453"/>
                      <a:pt x="608397" y="763205"/>
                      <a:pt x="605727" y="764540"/>
                    </a:cubicBezTo>
                    <a:cubicBezTo>
                      <a:pt x="595132" y="769378"/>
                      <a:pt x="584453" y="769879"/>
                      <a:pt x="571188" y="770713"/>
                    </a:cubicBezTo>
                    <a:cubicBezTo>
                      <a:pt x="565015" y="771130"/>
                      <a:pt x="558758" y="771630"/>
                      <a:pt x="552584" y="772048"/>
                    </a:cubicBezTo>
                    <a:cubicBezTo>
                      <a:pt x="537484" y="773382"/>
                      <a:pt x="521549" y="774300"/>
                      <a:pt x="507367" y="771130"/>
                    </a:cubicBezTo>
                    <a:cubicBezTo>
                      <a:pt x="497606" y="768878"/>
                      <a:pt x="492267" y="764957"/>
                      <a:pt x="484341" y="757365"/>
                    </a:cubicBezTo>
                    <a:cubicBezTo>
                      <a:pt x="470576" y="743184"/>
                      <a:pt x="460898" y="738763"/>
                      <a:pt x="441376" y="737011"/>
                    </a:cubicBezTo>
                    <a:cubicBezTo>
                      <a:pt x="437872" y="736594"/>
                      <a:pt x="433367" y="736594"/>
                      <a:pt x="429863" y="736093"/>
                    </a:cubicBezTo>
                    <a:cubicBezTo>
                      <a:pt x="409507" y="735175"/>
                      <a:pt x="392238" y="733841"/>
                      <a:pt x="379807" y="718408"/>
                    </a:cubicBezTo>
                    <a:cubicBezTo>
                      <a:pt x="373133" y="709983"/>
                      <a:pt x="369212" y="700222"/>
                      <a:pt x="364290" y="690045"/>
                    </a:cubicBezTo>
                    <a:cubicBezTo>
                      <a:pt x="357616" y="675864"/>
                      <a:pt x="351442" y="660848"/>
                      <a:pt x="337259" y="648835"/>
                    </a:cubicBezTo>
                    <a:cubicBezTo>
                      <a:pt x="295212" y="612047"/>
                      <a:pt x="239817" y="597031"/>
                      <a:pt x="186174" y="582850"/>
                    </a:cubicBezTo>
                    <a:lnTo>
                      <a:pt x="166234" y="577511"/>
                    </a:lnTo>
                    <a:cubicBezTo>
                      <a:pt x="153804" y="574007"/>
                      <a:pt x="140956" y="570003"/>
                      <a:pt x="128609" y="565999"/>
                    </a:cubicBezTo>
                    <a:cubicBezTo>
                      <a:pt x="108253" y="559325"/>
                      <a:pt x="86979" y="553152"/>
                      <a:pt x="65705" y="548314"/>
                    </a:cubicBezTo>
                    <a:cubicBezTo>
                      <a:pt x="60366" y="546979"/>
                      <a:pt x="54609" y="546061"/>
                      <a:pt x="48436" y="545644"/>
                    </a:cubicBezTo>
                    <a:cubicBezTo>
                      <a:pt x="46183" y="538971"/>
                      <a:pt x="44431" y="533215"/>
                      <a:pt x="43097" y="528793"/>
                    </a:cubicBezTo>
                    <a:cubicBezTo>
                      <a:pt x="40844" y="523454"/>
                      <a:pt x="38675" y="518199"/>
                      <a:pt x="36422" y="512443"/>
                    </a:cubicBezTo>
                    <a:cubicBezTo>
                      <a:pt x="31083" y="500931"/>
                      <a:pt x="26244" y="489836"/>
                      <a:pt x="24909" y="477907"/>
                    </a:cubicBezTo>
                    <a:cubicBezTo>
                      <a:pt x="23992" y="471734"/>
                      <a:pt x="25326" y="464643"/>
                      <a:pt x="27162" y="457052"/>
                    </a:cubicBezTo>
                    <a:cubicBezTo>
                      <a:pt x="29414" y="445957"/>
                      <a:pt x="31583" y="433110"/>
                      <a:pt x="26244" y="421598"/>
                    </a:cubicBezTo>
                    <a:cubicBezTo>
                      <a:pt x="22740" y="414507"/>
                      <a:pt x="16900" y="409669"/>
                      <a:pt x="11645" y="405664"/>
                    </a:cubicBezTo>
                    <a:cubicBezTo>
                      <a:pt x="6806" y="402161"/>
                      <a:pt x="2801" y="398991"/>
                      <a:pt x="1049" y="394570"/>
                    </a:cubicBezTo>
                    <a:cubicBezTo>
                      <a:pt x="-2455" y="386144"/>
                      <a:pt x="3719" y="370211"/>
                      <a:pt x="6389" y="362703"/>
                    </a:cubicBezTo>
                    <a:lnTo>
                      <a:pt x="7306" y="360951"/>
                    </a:lnTo>
                    <a:cubicBezTo>
                      <a:pt x="12646" y="346353"/>
                      <a:pt x="19236" y="329085"/>
                      <a:pt x="16149" y="314403"/>
                    </a:cubicBezTo>
                    <a:cubicBezTo>
                      <a:pt x="18402" y="312150"/>
                      <a:pt x="20154" y="309981"/>
                      <a:pt x="22323" y="307729"/>
                    </a:cubicBezTo>
                    <a:cubicBezTo>
                      <a:pt x="27663" y="302891"/>
                      <a:pt x="33836" y="298386"/>
                      <a:pt x="40510" y="293964"/>
                    </a:cubicBezTo>
                    <a:cubicBezTo>
                      <a:pt x="44515" y="291295"/>
                      <a:pt x="48519" y="288626"/>
                      <a:pt x="52023" y="285956"/>
                    </a:cubicBezTo>
                    <a:lnTo>
                      <a:pt x="54693" y="283704"/>
                    </a:lnTo>
                    <a:cubicBezTo>
                      <a:pt x="61367" y="278865"/>
                      <a:pt x="68875" y="273526"/>
                      <a:pt x="72880" y="265101"/>
                    </a:cubicBezTo>
                    <a:cubicBezTo>
                      <a:pt x="75967" y="258427"/>
                      <a:pt x="76384" y="251837"/>
                      <a:pt x="77302" y="246498"/>
                    </a:cubicBezTo>
                    <a:cubicBezTo>
                      <a:pt x="78219" y="240325"/>
                      <a:pt x="78636" y="234986"/>
                      <a:pt x="81723" y="229230"/>
                    </a:cubicBezTo>
                    <a:cubicBezTo>
                      <a:pt x="87062" y="219053"/>
                      <a:pt x="107001" y="186686"/>
                      <a:pt x="131362" y="188938"/>
                    </a:cubicBezTo>
                    <a:cubicBezTo>
                      <a:pt x="135783" y="189355"/>
                      <a:pt x="139371" y="190273"/>
                      <a:pt x="142458" y="191191"/>
                    </a:cubicBezTo>
                    <a:cubicBezTo>
                      <a:pt x="155306" y="193860"/>
                      <a:pt x="163731" y="194277"/>
                      <a:pt x="176162" y="175257"/>
                    </a:cubicBezTo>
                    <a:cubicBezTo>
                      <a:pt x="185923" y="159741"/>
                      <a:pt x="187675" y="147311"/>
                      <a:pt x="189427" y="133631"/>
                    </a:cubicBezTo>
                    <a:cubicBezTo>
                      <a:pt x="190345" y="127457"/>
                      <a:pt x="191179" y="121201"/>
                      <a:pt x="192514" y="114610"/>
                    </a:cubicBezTo>
                    <a:cubicBezTo>
                      <a:pt x="193849" y="109772"/>
                      <a:pt x="196518" y="105768"/>
                      <a:pt x="199605" y="100846"/>
                    </a:cubicBezTo>
                    <a:cubicBezTo>
                      <a:pt x="203109" y="96008"/>
                      <a:pt x="206696" y="89751"/>
                      <a:pt x="208448" y="82660"/>
                    </a:cubicBezTo>
                    <a:cubicBezTo>
                      <a:pt x="209783" y="76487"/>
                      <a:pt x="208448" y="71148"/>
                      <a:pt x="207531" y="66310"/>
                    </a:cubicBezTo>
                    <a:cubicBezTo>
                      <a:pt x="206613" y="61889"/>
                      <a:pt x="205779" y="57884"/>
                      <a:pt x="206613" y="54798"/>
                    </a:cubicBezTo>
                    <a:cubicBezTo>
                      <a:pt x="207948" y="50794"/>
                      <a:pt x="211952" y="46790"/>
                      <a:pt x="216791" y="43286"/>
                    </a:cubicBezTo>
                    <a:cubicBezTo>
                      <a:pt x="220796" y="39782"/>
                      <a:pt x="224800" y="36195"/>
                      <a:pt x="227386" y="31774"/>
                    </a:cubicBezTo>
                    <a:cubicBezTo>
                      <a:pt x="230056" y="28270"/>
                      <a:pt x="231808" y="23766"/>
                      <a:pt x="233560" y="19845"/>
                    </a:cubicBezTo>
                    <a:cubicBezTo>
                      <a:pt x="234895" y="16341"/>
                      <a:pt x="236230" y="13171"/>
                      <a:pt x="237981" y="10085"/>
                    </a:cubicBezTo>
                    <a:cubicBezTo>
                      <a:pt x="246408" y="-2345"/>
                      <a:pt x="257921" y="-3179"/>
                      <a:pt x="280029" y="6998"/>
                    </a:cubicBezTo>
                    <a:cubicBezTo>
                      <a:pt x="310146" y="20762"/>
                      <a:pt x="334924" y="22097"/>
                      <a:pt x="363789" y="23348"/>
                    </a:cubicBezTo>
                    <a:cubicBezTo>
                      <a:pt x="386398" y="24683"/>
                      <a:pt x="394824" y="30439"/>
                      <a:pt x="412093" y="41951"/>
                    </a:cubicBezTo>
                    <a:lnTo>
                      <a:pt x="416515" y="45038"/>
                    </a:lnTo>
                    <a:cubicBezTo>
                      <a:pt x="436037" y="57884"/>
                      <a:pt x="470576" y="63223"/>
                      <a:pt x="491849" y="56550"/>
                    </a:cubicBezTo>
                    <a:cubicBezTo>
                      <a:pt x="496271" y="55215"/>
                      <a:pt x="500276" y="53463"/>
                      <a:pt x="504697" y="51711"/>
                    </a:cubicBezTo>
                    <a:cubicBezTo>
                      <a:pt x="520632" y="45538"/>
                      <a:pt x="530810" y="41951"/>
                      <a:pt x="540988" y="51711"/>
                    </a:cubicBezTo>
                    <a:cubicBezTo>
                      <a:pt x="543240" y="54381"/>
                      <a:pt x="545409" y="57884"/>
                      <a:pt x="547161" y="61472"/>
                    </a:cubicBezTo>
                    <a:cubicBezTo>
                      <a:pt x="550248" y="68145"/>
                      <a:pt x="554253" y="75236"/>
                      <a:pt x="562679" y="79157"/>
                    </a:cubicBezTo>
                    <a:cubicBezTo>
                      <a:pt x="569353" y="82660"/>
                      <a:pt x="575526" y="82243"/>
                      <a:pt x="581283" y="81826"/>
                    </a:cubicBezTo>
                    <a:cubicBezTo>
                      <a:pt x="584370" y="81409"/>
                      <a:pt x="586622" y="81409"/>
                      <a:pt x="589709" y="81826"/>
                    </a:cubicBezTo>
                    <a:cubicBezTo>
                      <a:pt x="596383" y="82744"/>
                      <a:pt x="602140" y="86247"/>
                      <a:pt x="608313" y="90252"/>
                    </a:cubicBezTo>
                    <a:cubicBezTo>
                      <a:pt x="617156" y="95591"/>
                      <a:pt x="626500" y="101764"/>
                      <a:pt x="639348" y="100846"/>
                    </a:cubicBezTo>
                    <a:cubicBezTo>
                      <a:pt x="662374" y="99511"/>
                      <a:pt x="676974" y="79157"/>
                      <a:pt x="690322" y="61889"/>
                    </a:cubicBezTo>
                    <a:cubicBezTo>
                      <a:pt x="696495" y="53880"/>
                      <a:pt x="701835" y="45955"/>
                      <a:pt x="707591" y="41034"/>
                    </a:cubicBezTo>
                    <a:cubicBezTo>
                      <a:pt x="718186" y="31273"/>
                      <a:pt x="727947" y="28604"/>
                      <a:pt x="739043" y="31273"/>
                    </a:cubicBezTo>
                    <a:cubicBezTo>
                      <a:pt x="748804" y="33943"/>
                      <a:pt x="754978" y="41451"/>
                      <a:pt x="761652" y="49459"/>
                    </a:cubicBezTo>
                    <a:cubicBezTo>
                      <a:pt x="768326" y="57467"/>
                      <a:pt x="775417" y="65392"/>
                      <a:pt x="786013" y="69397"/>
                    </a:cubicBezTo>
                    <a:cubicBezTo>
                      <a:pt x="794438" y="72483"/>
                      <a:pt x="803699" y="72066"/>
                      <a:pt x="812125" y="69814"/>
                    </a:cubicBezTo>
                    <a:cubicBezTo>
                      <a:pt x="824973" y="92003"/>
                      <a:pt x="837820" y="117614"/>
                      <a:pt x="839155" y="138886"/>
                    </a:cubicBezTo>
                    <a:cubicBezTo>
                      <a:pt x="839572" y="147311"/>
                      <a:pt x="834734" y="156571"/>
                      <a:pt x="829395" y="166331"/>
                    </a:cubicBezTo>
                    <a:cubicBezTo>
                      <a:pt x="820968" y="182682"/>
                      <a:pt x="809872" y="203120"/>
                      <a:pt x="827642" y="220805"/>
                    </a:cubicBezTo>
                    <a:cubicBezTo>
                      <a:pt x="847581" y="241159"/>
                      <a:pt x="883455" y="236321"/>
                      <a:pt x="912237" y="231900"/>
                    </a:cubicBezTo>
                    <a:cubicBezTo>
                      <a:pt x="919746" y="230982"/>
                      <a:pt x="926837" y="229647"/>
                      <a:pt x="933094" y="229230"/>
                    </a:cubicBezTo>
                    <a:cubicBezTo>
                      <a:pt x="948611" y="228313"/>
                      <a:pt x="1000837" y="226561"/>
                      <a:pt x="1022111" y="246498"/>
                    </a:cubicBezTo>
                    <a:cubicBezTo>
                      <a:pt x="1025197" y="249585"/>
                      <a:pt x="1026949" y="253172"/>
                      <a:pt x="1029202" y="256676"/>
                    </a:cubicBezTo>
                    <a:cubicBezTo>
                      <a:pt x="1032288" y="262432"/>
                      <a:pt x="1035876" y="269105"/>
                      <a:pt x="1043801" y="273944"/>
                    </a:cubicBezTo>
                    <a:cubicBezTo>
                      <a:pt x="1048223" y="276196"/>
                      <a:pt x="1051810" y="277447"/>
                      <a:pt x="1055314" y="278782"/>
                    </a:cubicBezTo>
                    <a:cubicBezTo>
                      <a:pt x="1061988" y="281034"/>
                      <a:pt x="1065492" y="282286"/>
                      <a:pt x="1069080" y="288959"/>
                    </a:cubicBezTo>
                    <a:cubicBezTo>
                      <a:pt x="1072167" y="295633"/>
                      <a:pt x="1073501" y="302724"/>
                      <a:pt x="1074836" y="309814"/>
                    </a:cubicBezTo>
                    <a:cubicBezTo>
                      <a:pt x="1077923" y="326665"/>
                      <a:pt x="1082845" y="347437"/>
                      <a:pt x="1115131" y="345268"/>
                    </a:cubicBezTo>
                    <a:lnTo>
                      <a:pt x="1121305" y="344851"/>
                    </a:lnTo>
                    <a:cubicBezTo>
                      <a:pt x="1133735" y="343933"/>
                      <a:pt x="1140827" y="343516"/>
                      <a:pt x="1147918" y="350190"/>
                    </a:cubicBezTo>
                    <a:cubicBezTo>
                      <a:pt x="1154592" y="356363"/>
                      <a:pt x="1156761" y="368793"/>
                      <a:pt x="1153257" y="377636"/>
                    </a:cubicBezTo>
                    <a:cubicBezTo>
                      <a:pt x="1151005" y="383391"/>
                      <a:pt x="1145248" y="386478"/>
                      <a:pt x="1139075" y="390482"/>
                    </a:cubicBezTo>
                    <a:cubicBezTo>
                      <a:pt x="1134653" y="393151"/>
                      <a:pt x="1130231" y="395821"/>
                      <a:pt x="1126227" y="399325"/>
                    </a:cubicBezTo>
                    <a:cubicBezTo>
                      <a:pt x="1112462" y="412172"/>
                      <a:pt x="1101866" y="429022"/>
                      <a:pt x="1096527" y="437865"/>
                    </a:cubicBezTo>
                    <a:cubicBezTo>
                      <a:pt x="1083262" y="459971"/>
                      <a:pt x="1083679" y="490170"/>
                      <a:pt x="1096944" y="517114"/>
                    </a:cubicBezTo>
                    <a:cubicBezTo>
                      <a:pt x="1104453" y="531713"/>
                      <a:pt x="1115131" y="541056"/>
                      <a:pt x="1130649" y="546812"/>
                    </a:cubicBezTo>
                    <a:cubicBezTo>
                      <a:pt x="1135070" y="548147"/>
                      <a:pt x="1139992" y="550316"/>
                      <a:pt x="1144831" y="552151"/>
                    </a:cubicBezTo>
                    <a:cubicBezTo>
                      <a:pt x="1155426" y="556573"/>
                      <a:pt x="1166939" y="561494"/>
                      <a:pt x="1177618" y="562746"/>
                    </a:cubicBezTo>
                    <a:cubicBezTo>
                      <a:pt x="1182040" y="563163"/>
                      <a:pt x="1186461" y="563163"/>
                      <a:pt x="1190883" y="563163"/>
                    </a:cubicBezTo>
                    <a:cubicBezTo>
                      <a:pt x="1201061" y="562746"/>
                      <a:pt x="1207235" y="562245"/>
                      <a:pt x="1211239" y="568001"/>
                    </a:cubicBezTo>
                    <a:cubicBezTo>
                      <a:pt x="1214743" y="572840"/>
                      <a:pt x="1212157" y="580848"/>
                      <a:pt x="1208570" y="587938"/>
                    </a:cubicBezTo>
                    <a:cubicBezTo>
                      <a:pt x="1201895" y="603037"/>
                      <a:pt x="1190382" y="616718"/>
                      <a:pt x="1179370" y="629983"/>
                    </a:cubicBezTo>
                    <a:cubicBezTo>
                      <a:pt x="1173196" y="637073"/>
                      <a:pt x="1167440" y="644581"/>
                      <a:pt x="1162101" y="652089"/>
                    </a:cubicBezTo>
                    <a:cubicBezTo>
                      <a:pt x="1160349" y="654758"/>
                      <a:pt x="1157679" y="657428"/>
                      <a:pt x="1155426" y="660514"/>
                    </a:cubicBezTo>
                    <a:cubicBezTo>
                      <a:pt x="1146583" y="670692"/>
                      <a:pt x="1135488" y="683538"/>
                      <a:pt x="1136822" y="696802"/>
                    </a:cubicBezTo>
                    <a:cubicBezTo>
                      <a:pt x="1137240" y="702976"/>
                      <a:pt x="1140326" y="706562"/>
                      <a:pt x="1142579" y="709232"/>
                    </a:cubicBezTo>
                    <a:cubicBezTo>
                      <a:pt x="1143914" y="710566"/>
                      <a:pt x="1144831" y="711901"/>
                      <a:pt x="1144831" y="712735"/>
                    </a:cubicBezTo>
                    <a:cubicBezTo>
                      <a:pt x="1145248" y="715405"/>
                      <a:pt x="1145248" y="715405"/>
                      <a:pt x="1143914" y="717574"/>
                    </a:cubicBezTo>
                    <a:cubicBezTo>
                      <a:pt x="1142996" y="718908"/>
                      <a:pt x="1141661" y="721078"/>
                      <a:pt x="1140827" y="723747"/>
                    </a:cubicBezTo>
                    <a:cubicBezTo>
                      <a:pt x="1139492" y="727751"/>
                      <a:pt x="1138157" y="731756"/>
                      <a:pt x="1138157" y="735259"/>
                    </a:cubicBezTo>
                    <a:cubicBezTo>
                      <a:pt x="1123974" y="737929"/>
                      <a:pt x="1110710" y="744102"/>
                      <a:pt x="1100031" y="751609"/>
                    </a:cubicBezTo>
                    <a:cubicBezTo>
                      <a:pt x="1096944" y="753862"/>
                      <a:pt x="1093357" y="756948"/>
                      <a:pt x="1090270" y="759618"/>
                    </a:cubicBezTo>
                    <a:cubicBezTo>
                      <a:pt x="1085431" y="764039"/>
                      <a:pt x="1080926" y="768044"/>
                      <a:pt x="1076505" y="769795"/>
                    </a:cubicBezTo>
                    <a:cubicBezTo>
                      <a:pt x="1070748" y="771547"/>
                      <a:pt x="1065910" y="769378"/>
                      <a:pt x="1058318" y="766292"/>
                    </a:cubicBezTo>
                    <a:cubicBezTo>
                      <a:pt x="1052978" y="763622"/>
                      <a:pt x="1046387" y="760953"/>
                      <a:pt x="1039713" y="760536"/>
                    </a:cubicBezTo>
                    <a:cubicBezTo>
                      <a:pt x="1029535" y="760119"/>
                      <a:pt x="1021526" y="763622"/>
                      <a:pt x="1014018" y="766292"/>
                    </a:cubicBezTo>
                    <a:cubicBezTo>
                      <a:pt x="1005592" y="769795"/>
                      <a:pt x="998500" y="772965"/>
                      <a:pt x="989657" y="768961"/>
                    </a:cubicBezTo>
                    <a:cubicBezTo>
                      <a:pt x="986988" y="768044"/>
                      <a:pt x="985236" y="766709"/>
                      <a:pt x="983484" y="765874"/>
                    </a:cubicBezTo>
                    <a:cubicBezTo>
                      <a:pt x="976809" y="762788"/>
                      <a:pt x="972388" y="761036"/>
                      <a:pt x="961793" y="762788"/>
                    </a:cubicBezTo>
                    <a:cubicBezTo>
                      <a:pt x="956954" y="763705"/>
                      <a:pt x="954284" y="765457"/>
                      <a:pt x="952032" y="767209"/>
                    </a:cubicBezTo>
                    <a:cubicBezTo>
                      <a:pt x="950280" y="768544"/>
                      <a:pt x="949362" y="769461"/>
                      <a:pt x="947193" y="769461"/>
                    </a:cubicBezTo>
                    <a:cubicBezTo>
                      <a:pt x="946275" y="769879"/>
                      <a:pt x="944524" y="768544"/>
                      <a:pt x="943189" y="768127"/>
                    </a:cubicBezTo>
                    <a:cubicBezTo>
                      <a:pt x="940102" y="766792"/>
                      <a:pt x="935180" y="764623"/>
                      <a:pt x="929924" y="765457"/>
                    </a:cubicBezTo>
                    <a:cubicBezTo>
                      <a:pt x="915324" y="767709"/>
                      <a:pt x="905563" y="780557"/>
                      <a:pt x="896720" y="792068"/>
                    </a:cubicBezTo>
                    <a:cubicBezTo>
                      <a:pt x="892715" y="797407"/>
                      <a:pt x="888711" y="802663"/>
                      <a:pt x="884790" y="805833"/>
                    </a:cubicBezTo>
                    <a:cubicBezTo>
                      <a:pt x="875029" y="813841"/>
                      <a:pt x="864434" y="822183"/>
                      <a:pt x="853338" y="825353"/>
                    </a:cubicBezTo>
                    <a:cubicBezTo>
                      <a:pt x="846247" y="827606"/>
                      <a:pt x="838237" y="826688"/>
                      <a:pt x="830312" y="826688"/>
                    </a:cubicBezTo>
                    <a:cubicBezTo>
                      <a:pt x="821886" y="826271"/>
                      <a:pt x="813460" y="826271"/>
                      <a:pt x="804617" y="828023"/>
                    </a:cubicBezTo>
                    <a:cubicBezTo>
                      <a:pt x="796190" y="829775"/>
                      <a:pt x="788682" y="832861"/>
                      <a:pt x="781174" y="836448"/>
                    </a:cubicBezTo>
                    <a:cubicBezTo>
                      <a:pt x="778087" y="837783"/>
                      <a:pt x="775000" y="839118"/>
                      <a:pt x="771413" y="840452"/>
                    </a:cubicBezTo>
                    <a:cubicBezTo>
                      <a:pt x="770495" y="840869"/>
                      <a:pt x="769661" y="841370"/>
                      <a:pt x="768743" y="841370"/>
                    </a:cubicBezTo>
                    <a:cubicBezTo>
                      <a:pt x="765239" y="842705"/>
                      <a:pt x="761652" y="843622"/>
                      <a:pt x="757647" y="844039"/>
                    </a:cubicBezTo>
                    <a:cubicBezTo>
                      <a:pt x="754143" y="844456"/>
                      <a:pt x="749638" y="844957"/>
                      <a:pt x="746134" y="845374"/>
                    </a:cubicBezTo>
                    <a:cubicBezTo>
                      <a:pt x="741713" y="845791"/>
                      <a:pt x="737291" y="846292"/>
                      <a:pt x="732870" y="847126"/>
                    </a:cubicBezTo>
                    <a:cubicBezTo>
                      <a:pt x="717352" y="849796"/>
                      <a:pt x="707591" y="861725"/>
                      <a:pt x="698748" y="872402"/>
                    </a:cubicBezTo>
                    <a:cubicBezTo>
                      <a:pt x="690322" y="882580"/>
                      <a:pt x="682813" y="891422"/>
                      <a:pt x="672635" y="891005"/>
                    </a:cubicBezTo>
                    <a:cubicBezTo>
                      <a:pt x="668214" y="890588"/>
                      <a:pt x="665544" y="890088"/>
                      <a:pt x="664209" y="888336"/>
                    </a:cubicBezTo>
                    <a:cubicBezTo>
                      <a:pt x="659704" y="885332"/>
                      <a:pt x="661456" y="877324"/>
                      <a:pt x="662791" y="8702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561990873" name="Полилиния 400"/>
              <p:cNvSpPr/>
              <p:nvPr/>
            </p:nvSpPr>
            <p:spPr bwMode="auto">
              <a:xfrm>
                <a:off x="5493838" y="5980665"/>
                <a:ext cx="514665" cy="501507"/>
              </a:xfrm>
              <a:custGeom>
                <a:avLst/>
                <a:gdLst>
                  <a:gd name="connsiteX0" fmla="*/ 556365 w 577986"/>
                  <a:gd name="connsiteY0" fmla="*/ 442546 h 563209"/>
                  <a:gd name="connsiteX1" fmla="*/ 565709 w 577986"/>
                  <a:gd name="connsiteY1" fmla="*/ 466905 h 563209"/>
                  <a:gd name="connsiteX2" fmla="*/ 565709 w 577986"/>
                  <a:gd name="connsiteY2" fmla="*/ 467322 h 563209"/>
                  <a:gd name="connsiteX3" fmla="*/ 545353 w 577986"/>
                  <a:gd name="connsiteY3" fmla="*/ 485507 h 563209"/>
                  <a:gd name="connsiteX4" fmla="*/ 512149 w 577986"/>
                  <a:gd name="connsiteY4" fmla="*/ 492598 h 563209"/>
                  <a:gd name="connsiteX5" fmla="*/ 485536 w 577986"/>
                  <a:gd name="connsiteY5" fmla="*/ 497937 h 563209"/>
                  <a:gd name="connsiteX6" fmla="*/ 470019 w 577986"/>
                  <a:gd name="connsiteY6" fmla="*/ 501441 h 563209"/>
                  <a:gd name="connsiteX7" fmla="*/ 425302 w 577986"/>
                  <a:gd name="connsiteY7" fmla="*/ 515205 h 563209"/>
                  <a:gd name="connsiteX8" fmla="*/ 398689 w 577986"/>
                  <a:gd name="connsiteY8" fmla="*/ 534725 h 563209"/>
                  <a:gd name="connsiteX9" fmla="*/ 384506 w 577986"/>
                  <a:gd name="connsiteY9" fmla="*/ 546238 h 563209"/>
                  <a:gd name="connsiteX10" fmla="*/ 383172 w 577986"/>
                  <a:gd name="connsiteY10" fmla="*/ 547155 h 563209"/>
                  <a:gd name="connsiteX11" fmla="*/ 370741 w 577986"/>
                  <a:gd name="connsiteY11" fmla="*/ 554246 h 563209"/>
                  <a:gd name="connsiteX12" fmla="*/ 314928 w 577986"/>
                  <a:gd name="connsiteY12" fmla="*/ 558250 h 563209"/>
                  <a:gd name="connsiteX13" fmla="*/ 303833 w 577986"/>
                  <a:gd name="connsiteY13" fmla="*/ 550242 h 563209"/>
                  <a:gd name="connsiteX14" fmla="*/ 303416 w 577986"/>
                  <a:gd name="connsiteY14" fmla="*/ 549825 h 563209"/>
                  <a:gd name="connsiteX15" fmla="*/ 283894 w 577986"/>
                  <a:gd name="connsiteY15" fmla="*/ 510367 h 563209"/>
                  <a:gd name="connsiteX16" fmla="*/ 269711 w 577986"/>
                  <a:gd name="connsiteY16" fmla="*/ 476248 h 563209"/>
                  <a:gd name="connsiteX17" fmla="*/ 249772 w 577986"/>
                  <a:gd name="connsiteY17" fmla="*/ 460315 h 563209"/>
                  <a:gd name="connsiteX18" fmla="*/ 218737 w 577986"/>
                  <a:gd name="connsiteY18" fmla="*/ 473161 h 563209"/>
                  <a:gd name="connsiteX19" fmla="*/ 199716 w 577986"/>
                  <a:gd name="connsiteY19" fmla="*/ 485090 h 563209"/>
                  <a:gd name="connsiteX20" fmla="*/ 166929 w 577986"/>
                  <a:gd name="connsiteY20" fmla="*/ 477082 h 563209"/>
                  <a:gd name="connsiteX21" fmla="*/ 158503 w 577986"/>
                  <a:gd name="connsiteY21" fmla="*/ 473078 h 563209"/>
                  <a:gd name="connsiteX22" fmla="*/ 135060 w 577986"/>
                  <a:gd name="connsiteY22" fmla="*/ 466404 h 563209"/>
                  <a:gd name="connsiteX23" fmla="*/ 117374 w 577986"/>
                  <a:gd name="connsiteY23" fmla="*/ 461566 h 563209"/>
                  <a:gd name="connsiteX24" fmla="*/ 93931 w 577986"/>
                  <a:gd name="connsiteY24" fmla="*/ 431868 h 563209"/>
                  <a:gd name="connsiteX25" fmla="*/ 91678 w 577986"/>
                  <a:gd name="connsiteY25" fmla="*/ 427030 h 563209"/>
                  <a:gd name="connsiteX26" fmla="*/ 55804 w 577986"/>
                  <a:gd name="connsiteY26" fmla="*/ 382316 h 563209"/>
                  <a:gd name="connsiteX27" fmla="*/ 49631 w 577986"/>
                  <a:gd name="connsiteY27" fmla="*/ 377895 h 563209"/>
                  <a:gd name="connsiteX28" fmla="*/ 17762 w 577986"/>
                  <a:gd name="connsiteY28" fmla="*/ 346863 h 563209"/>
                  <a:gd name="connsiteX29" fmla="*/ 3162 w 577986"/>
                  <a:gd name="connsiteY29" fmla="*/ 315413 h 563209"/>
                  <a:gd name="connsiteX30" fmla="*/ 75 w 577986"/>
                  <a:gd name="connsiteY30" fmla="*/ 306987 h 563209"/>
                  <a:gd name="connsiteX31" fmla="*/ 8502 w 577986"/>
                  <a:gd name="connsiteY31" fmla="*/ 306570 h 563209"/>
                  <a:gd name="connsiteX32" fmla="*/ 42623 w 577986"/>
                  <a:gd name="connsiteY32" fmla="*/ 296393 h 563209"/>
                  <a:gd name="connsiteX33" fmla="*/ 51466 w 577986"/>
                  <a:gd name="connsiteY33" fmla="*/ 267196 h 563209"/>
                  <a:gd name="connsiteX34" fmla="*/ 36366 w 577986"/>
                  <a:gd name="connsiteY34" fmla="*/ 244172 h 563209"/>
                  <a:gd name="connsiteX35" fmla="*/ 19097 w 577986"/>
                  <a:gd name="connsiteY35" fmla="*/ 238416 h 563209"/>
                  <a:gd name="connsiteX36" fmla="*/ 2245 w 577986"/>
                  <a:gd name="connsiteY36" fmla="*/ 231325 h 563209"/>
                  <a:gd name="connsiteX37" fmla="*/ 493 w 577986"/>
                  <a:gd name="connsiteY37" fmla="*/ 222483 h 563209"/>
                  <a:gd name="connsiteX38" fmla="*/ 20014 w 577986"/>
                  <a:gd name="connsiteY38" fmla="*/ 207884 h 563209"/>
                  <a:gd name="connsiteX39" fmla="*/ 34614 w 577986"/>
                  <a:gd name="connsiteY39" fmla="*/ 205632 h 563209"/>
                  <a:gd name="connsiteX40" fmla="*/ 62979 w 577986"/>
                  <a:gd name="connsiteY40" fmla="*/ 196289 h 563209"/>
                  <a:gd name="connsiteX41" fmla="*/ 99270 w 577986"/>
                  <a:gd name="connsiteY41" fmla="*/ 182107 h 563209"/>
                  <a:gd name="connsiteX42" fmla="*/ 145322 w 577986"/>
                  <a:gd name="connsiteY42" fmla="*/ 160835 h 563209"/>
                  <a:gd name="connsiteX43" fmla="*/ 159087 w 577986"/>
                  <a:gd name="connsiteY43" fmla="*/ 150240 h 563209"/>
                  <a:gd name="connsiteX44" fmla="*/ 180778 w 577986"/>
                  <a:gd name="connsiteY44" fmla="*/ 131638 h 563209"/>
                  <a:gd name="connsiteX45" fmla="*/ 190956 w 577986"/>
                  <a:gd name="connsiteY45" fmla="*/ 112117 h 563209"/>
                  <a:gd name="connsiteX46" fmla="*/ 199799 w 577986"/>
                  <a:gd name="connsiteY46" fmla="*/ 94432 h 563209"/>
                  <a:gd name="connsiteX47" fmla="*/ 211730 w 577986"/>
                  <a:gd name="connsiteY47" fmla="*/ 92180 h 563209"/>
                  <a:gd name="connsiteX48" fmla="*/ 228081 w 577986"/>
                  <a:gd name="connsiteY48" fmla="*/ 101940 h 563209"/>
                  <a:gd name="connsiteX49" fmla="*/ 254194 w 577986"/>
                  <a:gd name="connsiteY49" fmla="*/ 92180 h 563209"/>
                  <a:gd name="connsiteX50" fmla="*/ 263954 w 577986"/>
                  <a:gd name="connsiteY50" fmla="*/ 86007 h 563209"/>
                  <a:gd name="connsiteX51" fmla="*/ 269711 w 577986"/>
                  <a:gd name="connsiteY51" fmla="*/ 83754 h 563209"/>
                  <a:gd name="connsiteX52" fmla="*/ 287397 w 577986"/>
                  <a:gd name="connsiteY52" fmla="*/ 58978 h 563209"/>
                  <a:gd name="connsiteX53" fmla="*/ 280723 w 577986"/>
                  <a:gd name="connsiteY53" fmla="*/ 37706 h 563209"/>
                  <a:gd name="connsiteX54" fmla="*/ 277220 w 577986"/>
                  <a:gd name="connsiteY54" fmla="*/ 20438 h 563209"/>
                  <a:gd name="connsiteX55" fmla="*/ 307753 w 577986"/>
                  <a:gd name="connsiteY55" fmla="*/ 2253 h 563209"/>
                  <a:gd name="connsiteX56" fmla="*/ 311258 w 577986"/>
                  <a:gd name="connsiteY56" fmla="*/ 1335 h 563209"/>
                  <a:gd name="connsiteX57" fmla="*/ 314762 w 577986"/>
                  <a:gd name="connsiteY57" fmla="*/ 0 h 563209"/>
                  <a:gd name="connsiteX58" fmla="*/ 349717 w 577986"/>
                  <a:gd name="connsiteY58" fmla="*/ 28780 h 563209"/>
                  <a:gd name="connsiteX59" fmla="*/ 378500 w 577986"/>
                  <a:gd name="connsiteY59" fmla="*/ 30532 h 563209"/>
                  <a:gd name="connsiteX60" fmla="*/ 393600 w 577986"/>
                  <a:gd name="connsiteY60" fmla="*/ 29614 h 563209"/>
                  <a:gd name="connsiteX61" fmla="*/ 423300 w 577986"/>
                  <a:gd name="connsiteY61" fmla="*/ 39375 h 563209"/>
                  <a:gd name="connsiteX62" fmla="*/ 434813 w 577986"/>
                  <a:gd name="connsiteY62" fmla="*/ 73076 h 563209"/>
                  <a:gd name="connsiteX63" fmla="*/ 430391 w 577986"/>
                  <a:gd name="connsiteY63" fmla="*/ 75746 h 563209"/>
                  <a:gd name="connsiteX64" fmla="*/ 386509 w 577986"/>
                  <a:gd name="connsiteY64" fmla="*/ 119125 h 563209"/>
                  <a:gd name="connsiteX65" fmla="*/ 387426 w 577986"/>
                  <a:gd name="connsiteY65" fmla="*/ 140397 h 563209"/>
                  <a:gd name="connsiteX66" fmla="*/ 388344 w 577986"/>
                  <a:gd name="connsiteY66" fmla="*/ 155913 h 563209"/>
                  <a:gd name="connsiteX67" fmla="*/ 387009 w 577986"/>
                  <a:gd name="connsiteY67" fmla="*/ 160751 h 563209"/>
                  <a:gd name="connsiteX68" fmla="*/ 391014 w 577986"/>
                  <a:gd name="connsiteY68" fmla="*/ 190449 h 563209"/>
                  <a:gd name="connsiteX69" fmla="*/ 434896 w 577986"/>
                  <a:gd name="connsiteY69" fmla="*/ 221899 h 563209"/>
                  <a:gd name="connsiteX70" fmla="*/ 437149 w 577986"/>
                  <a:gd name="connsiteY70" fmla="*/ 222316 h 563209"/>
                  <a:gd name="connsiteX71" fmla="*/ 458422 w 577986"/>
                  <a:gd name="connsiteY71" fmla="*/ 212973 h 563209"/>
                  <a:gd name="connsiteX72" fmla="*/ 468601 w 577986"/>
                  <a:gd name="connsiteY72" fmla="*/ 200543 h 563209"/>
                  <a:gd name="connsiteX73" fmla="*/ 477027 w 577986"/>
                  <a:gd name="connsiteY73" fmla="*/ 189949 h 563209"/>
                  <a:gd name="connsiteX74" fmla="*/ 485870 w 577986"/>
                  <a:gd name="connsiteY74" fmla="*/ 204547 h 563209"/>
                  <a:gd name="connsiteX75" fmla="*/ 493879 w 577986"/>
                  <a:gd name="connsiteY75" fmla="*/ 231575 h 563209"/>
                  <a:gd name="connsiteX76" fmla="*/ 505809 w 577986"/>
                  <a:gd name="connsiteY76" fmla="*/ 267863 h 563209"/>
                  <a:gd name="connsiteX77" fmla="*/ 547856 w 577986"/>
                  <a:gd name="connsiteY77" fmla="*/ 315246 h 563209"/>
                  <a:gd name="connsiteX78" fmla="*/ 553613 w 577986"/>
                  <a:gd name="connsiteY78" fmla="*/ 320085 h 563209"/>
                  <a:gd name="connsiteX79" fmla="*/ 577056 w 577986"/>
                  <a:gd name="connsiteY79" fmla="*/ 347113 h 563209"/>
                  <a:gd name="connsiteX80" fmla="*/ 577473 w 577986"/>
                  <a:gd name="connsiteY80" fmla="*/ 353786 h 563209"/>
                  <a:gd name="connsiteX81" fmla="*/ 559285 w 577986"/>
                  <a:gd name="connsiteY81" fmla="*/ 362629 h 563209"/>
                  <a:gd name="connsiteX82" fmla="*/ 533173 w 577986"/>
                  <a:gd name="connsiteY82" fmla="*/ 378980 h 563209"/>
                  <a:gd name="connsiteX83" fmla="*/ 535843 w 577986"/>
                  <a:gd name="connsiteY83" fmla="*/ 398917 h 563209"/>
                  <a:gd name="connsiteX84" fmla="*/ 548273 w 577986"/>
                  <a:gd name="connsiteY84" fmla="*/ 410429 h 563209"/>
                  <a:gd name="connsiteX85" fmla="*/ 555365 w 577986"/>
                  <a:gd name="connsiteY85" fmla="*/ 415768 h 563209"/>
                  <a:gd name="connsiteX86" fmla="*/ 557617 w 577986"/>
                  <a:gd name="connsiteY86" fmla="*/ 429949 h 563209"/>
                  <a:gd name="connsiteX87" fmla="*/ 556365 w 577986"/>
                  <a:gd name="connsiteY87" fmla="*/ 442546 h 563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577986" h="563209" extrusionOk="0">
                    <a:moveTo>
                      <a:pt x="556365" y="442546"/>
                    </a:moveTo>
                    <a:cubicBezTo>
                      <a:pt x="557700" y="451388"/>
                      <a:pt x="561705" y="459397"/>
                      <a:pt x="565709" y="466905"/>
                    </a:cubicBezTo>
                    <a:lnTo>
                      <a:pt x="565709" y="467322"/>
                    </a:lnTo>
                    <a:cubicBezTo>
                      <a:pt x="562205" y="476665"/>
                      <a:pt x="557283" y="481920"/>
                      <a:pt x="545353" y="485507"/>
                    </a:cubicBezTo>
                    <a:cubicBezTo>
                      <a:pt x="535175" y="488594"/>
                      <a:pt x="523662" y="490346"/>
                      <a:pt x="512149" y="492598"/>
                    </a:cubicBezTo>
                    <a:cubicBezTo>
                      <a:pt x="503306" y="493933"/>
                      <a:pt x="493962" y="495685"/>
                      <a:pt x="485536" y="497937"/>
                    </a:cubicBezTo>
                    <a:cubicBezTo>
                      <a:pt x="480197" y="499272"/>
                      <a:pt x="475358" y="500189"/>
                      <a:pt x="470019" y="501441"/>
                    </a:cubicBezTo>
                    <a:cubicBezTo>
                      <a:pt x="454919" y="504527"/>
                      <a:pt x="439485" y="507614"/>
                      <a:pt x="425302" y="515205"/>
                    </a:cubicBezTo>
                    <a:cubicBezTo>
                      <a:pt x="415541" y="520544"/>
                      <a:pt x="407115" y="527635"/>
                      <a:pt x="398689" y="534725"/>
                    </a:cubicBezTo>
                    <a:cubicBezTo>
                      <a:pt x="394267" y="538229"/>
                      <a:pt x="389345" y="542734"/>
                      <a:pt x="384506" y="546238"/>
                    </a:cubicBezTo>
                    <a:cubicBezTo>
                      <a:pt x="384089" y="546655"/>
                      <a:pt x="383589" y="547155"/>
                      <a:pt x="383172" y="547155"/>
                    </a:cubicBezTo>
                    <a:cubicBezTo>
                      <a:pt x="379668" y="549825"/>
                      <a:pt x="375163" y="552494"/>
                      <a:pt x="370741" y="554246"/>
                    </a:cubicBezTo>
                    <a:cubicBezTo>
                      <a:pt x="353054" y="563089"/>
                      <a:pt x="332198" y="567093"/>
                      <a:pt x="314928" y="558250"/>
                    </a:cubicBezTo>
                    <a:cubicBezTo>
                      <a:pt x="310924" y="555998"/>
                      <a:pt x="307420" y="553412"/>
                      <a:pt x="303833" y="550242"/>
                    </a:cubicBezTo>
                    <a:cubicBezTo>
                      <a:pt x="303416" y="549825"/>
                      <a:pt x="303416" y="549825"/>
                      <a:pt x="303416" y="549825"/>
                    </a:cubicBezTo>
                    <a:cubicBezTo>
                      <a:pt x="293237" y="539647"/>
                      <a:pt x="288816" y="525466"/>
                      <a:pt x="283894" y="510367"/>
                    </a:cubicBezTo>
                    <a:cubicBezTo>
                      <a:pt x="280390" y="498855"/>
                      <a:pt x="276802" y="486926"/>
                      <a:pt x="269711" y="476248"/>
                    </a:cubicBezTo>
                    <a:cubicBezTo>
                      <a:pt x="263537" y="466488"/>
                      <a:pt x="257280" y="461649"/>
                      <a:pt x="249772" y="460315"/>
                    </a:cubicBezTo>
                    <a:cubicBezTo>
                      <a:pt x="238259" y="458062"/>
                      <a:pt x="228498" y="466071"/>
                      <a:pt x="218737" y="473161"/>
                    </a:cubicBezTo>
                    <a:cubicBezTo>
                      <a:pt x="212564" y="478000"/>
                      <a:pt x="205890" y="483338"/>
                      <a:pt x="199716" y="485090"/>
                    </a:cubicBezTo>
                    <a:cubicBezTo>
                      <a:pt x="189121" y="487760"/>
                      <a:pt x="178442" y="482838"/>
                      <a:pt x="166929" y="477082"/>
                    </a:cubicBezTo>
                    <a:cubicBezTo>
                      <a:pt x="164259" y="475747"/>
                      <a:pt x="161173" y="474413"/>
                      <a:pt x="158503" y="473078"/>
                    </a:cubicBezTo>
                    <a:cubicBezTo>
                      <a:pt x="150494" y="469991"/>
                      <a:pt x="142568" y="468240"/>
                      <a:pt x="135060" y="466404"/>
                    </a:cubicBezTo>
                    <a:cubicBezTo>
                      <a:pt x="128886" y="465069"/>
                      <a:pt x="122629" y="463735"/>
                      <a:pt x="117374" y="461566"/>
                    </a:cubicBezTo>
                    <a:cubicBezTo>
                      <a:pt x="103608" y="456727"/>
                      <a:pt x="99687" y="446050"/>
                      <a:pt x="93931" y="431868"/>
                    </a:cubicBezTo>
                    <a:lnTo>
                      <a:pt x="91678" y="427030"/>
                    </a:lnTo>
                    <a:cubicBezTo>
                      <a:pt x="83669" y="408427"/>
                      <a:pt x="73491" y="395997"/>
                      <a:pt x="55804" y="382316"/>
                    </a:cubicBezTo>
                    <a:lnTo>
                      <a:pt x="49631" y="377895"/>
                    </a:lnTo>
                    <a:cubicBezTo>
                      <a:pt x="37200" y="368552"/>
                      <a:pt x="25688" y="360210"/>
                      <a:pt x="17762" y="346863"/>
                    </a:cubicBezTo>
                    <a:cubicBezTo>
                      <a:pt x="11588" y="337102"/>
                      <a:pt x="7584" y="326008"/>
                      <a:pt x="3162" y="315413"/>
                    </a:cubicBezTo>
                    <a:cubicBezTo>
                      <a:pt x="1828" y="312743"/>
                      <a:pt x="910" y="310074"/>
                      <a:pt x="75" y="306987"/>
                    </a:cubicBezTo>
                    <a:cubicBezTo>
                      <a:pt x="2745" y="306570"/>
                      <a:pt x="5415" y="306570"/>
                      <a:pt x="8502" y="306570"/>
                    </a:cubicBezTo>
                    <a:cubicBezTo>
                      <a:pt x="20014" y="306153"/>
                      <a:pt x="33279" y="306153"/>
                      <a:pt x="42623" y="296393"/>
                    </a:cubicBezTo>
                    <a:cubicBezTo>
                      <a:pt x="49714" y="288385"/>
                      <a:pt x="53219" y="277790"/>
                      <a:pt x="51466" y="267196"/>
                    </a:cubicBezTo>
                    <a:cubicBezTo>
                      <a:pt x="50132" y="257436"/>
                      <a:pt x="44375" y="249010"/>
                      <a:pt x="36366" y="244172"/>
                    </a:cubicBezTo>
                    <a:cubicBezTo>
                      <a:pt x="31027" y="241085"/>
                      <a:pt x="25271" y="239750"/>
                      <a:pt x="19097" y="238416"/>
                    </a:cubicBezTo>
                    <a:cubicBezTo>
                      <a:pt x="12005" y="237081"/>
                      <a:pt x="5331" y="235746"/>
                      <a:pt x="2245" y="231325"/>
                    </a:cubicBezTo>
                    <a:cubicBezTo>
                      <a:pt x="-842" y="227321"/>
                      <a:pt x="-8" y="224235"/>
                      <a:pt x="493" y="222483"/>
                    </a:cubicBezTo>
                    <a:cubicBezTo>
                      <a:pt x="2745" y="216310"/>
                      <a:pt x="12005" y="210053"/>
                      <a:pt x="20014" y="207884"/>
                    </a:cubicBezTo>
                    <a:cubicBezTo>
                      <a:pt x="25354" y="206549"/>
                      <a:pt x="30193" y="206132"/>
                      <a:pt x="34614" y="205632"/>
                    </a:cubicBezTo>
                    <a:cubicBezTo>
                      <a:pt x="43040" y="204714"/>
                      <a:pt x="52301" y="204297"/>
                      <a:pt x="62979" y="196289"/>
                    </a:cubicBezTo>
                    <a:cubicBezTo>
                      <a:pt x="73575" y="188781"/>
                      <a:pt x="86005" y="185694"/>
                      <a:pt x="99270" y="182107"/>
                    </a:cubicBezTo>
                    <a:cubicBezTo>
                      <a:pt x="115205" y="177686"/>
                      <a:pt x="131139" y="173682"/>
                      <a:pt x="145322" y="160835"/>
                    </a:cubicBezTo>
                    <a:cubicBezTo>
                      <a:pt x="148825" y="157331"/>
                      <a:pt x="153748" y="153744"/>
                      <a:pt x="159087" y="150240"/>
                    </a:cubicBezTo>
                    <a:cubicBezTo>
                      <a:pt x="167096" y="144484"/>
                      <a:pt x="175022" y="138311"/>
                      <a:pt x="180778" y="131638"/>
                    </a:cubicBezTo>
                    <a:cubicBezTo>
                      <a:pt x="185617" y="125881"/>
                      <a:pt x="187869" y="118791"/>
                      <a:pt x="190956" y="112117"/>
                    </a:cubicBezTo>
                    <a:cubicBezTo>
                      <a:pt x="193209" y="105443"/>
                      <a:pt x="195795" y="99270"/>
                      <a:pt x="199799" y="94432"/>
                    </a:cubicBezTo>
                    <a:cubicBezTo>
                      <a:pt x="206473" y="87759"/>
                      <a:pt x="206473" y="87759"/>
                      <a:pt x="211730" y="92180"/>
                    </a:cubicBezTo>
                    <a:cubicBezTo>
                      <a:pt x="215233" y="95683"/>
                      <a:pt x="220572" y="100605"/>
                      <a:pt x="228081" y="101940"/>
                    </a:cubicBezTo>
                    <a:cubicBezTo>
                      <a:pt x="238676" y="104192"/>
                      <a:pt x="247102" y="97518"/>
                      <a:pt x="254194" y="92180"/>
                    </a:cubicBezTo>
                    <a:cubicBezTo>
                      <a:pt x="257697" y="89510"/>
                      <a:pt x="260868" y="87341"/>
                      <a:pt x="263954" y="86007"/>
                    </a:cubicBezTo>
                    <a:cubicBezTo>
                      <a:pt x="266207" y="85089"/>
                      <a:pt x="267959" y="84672"/>
                      <a:pt x="269711" y="83754"/>
                    </a:cubicBezTo>
                    <a:cubicBezTo>
                      <a:pt x="280306" y="80668"/>
                      <a:pt x="287397" y="77080"/>
                      <a:pt x="287397" y="58978"/>
                    </a:cubicBezTo>
                    <a:cubicBezTo>
                      <a:pt x="287397" y="50553"/>
                      <a:pt x="283894" y="43462"/>
                      <a:pt x="280723" y="37706"/>
                    </a:cubicBezTo>
                    <a:cubicBezTo>
                      <a:pt x="277220" y="30615"/>
                      <a:pt x="275384" y="25777"/>
                      <a:pt x="277220" y="20438"/>
                    </a:cubicBezTo>
                    <a:cubicBezTo>
                      <a:pt x="280306" y="9844"/>
                      <a:pt x="291819" y="6257"/>
                      <a:pt x="307753" y="2253"/>
                    </a:cubicBezTo>
                    <a:lnTo>
                      <a:pt x="311258" y="1335"/>
                    </a:lnTo>
                    <a:cubicBezTo>
                      <a:pt x="312592" y="918"/>
                      <a:pt x="313927" y="417"/>
                      <a:pt x="314762" y="0"/>
                    </a:cubicBezTo>
                    <a:cubicBezTo>
                      <a:pt x="323605" y="12847"/>
                      <a:pt x="335618" y="23441"/>
                      <a:pt x="349717" y="28780"/>
                    </a:cubicBezTo>
                    <a:cubicBezTo>
                      <a:pt x="360813" y="33202"/>
                      <a:pt x="370073" y="31450"/>
                      <a:pt x="378500" y="30532"/>
                    </a:cubicBezTo>
                    <a:cubicBezTo>
                      <a:pt x="383338" y="29614"/>
                      <a:pt x="388678" y="29197"/>
                      <a:pt x="393600" y="29614"/>
                    </a:cubicBezTo>
                    <a:cubicBezTo>
                      <a:pt x="402443" y="30532"/>
                      <a:pt x="416625" y="34953"/>
                      <a:pt x="423300" y="39375"/>
                    </a:cubicBezTo>
                    <a:cubicBezTo>
                      <a:pt x="432143" y="44713"/>
                      <a:pt x="434396" y="58394"/>
                      <a:pt x="434813" y="73076"/>
                    </a:cubicBezTo>
                    <a:cubicBezTo>
                      <a:pt x="433478" y="73994"/>
                      <a:pt x="431726" y="74828"/>
                      <a:pt x="430391" y="75746"/>
                    </a:cubicBezTo>
                    <a:cubicBezTo>
                      <a:pt x="412204" y="85506"/>
                      <a:pt x="391848" y="96101"/>
                      <a:pt x="386509" y="119125"/>
                    </a:cubicBezTo>
                    <a:cubicBezTo>
                      <a:pt x="384757" y="127133"/>
                      <a:pt x="386092" y="133723"/>
                      <a:pt x="387426" y="140397"/>
                    </a:cubicBezTo>
                    <a:cubicBezTo>
                      <a:pt x="388344" y="145736"/>
                      <a:pt x="389679" y="150574"/>
                      <a:pt x="388344" y="155913"/>
                    </a:cubicBezTo>
                    <a:lnTo>
                      <a:pt x="387009" y="160751"/>
                    </a:lnTo>
                    <a:cubicBezTo>
                      <a:pt x="384340" y="170094"/>
                      <a:pt x="382170" y="178937"/>
                      <a:pt x="391014" y="190449"/>
                    </a:cubicBezTo>
                    <a:cubicBezTo>
                      <a:pt x="406948" y="210804"/>
                      <a:pt x="421131" y="220981"/>
                      <a:pt x="434896" y="221899"/>
                    </a:cubicBezTo>
                    <a:cubicBezTo>
                      <a:pt x="435814" y="221899"/>
                      <a:pt x="436231" y="222316"/>
                      <a:pt x="437149" y="222316"/>
                    </a:cubicBezTo>
                    <a:cubicBezTo>
                      <a:pt x="444657" y="222316"/>
                      <a:pt x="451748" y="219229"/>
                      <a:pt x="458422" y="212973"/>
                    </a:cubicBezTo>
                    <a:cubicBezTo>
                      <a:pt x="462427" y="209469"/>
                      <a:pt x="465514" y="204547"/>
                      <a:pt x="468601" y="200543"/>
                    </a:cubicBezTo>
                    <a:cubicBezTo>
                      <a:pt x="471270" y="197039"/>
                      <a:pt x="473439" y="193035"/>
                      <a:pt x="477027" y="189949"/>
                    </a:cubicBezTo>
                    <a:cubicBezTo>
                      <a:pt x="480113" y="194787"/>
                      <a:pt x="483701" y="199709"/>
                      <a:pt x="485870" y="204547"/>
                    </a:cubicBezTo>
                    <a:cubicBezTo>
                      <a:pt x="489374" y="212973"/>
                      <a:pt x="491627" y="222232"/>
                      <a:pt x="493879" y="231575"/>
                    </a:cubicBezTo>
                    <a:cubicBezTo>
                      <a:pt x="496549" y="243504"/>
                      <a:pt x="498718" y="255934"/>
                      <a:pt x="505809" y="267863"/>
                    </a:cubicBezTo>
                    <a:cubicBezTo>
                      <a:pt x="515987" y="286049"/>
                      <a:pt x="529752" y="299730"/>
                      <a:pt x="547856" y="315246"/>
                    </a:cubicBezTo>
                    <a:lnTo>
                      <a:pt x="553613" y="320085"/>
                    </a:lnTo>
                    <a:cubicBezTo>
                      <a:pt x="562957" y="328093"/>
                      <a:pt x="573551" y="336935"/>
                      <a:pt x="577056" y="347113"/>
                    </a:cubicBezTo>
                    <a:cubicBezTo>
                      <a:pt x="577973" y="350200"/>
                      <a:pt x="578390" y="352452"/>
                      <a:pt x="577473" y="353786"/>
                    </a:cubicBezTo>
                    <a:cubicBezTo>
                      <a:pt x="575220" y="357790"/>
                      <a:pt x="566877" y="360460"/>
                      <a:pt x="559285" y="362629"/>
                    </a:cubicBezTo>
                    <a:cubicBezTo>
                      <a:pt x="548190" y="365715"/>
                      <a:pt x="537177" y="369303"/>
                      <a:pt x="533173" y="378980"/>
                    </a:cubicBezTo>
                    <a:cubicBezTo>
                      <a:pt x="530503" y="384736"/>
                      <a:pt x="531838" y="391409"/>
                      <a:pt x="535843" y="398917"/>
                    </a:cubicBezTo>
                    <a:cubicBezTo>
                      <a:pt x="538929" y="404673"/>
                      <a:pt x="544269" y="407760"/>
                      <a:pt x="548273" y="410429"/>
                    </a:cubicBezTo>
                    <a:cubicBezTo>
                      <a:pt x="551360" y="412181"/>
                      <a:pt x="553613" y="413933"/>
                      <a:pt x="555365" y="415768"/>
                    </a:cubicBezTo>
                    <a:cubicBezTo>
                      <a:pt x="557617" y="419272"/>
                      <a:pt x="557617" y="424193"/>
                      <a:pt x="557617" y="429949"/>
                    </a:cubicBezTo>
                    <a:cubicBezTo>
                      <a:pt x="555531" y="435038"/>
                      <a:pt x="555531" y="439042"/>
                      <a:pt x="556365" y="4425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92926491" name="Полилиния 401"/>
              <p:cNvSpPr/>
              <p:nvPr/>
            </p:nvSpPr>
            <p:spPr bwMode="auto">
              <a:xfrm>
                <a:off x="5849097" y="5578059"/>
                <a:ext cx="345132" cy="589540"/>
              </a:xfrm>
              <a:custGeom>
                <a:avLst/>
                <a:gdLst>
                  <a:gd name="connsiteX0" fmla="*/ 3225 w 387596"/>
                  <a:gd name="connsiteY0" fmla="*/ 612557 h 662074"/>
                  <a:gd name="connsiteX1" fmla="*/ 2808 w 387596"/>
                  <a:gd name="connsiteY1" fmla="*/ 590868 h 662074"/>
                  <a:gd name="connsiteX2" fmla="*/ 1890 w 387596"/>
                  <a:gd name="connsiteY2" fmla="*/ 575351 h 662074"/>
                  <a:gd name="connsiteX3" fmla="*/ 36429 w 387596"/>
                  <a:gd name="connsiteY3" fmla="*/ 542567 h 662074"/>
                  <a:gd name="connsiteX4" fmla="*/ 38181 w 387596"/>
                  <a:gd name="connsiteY4" fmla="*/ 541650 h 662074"/>
                  <a:gd name="connsiteX5" fmla="*/ 50611 w 387596"/>
                  <a:gd name="connsiteY5" fmla="*/ 534976 h 662074"/>
                  <a:gd name="connsiteX6" fmla="*/ 65211 w 387596"/>
                  <a:gd name="connsiteY6" fmla="*/ 524381 h 662074"/>
                  <a:gd name="connsiteX7" fmla="*/ 78976 w 387596"/>
                  <a:gd name="connsiteY7" fmla="*/ 508865 h 662074"/>
                  <a:gd name="connsiteX8" fmla="*/ 90072 w 387596"/>
                  <a:gd name="connsiteY8" fmla="*/ 495601 h 662074"/>
                  <a:gd name="connsiteX9" fmla="*/ 119272 w 387596"/>
                  <a:gd name="connsiteY9" fmla="*/ 460648 h 662074"/>
                  <a:gd name="connsiteX10" fmla="*/ 126780 w 387596"/>
                  <a:gd name="connsiteY10" fmla="*/ 416769 h 662074"/>
                  <a:gd name="connsiteX11" fmla="*/ 117436 w 387596"/>
                  <a:gd name="connsiteY11" fmla="*/ 400418 h 662074"/>
                  <a:gd name="connsiteX12" fmla="*/ 110345 w 387596"/>
                  <a:gd name="connsiteY12" fmla="*/ 385319 h 662074"/>
                  <a:gd name="connsiteX13" fmla="*/ 111263 w 387596"/>
                  <a:gd name="connsiteY13" fmla="*/ 371138 h 662074"/>
                  <a:gd name="connsiteX14" fmla="*/ 108593 w 387596"/>
                  <a:gd name="connsiteY14" fmla="*/ 342358 h 662074"/>
                  <a:gd name="connsiteX15" fmla="*/ 104171 w 387596"/>
                  <a:gd name="connsiteY15" fmla="*/ 309157 h 662074"/>
                  <a:gd name="connsiteX16" fmla="*/ 114767 w 387596"/>
                  <a:gd name="connsiteY16" fmla="*/ 292806 h 662074"/>
                  <a:gd name="connsiteX17" fmla="*/ 124110 w 387596"/>
                  <a:gd name="connsiteY17" fmla="*/ 280376 h 662074"/>
                  <a:gd name="connsiteX18" fmla="*/ 125862 w 387596"/>
                  <a:gd name="connsiteY18" fmla="*/ 241836 h 662074"/>
                  <a:gd name="connsiteX19" fmla="*/ 123610 w 387596"/>
                  <a:gd name="connsiteY19" fmla="*/ 236497 h 662074"/>
                  <a:gd name="connsiteX20" fmla="*/ 128031 w 387596"/>
                  <a:gd name="connsiteY20" fmla="*/ 214391 h 662074"/>
                  <a:gd name="connsiteX21" fmla="*/ 116935 w 387596"/>
                  <a:gd name="connsiteY21" fmla="*/ 170094 h 662074"/>
                  <a:gd name="connsiteX22" fmla="*/ 100584 w 387596"/>
                  <a:gd name="connsiteY22" fmla="*/ 166090 h 662074"/>
                  <a:gd name="connsiteX23" fmla="*/ 78893 w 387596"/>
                  <a:gd name="connsiteY23" fmla="*/ 170511 h 662074"/>
                  <a:gd name="connsiteX24" fmla="*/ 75389 w 387596"/>
                  <a:gd name="connsiteY24" fmla="*/ 171846 h 662074"/>
                  <a:gd name="connsiteX25" fmla="*/ 66045 w 387596"/>
                  <a:gd name="connsiteY25" fmla="*/ 174099 h 662074"/>
                  <a:gd name="connsiteX26" fmla="*/ 65128 w 387596"/>
                  <a:gd name="connsiteY26" fmla="*/ 171429 h 662074"/>
                  <a:gd name="connsiteX27" fmla="*/ 71802 w 387596"/>
                  <a:gd name="connsiteY27" fmla="*/ 154161 h 662074"/>
                  <a:gd name="connsiteX28" fmla="*/ 78476 w 387596"/>
                  <a:gd name="connsiteY28" fmla="*/ 139563 h 662074"/>
                  <a:gd name="connsiteX29" fmla="*/ 82897 w 387596"/>
                  <a:gd name="connsiteY29" fmla="*/ 126716 h 662074"/>
                  <a:gd name="connsiteX30" fmla="*/ 89989 w 387596"/>
                  <a:gd name="connsiteY30" fmla="*/ 90845 h 662074"/>
                  <a:gd name="connsiteX31" fmla="*/ 80228 w 387596"/>
                  <a:gd name="connsiteY31" fmla="*/ 65152 h 662074"/>
                  <a:gd name="connsiteX32" fmla="*/ 73136 w 387596"/>
                  <a:gd name="connsiteY32" fmla="*/ 48300 h 662074"/>
                  <a:gd name="connsiteX33" fmla="*/ 74054 w 387596"/>
                  <a:gd name="connsiteY33" fmla="*/ 11512 h 662074"/>
                  <a:gd name="connsiteX34" fmla="*/ 82063 w 387596"/>
                  <a:gd name="connsiteY34" fmla="*/ 0 h 662074"/>
                  <a:gd name="connsiteX35" fmla="*/ 111263 w 387596"/>
                  <a:gd name="connsiteY35" fmla="*/ 38540 h 662074"/>
                  <a:gd name="connsiteX36" fmla="*/ 124110 w 387596"/>
                  <a:gd name="connsiteY36" fmla="*/ 55808 h 662074"/>
                  <a:gd name="connsiteX37" fmla="*/ 188349 w 387596"/>
                  <a:gd name="connsiteY37" fmla="*/ 67738 h 662074"/>
                  <a:gd name="connsiteX38" fmla="*/ 202531 w 387596"/>
                  <a:gd name="connsiteY38" fmla="*/ 63316 h 662074"/>
                  <a:gd name="connsiteX39" fmla="*/ 225974 w 387596"/>
                  <a:gd name="connsiteY39" fmla="*/ 63733 h 662074"/>
                  <a:gd name="connsiteX40" fmla="*/ 245496 w 387596"/>
                  <a:gd name="connsiteY40" fmla="*/ 65485 h 662074"/>
                  <a:gd name="connsiteX41" fmla="*/ 263183 w 387596"/>
                  <a:gd name="connsiteY41" fmla="*/ 61481 h 662074"/>
                  <a:gd name="connsiteX42" fmla="*/ 284040 w 387596"/>
                  <a:gd name="connsiteY42" fmla="*/ 59229 h 662074"/>
                  <a:gd name="connsiteX43" fmla="*/ 290714 w 387596"/>
                  <a:gd name="connsiteY43" fmla="*/ 93765 h 662074"/>
                  <a:gd name="connsiteX44" fmla="*/ 288962 w 387596"/>
                  <a:gd name="connsiteY44" fmla="*/ 111950 h 662074"/>
                  <a:gd name="connsiteX45" fmla="*/ 306648 w 387596"/>
                  <a:gd name="connsiteY45" fmla="*/ 144317 h 662074"/>
                  <a:gd name="connsiteX46" fmla="*/ 327922 w 387596"/>
                  <a:gd name="connsiteY46" fmla="*/ 178019 h 662074"/>
                  <a:gd name="connsiteX47" fmla="*/ 330592 w 387596"/>
                  <a:gd name="connsiteY47" fmla="*/ 183359 h 662074"/>
                  <a:gd name="connsiteX48" fmla="*/ 352283 w 387596"/>
                  <a:gd name="connsiteY48" fmla="*/ 220981 h 662074"/>
                  <a:gd name="connsiteX49" fmla="*/ 379313 w 387596"/>
                  <a:gd name="connsiteY49" fmla="*/ 272368 h 662074"/>
                  <a:gd name="connsiteX50" fmla="*/ 380231 w 387596"/>
                  <a:gd name="connsiteY50" fmla="*/ 351617 h 662074"/>
                  <a:gd name="connsiteX51" fmla="*/ 366048 w 387596"/>
                  <a:gd name="connsiteY51" fmla="*/ 365382 h 662074"/>
                  <a:gd name="connsiteX52" fmla="*/ 354118 w 387596"/>
                  <a:gd name="connsiteY52" fmla="*/ 375142 h 662074"/>
                  <a:gd name="connsiteX53" fmla="*/ 339518 w 387596"/>
                  <a:gd name="connsiteY53" fmla="*/ 408343 h 662074"/>
                  <a:gd name="connsiteX54" fmla="*/ 335097 w 387596"/>
                  <a:gd name="connsiteY54" fmla="*/ 423860 h 662074"/>
                  <a:gd name="connsiteX55" fmla="*/ 312488 w 387596"/>
                  <a:gd name="connsiteY55" fmla="*/ 453557 h 662074"/>
                  <a:gd name="connsiteX56" fmla="*/ 301392 w 387596"/>
                  <a:gd name="connsiteY56" fmla="*/ 457979 h 662074"/>
                  <a:gd name="connsiteX57" fmla="*/ 273945 w 387596"/>
                  <a:gd name="connsiteY57" fmla="*/ 478333 h 662074"/>
                  <a:gd name="connsiteX58" fmla="*/ 265936 w 387596"/>
                  <a:gd name="connsiteY58" fmla="*/ 492932 h 662074"/>
                  <a:gd name="connsiteX59" fmla="*/ 252170 w 387596"/>
                  <a:gd name="connsiteY59" fmla="*/ 515038 h 662074"/>
                  <a:gd name="connsiteX60" fmla="*/ 249084 w 387596"/>
                  <a:gd name="connsiteY60" fmla="*/ 518125 h 662074"/>
                  <a:gd name="connsiteX61" fmla="*/ 237154 w 387596"/>
                  <a:gd name="connsiteY61" fmla="*/ 526550 h 662074"/>
                  <a:gd name="connsiteX62" fmla="*/ 236736 w 387596"/>
                  <a:gd name="connsiteY62" fmla="*/ 526550 h 662074"/>
                  <a:gd name="connsiteX63" fmla="*/ 230980 w 387596"/>
                  <a:gd name="connsiteY63" fmla="*/ 529220 h 662074"/>
                  <a:gd name="connsiteX64" fmla="*/ 218132 w 387596"/>
                  <a:gd name="connsiteY64" fmla="*/ 535893 h 662074"/>
                  <a:gd name="connsiteX65" fmla="*/ 198611 w 387596"/>
                  <a:gd name="connsiteY65" fmla="*/ 574851 h 662074"/>
                  <a:gd name="connsiteX66" fmla="*/ 190602 w 387596"/>
                  <a:gd name="connsiteY66" fmla="*/ 600961 h 662074"/>
                  <a:gd name="connsiteX67" fmla="*/ 129032 w 387596"/>
                  <a:gd name="connsiteY67" fmla="*/ 620482 h 662074"/>
                  <a:gd name="connsiteX68" fmla="*/ 117937 w 387596"/>
                  <a:gd name="connsiteY68" fmla="*/ 620899 h 662074"/>
                  <a:gd name="connsiteX69" fmla="*/ 80728 w 387596"/>
                  <a:gd name="connsiteY69" fmla="*/ 625737 h 662074"/>
                  <a:gd name="connsiteX70" fmla="*/ 72719 w 387596"/>
                  <a:gd name="connsiteY70" fmla="*/ 629241 h 662074"/>
                  <a:gd name="connsiteX71" fmla="*/ 67881 w 387596"/>
                  <a:gd name="connsiteY71" fmla="*/ 632745 h 662074"/>
                  <a:gd name="connsiteX72" fmla="*/ 56785 w 387596"/>
                  <a:gd name="connsiteY72" fmla="*/ 646509 h 662074"/>
                  <a:gd name="connsiteX73" fmla="*/ 48776 w 387596"/>
                  <a:gd name="connsiteY73" fmla="*/ 656686 h 662074"/>
                  <a:gd name="connsiteX74" fmla="*/ 36345 w 387596"/>
                  <a:gd name="connsiteY74" fmla="*/ 662025 h 662074"/>
                  <a:gd name="connsiteX75" fmla="*/ 3141 w 387596"/>
                  <a:gd name="connsiteY75" fmla="*/ 635915 h 662074"/>
                  <a:gd name="connsiteX76" fmla="*/ 1806 w 387596"/>
                  <a:gd name="connsiteY76" fmla="*/ 618647 h 662074"/>
                  <a:gd name="connsiteX77" fmla="*/ 3225 w 387596"/>
                  <a:gd name="connsiteY77" fmla="*/ 612557 h 66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7596" h="662074" extrusionOk="0">
                    <a:moveTo>
                      <a:pt x="3225" y="612557"/>
                    </a:moveTo>
                    <a:cubicBezTo>
                      <a:pt x="5477" y="604549"/>
                      <a:pt x="4143" y="597041"/>
                      <a:pt x="2808" y="590868"/>
                    </a:cubicBezTo>
                    <a:cubicBezTo>
                      <a:pt x="1890" y="585528"/>
                      <a:pt x="555" y="580690"/>
                      <a:pt x="1890" y="575351"/>
                    </a:cubicBezTo>
                    <a:cubicBezTo>
                      <a:pt x="5394" y="559418"/>
                      <a:pt x="20494" y="550992"/>
                      <a:pt x="36429" y="542567"/>
                    </a:cubicBezTo>
                    <a:cubicBezTo>
                      <a:pt x="36846" y="542150"/>
                      <a:pt x="37763" y="541650"/>
                      <a:pt x="38181" y="541650"/>
                    </a:cubicBezTo>
                    <a:cubicBezTo>
                      <a:pt x="42602" y="539397"/>
                      <a:pt x="46607" y="537228"/>
                      <a:pt x="50611" y="534976"/>
                    </a:cubicBezTo>
                    <a:cubicBezTo>
                      <a:pt x="55951" y="531889"/>
                      <a:pt x="60789" y="528302"/>
                      <a:pt x="65211" y="524381"/>
                    </a:cubicBezTo>
                    <a:cubicBezTo>
                      <a:pt x="70550" y="519543"/>
                      <a:pt x="74972" y="514204"/>
                      <a:pt x="78976" y="508865"/>
                    </a:cubicBezTo>
                    <a:cubicBezTo>
                      <a:pt x="82480" y="504027"/>
                      <a:pt x="86067" y="499522"/>
                      <a:pt x="90072" y="495601"/>
                    </a:cubicBezTo>
                    <a:cubicBezTo>
                      <a:pt x="102002" y="485007"/>
                      <a:pt x="111763" y="475247"/>
                      <a:pt x="119272" y="460648"/>
                    </a:cubicBezTo>
                    <a:cubicBezTo>
                      <a:pt x="127698" y="443797"/>
                      <a:pt x="130367" y="429616"/>
                      <a:pt x="126780" y="416769"/>
                    </a:cubicBezTo>
                    <a:cubicBezTo>
                      <a:pt x="124527" y="410095"/>
                      <a:pt x="121024" y="404840"/>
                      <a:pt x="117436" y="400418"/>
                    </a:cubicBezTo>
                    <a:cubicBezTo>
                      <a:pt x="113932" y="395080"/>
                      <a:pt x="110762" y="390659"/>
                      <a:pt x="110345" y="385319"/>
                    </a:cubicBezTo>
                    <a:cubicBezTo>
                      <a:pt x="109928" y="379980"/>
                      <a:pt x="110762" y="375559"/>
                      <a:pt x="111263" y="371138"/>
                    </a:cubicBezTo>
                    <a:cubicBezTo>
                      <a:pt x="112597" y="363130"/>
                      <a:pt x="113932" y="354788"/>
                      <a:pt x="108593" y="342358"/>
                    </a:cubicBezTo>
                    <a:cubicBezTo>
                      <a:pt x="103754" y="329511"/>
                      <a:pt x="100167" y="321085"/>
                      <a:pt x="104171" y="309157"/>
                    </a:cubicBezTo>
                    <a:cubicBezTo>
                      <a:pt x="106424" y="302983"/>
                      <a:pt x="110345" y="298062"/>
                      <a:pt x="114767" y="292806"/>
                    </a:cubicBezTo>
                    <a:cubicBezTo>
                      <a:pt x="117853" y="288802"/>
                      <a:pt x="121441" y="284798"/>
                      <a:pt x="124110" y="280376"/>
                    </a:cubicBezTo>
                    <a:cubicBezTo>
                      <a:pt x="134288" y="263108"/>
                      <a:pt x="130784" y="254266"/>
                      <a:pt x="125862" y="241836"/>
                    </a:cubicBezTo>
                    <a:lnTo>
                      <a:pt x="123610" y="236497"/>
                    </a:lnTo>
                    <a:cubicBezTo>
                      <a:pt x="120940" y="229824"/>
                      <a:pt x="124527" y="222316"/>
                      <a:pt x="128031" y="214391"/>
                    </a:cubicBezTo>
                    <a:cubicBezTo>
                      <a:pt x="133788" y="201544"/>
                      <a:pt x="142214" y="182524"/>
                      <a:pt x="116935" y="170094"/>
                    </a:cubicBezTo>
                    <a:cubicBezTo>
                      <a:pt x="111179" y="167008"/>
                      <a:pt x="105840" y="166090"/>
                      <a:pt x="100584" y="166090"/>
                    </a:cubicBezTo>
                    <a:cubicBezTo>
                      <a:pt x="92575" y="166090"/>
                      <a:pt x="85484" y="168343"/>
                      <a:pt x="78893" y="170511"/>
                    </a:cubicBezTo>
                    <a:lnTo>
                      <a:pt x="75389" y="171846"/>
                    </a:lnTo>
                    <a:cubicBezTo>
                      <a:pt x="72719" y="172764"/>
                      <a:pt x="67380" y="174516"/>
                      <a:pt x="66045" y="174099"/>
                    </a:cubicBezTo>
                    <a:cubicBezTo>
                      <a:pt x="66045" y="174099"/>
                      <a:pt x="65628" y="173682"/>
                      <a:pt x="65128" y="171429"/>
                    </a:cubicBezTo>
                    <a:cubicBezTo>
                      <a:pt x="64210" y="167926"/>
                      <a:pt x="68631" y="159917"/>
                      <a:pt x="71802" y="154161"/>
                    </a:cubicBezTo>
                    <a:cubicBezTo>
                      <a:pt x="74888" y="149323"/>
                      <a:pt x="77141" y="143984"/>
                      <a:pt x="78476" y="139563"/>
                    </a:cubicBezTo>
                    <a:cubicBezTo>
                      <a:pt x="79393" y="136059"/>
                      <a:pt x="81145" y="131137"/>
                      <a:pt x="82897" y="126716"/>
                    </a:cubicBezTo>
                    <a:cubicBezTo>
                      <a:pt x="87319" y="115204"/>
                      <a:pt x="92241" y="102357"/>
                      <a:pt x="89989" y="90845"/>
                    </a:cubicBezTo>
                    <a:cubicBezTo>
                      <a:pt x="88654" y="82420"/>
                      <a:pt x="84649" y="73577"/>
                      <a:pt x="80228" y="65152"/>
                    </a:cubicBezTo>
                    <a:cubicBezTo>
                      <a:pt x="77558" y="58978"/>
                      <a:pt x="74888" y="53640"/>
                      <a:pt x="73136" y="48300"/>
                    </a:cubicBezTo>
                    <a:cubicBezTo>
                      <a:pt x="68298" y="32367"/>
                      <a:pt x="66462" y="23942"/>
                      <a:pt x="74054" y="11512"/>
                    </a:cubicBezTo>
                    <a:cubicBezTo>
                      <a:pt x="76724" y="7508"/>
                      <a:pt x="78893" y="3504"/>
                      <a:pt x="82063" y="0"/>
                    </a:cubicBezTo>
                    <a:cubicBezTo>
                      <a:pt x="91824" y="12430"/>
                      <a:pt x="101585" y="25277"/>
                      <a:pt x="111263" y="38540"/>
                    </a:cubicBezTo>
                    <a:lnTo>
                      <a:pt x="124110" y="55808"/>
                    </a:lnTo>
                    <a:cubicBezTo>
                      <a:pt x="144049" y="81919"/>
                      <a:pt x="167492" y="74411"/>
                      <a:pt x="188349" y="67738"/>
                    </a:cubicBezTo>
                    <a:cubicBezTo>
                      <a:pt x="193188" y="66403"/>
                      <a:pt x="198110" y="64651"/>
                      <a:pt x="202531" y="63316"/>
                    </a:cubicBezTo>
                    <a:cubicBezTo>
                      <a:pt x="210540" y="61064"/>
                      <a:pt x="217632" y="62399"/>
                      <a:pt x="225974" y="63733"/>
                    </a:cubicBezTo>
                    <a:cubicBezTo>
                      <a:pt x="232148" y="64651"/>
                      <a:pt x="238405" y="65986"/>
                      <a:pt x="245496" y="65485"/>
                    </a:cubicBezTo>
                    <a:cubicBezTo>
                      <a:pt x="251670" y="65068"/>
                      <a:pt x="257427" y="63233"/>
                      <a:pt x="263183" y="61481"/>
                    </a:cubicBezTo>
                    <a:cubicBezTo>
                      <a:pt x="271192" y="58811"/>
                      <a:pt x="277783" y="56642"/>
                      <a:pt x="284040" y="59229"/>
                    </a:cubicBezTo>
                    <a:cubicBezTo>
                      <a:pt x="294635" y="63650"/>
                      <a:pt x="293383" y="75579"/>
                      <a:pt x="290714" y="93765"/>
                    </a:cubicBezTo>
                    <a:cubicBezTo>
                      <a:pt x="289796" y="100438"/>
                      <a:pt x="288461" y="106195"/>
                      <a:pt x="288962" y="111950"/>
                    </a:cubicBezTo>
                    <a:cubicBezTo>
                      <a:pt x="289379" y="128801"/>
                      <a:pt x="297388" y="135892"/>
                      <a:pt x="306648" y="144317"/>
                    </a:cubicBezTo>
                    <a:cubicBezTo>
                      <a:pt x="316826" y="154078"/>
                      <a:pt x="322165" y="164255"/>
                      <a:pt x="327922" y="178019"/>
                    </a:cubicBezTo>
                    <a:lnTo>
                      <a:pt x="330592" y="183359"/>
                    </a:lnTo>
                    <a:cubicBezTo>
                      <a:pt x="336765" y="196622"/>
                      <a:pt x="344774" y="209052"/>
                      <a:pt x="352283" y="220981"/>
                    </a:cubicBezTo>
                    <a:cubicBezTo>
                      <a:pt x="362878" y="238249"/>
                      <a:pt x="372639" y="254182"/>
                      <a:pt x="379313" y="272368"/>
                    </a:cubicBezTo>
                    <a:cubicBezTo>
                      <a:pt x="385487" y="290971"/>
                      <a:pt x="393913" y="326425"/>
                      <a:pt x="380231" y="351617"/>
                    </a:cubicBezTo>
                    <a:cubicBezTo>
                      <a:pt x="376727" y="357790"/>
                      <a:pt x="371804" y="361378"/>
                      <a:pt x="366048" y="365382"/>
                    </a:cubicBezTo>
                    <a:cubicBezTo>
                      <a:pt x="362544" y="368051"/>
                      <a:pt x="358039" y="370721"/>
                      <a:pt x="354118" y="375142"/>
                    </a:cubicBezTo>
                    <a:cubicBezTo>
                      <a:pt x="344774" y="384485"/>
                      <a:pt x="342188" y="397249"/>
                      <a:pt x="339518" y="408343"/>
                    </a:cubicBezTo>
                    <a:cubicBezTo>
                      <a:pt x="338184" y="413682"/>
                      <a:pt x="337266" y="419439"/>
                      <a:pt x="335097" y="423860"/>
                    </a:cubicBezTo>
                    <a:cubicBezTo>
                      <a:pt x="328923" y="439793"/>
                      <a:pt x="321832" y="449136"/>
                      <a:pt x="312488" y="453557"/>
                    </a:cubicBezTo>
                    <a:cubicBezTo>
                      <a:pt x="308984" y="455810"/>
                      <a:pt x="304980" y="456644"/>
                      <a:pt x="301392" y="457979"/>
                    </a:cubicBezTo>
                    <a:cubicBezTo>
                      <a:pt x="291632" y="461482"/>
                      <a:pt x="281870" y="465069"/>
                      <a:pt x="273945" y="478333"/>
                    </a:cubicBezTo>
                    <a:cubicBezTo>
                      <a:pt x="270858" y="483172"/>
                      <a:pt x="268606" y="488093"/>
                      <a:pt x="265936" y="492932"/>
                    </a:cubicBezTo>
                    <a:cubicBezTo>
                      <a:pt x="261514" y="500940"/>
                      <a:pt x="257927" y="508448"/>
                      <a:pt x="252170" y="515038"/>
                    </a:cubicBezTo>
                    <a:lnTo>
                      <a:pt x="249084" y="518125"/>
                    </a:lnTo>
                    <a:cubicBezTo>
                      <a:pt x="245580" y="521629"/>
                      <a:pt x="241075" y="524298"/>
                      <a:pt x="237154" y="526550"/>
                    </a:cubicBezTo>
                    <a:cubicBezTo>
                      <a:pt x="236736" y="526550"/>
                      <a:pt x="236736" y="526550"/>
                      <a:pt x="236736" y="526550"/>
                    </a:cubicBezTo>
                    <a:cubicBezTo>
                      <a:pt x="234484" y="527468"/>
                      <a:pt x="233233" y="528302"/>
                      <a:pt x="230980" y="529220"/>
                    </a:cubicBezTo>
                    <a:cubicBezTo>
                      <a:pt x="226559" y="530972"/>
                      <a:pt x="222554" y="533224"/>
                      <a:pt x="218132" y="535893"/>
                    </a:cubicBezTo>
                    <a:cubicBezTo>
                      <a:pt x="202198" y="545654"/>
                      <a:pt x="200446" y="561170"/>
                      <a:pt x="198611" y="574851"/>
                    </a:cubicBezTo>
                    <a:cubicBezTo>
                      <a:pt x="197693" y="584611"/>
                      <a:pt x="196358" y="593871"/>
                      <a:pt x="190602" y="600961"/>
                    </a:cubicBezTo>
                    <a:cubicBezTo>
                      <a:pt x="175084" y="619147"/>
                      <a:pt x="152976" y="619564"/>
                      <a:pt x="129032" y="620482"/>
                    </a:cubicBezTo>
                    <a:lnTo>
                      <a:pt x="117937" y="620899"/>
                    </a:lnTo>
                    <a:cubicBezTo>
                      <a:pt x="106424" y="621316"/>
                      <a:pt x="92659" y="621316"/>
                      <a:pt x="80728" y="625737"/>
                    </a:cubicBezTo>
                    <a:cubicBezTo>
                      <a:pt x="78059" y="626655"/>
                      <a:pt x="75389" y="627990"/>
                      <a:pt x="72719" y="629241"/>
                    </a:cubicBezTo>
                    <a:cubicBezTo>
                      <a:pt x="70968" y="630158"/>
                      <a:pt x="69633" y="631493"/>
                      <a:pt x="67881" y="632745"/>
                    </a:cubicBezTo>
                    <a:cubicBezTo>
                      <a:pt x="63042" y="637166"/>
                      <a:pt x="59454" y="642088"/>
                      <a:pt x="56785" y="646509"/>
                    </a:cubicBezTo>
                    <a:cubicBezTo>
                      <a:pt x="54115" y="650013"/>
                      <a:pt x="51946" y="654017"/>
                      <a:pt x="48776" y="656686"/>
                    </a:cubicBezTo>
                    <a:cubicBezTo>
                      <a:pt x="44771" y="660190"/>
                      <a:pt x="40350" y="662442"/>
                      <a:pt x="36345" y="662025"/>
                    </a:cubicBezTo>
                    <a:cubicBezTo>
                      <a:pt x="27502" y="661108"/>
                      <a:pt x="15989" y="652265"/>
                      <a:pt x="3141" y="635915"/>
                    </a:cubicBezTo>
                    <a:cubicBezTo>
                      <a:pt x="-1280" y="629741"/>
                      <a:pt x="-362" y="627072"/>
                      <a:pt x="1806" y="618647"/>
                    </a:cubicBezTo>
                    <a:lnTo>
                      <a:pt x="3225" y="61255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54911187" name="Полилиния 402"/>
              <p:cNvSpPr/>
              <p:nvPr/>
            </p:nvSpPr>
            <p:spPr bwMode="auto">
              <a:xfrm>
                <a:off x="5929153" y="5815787"/>
                <a:ext cx="899541" cy="564139"/>
              </a:xfrm>
              <a:custGeom>
                <a:avLst/>
                <a:gdLst>
                  <a:gd name="connsiteX0" fmla="*/ 1010215 w 1010215"/>
                  <a:gd name="connsiteY0" fmla="*/ 232129 h 633548"/>
                  <a:gd name="connsiteX1" fmla="*/ 1007546 w 1010215"/>
                  <a:gd name="connsiteY1" fmla="*/ 238803 h 633548"/>
                  <a:gd name="connsiteX2" fmla="*/ 1004460 w 1010215"/>
                  <a:gd name="connsiteY2" fmla="*/ 246811 h 633548"/>
                  <a:gd name="connsiteX3" fmla="*/ 988107 w 1010215"/>
                  <a:gd name="connsiteY3" fmla="*/ 268083 h 633548"/>
                  <a:gd name="connsiteX4" fmla="*/ 974342 w 1010215"/>
                  <a:gd name="connsiteY4" fmla="*/ 283600 h 633548"/>
                  <a:gd name="connsiteX5" fmla="*/ 958408 w 1010215"/>
                  <a:gd name="connsiteY5" fmla="*/ 318136 h 633548"/>
                  <a:gd name="connsiteX6" fmla="*/ 950399 w 1010215"/>
                  <a:gd name="connsiteY6" fmla="*/ 338991 h 633548"/>
                  <a:gd name="connsiteX7" fmla="*/ 945560 w 1010215"/>
                  <a:gd name="connsiteY7" fmla="*/ 347833 h 633548"/>
                  <a:gd name="connsiteX8" fmla="*/ 931794 w 1010215"/>
                  <a:gd name="connsiteY8" fmla="*/ 389877 h 633548"/>
                  <a:gd name="connsiteX9" fmla="*/ 959742 w 1010215"/>
                  <a:gd name="connsiteY9" fmla="*/ 463371 h 633548"/>
                  <a:gd name="connsiteX10" fmla="*/ 967251 w 1010215"/>
                  <a:gd name="connsiteY10" fmla="*/ 564393 h 633548"/>
                  <a:gd name="connsiteX11" fmla="*/ 885326 w 1010215"/>
                  <a:gd name="connsiteY11" fmla="*/ 613528 h 633548"/>
                  <a:gd name="connsiteX12" fmla="*/ 835270 w 1010215"/>
                  <a:gd name="connsiteY12" fmla="*/ 600681 h 633548"/>
                  <a:gd name="connsiteX13" fmla="*/ 775452 w 1010215"/>
                  <a:gd name="connsiteY13" fmla="*/ 586083 h 633548"/>
                  <a:gd name="connsiteX14" fmla="*/ 720975 w 1010215"/>
                  <a:gd name="connsiteY14" fmla="*/ 590087 h 633548"/>
                  <a:gd name="connsiteX15" fmla="*/ 658989 w 1010215"/>
                  <a:gd name="connsiteY15" fmla="*/ 592339 h 633548"/>
                  <a:gd name="connsiteX16" fmla="*/ 636380 w 1010215"/>
                  <a:gd name="connsiteY16" fmla="*/ 590087 h 633548"/>
                  <a:gd name="connsiteX17" fmla="*/ 583237 w 1010215"/>
                  <a:gd name="connsiteY17" fmla="*/ 561724 h 633548"/>
                  <a:gd name="connsiteX18" fmla="*/ 580567 w 1010215"/>
                  <a:gd name="connsiteY18" fmla="*/ 553298 h 633548"/>
                  <a:gd name="connsiteX19" fmla="*/ 522503 w 1010215"/>
                  <a:gd name="connsiteY19" fmla="*/ 498408 h 633548"/>
                  <a:gd name="connsiteX20" fmla="*/ 493720 w 1010215"/>
                  <a:gd name="connsiteY20" fmla="*/ 500660 h 633548"/>
                  <a:gd name="connsiteX21" fmla="*/ 464020 w 1010215"/>
                  <a:gd name="connsiteY21" fmla="*/ 502412 h 633548"/>
                  <a:gd name="connsiteX22" fmla="*/ 426395 w 1010215"/>
                  <a:gd name="connsiteY22" fmla="*/ 488648 h 633548"/>
                  <a:gd name="connsiteX23" fmla="*/ 424142 w 1010215"/>
                  <a:gd name="connsiteY23" fmla="*/ 487730 h 633548"/>
                  <a:gd name="connsiteX24" fmla="*/ 386517 w 1010215"/>
                  <a:gd name="connsiteY24" fmla="*/ 476218 h 633548"/>
                  <a:gd name="connsiteX25" fmla="*/ 357735 w 1010215"/>
                  <a:gd name="connsiteY25" fmla="*/ 485978 h 633548"/>
                  <a:gd name="connsiteX26" fmla="*/ 339130 w 1010215"/>
                  <a:gd name="connsiteY26" fmla="*/ 493069 h 633548"/>
                  <a:gd name="connsiteX27" fmla="*/ 323195 w 1010215"/>
                  <a:gd name="connsiteY27" fmla="*/ 492652 h 633548"/>
                  <a:gd name="connsiteX28" fmla="*/ 288240 w 1010215"/>
                  <a:gd name="connsiteY28" fmla="*/ 501494 h 633548"/>
                  <a:gd name="connsiteX29" fmla="*/ 277144 w 1010215"/>
                  <a:gd name="connsiteY29" fmla="*/ 513423 h 633548"/>
                  <a:gd name="connsiteX30" fmla="*/ 259875 w 1010215"/>
                  <a:gd name="connsiteY30" fmla="*/ 529357 h 633548"/>
                  <a:gd name="connsiteX31" fmla="*/ 232844 w 1010215"/>
                  <a:gd name="connsiteY31" fmla="*/ 538700 h 633548"/>
                  <a:gd name="connsiteX32" fmla="*/ 207566 w 1010215"/>
                  <a:gd name="connsiteY32" fmla="*/ 547125 h 633548"/>
                  <a:gd name="connsiteX33" fmla="*/ 162849 w 1010215"/>
                  <a:gd name="connsiteY33" fmla="*/ 572402 h 633548"/>
                  <a:gd name="connsiteX34" fmla="*/ 156175 w 1010215"/>
                  <a:gd name="connsiteY34" fmla="*/ 576406 h 633548"/>
                  <a:gd name="connsiteX35" fmla="*/ 135318 w 1010215"/>
                  <a:gd name="connsiteY35" fmla="*/ 587501 h 633548"/>
                  <a:gd name="connsiteX36" fmla="*/ 83010 w 1010215"/>
                  <a:gd name="connsiteY36" fmla="*/ 633549 h 633548"/>
                  <a:gd name="connsiteX37" fmla="*/ 80757 w 1010215"/>
                  <a:gd name="connsiteY37" fmla="*/ 626041 h 633548"/>
                  <a:gd name="connsiteX38" fmla="*/ 80340 w 1010215"/>
                  <a:gd name="connsiteY38" fmla="*/ 617615 h 633548"/>
                  <a:gd name="connsiteX39" fmla="*/ 75918 w 1010215"/>
                  <a:gd name="connsiteY39" fmla="*/ 595509 h 633548"/>
                  <a:gd name="connsiteX40" fmla="*/ 64823 w 1010215"/>
                  <a:gd name="connsiteY40" fmla="*/ 585749 h 633548"/>
                  <a:gd name="connsiteX41" fmla="*/ 57732 w 1010215"/>
                  <a:gd name="connsiteY41" fmla="*/ 579576 h 633548"/>
                  <a:gd name="connsiteX42" fmla="*/ 55479 w 1010215"/>
                  <a:gd name="connsiteY42" fmla="*/ 571567 h 633548"/>
                  <a:gd name="connsiteX43" fmla="*/ 72748 w 1010215"/>
                  <a:gd name="connsiteY43" fmla="*/ 563559 h 633548"/>
                  <a:gd name="connsiteX44" fmla="*/ 99779 w 1010215"/>
                  <a:gd name="connsiteY44" fmla="*/ 547626 h 633548"/>
                  <a:gd name="connsiteX45" fmla="*/ 100196 w 1010215"/>
                  <a:gd name="connsiteY45" fmla="*/ 529941 h 633548"/>
                  <a:gd name="connsiteX46" fmla="*/ 72248 w 1010215"/>
                  <a:gd name="connsiteY46" fmla="*/ 496739 h 633548"/>
                  <a:gd name="connsiteX47" fmla="*/ 66908 w 1010215"/>
                  <a:gd name="connsiteY47" fmla="*/ 492318 h 633548"/>
                  <a:gd name="connsiteX48" fmla="*/ 28365 w 1010215"/>
                  <a:gd name="connsiteY48" fmla="*/ 448439 h 633548"/>
                  <a:gd name="connsiteX49" fmla="*/ 17770 w 1010215"/>
                  <a:gd name="connsiteY49" fmla="*/ 416072 h 633548"/>
                  <a:gd name="connsiteX50" fmla="*/ 9344 w 1010215"/>
                  <a:gd name="connsiteY50" fmla="*/ 386374 h 633548"/>
                  <a:gd name="connsiteX51" fmla="*/ 0 w 1010215"/>
                  <a:gd name="connsiteY51" fmla="*/ 370858 h 633548"/>
                  <a:gd name="connsiteX52" fmla="*/ 28782 w 1010215"/>
                  <a:gd name="connsiteY52" fmla="*/ 368188 h 633548"/>
                  <a:gd name="connsiteX53" fmla="*/ 39878 w 1010215"/>
                  <a:gd name="connsiteY53" fmla="*/ 367771 h 633548"/>
                  <a:gd name="connsiteX54" fmla="*/ 111625 w 1010215"/>
                  <a:gd name="connsiteY54" fmla="*/ 343412 h 633548"/>
                  <a:gd name="connsiteX55" fmla="*/ 122721 w 1010215"/>
                  <a:gd name="connsiteY55" fmla="*/ 309711 h 633548"/>
                  <a:gd name="connsiteX56" fmla="*/ 135569 w 1010215"/>
                  <a:gd name="connsiteY56" fmla="*/ 281348 h 633548"/>
                  <a:gd name="connsiteX57" fmla="*/ 147082 w 1010215"/>
                  <a:gd name="connsiteY57" fmla="*/ 275174 h 633548"/>
                  <a:gd name="connsiteX58" fmla="*/ 157677 w 1010215"/>
                  <a:gd name="connsiteY58" fmla="*/ 269835 h 633548"/>
                  <a:gd name="connsiteX59" fmla="*/ 181120 w 1010215"/>
                  <a:gd name="connsiteY59" fmla="*/ 291942 h 633548"/>
                  <a:gd name="connsiteX60" fmla="*/ 231176 w 1010215"/>
                  <a:gd name="connsiteY60" fmla="*/ 310128 h 633548"/>
                  <a:gd name="connsiteX61" fmla="*/ 245776 w 1010215"/>
                  <a:gd name="connsiteY61" fmla="*/ 311045 h 633548"/>
                  <a:gd name="connsiteX62" fmla="*/ 294080 w 1010215"/>
                  <a:gd name="connsiteY62" fmla="*/ 322974 h 633548"/>
                  <a:gd name="connsiteX63" fmla="*/ 352562 w 1010215"/>
                  <a:gd name="connsiteY63" fmla="*/ 335404 h 633548"/>
                  <a:gd name="connsiteX64" fmla="*/ 387518 w 1010215"/>
                  <a:gd name="connsiteY64" fmla="*/ 328730 h 633548"/>
                  <a:gd name="connsiteX65" fmla="*/ 423808 w 1010215"/>
                  <a:gd name="connsiteY65" fmla="*/ 301285 h 633548"/>
                  <a:gd name="connsiteX66" fmla="*/ 436656 w 1010215"/>
                  <a:gd name="connsiteY66" fmla="*/ 288855 h 633548"/>
                  <a:gd name="connsiteX67" fmla="*/ 452591 w 1010215"/>
                  <a:gd name="connsiteY67" fmla="*/ 276926 h 633548"/>
                  <a:gd name="connsiteX68" fmla="*/ 484960 w 1010215"/>
                  <a:gd name="connsiteY68" fmla="*/ 245477 h 633548"/>
                  <a:gd name="connsiteX69" fmla="*/ 489799 w 1010215"/>
                  <a:gd name="connsiteY69" fmla="*/ 230878 h 633548"/>
                  <a:gd name="connsiteX70" fmla="*/ 494638 w 1010215"/>
                  <a:gd name="connsiteY70" fmla="*/ 216697 h 633548"/>
                  <a:gd name="connsiteX71" fmla="*/ 503064 w 1010215"/>
                  <a:gd name="connsiteY71" fmla="*/ 206936 h 633548"/>
                  <a:gd name="connsiteX72" fmla="*/ 512408 w 1010215"/>
                  <a:gd name="connsiteY72" fmla="*/ 196759 h 633548"/>
                  <a:gd name="connsiteX73" fmla="*/ 523003 w 1010215"/>
                  <a:gd name="connsiteY73" fmla="*/ 173318 h 633548"/>
                  <a:gd name="connsiteX74" fmla="*/ 537602 w 1010215"/>
                  <a:gd name="connsiteY74" fmla="*/ 148041 h 633548"/>
                  <a:gd name="connsiteX75" fmla="*/ 545111 w 1010215"/>
                  <a:gd name="connsiteY75" fmla="*/ 144037 h 633548"/>
                  <a:gd name="connsiteX76" fmla="*/ 563715 w 1010215"/>
                  <a:gd name="connsiteY76" fmla="*/ 128104 h 633548"/>
                  <a:gd name="connsiteX77" fmla="*/ 570389 w 1010215"/>
                  <a:gd name="connsiteY77" fmla="*/ 105998 h 633548"/>
                  <a:gd name="connsiteX78" fmla="*/ 571307 w 1010215"/>
                  <a:gd name="connsiteY78" fmla="*/ 100242 h 633548"/>
                  <a:gd name="connsiteX79" fmla="*/ 587241 w 1010215"/>
                  <a:gd name="connsiteY79" fmla="*/ 67040 h 633548"/>
                  <a:gd name="connsiteX80" fmla="*/ 615607 w 1010215"/>
                  <a:gd name="connsiteY80" fmla="*/ 59949 h 633548"/>
                  <a:gd name="connsiteX81" fmla="*/ 624450 w 1010215"/>
                  <a:gd name="connsiteY81" fmla="*/ 59032 h 633548"/>
                  <a:gd name="connsiteX82" fmla="*/ 666998 w 1010215"/>
                  <a:gd name="connsiteY82" fmla="*/ 43516 h 633548"/>
                  <a:gd name="connsiteX83" fmla="*/ 698867 w 1010215"/>
                  <a:gd name="connsiteY83" fmla="*/ 35090 h 633548"/>
                  <a:gd name="connsiteX84" fmla="*/ 721893 w 1010215"/>
                  <a:gd name="connsiteY84" fmla="*/ 30252 h 633548"/>
                  <a:gd name="connsiteX85" fmla="*/ 730318 w 1010215"/>
                  <a:gd name="connsiteY85" fmla="*/ 28917 h 633548"/>
                  <a:gd name="connsiteX86" fmla="*/ 746253 w 1010215"/>
                  <a:gd name="connsiteY86" fmla="*/ 25413 h 633548"/>
                  <a:gd name="connsiteX87" fmla="*/ 760018 w 1010215"/>
                  <a:gd name="connsiteY87" fmla="*/ 14318 h 633548"/>
                  <a:gd name="connsiteX88" fmla="*/ 764440 w 1010215"/>
                  <a:gd name="connsiteY88" fmla="*/ 9897 h 633548"/>
                  <a:gd name="connsiteX89" fmla="*/ 765358 w 1010215"/>
                  <a:gd name="connsiteY89" fmla="*/ 8980 h 633548"/>
                  <a:gd name="connsiteX90" fmla="*/ 776454 w 1010215"/>
                  <a:gd name="connsiteY90" fmla="*/ 1889 h 633548"/>
                  <a:gd name="connsiteX91" fmla="*/ 776871 w 1010215"/>
                  <a:gd name="connsiteY91" fmla="*/ 1889 h 633548"/>
                  <a:gd name="connsiteX92" fmla="*/ 834435 w 1010215"/>
                  <a:gd name="connsiteY92" fmla="*/ 20491 h 633548"/>
                  <a:gd name="connsiteX93" fmla="*/ 848201 w 1010215"/>
                  <a:gd name="connsiteY93" fmla="*/ 28917 h 633548"/>
                  <a:gd name="connsiteX94" fmla="*/ 876983 w 1010215"/>
                  <a:gd name="connsiteY94" fmla="*/ 43099 h 633548"/>
                  <a:gd name="connsiteX95" fmla="*/ 907517 w 1010215"/>
                  <a:gd name="connsiteY95" fmla="*/ 58198 h 633548"/>
                  <a:gd name="connsiteX96" fmla="*/ 969086 w 1010215"/>
                  <a:gd name="connsiteY96" fmla="*/ 69292 h 633548"/>
                  <a:gd name="connsiteX97" fmla="*/ 999620 w 1010215"/>
                  <a:gd name="connsiteY97" fmla="*/ 79887 h 633548"/>
                  <a:gd name="connsiteX98" fmla="*/ 1000955 w 1010215"/>
                  <a:gd name="connsiteY98" fmla="*/ 83891 h 633548"/>
                  <a:gd name="connsiteX99" fmla="*/ 983269 w 1010215"/>
                  <a:gd name="connsiteY99" fmla="*/ 110502 h 633548"/>
                  <a:gd name="connsiteX100" fmla="*/ 984186 w 1010215"/>
                  <a:gd name="connsiteY100" fmla="*/ 122432 h 633548"/>
                  <a:gd name="connsiteX101" fmla="*/ 985104 w 1010215"/>
                  <a:gd name="connsiteY101" fmla="*/ 131274 h 633548"/>
                  <a:gd name="connsiteX102" fmla="*/ 979765 w 1010215"/>
                  <a:gd name="connsiteY102" fmla="*/ 145038 h 633548"/>
                  <a:gd name="connsiteX103" fmla="*/ 976261 w 1010215"/>
                  <a:gd name="connsiteY103" fmla="*/ 152129 h 633548"/>
                  <a:gd name="connsiteX104" fmla="*/ 979348 w 1010215"/>
                  <a:gd name="connsiteY104" fmla="*/ 200847 h 633548"/>
                  <a:gd name="connsiteX105" fmla="*/ 1010215 w 1010215"/>
                  <a:gd name="connsiteY105" fmla="*/ 232129 h 633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1010215" h="633548" extrusionOk="0">
                    <a:moveTo>
                      <a:pt x="1010215" y="232129"/>
                    </a:moveTo>
                    <a:cubicBezTo>
                      <a:pt x="1009298" y="234382"/>
                      <a:pt x="1008464" y="236551"/>
                      <a:pt x="1007546" y="238803"/>
                    </a:cubicBezTo>
                    <a:cubicBezTo>
                      <a:pt x="1006628" y="241472"/>
                      <a:pt x="1005294" y="244142"/>
                      <a:pt x="1004460" y="246811"/>
                    </a:cubicBezTo>
                    <a:cubicBezTo>
                      <a:pt x="1000454" y="255237"/>
                      <a:pt x="994281" y="261410"/>
                      <a:pt x="988107" y="268083"/>
                    </a:cubicBezTo>
                    <a:cubicBezTo>
                      <a:pt x="983686" y="272922"/>
                      <a:pt x="978763" y="277844"/>
                      <a:pt x="974342" y="283600"/>
                    </a:cubicBezTo>
                    <a:cubicBezTo>
                      <a:pt x="966333" y="294194"/>
                      <a:pt x="962412" y="306624"/>
                      <a:pt x="958408" y="318136"/>
                    </a:cubicBezTo>
                    <a:cubicBezTo>
                      <a:pt x="955738" y="325226"/>
                      <a:pt x="953569" y="332317"/>
                      <a:pt x="950399" y="338991"/>
                    </a:cubicBezTo>
                    <a:cubicBezTo>
                      <a:pt x="949064" y="342078"/>
                      <a:pt x="947312" y="345164"/>
                      <a:pt x="945560" y="347833"/>
                    </a:cubicBezTo>
                    <a:cubicBezTo>
                      <a:pt x="938886" y="360680"/>
                      <a:pt x="931794" y="373944"/>
                      <a:pt x="931794" y="389877"/>
                    </a:cubicBezTo>
                    <a:cubicBezTo>
                      <a:pt x="931794" y="415988"/>
                      <a:pt x="945977" y="439930"/>
                      <a:pt x="959742" y="463371"/>
                    </a:cubicBezTo>
                    <a:cubicBezTo>
                      <a:pt x="981016" y="499659"/>
                      <a:pt x="999620" y="531109"/>
                      <a:pt x="967251" y="564393"/>
                    </a:cubicBezTo>
                    <a:cubicBezTo>
                      <a:pt x="948229" y="584331"/>
                      <a:pt x="916277" y="617115"/>
                      <a:pt x="885326" y="613528"/>
                    </a:cubicBezTo>
                    <a:cubicBezTo>
                      <a:pt x="868056" y="611776"/>
                      <a:pt x="852122" y="606437"/>
                      <a:pt x="835270" y="600681"/>
                    </a:cubicBezTo>
                    <a:cubicBezTo>
                      <a:pt x="816665" y="594008"/>
                      <a:pt x="796726" y="587417"/>
                      <a:pt x="775452" y="586083"/>
                    </a:cubicBezTo>
                    <a:cubicBezTo>
                      <a:pt x="756848" y="584748"/>
                      <a:pt x="738661" y="587417"/>
                      <a:pt x="720975" y="590087"/>
                    </a:cubicBezTo>
                    <a:cubicBezTo>
                      <a:pt x="699701" y="593173"/>
                      <a:pt x="679762" y="596260"/>
                      <a:pt x="658989" y="592339"/>
                    </a:cubicBezTo>
                    <a:cubicBezTo>
                      <a:pt x="651480" y="591004"/>
                      <a:pt x="643471" y="590587"/>
                      <a:pt x="636380" y="590087"/>
                    </a:cubicBezTo>
                    <a:cubicBezTo>
                      <a:pt x="608432" y="587834"/>
                      <a:pt x="591163" y="585248"/>
                      <a:pt x="583237" y="561724"/>
                    </a:cubicBezTo>
                    <a:lnTo>
                      <a:pt x="580567" y="553298"/>
                    </a:lnTo>
                    <a:cubicBezTo>
                      <a:pt x="571724" y="525853"/>
                      <a:pt x="563715" y="499659"/>
                      <a:pt x="522503" y="498408"/>
                    </a:cubicBezTo>
                    <a:cubicBezTo>
                      <a:pt x="512741" y="497990"/>
                      <a:pt x="502980" y="499325"/>
                      <a:pt x="493720" y="500660"/>
                    </a:cubicBezTo>
                    <a:cubicBezTo>
                      <a:pt x="483542" y="501995"/>
                      <a:pt x="473781" y="503329"/>
                      <a:pt x="464020" y="502412"/>
                    </a:cubicBezTo>
                    <a:cubicBezTo>
                      <a:pt x="450755" y="501077"/>
                      <a:pt x="440077" y="496239"/>
                      <a:pt x="426395" y="488648"/>
                    </a:cubicBezTo>
                    <a:lnTo>
                      <a:pt x="424142" y="487730"/>
                    </a:lnTo>
                    <a:cubicBezTo>
                      <a:pt x="413046" y="481974"/>
                      <a:pt x="400699" y="475300"/>
                      <a:pt x="386517" y="476218"/>
                    </a:cubicBezTo>
                    <a:cubicBezTo>
                      <a:pt x="375004" y="476635"/>
                      <a:pt x="365660" y="481056"/>
                      <a:pt x="357735" y="485978"/>
                    </a:cubicBezTo>
                    <a:cubicBezTo>
                      <a:pt x="351561" y="489065"/>
                      <a:pt x="345304" y="492151"/>
                      <a:pt x="339130" y="493069"/>
                    </a:cubicBezTo>
                    <a:cubicBezTo>
                      <a:pt x="333791" y="493986"/>
                      <a:pt x="328535" y="493486"/>
                      <a:pt x="323195" y="492652"/>
                    </a:cubicBezTo>
                    <a:cubicBezTo>
                      <a:pt x="312601" y="491317"/>
                      <a:pt x="300587" y="489982"/>
                      <a:pt x="288240" y="501494"/>
                    </a:cubicBezTo>
                    <a:cubicBezTo>
                      <a:pt x="283818" y="504998"/>
                      <a:pt x="280231" y="509503"/>
                      <a:pt x="277144" y="513423"/>
                    </a:cubicBezTo>
                    <a:cubicBezTo>
                      <a:pt x="271805" y="520097"/>
                      <a:pt x="266966" y="525353"/>
                      <a:pt x="259875" y="529357"/>
                    </a:cubicBezTo>
                    <a:cubicBezTo>
                      <a:pt x="251448" y="533361"/>
                      <a:pt x="242188" y="536030"/>
                      <a:pt x="232844" y="538700"/>
                    </a:cubicBezTo>
                    <a:cubicBezTo>
                      <a:pt x="224418" y="541369"/>
                      <a:pt x="215992" y="543538"/>
                      <a:pt x="207566" y="547125"/>
                    </a:cubicBezTo>
                    <a:cubicBezTo>
                      <a:pt x="191632" y="554216"/>
                      <a:pt x="177032" y="563058"/>
                      <a:pt x="162849" y="572402"/>
                    </a:cubicBezTo>
                    <a:lnTo>
                      <a:pt x="156175" y="576406"/>
                    </a:lnTo>
                    <a:cubicBezTo>
                      <a:pt x="149501" y="580827"/>
                      <a:pt x="142410" y="584414"/>
                      <a:pt x="135318" y="587501"/>
                    </a:cubicBezTo>
                    <a:cubicBezTo>
                      <a:pt x="114462" y="598596"/>
                      <a:pt x="92771" y="609190"/>
                      <a:pt x="83010" y="633549"/>
                    </a:cubicBezTo>
                    <a:cubicBezTo>
                      <a:pt x="82092" y="630880"/>
                      <a:pt x="81258" y="628711"/>
                      <a:pt x="80757" y="626041"/>
                    </a:cubicBezTo>
                    <a:cubicBezTo>
                      <a:pt x="80257" y="623372"/>
                      <a:pt x="80340" y="620285"/>
                      <a:pt x="80340" y="617615"/>
                    </a:cubicBezTo>
                    <a:cubicBezTo>
                      <a:pt x="80757" y="610525"/>
                      <a:pt x="80757" y="603017"/>
                      <a:pt x="75918" y="595509"/>
                    </a:cubicBezTo>
                    <a:cubicBezTo>
                      <a:pt x="72832" y="590671"/>
                      <a:pt x="68410" y="588001"/>
                      <a:pt x="64823" y="585749"/>
                    </a:cubicBezTo>
                    <a:cubicBezTo>
                      <a:pt x="61736" y="583496"/>
                      <a:pt x="58649" y="582245"/>
                      <a:pt x="57732" y="579576"/>
                    </a:cubicBezTo>
                    <a:cubicBezTo>
                      <a:pt x="55479" y="576072"/>
                      <a:pt x="55062" y="573402"/>
                      <a:pt x="55479" y="571567"/>
                    </a:cubicBezTo>
                    <a:cubicBezTo>
                      <a:pt x="56814" y="568064"/>
                      <a:pt x="65657" y="565394"/>
                      <a:pt x="72748" y="563559"/>
                    </a:cubicBezTo>
                    <a:cubicBezTo>
                      <a:pt x="83343" y="560472"/>
                      <a:pt x="94856" y="556885"/>
                      <a:pt x="99779" y="547626"/>
                    </a:cubicBezTo>
                    <a:cubicBezTo>
                      <a:pt x="102448" y="542287"/>
                      <a:pt x="102448" y="536531"/>
                      <a:pt x="100196" y="529941"/>
                    </a:cubicBezTo>
                    <a:cubicBezTo>
                      <a:pt x="95357" y="516176"/>
                      <a:pt x="82926" y="505999"/>
                      <a:pt x="72248" y="496739"/>
                    </a:cubicBezTo>
                    <a:lnTo>
                      <a:pt x="66908" y="492318"/>
                    </a:lnTo>
                    <a:cubicBezTo>
                      <a:pt x="50557" y="477719"/>
                      <a:pt x="37208" y="464873"/>
                      <a:pt x="28365" y="448439"/>
                    </a:cubicBezTo>
                    <a:cubicBezTo>
                      <a:pt x="22609" y="438261"/>
                      <a:pt x="20356" y="427584"/>
                      <a:pt x="17770" y="416072"/>
                    </a:cubicBezTo>
                    <a:cubicBezTo>
                      <a:pt x="15517" y="406311"/>
                      <a:pt x="13348" y="396134"/>
                      <a:pt x="9344" y="386374"/>
                    </a:cubicBezTo>
                    <a:cubicBezTo>
                      <a:pt x="6674" y="381035"/>
                      <a:pt x="3588" y="375779"/>
                      <a:pt x="0" y="370858"/>
                    </a:cubicBezTo>
                    <a:cubicBezTo>
                      <a:pt x="8843" y="368605"/>
                      <a:pt x="19522" y="368188"/>
                      <a:pt x="28782" y="368188"/>
                    </a:cubicBezTo>
                    <a:lnTo>
                      <a:pt x="39878" y="367771"/>
                    </a:lnTo>
                    <a:cubicBezTo>
                      <a:pt x="64656" y="367354"/>
                      <a:pt x="92604" y="366437"/>
                      <a:pt x="111625" y="343412"/>
                    </a:cubicBezTo>
                    <a:cubicBezTo>
                      <a:pt x="120468" y="332818"/>
                      <a:pt x="121803" y="320388"/>
                      <a:pt x="122721" y="309711"/>
                    </a:cubicBezTo>
                    <a:cubicBezTo>
                      <a:pt x="124056" y="295946"/>
                      <a:pt x="125808" y="287104"/>
                      <a:pt x="135569" y="281348"/>
                    </a:cubicBezTo>
                    <a:cubicBezTo>
                      <a:pt x="139573" y="278678"/>
                      <a:pt x="143578" y="276926"/>
                      <a:pt x="147082" y="275174"/>
                    </a:cubicBezTo>
                    <a:cubicBezTo>
                      <a:pt x="150585" y="273423"/>
                      <a:pt x="154173" y="271671"/>
                      <a:pt x="157677" y="269835"/>
                    </a:cubicBezTo>
                    <a:cubicBezTo>
                      <a:pt x="165686" y="276926"/>
                      <a:pt x="173194" y="284017"/>
                      <a:pt x="181120" y="291942"/>
                    </a:cubicBezTo>
                    <a:cubicBezTo>
                      <a:pt x="197471" y="308793"/>
                      <a:pt x="213906" y="309210"/>
                      <a:pt x="231176" y="310128"/>
                    </a:cubicBezTo>
                    <a:cubicBezTo>
                      <a:pt x="235597" y="310128"/>
                      <a:pt x="240937" y="310545"/>
                      <a:pt x="245776" y="311045"/>
                    </a:cubicBezTo>
                    <a:cubicBezTo>
                      <a:pt x="262628" y="312380"/>
                      <a:pt x="278562" y="317719"/>
                      <a:pt x="294080" y="322974"/>
                    </a:cubicBezTo>
                    <a:cubicBezTo>
                      <a:pt x="312684" y="329147"/>
                      <a:pt x="331705" y="335404"/>
                      <a:pt x="352562" y="335404"/>
                    </a:cubicBezTo>
                    <a:cubicBezTo>
                      <a:pt x="363657" y="335404"/>
                      <a:pt x="375588" y="333652"/>
                      <a:pt x="387518" y="328730"/>
                    </a:cubicBezTo>
                    <a:cubicBezTo>
                      <a:pt x="403035" y="322974"/>
                      <a:pt x="413630" y="311879"/>
                      <a:pt x="423808" y="301285"/>
                    </a:cubicBezTo>
                    <a:cubicBezTo>
                      <a:pt x="428230" y="296863"/>
                      <a:pt x="432235" y="292442"/>
                      <a:pt x="436656" y="288855"/>
                    </a:cubicBezTo>
                    <a:cubicBezTo>
                      <a:pt x="441495" y="284434"/>
                      <a:pt x="446834" y="280847"/>
                      <a:pt x="452591" y="276926"/>
                    </a:cubicBezTo>
                    <a:cubicBezTo>
                      <a:pt x="465021" y="268501"/>
                      <a:pt x="478286" y="260075"/>
                      <a:pt x="484960" y="245477"/>
                    </a:cubicBezTo>
                    <a:cubicBezTo>
                      <a:pt x="487630" y="240638"/>
                      <a:pt x="488464" y="235716"/>
                      <a:pt x="489799" y="230878"/>
                    </a:cubicBezTo>
                    <a:cubicBezTo>
                      <a:pt x="491134" y="225539"/>
                      <a:pt x="492469" y="220701"/>
                      <a:pt x="494638" y="216697"/>
                    </a:cubicBezTo>
                    <a:cubicBezTo>
                      <a:pt x="496890" y="213193"/>
                      <a:pt x="499477" y="210023"/>
                      <a:pt x="503064" y="206936"/>
                    </a:cubicBezTo>
                    <a:cubicBezTo>
                      <a:pt x="506151" y="203850"/>
                      <a:pt x="509738" y="200763"/>
                      <a:pt x="512408" y="196759"/>
                    </a:cubicBezTo>
                    <a:cubicBezTo>
                      <a:pt x="517747" y="189668"/>
                      <a:pt x="520417" y="181243"/>
                      <a:pt x="523003" y="173318"/>
                    </a:cubicBezTo>
                    <a:cubicBezTo>
                      <a:pt x="526090" y="162723"/>
                      <a:pt x="529177" y="153380"/>
                      <a:pt x="537602" y="148041"/>
                    </a:cubicBezTo>
                    <a:cubicBezTo>
                      <a:pt x="540272" y="146289"/>
                      <a:pt x="542942" y="144955"/>
                      <a:pt x="545111" y="144037"/>
                    </a:cubicBezTo>
                    <a:cubicBezTo>
                      <a:pt x="551785" y="140951"/>
                      <a:pt x="557959" y="137864"/>
                      <a:pt x="563715" y="128104"/>
                    </a:cubicBezTo>
                    <a:cubicBezTo>
                      <a:pt x="568137" y="121013"/>
                      <a:pt x="569055" y="113505"/>
                      <a:pt x="570389" y="105998"/>
                    </a:cubicBezTo>
                    <a:lnTo>
                      <a:pt x="571307" y="100242"/>
                    </a:lnTo>
                    <a:cubicBezTo>
                      <a:pt x="573977" y="86060"/>
                      <a:pt x="576146" y="74131"/>
                      <a:pt x="587241" y="67040"/>
                    </a:cubicBezTo>
                    <a:cubicBezTo>
                      <a:pt x="595250" y="62202"/>
                      <a:pt x="605429" y="60867"/>
                      <a:pt x="615607" y="59949"/>
                    </a:cubicBezTo>
                    <a:cubicBezTo>
                      <a:pt x="618694" y="59532"/>
                      <a:pt x="621780" y="59532"/>
                      <a:pt x="624450" y="59032"/>
                    </a:cubicBezTo>
                    <a:cubicBezTo>
                      <a:pt x="641719" y="56779"/>
                      <a:pt x="653232" y="51023"/>
                      <a:pt x="666998" y="43516"/>
                    </a:cubicBezTo>
                    <a:cubicBezTo>
                      <a:pt x="675841" y="39094"/>
                      <a:pt x="687854" y="36842"/>
                      <a:pt x="698867" y="35090"/>
                    </a:cubicBezTo>
                    <a:cubicBezTo>
                      <a:pt x="706876" y="33755"/>
                      <a:pt x="714384" y="32420"/>
                      <a:pt x="721893" y="30252"/>
                    </a:cubicBezTo>
                    <a:cubicBezTo>
                      <a:pt x="724562" y="29334"/>
                      <a:pt x="727232" y="29334"/>
                      <a:pt x="730318" y="28917"/>
                    </a:cubicBezTo>
                    <a:cubicBezTo>
                      <a:pt x="735157" y="28500"/>
                      <a:pt x="740914" y="27582"/>
                      <a:pt x="746253" y="25413"/>
                    </a:cubicBezTo>
                    <a:cubicBezTo>
                      <a:pt x="752009" y="22744"/>
                      <a:pt x="756014" y="18322"/>
                      <a:pt x="760018" y="14318"/>
                    </a:cubicBezTo>
                    <a:cubicBezTo>
                      <a:pt x="761353" y="12567"/>
                      <a:pt x="762688" y="11232"/>
                      <a:pt x="764440" y="9897"/>
                    </a:cubicBezTo>
                    <a:cubicBezTo>
                      <a:pt x="764857" y="9480"/>
                      <a:pt x="765358" y="8980"/>
                      <a:pt x="765358" y="8980"/>
                    </a:cubicBezTo>
                    <a:cubicBezTo>
                      <a:pt x="768862" y="5893"/>
                      <a:pt x="772449" y="3640"/>
                      <a:pt x="776454" y="1889"/>
                    </a:cubicBezTo>
                    <a:lnTo>
                      <a:pt x="776871" y="1889"/>
                    </a:lnTo>
                    <a:cubicBezTo>
                      <a:pt x="793223" y="-4285"/>
                      <a:pt x="810992" y="5392"/>
                      <a:pt x="834435" y="20491"/>
                    </a:cubicBezTo>
                    <a:cubicBezTo>
                      <a:pt x="839274" y="23578"/>
                      <a:pt x="843779" y="26665"/>
                      <a:pt x="848201" y="28917"/>
                    </a:cubicBezTo>
                    <a:cubicBezTo>
                      <a:pt x="857544" y="34256"/>
                      <a:pt x="867723" y="39094"/>
                      <a:pt x="876983" y="43099"/>
                    </a:cubicBezTo>
                    <a:cubicBezTo>
                      <a:pt x="887578" y="47937"/>
                      <a:pt x="897840" y="52441"/>
                      <a:pt x="907517" y="58198"/>
                    </a:cubicBezTo>
                    <a:cubicBezTo>
                      <a:pt x="927039" y="70127"/>
                      <a:pt x="943391" y="78552"/>
                      <a:pt x="969086" y="69292"/>
                    </a:cubicBezTo>
                    <a:cubicBezTo>
                      <a:pt x="988608" y="62202"/>
                      <a:pt x="993030" y="62619"/>
                      <a:pt x="999620" y="79887"/>
                    </a:cubicBezTo>
                    <a:cubicBezTo>
                      <a:pt x="1000037" y="81221"/>
                      <a:pt x="1000538" y="82556"/>
                      <a:pt x="1000955" y="83891"/>
                    </a:cubicBezTo>
                    <a:cubicBezTo>
                      <a:pt x="992529" y="89230"/>
                      <a:pt x="984603" y="96321"/>
                      <a:pt x="983269" y="110502"/>
                    </a:cubicBezTo>
                    <a:cubicBezTo>
                      <a:pt x="982852" y="114924"/>
                      <a:pt x="983686" y="118928"/>
                      <a:pt x="984186" y="122432"/>
                    </a:cubicBezTo>
                    <a:cubicBezTo>
                      <a:pt x="985104" y="125518"/>
                      <a:pt x="985521" y="128605"/>
                      <a:pt x="985104" y="131274"/>
                    </a:cubicBezTo>
                    <a:cubicBezTo>
                      <a:pt x="984687" y="135695"/>
                      <a:pt x="982017" y="140116"/>
                      <a:pt x="979765" y="145038"/>
                    </a:cubicBezTo>
                    <a:cubicBezTo>
                      <a:pt x="978430" y="147291"/>
                      <a:pt x="977095" y="149877"/>
                      <a:pt x="976261" y="152129"/>
                    </a:cubicBezTo>
                    <a:cubicBezTo>
                      <a:pt x="967835" y="170732"/>
                      <a:pt x="968752" y="184496"/>
                      <a:pt x="979348" y="200847"/>
                    </a:cubicBezTo>
                    <a:cubicBezTo>
                      <a:pt x="988524" y="213109"/>
                      <a:pt x="999537" y="222870"/>
                      <a:pt x="1010215" y="2321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45760205" name="Полилиния 403"/>
              <p:cNvSpPr/>
              <p:nvPr/>
            </p:nvSpPr>
            <p:spPr bwMode="auto">
              <a:xfrm>
                <a:off x="5965944" y="3411463"/>
                <a:ext cx="1237008" cy="1585292"/>
              </a:xfrm>
              <a:custGeom>
                <a:avLst/>
                <a:gdLst>
                  <a:gd name="connsiteX0" fmla="*/ 1139006 w 1389202"/>
                  <a:gd name="connsiteY0" fmla="*/ 274569 h 1780336"/>
                  <a:gd name="connsiteX1" fmla="*/ 1139006 w 1389202"/>
                  <a:gd name="connsiteY1" fmla="*/ 276321 h 1780336"/>
                  <a:gd name="connsiteX2" fmla="*/ 1145681 w 1389202"/>
                  <a:gd name="connsiteY2" fmla="*/ 304684 h 1780336"/>
                  <a:gd name="connsiteX3" fmla="*/ 1151019 w 1389202"/>
                  <a:gd name="connsiteY3" fmla="*/ 341890 h 1780336"/>
                  <a:gd name="connsiteX4" fmla="*/ 1131498 w 1389202"/>
                  <a:gd name="connsiteY4" fmla="*/ 365831 h 1780336"/>
                  <a:gd name="connsiteX5" fmla="*/ 1101798 w 1389202"/>
                  <a:gd name="connsiteY5" fmla="*/ 414132 h 1780336"/>
                  <a:gd name="connsiteX6" fmla="*/ 1115563 w 1389202"/>
                  <a:gd name="connsiteY6" fmla="*/ 435404 h 1780336"/>
                  <a:gd name="connsiteX7" fmla="*/ 1131915 w 1389202"/>
                  <a:gd name="connsiteY7" fmla="*/ 444247 h 1780336"/>
                  <a:gd name="connsiteX8" fmla="*/ 1153606 w 1389202"/>
                  <a:gd name="connsiteY8" fmla="*/ 463767 h 1780336"/>
                  <a:gd name="connsiteX9" fmla="*/ 1153606 w 1389202"/>
                  <a:gd name="connsiteY9" fmla="*/ 493882 h 1780336"/>
                  <a:gd name="connsiteX10" fmla="*/ 1152688 w 1389202"/>
                  <a:gd name="connsiteY10" fmla="*/ 525331 h 1780336"/>
                  <a:gd name="connsiteX11" fmla="*/ 1172210 w 1389202"/>
                  <a:gd name="connsiteY11" fmla="*/ 554111 h 1780336"/>
                  <a:gd name="connsiteX12" fmla="*/ 1185058 w 1389202"/>
                  <a:gd name="connsiteY12" fmla="*/ 569628 h 1780336"/>
                  <a:gd name="connsiteX13" fmla="*/ 1188561 w 1389202"/>
                  <a:gd name="connsiteY13" fmla="*/ 589982 h 1780336"/>
                  <a:gd name="connsiteX14" fmla="*/ 1196070 w 1389202"/>
                  <a:gd name="connsiteY14" fmla="*/ 619680 h 1780336"/>
                  <a:gd name="connsiteX15" fmla="*/ 1211171 w 1389202"/>
                  <a:gd name="connsiteY15" fmla="*/ 635196 h 1780336"/>
                  <a:gd name="connsiteX16" fmla="*/ 1224435 w 1389202"/>
                  <a:gd name="connsiteY16" fmla="*/ 661307 h 1780336"/>
                  <a:gd name="connsiteX17" fmla="*/ 1217761 w 1389202"/>
                  <a:gd name="connsiteY17" fmla="*/ 671067 h 1780336"/>
                  <a:gd name="connsiteX18" fmla="*/ 1210670 w 1389202"/>
                  <a:gd name="connsiteY18" fmla="*/ 680827 h 1780336"/>
                  <a:gd name="connsiteX19" fmla="*/ 1204496 w 1389202"/>
                  <a:gd name="connsiteY19" fmla="*/ 695008 h 1780336"/>
                  <a:gd name="connsiteX20" fmla="*/ 1199157 w 1389202"/>
                  <a:gd name="connsiteY20" fmla="*/ 707438 h 1780336"/>
                  <a:gd name="connsiteX21" fmla="*/ 1198239 w 1389202"/>
                  <a:gd name="connsiteY21" fmla="*/ 708773 h 1780336"/>
                  <a:gd name="connsiteX22" fmla="*/ 1192900 w 1389202"/>
                  <a:gd name="connsiteY22" fmla="*/ 741974 h 1780336"/>
                  <a:gd name="connsiteX23" fmla="*/ 1194652 w 1389202"/>
                  <a:gd name="connsiteY23" fmla="*/ 747313 h 1780336"/>
                  <a:gd name="connsiteX24" fmla="*/ 1196904 w 1389202"/>
                  <a:gd name="connsiteY24" fmla="*/ 767251 h 1780336"/>
                  <a:gd name="connsiteX25" fmla="*/ 1195153 w 1389202"/>
                  <a:gd name="connsiteY25" fmla="*/ 776594 h 1780336"/>
                  <a:gd name="connsiteX26" fmla="*/ 1208918 w 1389202"/>
                  <a:gd name="connsiteY26" fmla="*/ 824894 h 1780336"/>
                  <a:gd name="connsiteX27" fmla="*/ 1252300 w 1389202"/>
                  <a:gd name="connsiteY27" fmla="*/ 823142 h 1780336"/>
                  <a:gd name="connsiteX28" fmla="*/ 1273157 w 1389202"/>
                  <a:gd name="connsiteY28" fmla="*/ 817804 h 1780336"/>
                  <a:gd name="connsiteX29" fmla="*/ 1301939 w 1389202"/>
                  <a:gd name="connsiteY29" fmla="*/ 826229 h 1780336"/>
                  <a:gd name="connsiteX30" fmla="*/ 1329387 w 1389202"/>
                  <a:gd name="connsiteY30" fmla="*/ 835072 h 1780336"/>
                  <a:gd name="connsiteX31" fmla="*/ 1371016 w 1389202"/>
                  <a:gd name="connsiteY31" fmla="*/ 831985 h 1780336"/>
                  <a:gd name="connsiteX32" fmla="*/ 1380777 w 1389202"/>
                  <a:gd name="connsiteY32" fmla="*/ 827147 h 1780336"/>
                  <a:gd name="connsiteX33" fmla="*/ 1389203 w 1389202"/>
                  <a:gd name="connsiteY33" fmla="*/ 823142 h 1780336"/>
                  <a:gd name="connsiteX34" fmla="*/ 1381194 w 1389202"/>
                  <a:gd name="connsiteY34" fmla="*/ 846584 h 1780336"/>
                  <a:gd name="connsiteX35" fmla="*/ 1362590 w 1389202"/>
                  <a:gd name="connsiteY35" fmla="*/ 862517 h 1780336"/>
                  <a:gd name="connsiteX36" fmla="*/ 1354581 w 1389202"/>
                  <a:gd name="connsiteY36" fmla="*/ 867856 h 1780336"/>
                  <a:gd name="connsiteX37" fmla="*/ 1347907 w 1389202"/>
                  <a:gd name="connsiteY37" fmla="*/ 873195 h 1780336"/>
                  <a:gd name="connsiteX38" fmla="*/ 1337729 w 1389202"/>
                  <a:gd name="connsiteY38" fmla="*/ 879868 h 1780336"/>
                  <a:gd name="connsiteX39" fmla="*/ 1324881 w 1389202"/>
                  <a:gd name="connsiteY39" fmla="*/ 882538 h 1780336"/>
                  <a:gd name="connsiteX40" fmla="*/ 1308947 w 1389202"/>
                  <a:gd name="connsiteY40" fmla="*/ 885624 h 1780336"/>
                  <a:gd name="connsiteX41" fmla="*/ 1284586 w 1389202"/>
                  <a:gd name="connsiteY41" fmla="*/ 945437 h 1780336"/>
                  <a:gd name="connsiteX42" fmla="*/ 1293429 w 1389202"/>
                  <a:gd name="connsiteY42" fmla="*/ 967543 h 1780336"/>
                  <a:gd name="connsiteX43" fmla="*/ 1299186 w 1389202"/>
                  <a:gd name="connsiteY43" fmla="*/ 979472 h 1780336"/>
                  <a:gd name="connsiteX44" fmla="*/ 1296516 w 1389202"/>
                  <a:gd name="connsiteY44" fmla="*/ 991902 h 1780336"/>
                  <a:gd name="connsiteX45" fmla="*/ 1286338 w 1389202"/>
                  <a:gd name="connsiteY45" fmla="*/ 1006501 h 1780336"/>
                  <a:gd name="connsiteX46" fmla="*/ 1286755 w 1389202"/>
                  <a:gd name="connsiteY46" fmla="*/ 1024686 h 1780336"/>
                  <a:gd name="connsiteX47" fmla="*/ 1288090 w 1389202"/>
                  <a:gd name="connsiteY47" fmla="*/ 1034030 h 1780336"/>
                  <a:gd name="connsiteX48" fmla="*/ 1285420 w 1389202"/>
                  <a:gd name="connsiteY48" fmla="*/ 1042455 h 1780336"/>
                  <a:gd name="connsiteX49" fmla="*/ 1285420 w 1389202"/>
                  <a:gd name="connsiteY49" fmla="*/ 1068149 h 1780336"/>
                  <a:gd name="connsiteX50" fmla="*/ 1309781 w 1389202"/>
                  <a:gd name="connsiteY50" fmla="*/ 1091173 h 1780336"/>
                  <a:gd name="connsiteX51" fmla="*/ 1332807 w 1389202"/>
                  <a:gd name="connsiteY51" fmla="*/ 1120370 h 1780336"/>
                  <a:gd name="connsiteX52" fmla="*/ 1326133 w 1389202"/>
                  <a:gd name="connsiteY52" fmla="*/ 1140307 h 1780336"/>
                  <a:gd name="connsiteX53" fmla="*/ 1322629 w 1389202"/>
                  <a:gd name="connsiteY53" fmla="*/ 1146981 h 1780336"/>
                  <a:gd name="connsiteX54" fmla="*/ 1323046 w 1389202"/>
                  <a:gd name="connsiteY54" fmla="*/ 1175761 h 1780336"/>
                  <a:gd name="connsiteX55" fmla="*/ 1327467 w 1389202"/>
                  <a:gd name="connsiteY55" fmla="*/ 1185521 h 1780336"/>
                  <a:gd name="connsiteX56" fmla="*/ 1321294 w 1389202"/>
                  <a:gd name="connsiteY56" fmla="*/ 1207627 h 1780336"/>
                  <a:gd name="connsiteX57" fmla="*/ 1316455 w 1389202"/>
                  <a:gd name="connsiteY57" fmla="*/ 1215135 h 1780336"/>
                  <a:gd name="connsiteX58" fmla="*/ 1306694 w 1389202"/>
                  <a:gd name="connsiteY58" fmla="*/ 1246585 h 1780336"/>
                  <a:gd name="connsiteX59" fmla="*/ 1303607 w 1389202"/>
                  <a:gd name="connsiteY59" fmla="*/ 1263436 h 1780336"/>
                  <a:gd name="connsiteX60" fmla="*/ 1290759 w 1389202"/>
                  <a:gd name="connsiteY60" fmla="*/ 1283374 h 1780336"/>
                  <a:gd name="connsiteX61" fmla="*/ 1280582 w 1389202"/>
                  <a:gd name="connsiteY61" fmla="*/ 1295803 h 1780336"/>
                  <a:gd name="connsiteX62" fmla="*/ 1277078 w 1389202"/>
                  <a:gd name="connsiteY62" fmla="*/ 1301142 h 1780336"/>
                  <a:gd name="connsiteX63" fmla="*/ 1260726 w 1389202"/>
                  <a:gd name="connsiteY63" fmla="*/ 1320662 h 1780336"/>
                  <a:gd name="connsiteX64" fmla="*/ 1254052 w 1389202"/>
                  <a:gd name="connsiteY64" fmla="*/ 1325084 h 1780336"/>
                  <a:gd name="connsiteX65" fmla="*/ 1239869 w 1389202"/>
                  <a:gd name="connsiteY65" fmla="*/ 1344103 h 1780336"/>
                  <a:gd name="connsiteX66" fmla="*/ 1244291 w 1389202"/>
                  <a:gd name="connsiteY66" fmla="*/ 1356033 h 1780336"/>
                  <a:gd name="connsiteX67" fmla="*/ 1246043 w 1389202"/>
                  <a:gd name="connsiteY67" fmla="*/ 1358702 h 1780336"/>
                  <a:gd name="connsiteX68" fmla="*/ 1243373 w 1389202"/>
                  <a:gd name="connsiteY68" fmla="*/ 1370631 h 1780336"/>
                  <a:gd name="connsiteX69" fmla="*/ 1238534 w 1389202"/>
                  <a:gd name="connsiteY69" fmla="*/ 1377305 h 1780336"/>
                  <a:gd name="connsiteX70" fmla="*/ 1226104 w 1389202"/>
                  <a:gd name="connsiteY70" fmla="*/ 1405251 h 1780336"/>
                  <a:gd name="connsiteX71" fmla="*/ 1230526 w 1389202"/>
                  <a:gd name="connsiteY71" fmla="*/ 1440204 h 1780336"/>
                  <a:gd name="connsiteX72" fmla="*/ 1271321 w 1389202"/>
                  <a:gd name="connsiteY72" fmla="*/ 1511946 h 1780336"/>
                  <a:gd name="connsiteX73" fmla="*/ 1304108 w 1389202"/>
                  <a:gd name="connsiteY73" fmla="*/ 1515449 h 1780336"/>
                  <a:gd name="connsiteX74" fmla="*/ 1325381 w 1389202"/>
                  <a:gd name="connsiteY74" fmla="*/ 1522957 h 1780336"/>
                  <a:gd name="connsiteX75" fmla="*/ 1311199 w 1389202"/>
                  <a:gd name="connsiteY75" fmla="*/ 1581018 h 1780336"/>
                  <a:gd name="connsiteX76" fmla="*/ 1292595 w 1389202"/>
                  <a:gd name="connsiteY76" fmla="*/ 1620476 h 1780336"/>
                  <a:gd name="connsiteX77" fmla="*/ 1319208 w 1389202"/>
                  <a:gd name="connsiteY77" fmla="*/ 1647921 h 1780336"/>
                  <a:gd name="connsiteX78" fmla="*/ 1325883 w 1389202"/>
                  <a:gd name="connsiteY78" fmla="*/ 1650590 h 1780336"/>
                  <a:gd name="connsiteX79" fmla="*/ 1344904 w 1389202"/>
                  <a:gd name="connsiteY79" fmla="*/ 1702895 h 1780336"/>
                  <a:gd name="connsiteX80" fmla="*/ 1335143 w 1389202"/>
                  <a:gd name="connsiteY80" fmla="*/ 1718411 h 1780336"/>
                  <a:gd name="connsiteX81" fmla="*/ 1324047 w 1389202"/>
                  <a:gd name="connsiteY81" fmla="*/ 1736096 h 1780336"/>
                  <a:gd name="connsiteX82" fmla="*/ 1321794 w 1389202"/>
                  <a:gd name="connsiteY82" fmla="*/ 1760038 h 1780336"/>
                  <a:gd name="connsiteX83" fmla="*/ 1322211 w 1389202"/>
                  <a:gd name="connsiteY83" fmla="*/ 1772468 h 1780336"/>
                  <a:gd name="connsiteX84" fmla="*/ 1317790 w 1389202"/>
                  <a:gd name="connsiteY84" fmla="*/ 1779141 h 1780336"/>
                  <a:gd name="connsiteX85" fmla="*/ 1269987 w 1389202"/>
                  <a:gd name="connsiteY85" fmla="*/ 1766712 h 1780336"/>
                  <a:gd name="connsiteX86" fmla="*/ 1254469 w 1389202"/>
                  <a:gd name="connsiteY86" fmla="*/ 1760038 h 1780336"/>
                  <a:gd name="connsiteX87" fmla="*/ 1195069 w 1389202"/>
                  <a:gd name="connsiteY87" fmla="*/ 1722415 h 1780336"/>
                  <a:gd name="connsiteX88" fmla="*/ 1192400 w 1389202"/>
                  <a:gd name="connsiteY88" fmla="*/ 1717994 h 1780336"/>
                  <a:gd name="connsiteX89" fmla="*/ 1172043 w 1389202"/>
                  <a:gd name="connsiteY89" fmla="*/ 1702478 h 1780336"/>
                  <a:gd name="connsiteX90" fmla="*/ 1130831 w 1389202"/>
                  <a:gd name="connsiteY90" fmla="*/ 1722415 h 1780336"/>
                  <a:gd name="connsiteX91" fmla="*/ 1124157 w 1389202"/>
                  <a:gd name="connsiteY91" fmla="*/ 1704731 h 1780336"/>
                  <a:gd name="connsiteX92" fmla="*/ 1104634 w 1389202"/>
                  <a:gd name="connsiteY92" fmla="*/ 1668860 h 1780336"/>
                  <a:gd name="connsiteX93" fmla="*/ 1014283 w 1389202"/>
                  <a:gd name="connsiteY93" fmla="*/ 1658682 h 1780336"/>
                  <a:gd name="connsiteX94" fmla="*/ 990840 w 1389202"/>
                  <a:gd name="connsiteY94" fmla="*/ 1662186 h 1780336"/>
                  <a:gd name="connsiteX95" fmla="*/ 937197 w 1389202"/>
                  <a:gd name="connsiteY95" fmla="*/ 1653343 h 1780336"/>
                  <a:gd name="connsiteX96" fmla="*/ 919010 w 1389202"/>
                  <a:gd name="connsiteY96" fmla="*/ 1640914 h 1780336"/>
                  <a:gd name="connsiteX97" fmla="*/ 869371 w 1389202"/>
                  <a:gd name="connsiteY97" fmla="*/ 1621894 h 1780336"/>
                  <a:gd name="connsiteX98" fmla="*/ 829910 w 1389202"/>
                  <a:gd name="connsiteY98" fmla="*/ 1650674 h 1780336"/>
                  <a:gd name="connsiteX99" fmla="*/ 819315 w 1389202"/>
                  <a:gd name="connsiteY99" fmla="*/ 1663103 h 1780336"/>
                  <a:gd name="connsiteX100" fmla="*/ 757746 w 1389202"/>
                  <a:gd name="connsiteY100" fmla="*/ 1692301 h 1780336"/>
                  <a:gd name="connsiteX101" fmla="*/ 755076 w 1389202"/>
                  <a:gd name="connsiteY101" fmla="*/ 1693218 h 1780336"/>
                  <a:gd name="connsiteX102" fmla="*/ 735137 w 1389202"/>
                  <a:gd name="connsiteY102" fmla="*/ 1698557 h 1780336"/>
                  <a:gd name="connsiteX103" fmla="*/ 690420 w 1389202"/>
                  <a:gd name="connsiteY103" fmla="*/ 1713656 h 1780336"/>
                  <a:gd name="connsiteX104" fmla="*/ 673568 w 1389202"/>
                  <a:gd name="connsiteY104" fmla="*/ 1722499 h 1780336"/>
                  <a:gd name="connsiteX105" fmla="*/ 628851 w 1389202"/>
                  <a:gd name="connsiteY105" fmla="*/ 1738015 h 1780336"/>
                  <a:gd name="connsiteX106" fmla="*/ 618256 w 1389202"/>
                  <a:gd name="connsiteY106" fmla="*/ 1738015 h 1780336"/>
                  <a:gd name="connsiteX107" fmla="*/ 531409 w 1389202"/>
                  <a:gd name="connsiteY107" fmla="*/ 1729590 h 1780336"/>
                  <a:gd name="connsiteX108" fmla="*/ 506631 w 1389202"/>
                  <a:gd name="connsiteY108" fmla="*/ 1707483 h 1780336"/>
                  <a:gd name="connsiteX109" fmla="*/ 503961 w 1389202"/>
                  <a:gd name="connsiteY109" fmla="*/ 1693719 h 1780336"/>
                  <a:gd name="connsiteX110" fmla="*/ 499957 w 1389202"/>
                  <a:gd name="connsiteY110" fmla="*/ 1675116 h 1780336"/>
                  <a:gd name="connsiteX111" fmla="*/ 495535 w 1389202"/>
                  <a:gd name="connsiteY111" fmla="*/ 1664939 h 1780336"/>
                  <a:gd name="connsiteX112" fmla="*/ 488861 w 1389202"/>
                  <a:gd name="connsiteY112" fmla="*/ 1643250 h 1780336"/>
                  <a:gd name="connsiteX113" fmla="*/ 501708 w 1389202"/>
                  <a:gd name="connsiteY113" fmla="*/ 1609548 h 1780336"/>
                  <a:gd name="connsiteX114" fmla="*/ 512804 w 1389202"/>
                  <a:gd name="connsiteY114" fmla="*/ 1589610 h 1780336"/>
                  <a:gd name="connsiteX115" fmla="*/ 511052 w 1389202"/>
                  <a:gd name="connsiteY115" fmla="*/ 1524042 h 1780336"/>
                  <a:gd name="connsiteX116" fmla="*/ 467170 w 1389202"/>
                  <a:gd name="connsiteY116" fmla="*/ 1485084 h 1780336"/>
                  <a:gd name="connsiteX117" fmla="*/ 424205 w 1389202"/>
                  <a:gd name="connsiteY117" fmla="*/ 1492175 h 1780336"/>
                  <a:gd name="connsiteX118" fmla="*/ 407853 w 1389202"/>
                  <a:gd name="connsiteY118" fmla="*/ 1499683 h 1780336"/>
                  <a:gd name="connsiteX119" fmla="*/ 362636 w 1389202"/>
                  <a:gd name="connsiteY119" fmla="*/ 1489506 h 1780336"/>
                  <a:gd name="connsiteX120" fmla="*/ 340528 w 1389202"/>
                  <a:gd name="connsiteY120" fmla="*/ 1471820 h 1780336"/>
                  <a:gd name="connsiteX121" fmla="*/ 326345 w 1389202"/>
                  <a:gd name="connsiteY121" fmla="*/ 1458056 h 1780336"/>
                  <a:gd name="connsiteX122" fmla="*/ 301067 w 1389202"/>
                  <a:gd name="connsiteY122" fmla="*/ 1450965 h 1780336"/>
                  <a:gd name="connsiteX123" fmla="*/ 271367 w 1389202"/>
                  <a:gd name="connsiteY123" fmla="*/ 1497931 h 1780336"/>
                  <a:gd name="connsiteX124" fmla="*/ 261606 w 1389202"/>
                  <a:gd name="connsiteY124" fmla="*/ 1521372 h 1780336"/>
                  <a:gd name="connsiteX125" fmla="*/ 199620 w 1389202"/>
                  <a:gd name="connsiteY125" fmla="*/ 1556325 h 1780336"/>
                  <a:gd name="connsiteX126" fmla="*/ 177011 w 1389202"/>
                  <a:gd name="connsiteY126" fmla="*/ 1542144 h 1780336"/>
                  <a:gd name="connsiteX127" fmla="*/ 165498 w 1389202"/>
                  <a:gd name="connsiteY127" fmla="*/ 1514698 h 1780336"/>
                  <a:gd name="connsiteX128" fmla="*/ 154903 w 1389202"/>
                  <a:gd name="connsiteY128" fmla="*/ 1487253 h 1780336"/>
                  <a:gd name="connsiteX129" fmla="*/ 143390 w 1389202"/>
                  <a:gd name="connsiteY129" fmla="*/ 1428775 h 1780336"/>
                  <a:gd name="connsiteX130" fmla="*/ 151816 w 1389202"/>
                  <a:gd name="connsiteY130" fmla="*/ 1410173 h 1780336"/>
                  <a:gd name="connsiteX131" fmla="*/ 165582 w 1389202"/>
                  <a:gd name="connsiteY131" fmla="*/ 1373384 h 1780336"/>
                  <a:gd name="connsiteX132" fmla="*/ 168252 w 1389202"/>
                  <a:gd name="connsiteY132" fmla="*/ 1363624 h 1780336"/>
                  <a:gd name="connsiteX133" fmla="*/ 172673 w 1389202"/>
                  <a:gd name="connsiteY133" fmla="*/ 1341934 h 1780336"/>
                  <a:gd name="connsiteX134" fmla="*/ 167334 w 1389202"/>
                  <a:gd name="connsiteY134" fmla="*/ 1316658 h 1780336"/>
                  <a:gd name="connsiteX135" fmla="*/ 163330 w 1389202"/>
                  <a:gd name="connsiteY135" fmla="*/ 1299390 h 1780336"/>
                  <a:gd name="connsiteX136" fmla="*/ 173925 w 1389202"/>
                  <a:gd name="connsiteY136" fmla="*/ 1244917 h 1780336"/>
                  <a:gd name="connsiteX137" fmla="*/ 188524 w 1389202"/>
                  <a:gd name="connsiteY137" fmla="*/ 1230735 h 1780336"/>
                  <a:gd name="connsiteX138" fmla="*/ 214637 w 1389202"/>
                  <a:gd name="connsiteY138" fmla="*/ 1194447 h 1780336"/>
                  <a:gd name="connsiteX139" fmla="*/ 217724 w 1389202"/>
                  <a:gd name="connsiteY139" fmla="*/ 1163915 h 1780336"/>
                  <a:gd name="connsiteX140" fmla="*/ 222563 w 1389202"/>
                  <a:gd name="connsiteY140" fmla="*/ 1128461 h 1780336"/>
                  <a:gd name="connsiteX141" fmla="*/ 233158 w 1389202"/>
                  <a:gd name="connsiteY141" fmla="*/ 1105854 h 1780336"/>
                  <a:gd name="connsiteX142" fmla="*/ 248258 w 1389202"/>
                  <a:gd name="connsiteY142" fmla="*/ 1061558 h 1780336"/>
                  <a:gd name="connsiteX143" fmla="*/ 226984 w 1389202"/>
                  <a:gd name="connsiteY143" fmla="*/ 997742 h 1780336"/>
                  <a:gd name="connsiteX144" fmla="*/ 178680 w 1389202"/>
                  <a:gd name="connsiteY144" fmla="*/ 964040 h 1780336"/>
                  <a:gd name="connsiteX145" fmla="*/ 159158 w 1389202"/>
                  <a:gd name="connsiteY145" fmla="*/ 953862 h 1780336"/>
                  <a:gd name="connsiteX146" fmla="*/ 135715 w 1389202"/>
                  <a:gd name="connsiteY146" fmla="*/ 937929 h 1780336"/>
                  <a:gd name="connsiteX147" fmla="*/ 96254 w 1389202"/>
                  <a:gd name="connsiteY147" fmla="*/ 913987 h 1780336"/>
                  <a:gd name="connsiteX148" fmla="*/ 70142 w 1389202"/>
                  <a:gd name="connsiteY148" fmla="*/ 908648 h 1780336"/>
                  <a:gd name="connsiteX149" fmla="*/ 42194 w 1389202"/>
                  <a:gd name="connsiteY149" fmla="*/ 901141 h 1780336"/>
                  <a:gd name="connsiteX150" fmla="*/ 42194 w 1389202"/>
                  <a:gd name="connsiteY150" fmla="*/ 864352 h 1780336"/>
                  <a:gd name="connsiteX151" fmla="*/ 44446 w 1389202"/>
                  <a:gd name="connsiteY151" fmla="*/ 859514 h 1780336"/>
                  <a:gd name="connsiteX152" fmla="*/ 34685 w 1389202"/>
                  <a:gd name="connsiteY152" fmla="*/ 793111 h 1780336"/>
                  <a:gd name="connsiteX153" fmla="*/ 17416 w 1389202"/>
                  <a:gd name="connsiteY153" fmla="*/ 780264 h 1780336"/>
                  <a:gd name="connsiteX154" fmla="*/ 147 w 1389202"/>
                  <a:gd name="connsiteY154" fmla="*/ 764748 h 1780336"/>
                  <a:gd name="connsiteX155" fmla="*/ 5486 w 1389202"/>
                  <a:gd name="connsiteY155" fmla="*/ 748815 h 1780336"/>
                  <a:gd name="connsiteX156" fmla="*/ 8573 w 1389202"/>
                  <a:gd name="connsiteY156" fmla="*/ 743476 h 1780336"/>
                  <a:gd name="connsiteX157" fmla="*/ 20085 w 1389202"/>
                  <a:gd name="connsiteY157" fmla="*/ 703184 h 1780336"/>
                  <a:gd name="connsiteX158" fmla="*/ 21003 w 1389202"/>
                  <a:gd name="connsiteY158" fmla="*/ 688085 h 1780336"/>
                  <a:gd name="connsiteX159" fmla="*/ 29429 w 1389202"/>
                  <a:gd name="connsiteY159" fmla="*/ 646041 h 1780336"/>
                  <a:gd name="connsiteX160" fmla="*/ 54207 w 1389202"/>
                  <a:gd name="connsiteY160" fmla="*/ 627021 h 1780336"/>
                  <a:gd name="connsiteX161" fmla="*/ 78568 w 1389202"/>
                  <a:gd name="connsiteY161" fmla="*/ 609753 h 1780336"/>
                  <a:gd name="connsiteX162" fmla="*/ 105181 w 1389202"/>
                  <a:gd name="connsiteY162" fmla="*/ 573465 h 1780336"/>
                  <a:gd name="connsiteX163" fmla="*/ 120698 w 1389202"/>
                  <a:gd name="connsiteY163" fmla="*/ 550441 h 1780336"/>
                  <a:gd name="connsiteX164" fmla="*/ 142806 w 1389202"/>
                  <a:gd name="connsiteY164" fmla="*/ 507479 h 1780336"/>
                  <a:gd name="connsiteX165" fmla="*/ 155237 w 1389202"/>
                  <a:gd name="connsiteY165" fmla="*/ 480451 h 1780336"/>
                  <a:gd name="connsiteX166" fmla="*/ 174258 w 1389202"/>
                  <a:gd name="connsiteY166" fmla="*/ 455174 h 1780336"/>
                  <a:gd name="connsiteX167" fmla="*/ 182267 w 1389202"/>
                  <a:gd name="connsiteY167" fmla="*/ 445832 h 1780336"/>
                  <a:gd name="connsiteX168" fmla="*/ 192863 w 1389202"/>
                  <a:gd name="connsiteY168" fmla="*/ 431233 h 1780336"/>
                  <a:gd name="connsiteX169" fmla="*/ 196366 w 1389202"/>
                  <a:gd name="connsiteY169" fmla="*/ 425060 h 1780336"/>
                  <a:gd name="connsiteX170" fmla="*/ 204792 w 1389202"/>
                  <a:gd name="connsiteY170" fmla="*/ 406457 h 1780336"/>
                  <a:gd name="connsiteX171" fmla="*/ 230071 w 1389202"/>
                  <a:gd name="connsiteY171" fmla="*/ 366999 h 1780336"/>
                  <a:gd name="connsiteX172" fmla="*/ 270366 w 1389202"/>
                  <a:gd name="connsiteY172" fmla="*/ 314277 h 1780336"/>
                  <a:gd name="connsiteX173" fmla="*/ 307574 w 1389202"/>
                  <a:gd name="connsiteY173" fmla="*/ 290336 h 1780336"/>
                  <a:gd name="connsiteX174" fmla="*/ 348787 w 1389202"/>
                  <a:gd name="connsiteY174" fmla="*/ 254048 h 1780336"/>
                  <a:gd name="connsiteX175" fmla="*/ 349705 w 1389202"/>
                  <a:gd name="connsiteY175" fmla="*/ 248709 h 1780336"/>
                  <a:gd name="connsiteX176" fmla="*/ 359049 w 1389202"/>
                  <a:gd name="connsiteY176" fmla="*/ 220763 h 1780336"/>
                  <a:gd name="connsiteX177" fmla="*/ 367892 w 1389202"/>
                  <a:gd name="connsiteY177" fmla="*/ 208333 h 1780336"/>
                  <a:gd name="connsiteX178" fmla="*/ 381657 w 1389202"/>
                  <a:gd name="connsiteY178" fmla="*/ 187061 h 1780336"/>
                  <a:gd name="connsiteX179" fmla="*/ 390501 w 1389202"/>
                  <a:gd name="connsiteY179" fmla="*/ 167541 h 1780336"/>
                  <a:gd name="connsiteX180" fmla="*/ 410022 w 1389202"/>
                  <a:gd name="connsiteY180" fmla="*/ 133422 h 1780336"/>
                  <a:gd name="connsiteX181" fmla="*/ 448566 w 1389202"/>
                  <a:gd name="connsiteY181" fmla="*/ 107728 h 1780336"/>
                  <a:gd name="connsiteX182" fmla="*/ 460996 w 1389202"/>
                  <a:gd name="connsiteY182" fmla="*/ 101054 h 1780336"/>
                  <a:gd name="connsiteX183" fmla="*/ 506631 w 1389202"/>
                  <a:gd name="connsiteY183" fmla="*/ 63849 h 1780336"/>
                  <a:gd name="connsiteX184" fmla="*/ 555352 w 1389202"/>
                  <a:gd name="connsiteY184" fmla="*/ 31982 h 1780336"/>
                  <a:gd name="connsiteX185" fmla="*/ 574874 w 1389202"/>
                  <a:gd name="connsiteY185" fmla="*/ 33317 h 1780336"/>
                  <a:gd name="connsiteX186" fmla="*/ 624930 w 1389202"/>
                  <a:gd name="connsiteY186" fmla="*/ 25309 h 1780336"/>
                  <a:gd name="connsiteX187" fmla="*/ 637778 w 1389202"/>
                  <a:gd name="connsiteY187" fmla="*/ 13380 h 1780336"/>
                  <a:gd name="connsiteX188" fmla="*/ 666977 w 1389202"/>
                  <a:gd name="connsiteY188" fmla="*/ 1450 h 1780336"/>
                  <a:gd name="connsiteX189" fmla="*/ 685999 w 1389202"/>
                  <a:gd name="connsiteY189" fmla="*/ 19136 h 1780336"/>
                  <a:gd name="connsiteX190" fmla="*/ 701516 w 1389202"/>
                  <a:gd name="connsiteY190" fmla="*/ 37321 h 1780336"/>
                  <a:gd name="connsiteX191" fmla="*/ 749320 w 1389202"/>
                  <a:gd name="connsiteY191" fmla="*/ 40408 h 1780336"/>
                  <a:gd name="connsiteX192" fmla="*/ 757329 w 1389202"/>
                  <a:gd name="connsiteY192" fmla="*/ 38656 h 1780336"/>
                  <a:gd name="connsiteX193" fmla="*/ 806050 w 1389202"/>
                  <a:gd name="connsiteY193" fmla="*/ 42660 h 1780336"/>
                  <a:gd name="connsiteX194" fmla="*/ 813141 w 1389202"/>
                  <a:gd name="connsiteY194" fmla="*/ 48833 h 1780336"/>
                  <a:gd name="connsiteX195" fmla="*/ 865867 w 1389202"/>
                  <a:gd name="connsiteY195" fmla="*/ 62598 h 1780336"/>
                  <a:gd name="connsiteX196" fmla="*/ 868954 w 1389202"/>
                  <a:gd name="connsiteY196" fmla="*/ 61680 h 1780336"/>
                  <a:gd name="connsiteX197" fmla="*/ 894232 w 1389202"/>
                  <a:gd name="connsiteY197" fmla="*/ 59428 h 1780336"/>
                  <a:gd name="connsiteX198" fmla="*/ 899071 w 1389202"/>
                  <a:gd name="connsiteY198" fmla="*/ 60762 h 1780336"/>
                  <a:gd name="connsiteX199" fmla="*/ 922097 w 1389202"/>
                  <a:gd name="connsiteY199" fmla="*/ 62097 h 1780336"/>
                  <a:gd name="connsiteX200" fmla="*/ 944205 w 1389202"/>
                  <a:gd name="connsiteY200" fmla="*/ 41242 h 1780336"/>
                  <a:gd name="connsiteX201" fmla="*/ 958387 w 1389202"/>
                  <a:gd name="connsiteY201" fmla="*/ 26644 h 1780336"/>
                  <a:gd name="connsiteX202" fmla="*/ 976991 w 1389202"/>
                  <a:gd name="connsiteY202" fmla="*/ 29730 h 1780336"/>
                  <a:gd name="connsiteX203" fmla="*/ 1010696 w 1389202"/>
                  <a:gd name="connsiteY203" fmla="*/ 31982 h 1780336"/>
                  <a:gd name="connsiteX204" fmla="*/ 1031970 w 1389202"/>
                  <a:gd name="connsiteY204" fmla="*/ 17384 h 1780336"/>
                  <a:gd name="connsiteX205" fmla="*/ 1044400 w 1389202"/>
                  <a:gd name="connsiteY205" fmla="*/ 28479 h 1780336"/>
                  <a:gd name="connsiteX206" fmla="*/ 1078522 w 1389202"/>
                  <a:gd name="connsiteY206" fmla="*/ 63432 h 1780336"/>
                  <a:gd name="connsiteX207" fmla="*/ 1125074 w 1389202"/>
                  <a:gd name="connsiteY207" fmla="*/ 188312 h 1780336"/>
                  <a:gd name="connsiteX208" fmla="*/ 1127327 w 1389202"/>
                  <a:gd name="connsiteY208" fmla="*/ 196738 h 1780336"/>
                  <a:gd name="connsiteX209" fmla="*/ 1139006 w 1389202"/>
                  <a:gd name="connsiteY209" fmla="*/ 274569 h 1780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1389202" h="1780336" extrusionOk="0">
                    <a:moveTo>
                      <a:pt x="1139006" y="274569"/>
                    </a:moveTo>
                    <a:lnTo>
                      <a:pt x="1139006" y="276321"/>
                    </a:lnTo>
                    <a:cubicBezTo>
                      <a:pt x="1139924" y="285164"/>
                      <a:pt x="1142510" y="294507"/>
                      <a:pt x="1145681" y="304684"/>
                    </a:cubicBezTo>
                    <a:cubicBezTo>
                      <a:pt x="1149685" y="318448"/>
                      <a:pt x="1154106" y="332129"/>
                      <a:pt x="1151019" y="341890"/>
                    </a:cubicBezTo>
                    <a:cubicBezTo>
                      <a:pt x="1149685" y="348063"/>
                      <a:pt x="1140425" y="357406"/>
                      <a:pt x="1131498" y="365831"/>
                    </a:cubicBezTo>
                    <a:cubicBezTo>
                      <a:pt x="1115980" y="381347"/>
                      <a:pt x="1100463" y="397281"/>
                      <a:pt x="1101798" y="414132"/>
                    </a:cubicBezTo>
                    <a:cubicBezTo>
                      <a:pt x="1102716" y="422140"/>
                      <a:pt x="1107137" y="429648"/>
                      <a:pt x="1115563" y="435404"/>
                    </a:cubicBezTo>
                    <a:cubicBezTo>
                      <a:pt x="1120903" y="439408"/>
                      <a:pt x="1126659" y="442078"/>
                      <a:pt x="1131915" y="444247"/>
                    </a:cubicBezTo>
                    <a:cubicBezTo>
                      <a:pt x="1142093" y="449085"/>
                      <a:pt x="1149602" y="452255"/>
                      <a:pt x="1153606" y="463767"/>
                    </a:cubicBezTo>
                    <a:cubicBezTo>
                      <a:pt x="1156693" y="473527"/>
                      <a:pt x="1154941" y="483287"/>
                      <a:pt x="1153606" y="493882"/>
                    </a:cubicBezTo>
                    <a:cubicBezTo>
                      <a:pt x="1152271" y="504059"/>
                      <a:pt x="1150519" y="514236"/>
                      <a:pt x="1152688" y="525331"/>
                    </a:cubicBezTo>
                    <a:cubicBezTo>
                      <a:pt x="1155775" y="539513"/>
                      <a:pt x="1164201" y="547021"/>
                      <a:pt x="1172210" y="554111"/>
                    </a:cubicBezTo>
                    <a:cubicBezTo>
                      <a:pt x="1177550" y="558950"/>
                      <a:pt x="1182388" y="563455"/>
                      <a:pt x="1185058" y="569628"/>
                    </a:cubicBezTo>
                    <a:cubicBezTo>
                      <a:pt x="1187727" y="575801"/>
                      <a:pt x="1188144" y="582474"/>
                      <a:pt x="1188561" y="589982"/>
                    </a:cubicBezTo>
                    <a:cubicBezTo>
                      <a:pt x="1189480" y="599742"/>
                      <a:pt x="1189897" y="609919"/>
                      <a:pt x="1196070" y="619680"/>
                    </a:cubicBezTo>
                    <a:cubicBezTo>
                      <a:pt x="1200075" y="625853"/>
                      <a:pt x="1205831" y="630274"/>
                      <a:pt x="1211171" y="635196"/>
                    </a:cubicBezTo>
                    <a:cubicBezTo>
                      <a:pt x="1223100" y="644956"/>
                      <a:pt x="1228857" y="650712"/>
                      <a:pt x="1224435" y="661307"/>
                    </a:cubicBezTo>
                    <a:cubicBezTo>
                      <a:pt x="1223100" y="664393"/>
                      <a:pt x="1220932" y="667480"/>
                      <a:pt x="1217761" y="671067"/>
                    </a:cubicBezTo>
                    <a:cubicBezTo>
                      <a:pt x="1215092" y="674153"/>
                      <a:pt x="1212922" y="677240"/>
                      <a:pt x="1210670" y="680827"/>
                    </a:cubicBezTo>
                    <a:cubicBezTo>
                      <a:pt x="1208001" y="685248"/>
                      <a:pt x="1206248" y="690587"/>
                      <a:pt x="1204496" y="695008"/>
                    </a:cubicBezTo>
                    <a:cubicBezTo>
                      <a:pt x="1203161" y="699430"/>
                      <a:pt x="1201410" y="703434"/>
                      <a:pt x="1199157" y="707438"/>
                    </a:cubicBezTo>
                    <a:lnTo>
                      <a:pt x="1198239" y="708773"/>
                    </a:lnTo>
                    <a:cubicBezTo>
                      <a:pt x="1192483" y="718950"/>
                      <a:pt x="1188478" y="726458"/>
                      <a:pt x="1192900" y="741974"/>
                    </a:cubicBezTo>
                    <a:lnTo>
                      <a:pt x="1194652" y="747313"/>
                    </a:lnTo>
                    <a:cubicBezTo>
                      <a:pt x="1196904" y="754821"/>
                      <a:pt x="1198156" y="758825"/>
                      <a:pt x="1196904" y="767251"/>
                    </a:cubicBezTo>
                    <a:cubicBezTo>
                      <a:pt x="1196487" y="770337"/>
                      <a:pt x="1195570" y="773424"/>
                      <a:pt x="1195153" y="776594"/>
                    </a:cubicBezTo>
                    <a:cubicBezTo>
                      <a:pt x="1191648" y="792110"/>
                      <a:pt x="1187144" y="812882"/>
                      <a:pt x="1208918" y="824894"/>
                    </a:cubicBezTo>
                    <a:cubicBezTo>
                      <a:pt x="1224435" y="833320"/>
                      <a:pt x="1239452" y="827981"/>
                      <a:pt x="1252300" y="823142"/>
                    </a:cubicBezTo>
                    <a:cubicBezTo>
                      <a:pt x="1259391" y="820473"/>
                      <a:pt x="1266482" y="818304"/>
                      <a:pt x="1273157" y="817804"/>
                    </a:cubicBezTo>
                    <a:cubicBezTo>
                      <a:pt x="1282501" y="816886"/>
                      <a:pt x="1291761" y="821808"/>
                      <a:pt x="1301939" y="826229"/>
                    </a:cubicBezTo>
                    <a:cubicBezTo>
                      <a:pt x="1310782" y="829733"/>
                      <a:pt x="1319626" y="834238"/>
                      <a:pt x="1329387" y="835072"/>
                    </a:cubicBezTo>
                    <a:cubicBezTo>
                      <a:pt x="1344904" y="837324"/>
                      <a:pt x="1358586" y="835989"/>
                      <a:pt x="1371016" y="831985"/>
                    </a:cubicBezTo>
                    <a:cubicBezTo>
                      <a:pt x="1374103" y="831067"/>
                      <a:pt x="1377190" y="829315"/>
                      <a:pt x="1380777" y="827147"/>
                    </a:cubicBezTo>
                    <a:cubicBezTo>
                      <a:pt x="1383447" y="825812"/>
                      <a:pt x="1386117" y="824060"/>
                      <a:pt x="1389203" y="823142"/>
                    </a:cubicBezTo>
                    <a:cubicBezTo>
                      <a:pt x="1387868" y="831568"/>
                      <a:pt x="1385700" y="839993"/>
                      <a:pt x="1381194" y="846584"/>
                    </a:cubicBezTo>
                    <a:cubicBezTo>
                      <a:pt x="1376773" y="853674"/>
                      <a:pt x="1370599" y="857678"/>
                      <a:pt x="1362590" y="862517"/>
                    </a:cubicBezTo>
                    <a:cubicBezTo>
                      <a:pt x="1359920" y="864269"/>
                      <a:pt x="1357251" y="866020"/>
                      <a:pt x="1354581" y="867856"/>
                    </a:cubicBezTo>
                    <a:cubicBezTo>
                      <a:pt x="1352329" y="869191"/>
                      <a:pt x="1350159" y="870943"/>
                      <a:pt x="1347907" y="873195"/>
                    </a:cubicBezTo>
                    <a:cubicBezTo>
                      <a:pt x="1344403" y="875864"/>
                      <a:pt x="1341233" y="878534"/>
                      <a:pt x="1337729" y="879868"/>
                    </a:cubicBezTo>
                    <a:cubicBezTo>
                      <a:pt x="1334225" y="881620"/>
                      <a:pt x="1329303" y="882121"/>
                      <a:pt x="1324881" y="882538"/>
                    </a:cubicBezTo>
                    <a:cubicBezTo>
                      <a:pt x="1320043" y="882955"/>
                      <a:pt x="1314703" y="883456"/>
                      <a:pt x="1308947" y="885624"/>
                    </a:cubicBezTo>
                    <a:cubicBezTo>
                      <a:pt x="1289008" y="893132"/>
                      <a:pt x="1279748" y="915322"/>
                      <a:pt x="1284586" y="945437"/>
                    </a:cubicBezTo>
                    <a:cubicBezTo>
                      <a:pt x="1285921" y="954280"/>
                      <a:pt x="1289925" y="961370"/>
                      <a:pt x="1293429" y="967543"/>
                    </a:cubicBezTo>
                    <a:cubicBezTo>
                      <a:pt x="1295682" y="971047"/>
                      <a:pt x="1297433" y="975051"/>
                      <a:pt x="1299186" y="979472"/>
                    </a:cubicBezTo>
                    <a:cubicBezTo>
                      <a:pt x="1301856" y="986980"/>
                      <a:pt x="1300938" y="987898"/>
                      <a:pt x="1296516" y="991902"/>
                    </a:cubicBezTo>
                    <a:cubicBezTo>
                      <a:pt x="1293429" y="994989"/>
                      <a:pt x="1288507" y="998993"/>
                      <a:pt x="1286338" y="1006501"/>
                    </a:cubicBezTo>
                    <a:cubicBezTo>
                      <a:pt x="1283668" y="1013592"/>
                      <a:pt x="1285420" y="1019765"/>
                      <a:pt x="1286755" y="1024686"/>
                    </a:cubicBezTo>
                    <a:cubicBezTo>
                      <a:pt x="1287673" y="1028190"/>
                      <a:pt x="1288507" y="1030859"/>
                      <a:pt x="1288090" y="1034030"/>
                    </a:cubicBezTo>
                    <a:cubicBezTo>
                      <a:pt x="1287673" y="1037116"/>
                      <a:pt x="1286755" y="1039786"/>
                      <a:pt x="1285420" y="1042455"/>
                    </a:cubicBezTo>
                    <a:cubicBezTo>
                      <a:pt x="1282334" y="1048628"/>
                      <a:pt x="1278746" y="1056636"/>
                      <a:pt x="1285420" y="1068149"/>
                    </a:cubicBezTo>
                    <a:cubicBezTo>
                      <a:pt x="1291176" y="1078326"/>
                      <a:pt x="1300520" y="1084499"/>
                      <a:pt x="1309781" y="1091173"/>
                    </a:cubicBezTo>
                    <a:cubicBezTo>
                      <a:pt x="1321711" y="1099598"/>
                      <a:pt x="1331889" y="1107106"/>
                      <a:pt x="1332807" y="1120370"/>
                    </a:cubicBezTo>
                    <a:cubicBezTo>
                      <a:pt x="1333224" y="1127461"/>
                      <a:pt x="1329720" y="1133217"/>
                      <a:pt x="1326133" y="1140307"/>
                    </a:cubicBezTo>
                    <a:cubicBezTo>
                      <a:pt x="1324798" y="1142559"/>
                      <a:pt x="1323463" y="1144728"/>
                      <a:pt x="1322629" y="1146981"/>
                    </a:cubicBezTo>
                    <a:cubicBezTo>
                      <a:pt x="1315120" y="1161580"/>
                      <a:pt x="1319124" y="1168670"/>
                      <a:pt x="1323046" y="1175761"/>
                    </a:cubicBezTo>
                    <a:cubicBezTo>
                      <a:pt x="1324381" y="1178430"/>
                      <a:pt x="1326133" y="1181100"/>
                      <a:pt x="1327467" y="1185521"/>
                    </a:cubicBezTo>
                    <a:cubicBezTo>
                      <a:pt x="1330554" y="1195281"/>
                      <a:pt x="1327467" y="1199285"/>
                      <a:pt x="1321294" y="1207627"/>
                    </a:cubicBezTo>
                    <a:cubicBezTo>
                      <a:pt x="1319959" y="1210297"/>
                      <a:pt x="1317790" y="1212466"/>
                      <a:pt x="1316455" y="1215135"/>
                    </a:cubicBezTo>
                    <a:cubicBezTo>
                      <a:pt x="1309364" y="1226230"/>
                      <a:pt x="1308029" y="1236825"/>
                      <a:pt x="1306694" y="1246585"/>
                    </a:cubicBezTo>
                    <a:cubicBezTo>
                      <a:pt x="1306277" y="1252341"/>
                      <a:pt x="1305359" y="1257680"/>
                      <a:pt x="1303607" y="1263436"/>
                    </a:cubicBezTo>
                    <a:cubicBezTo>
                      <a:pt x="1301355" y="1270944"/>
                      <a:pt x="1296099" y="1277200"/>
                      <a:pt x="1290759" y="1283374"/>
                    </a:cubicBezTo>
                    <a:cubicBezTo>
                      <a:pt x="1287256" y="1287378"/>
                      <a:pt x="1283668" y="1291382"/>
                      <a:pt x="1280582" y="1295803"/>
                    </a:cubicBezTo>
                    <a:lnTo>
                      <a:pt x="1277078" y="1301142"/>
                    </a:lnTo>
                    <a:cubicBezTo>
                      <a:pt x="1272239" y="1308233"/>
                      <a:pt x="1267734" y="1314906"/>
                      <a:pt x="1260726" y="1320662"/>
                    </a:cubicBezTo>
                    <a:cubicBezTo>
                      <a:pt x="1258474" y="1322414"/>
                      <a:pt x="1256304" y="1323749"/>
                      <a:pt x="1254052" y="1325084"/>
                    </a:cubicBezTo>
                    <a:cubicBezTo>
                      <a:pt x="1247878" y="1328587"/>
                      <a:pt x="1240286" y="1333092"/>
                      <a:pt x="1239869" y="1344103"/>
                    </a:cubicBezTo>
                    <a:cubicBezTo>
                      <a:pt x="1239452" y="1348525"/>
                      <a:pt x="1242122" y="1352112"/>
                      <a:pt x="1244291" y="1356033"/>
                    </a:cubicBezTo>
                    <a:cubicBezTo>
                      <a:pt x="1245209" y="1356950"/>
                      <a:pt x="1245626" y="1358285"/>
                      <a:pt x="1246043" y="1358702"/>
                    </a:cubicBezTo>
                    <a:cubicBezTo>
                      <a:pt x="1248296" y="1364041"/>
                      <a:pt x="1248296" y="1364041"/>
                      <a:pt x="1243373" y="1370631"/>
                    </a:cubicBezTo>
                    <a:cubicBezTo>
                      <a:pt x="1241621" y="1373301"/>
                      <a:pt x="1240286" y="1375053"/>
                      <a:pt x="1238534" y="1377305"/>
                    </a:cubicBezTo>
                    <a:cubicBezTo>
                      <a:pt x="1232778" y="1384396"/>
                      <a:pt x="1227439" y="1391069"/>
                      <a:pt x="1226104" y="1405251"/>
                    </a:cubicBezTo>
                    <a:cubicBezTo>
                      <a:pt x="1225186" y="1415428"/>
                      <a:pt x="1227022" y="1426940"/>
                      <a:pt x="1230526" y="1440204"/>
                    </a:cubicBezTo>
                    <a:cubicBezTo>
                      <a:pt x="1235865" y="1460559"/>
                      <a:pt x="1248713" y="1497347"/>
                      <a:pt x="1271321" y="1511946"/>
                    </a:cubicBezTo>
                    <a:cubicBezTo>
                      <a:pt x="1282834" y="1519454"/>
                      <a:pt x="1294764" y="1517285"/>
                      <a:pt x="1304108" y="1515449"/>
                    </a:cubicBezTo>
                    <a:cubicBezTo>
                      <a:pt x="1316539" y="1513197"/>
                      <a:pt x="1320960" y="1512780"/>
                      <a:pt x="1325381" y="1522957"/>
                    </a:cubicBezTo>
                    <a:cubicBezTo>
                      <a:pt x="1335977" y="1545981"/>
                      <a:pt x="1332056" y="1561080"/>
                      <a:pt x="1311199" y="1581018"/>
                    </a:cubicBezTo>
                    <a:cubicBezTo>
                      <a:pt x="1302356" y="1589860"/>
                      <a:pt x="1289508" y="1602290"/>
                      <a:pt x="1292595" y="1620476"/>
                    </a:cubicBezTo>
                    <a:cubicBezTo>
                      <a:pt x="1295265" y="1638661"/>
                      <a:pt x="1308113" y="1643500"/>
                      <a:pt x="1319208" y="1647921"/>
                    </a:cubicBezTo>
                    <a:cubicBezTo>
                      <a:pt x="1321461" y="1648839"/>
                      <a:pt x="1323630" y="1649256"/>
                      <a:pt x="1325883" y="1650590"/>
                    </a:cubicBezTo>
                    <a:cubicBezTo>
                      <a:pt x="1346238" y="1659433"/>
                      <a:pt x="1354248" y="1680288"/>
                      <a:pt x="1344904" y="1702895"/>
                    </a:cubicBezTo>
                    <a:cubicBezTo>
                      <a:pt x="1342651" y="1708234"/>
                      <a:pt x="1339147" y="1713073"/>
                      <a:pt x="1335143" y="1718411"/>
                    </a:cubicBezTo>
                    <a:cubicBezTo>
                      <a:pt x="1331138" y="1723750"/>
                      <a:pt x="1326717" y="1729506"/>
                      <a:pt x="1324047" y="1736096"/>
                    </a:cubicBezTo>
                    <a:cubicBezTo>
                      <a:pt x="1320543" y="1744939"/>
                      <a:pt x="1321377" y="1753365"/>
                      <a:pt x="1321794" y="1760038"/>
                    </a:cubicBezTo>
                    <a:cubicBezTo>
                      <a:pt x="1322712" y="1764459"/>
                      <a:pt x="1323130" y="1768464"/>
                      <a:pt x="1322211" y="1772468"/>
                    </a:cubicBezTo>
                    <a:cubicBezTo>
                      <a:pt x="1321294" y="1776889"/>
                      <a:pt x="1319124" y="1778641"/>
                      <a:pt x="1317790" y="1779141"/>
                    </a:cubicBezTo>
                    <a:cubicBezTo>
                      <a:pt x="1308029" y="1783980"/>
                      <a:pt x="1284586" y="1772968"/>
                      <a:pt x="1269987" y="1766712"/>
                    </a:cubicBezTo>
                    <a:cubicBezTo>
                      <a:pt x="1263813" y="1764042"/>
                      <a:pt x="1258474" y="1761373"/>
                      <a:pt x="1254469" y="1760038"/>
                    </a:cubicBezTo>
                    <a:cubicBezTo>
                      <a:pt x="1231443" y="1752530"/>
                      <a:pt x="1209752" y="1744105"/>
                      <a:pt x="1195069" y="1722415"/>
                    </a:cubicBezTo>
                    <a:cubicBezTo>
                      <a:pt x="1194151" y="1721081"/>
                      <a:pt x="1192817" y="1719329"/>
                      <a:pt x="1192400" y="1717994"/>
                    </a:cubicBezTo>
                    <a:cubicBezTo>
                      <a:pt x="1188895" y="1711321"/>
                      <a:pt x="1184390" y="1704230"/>
                      <a:pt x="1172043" y="1702478"/>
                    </a:cubicBezTo>
                    <a:cubicBezTo>
                      <a:pt x="1160113" y="1700226"/>
                      <a:pt x="1145931" y="1707316"/>
                      <a:pt x="1130831" y="1722415"/>
                    </a:cubicBezTo>
                    <a:cubicBezTo>
                      <a:pt x="1128161" y="1717077"/>
                      <a:pt x="1126408" y="1710904"/>
                      <a:pt x="1124157" y="1704731"/>
                    </a:cubicBezTo>
                    <a:cubicBezTo>
                      <a:pt x="1120151" y="1691884"/>
                      <a:pt x="1116147" y="1679037"/>
                      <a:pt x="1104634" y="1668860"/>
                    </a:cubicBezTo>
                    <a:cubicBezTo>
                      <a:pt x="1080274" y="1647170"/>
                      <a:pt x="1045234" y="1653343"/>
                      <a:pt x="1014283" y="1658682"/>
                    </a:cubicBezTo>
                    <a:cubicBezTo>
                      <a:pt x="1005857" y="1660017"/>
                      <a:pt x="998348" y="1661352"/>
                      <a:pt x="990840" y="1662186"/>
                    </a:cubicBezTo>
                    <a:cubicBezTo>
                      <a:pt x="970484" y="1664438"/>
                      <a:pt x="952714" y="1661268"/>
                      <a:pt x="937197" y="1653343"/>
                    </a:cubicBezTo>
                    <a:cubicBezTo>
                      <a:pt x="931023" y="1650257"/>
                      <a:pt x="925267" y="1645836"/>
                      <a:pt x="919010" y="1640914"/>
                    </a:cubicBezTo>
                    <a:cubicBezTo>
                      <a:pt x="905244" y="1630319"/>
                      <a:pt x="889810" y="1618307"/>
                      <a:pt x="869371" y="1621894"/>
                    </a:cubicBezTo>
                    <a:cubicBezTo>
                      <a:pt x="850767" y="1625398"/>
                      <a:pt x="839671" y="1638745"/>
                      <a:pt x="829910" y="1650674"/>
                    </a:cubicBezTo>
                    <a:cubicBezTo>
                      <a:pt x="826406" y="1655095"/>
                      <a:pt x="822819" y="1659099"/>
                      <a:pt x="819315" y="1663103"/>
                    </a:cubicBezTo>
                    <a:cubicBezTo>
                      <a:pt x="803380" y="1678620"/>
                      <a:pt x="779437" y="1686128"/>
                      <a:pt x="757746" y="1692301"/>
                    </a:cubicBezTo>
                    <a:lnTo>
                      <a:pt x="755076" y="1693218"/>
                    </a:lnTo>
                    <a:cubicBezTo>
                      <a:pt x="748402" y="1695471"/>
                      <a:pt x="741811" y="1696722"/>
                      <a:pt x="735137" y="1698557"/>
                    </a:cubicBezTo>
                    <a:cubicBezTo>
                      <a:pt x="720037" y="1702562"/>
                      <a:pt x="704603" y="1706566"/>
                      <a:pt x="690420" y="1713656"/>
                    </a:cubicBezTo>
                    <a:cubicBezTo>
                      <a:pt x="684247" y="1716743"/>
                      <a:pt x="678907" y="1719829"/>
                      <a:pt x="673568" y="1722499"/>
                    </a:cubicBezTo>
                    <a:cubicBezTo>
                      <a:pt x="658968" y="1730925"/>
                      <a:pt x="647872" y="1738015"/>
                      <a:pt x="628851" y="1738015"/>
                    </a:cubicBezTo>
                    <a:lnTo>
                      <a:pt x="618256" y="1738015"/>
                    </a:lnTo>
                    <a:cubicBezTo>
                      <a:pt x="589057" y="1738432"/>
                      <a:pt x="556687" y="1738432"/>
                      <a:pt x="531409" y="1729590"/>
                    </a:cubicBezTo>
                    <a:cubicBezTo>
                      <a:pt x="517643" y="1724752"/>
                      <a:pt x="509718" y="1717661"/>
                      <a:pt x="506631" y="1707483"/>
                    </a:cubicBezTo>
                    <a:cubicBezTo>
                      <a:pt x="505296" y="1703062"/>
                      <a:pt x="504378" y="1698641"/>
                      <a:pt x="503961" y="1693719"/>
                    </a:cubicBezTo>
                    <a:cubicBezTo>
                      <a:pt x="503043" y="1687546"/>
                      <a:pt x="502209" y="1681790"/>
                      <a:pt x="499957" y="1675116"/>
                    </a:cubicBezTo>
                    <a:cubicBezTo>
                      <a:pt x="498622" y="1671612"/>
                      <a:pt x="496870" y="1668443"/>
                      <a:pt x="495535" y="1664939"/>
                    </a:cubicBezTo>
                    <a:cubicBezTo>
                      <a:pt x="492448" y="1657848"/>
                      <a:pt x="488861" y="1650757"/>
                      <a:pt x="488861" y="1643250"/>
                    </a:cubicBezTo>
                    <a:cubicBezTo>
                      <a:pt x="488444" y="1631321"/>
                      <a:pt x="495034" y="1621143"/>
                      <a:pt x="501708" y="1609548"/>
                    </a:cubicBezTo>
                    <a:cubicBezTo>
                      <a:pt x="505713" y="1603375"/>
                      <a:pt x="509718" y="1596701"/>
                      <a:pt x="512804" y="1589610"/>
                    </a:cubicBezTo>
                    <a:cubicBezTo>
                      <a:pt x="521648" y="1568338"/>
                      <a:pt x="520814" y="1544396"/>
                      <a:pt x="511052" y="1524042"/>
                    </a:cubicBezTo>
                    <a:cubicBezTo>
                      <a:pt x="502209" y="1505439"/>
                      <a:pt x="486274" y="1491257"/>
                      <a:pt x="467170" y="1485084"/>
                    </a:cubicBezTo>
                    <a:cubicBezTo>
                      <a:pt x="447648" y="1478911"/>
                      <a:pt x="435718" y="1485501"/>
                      <a:pt x="424205" y="1492175"/>
                    </a:cubicBezTo>
                    <a:cubicBezTo>
                      <a:pt x="419366" y="1494845"/>
                      <a:pt x="414027" y="1497514"/>
                      <a:pt x="407853" y="1499683"/>
                    </a:cubicBezTo>
                    <a:cubicBezTo>
                      <a:pt x="393671" y="1504104"/>
                      <a:pt x="376819" y="1496596"/>
                      <a:pt x="362636" y="1489506"/>
                    </a:cubicBezTo>
                    <a:cubicBezTo>
                      <a:pt x="352458" y="1484667"/>
                      <a:pt x="346702" y="1478911"/>
                      <a:pt x="340528" y="1471820"/>
                    </a:cubicBezTo>
                    <a:cubicBezTo>
                      <a:pt x="336106" y="1467399"/>
                      <a:pt x="332102" y="1462978"/>
                      <a:pt x="326345" y="1458056"/>
                    </a:cubicBezTo>
                    <a:cubicBezTo>
                      <a:pt x="317502" y="1450965"/>
                      <a:pt x="309076" y="1448296"/>
                      <a:pt x="301067" y="1450965"/>
                    </a:cubicBezTo>
                    <a:cubicBezTo>
                      <a:pt x="285133" y="1455386"/>
                      <a:pt x="278041" y="1477993"/>
                      <a:pt x="271367" y="1497931"/>
                    </a:cubicBezTo>
                    <a:cubicBezTo>
                      <a:pt x="268280" y="1507691"/>
                      <a:pt x="264693" y="1517452"/>
                      <a:pt x="261606" y="1521372"/>
                    </a:cubicBezTo>
                    <a:cubicBezTo>
                      <a:pt x="247424" y="1539057"/>
                      <a:pt x="220393" y="1556826"/>
                      <a:pt x="199620" y="1556325"/>
                    </a:cubicBezTo>
                    <a:cubicBezTo>
                      <a:pt x="189859" y="1555408"/>
                      <a:pt x="182351" y="1550986"/>
                      <a:pt x="177011" y="1542144"/>
                    </a:cubicBezTo>
                    <a:cubicBezTo>
                      <a:pt x="172172" y="1534136"/>
                      <a:pt x="168585" y="1524459"/>
                      <a:pt x="165498" y="1514698"/>
                    </a:cubicBezTo>
                    <a:cubicBezTo>
                      <a:pt x="162412" y="1505856"/>
                      <a:pt x="159325" y="1496096"/>
                      <a:pt x="154903" y="1487253"/>
                    </a:cubicBezTo>
                    <a:cubicBezTo>
                      <a:pt x="142973" y="1465564"/>
                      <a:pt x="135382" y="1449130"/>
                      <a:pt x="143390" y="1428775"/>
                    </a:cubicBezTo>
                    <a:cubicBezTo>
                      <a:pt x="146060" y="1422102"/>
                      <a:pt x="148730" y="1416346"/>
                      <a:pt x="151816" y="1410173"/>
                    </a:cubicBezTo>
                    <a:cubicBezTo>
                      <a:pt x="157156" y="1399078"/>
                      <a:pt x="162412" y="1387566"/>
                      <a:pt x="165582" y="1373384"/>
                    </a:cubicBezTo>
                    <a:cubicBezTo>
                      <a:pt x="166500" y="1370297"/>
                      <a:pt x="167334" y="1367211"/>
                      <a:pt x="168252" y="1363624"/>
                    </a:cubicBezTo>
                    <a:cubicBezTo>
                      <a:pt x="170504" y="1356950"/>
                      <a:pt x="172673" y="1349442"/>
                      <a:pt x="172673" y="1341934"/>
                    </a:cubicBezTo>
                    <a:cubicBezTo>
                      <a:pt x="172256" y="1333509"/>
                      <a:pt x="170004" y="1324667"/>
                      <a:pt x="167334" y="1316658"/>
                    </a:cubicBezTo>
                    <a:cubicBezTo>
                      <a:pt x="165582" y="1310485"/>
                      <a:pt x="163830" y="1304729"/>
                      <a:pt x="163330" y="1299390"/>
                    </a:cubicBezTo>
                    <a:cubicBezTo>
                      <a:pt x="160243" y="1274114"/>
                      <a:pt x="163330" y="1258180"/>
                      <a:pt x="173925" y="1244917"/>
                    </a:cubicBezTo>
                    <a:cubicBezTo>
                      <a:pt x="178346" y="1239578"/>
                      <a:pt x="183268" y="1235156"/>
                      <a:pt x="188524" y="1230735"/>
                    </a:cubicBezTo>
                    <a:cubicBezTo>
                      <a:pt x="199620" y="1221392"/>
                      <a:pt x="210632" y="1211715"/>
                      <a:pt x="214637" y="1194447"/>
                    </a:cubicBezTo>
                    <a:cubicBezTo>
                      <a:pt x="216889" y="1184270"/>
                      <a:pt x="217306" y="1174093"/>
                      <a:pt x="217724" y="1163915"/>
                    </a:cubicBezTo>
                    <a:cubicBezTo>
                      <a:pt x="218141" y="1151486"/>
                      <a:pt x="218641" y="1139974"/>
                      <a:pt x="222563" y="1128461"/>
                    </a:cubicBezTo>
                    <a:cubicBezTo>
                      <a:pt x="225232" y="1120453"/>
                      <a:pt x="229237" y="1113863"/>
                      <a:pt x="233158" y="1105854"/>
                    </a:cubicBezTo>
                    <a:cubicBezTo>
                      <a:pt x="240249" y="1092591"/>
                      <a:pt x="247757" y="1078409"/>
                      <a:pt x="248258" y="1061558"/>
                    </a:cubicBezTo>
                    <a:cubicBezTo>
                      <a:pt x="248675" y="1041204"/>
                      <a:pt x="239832" y="1015010"/>
                      <a:pt x="226984" y="997742"/>
                    </a:cubicBezTo>
                    <a:cubicBezTo>
                      <a:pt x="214554" y="981391"/>
                      <a:pt x="196450" y="972465"/>
                      <a:pt x="178680" y="964040"/>
                    </a:cubicBezTo>
                    <a:cubicBezTo>
                      <a:pt x="172006" y="960953"/>
                      <a:pt x="165415" y="957366"/>
                      <a:pt x="159158" y="953862"/>
                    </a:cubicBezTo>
                    <a:cubicBezTo>
                      <a:pt x="151149" y="949024"/>
                      <a:pt x="143641" y="943685"/>
                      <a:pt x="135715" y="937929"/>
                    </a:cubicBezTo>
                    <a:cubicBezTo>
                      <a:pt x="123285" y="929086"/>
                      <a:pt x="110437" y="919744"/>
                      <a:pt x="96254" y="913987"/>
                    </a:cubicBezTo>
                    <a:cubicBezTo>
                      <a:pt x="88245" y="910901"/>
                      <a:pt x="78985" y="909566"/>
                      <a:pt x="70142" y="908648"/>
                    </a:cubicBezTo>
                    <a:cubicBezTo>
                      <a:pt x="59546" y="907314"/>
                      <a:pt x="49285" y="905979"/>
                      <a:pt x="42194" y="901141"/>
                    </a:cubicBezTo>
                    <a:cubicBezTo>
                      <a:pt x="30681" y="892715"/>
                      <a:pt x="33350" y="882955"/>
                      <a:pt x="42194" y="864352"/>
                    </a:cubicBezTo>
                    <a:lnTo>
                      <a:pt x="44446" y="859514"/>
                    </a:lnTo>
                    <a:cubicBezTo>
                      <a:pt x="55041" y="836073"/>
                      <a:pt x="51538" y="812548"/>
                      <a:pt x="34685" y="793111"/>
                    </a:cubicBezTo>
                    <a:cubicBezTo>
                      <a:pt x="30264" y="787772"/>
                      <a:pt x="24090" y="784268"/>
                      <a:pt x="17416" y="780264"/>
                    </a:cubicBezTo>
                    <a:cubicBezTo>
                      <a:pt x="9407" y="775426"/>
                      <a:pt x="1899" y="770921"/>
                      <a:pt x="147" y="764748"/>
                    </a:cubicBezTo>
                    <a:cubicBezTo>
                      <a:pt x="-771" y="760327"/>
                      <a:pt x="2816" y="754154"/>
                      <a:pt x="5486" y="748815"/>
                    </a:cubicBezTo>
                    <a:cubicBezTo>
                      <a:pt x="6821" y="747063"/>
                      <a:pt x="7738" y="745311"/>
                      <a:pt x="8573" y="743476"/>
                    </a:cubicBezTo>
                    <a:cubicBezTo>
                      <a:pt x="15247" y="730629"/>
                      <a:pt x="18751" y="718200"/>
                      <a:pt x="20085" y="703184"/>
                    </a:cubicBezTo>
                    <a:cubicBezTo>
                      <a:pt x="20503" y="698345"/>
                      <a:pt x="21003" y="693006"/>
                      <a:pt x="21003" y="688085"/>
                    </a:cubicBezTo>
                    <a:cubicBezTo>
                      <a:pt x="21921" y="673486"/>
                      <a:pt x="22338" y="657970"/>
                      <a:pt x="29429" y="646041"/>
                    </a:cubicBezTo>
                    <a:cubicBezTo>
                      <a:pt x="34769" y="637198"/>
                      <a:pt x="44029" y="632276"/>
                      <a:pt x="54207" y="627021"/>
                    </a:cubicBezTo>
                    <a:cubicBezTo>
                      <a:pt x="62633" y="622182"/>
                      <a:pt x="71477" y="617261"/>
                      <a:pt x="78568" y="609753"/>
                    </a:cubicBezTo>
                    <a:cubicBezTo>
                      <a:pt x="88746" y="599158"/>
                      <a:pt x="97172" y="585811"/>
                      <a:pt x="105181" y="573465"/>
                    </a:cubicBezTo>
                    <a:cubicBezTo>
                      <a:pt x="110019" y="565457"/>
                      <a:pt x="115359" y="557532"/>
                      <a:pt x="120698" y="550441"/>
                    </a:cubicBezTo>
                    <a:cubicBezTo>
                      <a:pt x="131293" y="536259"/>
                      <a:pt x="137050" y="521661"/>
                      <a:pt x="142806" y="507479"/>
                    </a:cubicBezTo>
                    <a:cubicBezTo>
                      <a:pt x="146310" y="498637"/>
                      <a:pt x="150315" y="489294"/>
                      <a:pt x="155237" y="480451"/>
                    </a:cubicBezTo>
                    <a:cubicBezTo>
                      <a:pt x="160076" y="471608"/>
                      <a:pt x="167167" y="463600"/>
                      <a:pt x="174258" y="455174"/>
                    </a:cubicBezTo>
                    <a:cubicBezTo>
                      <a:pt x="176928" y="452088"/>
                      <a:pt x="179598" y="449001"/>
                      <a:pt x="182267" y="445832"/>
                    </a:cubicBezTo>
                    <a:cubicBezTo>
                      <a:pt x="185771" y="440993"/>
                      <a:pt x="189776" y="436071"/>
                      <a:pt x="192863" y="431233"/>
                    </a:cubicBezTo>
                    <a:cubicBezTo>
                      <a:pt x="194197" y="428980"/>
                      <a:pt x="195532" y="427229"/>
                      <a:pt x="196366" y="425060"/>
                    </a:cubicBezTo>
                    <a:cubicBezTo>
                      <a:pt x="199453" y="418386"/>
                      <a:pt x="202540" y="412213"/>
                      <a:pt x="204792" y="406457"/>
                    </a:cubicBezTo>
                    <a:cubicBezTo>
                      <a:pt x="211467" y="391358"/>
                      <a:pt x="216723" y="379429"/>
                      <a:pt x="230071" y="366999"/>
                    </a:cubicBezTo>
                    <a:cubicBezTo>
                      <a:pt x="246422" y="351483"/>
                      <a:pt x="259270" y="336467"/>
                      <a:pt x="270366" y="314277"/>
                    </a:cubicBezTo>
                    <a:cubicBezTo>
                      <a:pt x="279209" y="295675"/>
                      <a:pt x="286301" y="293923"/>
                      <a:pt x="307574" y="290336"/>
                    </a:cubicBezTo>
                    <a:cubicBezTo>
                      <a:pt x="331017" y="286832"/>
                      <a:pt x="344366" y="279741"/>
                      <a:pt x="348787" y="254048"/>
                    </a:cubicBezTo>
                    <a:lnTo>
                      <a:pt x="349705" y="248709"/>
                    </a:lnTo>
                    <a:cubicBezTo>
                      <a:pt x="351957" y="237614"/>
                      <a:pt x="352792" y="230523"/>
                      <a:pt x="359049" y="220763"/>
                    </a:cubicBezTo>
                    <a:cubicBezTo>
                      <a:pt x="361718" y="216342"/>
                      <a:pt x="364805" y="212338"/>
                      <a:pt x="367892" y="208333"/>
                    </a:cubicBezTo>
                    <a:cubicBezTo>
                      <a:pt x="372731" y="201660"/>
                      <a:pt x="377653" y="195069"/>
                      <a:pt x="381657" y="187061"/>
                    </a:cubicBezTo>
                    <a:cubicBezTo>
                      <a:pt x="385161" y="180888"/>
                      <a:pt x="387831" y="174214"/>
                      <a:pt x="390501" y="167541"/>
                    </a:cubicBezTo>
                    <a:cubicBezTo>
                      <a:pt x="395840" y="154694"/>
                      <a:pt x="400679" y="142765"/>
                      <a:pt x="410022" y="133422"/>
                    </a:cubicBezTo>
                    <a:cubicBezTo>
                      <a:pt x="420618" y="122827"/>
                      <a:pt x="434383" y="115236"/>
                      <a:pt x="448566" y="107728"/>
                    </a:cubicBezTo>
                    <a:cubicBezTo>
                      <a:pt x="452987" y="105476"/>
                      <a:pt x="456992" y="103307"/>
                      <a:pt x="460996" y="101054"/>
                    </a:cubicBezTo>
                    <a:cubicBezTo>
                      <a:pt x="480518" y="89960"/>
                      <a:pt x="494701" y="78948"/>
                      <a:pt x="506631" y="63849"/>
                    </a:cubicBezTo>
                    <a:cubicBezTo>
                      <a:pt x="522148" y="44829"/>
                      <a:pt x="532743" y="32817"/>
                      <a:pt x="555352" y="31982"/>
                    </a:cubicBezTo>
                    <a:cubicBezTo>
                      <a:pt x="561526" y="31565"/>
                      <a:pt x="567783" y="32399"/>
                      <a:pt x="574874" y="33317"/>
                    </a:cubicBezTo>
                    <a:cubicBezTo>
                      <a:pt x="591226" y="35069"/>
                      <a:pt x="609830" y="36821"/>
                      <a:pt x="624930" y="25309"/>
                    </a:cubicBezTo>
                    <a:cubicBezTo>
                      <a:pt x="629769" y="21805"/>
                      <a:pt x="633773" y="16883"/>
                      <a:pt x="637778" y="13380"/>
                    </a:cubicBezTo>
                    <a:cubicBezTo>
                      <a:pt x="647122" y="3202"/>
                      <a:pt x="652878" y="-2971"/>
                      <a:pt x="666977" y="1450"/>
                    </a:cubicBezTo>
                    <a:cubicBezTo>
                      <a:pt x="676321" y="4537"/>
                      <a:pt x="680743" y="11211"/>
                      <a:pt x="685999" y="19136"/>
                    </a:cubicBezTo>
                    <a:cubicBezTo>
                      <a:pt x="690003" y="25309"/>
                      <a:pt x="694424" y="31982"/>
                      <a:pt x="701516" y="37321"/>
                    </a:cubicBezTo>
                    <a:cubicBezTo>
                      <a:pt x="715698" y="47916"/>
                      <a:pt x="734303" y="43995"/>
                      <a:pt x="749320" y="40408"/>
                    </a:cubicBezTo>
                    <a:lnTo>
                      <a:pt x="757329" y="38656"/>
                    </a:lnTo>
                    <a:cubicBezTo>
                      <a:pt x="775933" y="34652"/>
                      <a:pt x="792284" y="31565"/>
                      <a:pt x="806050" y="42660"/>
                    </a:cubicBezTo>
                    <a:cubicBezTo>
                      <a:pt x="808719" y="44913"/>
                      <a:pt x="810888" y="47082"/>
                      <a:pt x="813141" y="48833"/>
                    </a:cubicBezTo>
                    <a:cubicBezTo>
                      <a:pt x="827741" y="61263"/>
                      <a:pt x="838836" y="70940"/>
                      <a:pt x="865867" y="62598"/>
                    </a:cubicBezTo>
                    <a:lnTo>
                      <a:pt x="868954" y="61680"/>
                    </a:lnTo>
                    <a:cubicBezTo>
                      <a:pt x="879549" y="58176"/>
                      <a:pt x="884054" y="56841"/>
                      <a:pt x="894232" y="59428"/>
                    </a:cubicBezTo>
                    <a:cubicBezTo>
                      <a:pt x="895984" y="59845"/>
                      <a:pt x="897319" y="60345"/>
                      <a:pt x="899071" y="60762"/>
                    </a:cubicBezTo>
                    <a:cubicBezTo>
                      <a:pt x="905745" y="63015"/>
                      <a:pt x="913253" y="65184"/>
                      <a:pt x="922097" y="62097"/>
                    </a:cubicBezTo>
                    <a:cubicBezTo>
                      <a:pt x="933192" y="58593"/>
                      <a:pt x="938949" y="49251"/>
                      <a:pt x="944205" y="41242"/>
                    </a:cubicBezTo>
                    <a:cubicBezTo>
                      <a:pt x="948626" y="34568"/>
                      <a:pt x="952213" y="28395"/>
                      <a:pt x="958387" y="26644"/>
                    </a:cubicBezTo>
                    <a:cubicBezTo>
                      <a:pt x="963726" y="24892"/>
                      <a:pt x="968983" y="26644"/>
                      <a:pt x="976991" y="29730"/>
                    </a:cubicBezTo>
                    <a:cubicBezTo>
                      <a:pt x="985834" y="33234"/>
                      <a:pt x="996931" y="37738"/>
                      <a:pt x="1010696" y="31982"/>
                    </a:cubicBezTo>
                    <a:cubicBezTo>
                      <a:pt x="1019122" y="28479"/>
                      <a:pt x="1025796" y="23140"/>
                      <a:pt x="1031970" y="17384"/>
                    </a:cubicBezTo>
                    <a:cubicBezTo>
                      <a:pt x="1036391" y="20888"/>
                      <a:pt x="1040396" y="24474"/>
                      <a:pt x="1044400" y="28479"/>
                    </a:cubicBezTo>
                    <a:cubicBezTo>
                      <a:pt x="1057248" y="39574"/>
                      <a:pt x="1068761" y="49751"/>
                      <a:pt x="1078522" y="63432"/>
                    </a:cubicBezTo>
                    <a:cubicBezTo>
                      <a:pt x="1103800" y="98886"/>
                      <a:pt x="1115313" y="146268"/>
                      <a:pt x="1125074" y="188312"/>
                    </a:cubicBezTo>
                    <a:lnTo>
                      <a:pt x="1127327" y="196738"/>
                    </a:lnTo>
                    <a:cubicBezTo>
                      <a:pt x="1135419" y="221847"/>
                      <a:pt x="1137254" y="247541"/>
                      <a:pt x="1139006" y="27456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60556630" name="Полилиния 404"/>
              <p:cNvSpPr/>
              <p:nvPr/>
            </p:nvSpPr>
            <p:spPr bwMode="auto">
              <a:xfrm>
                <a:off x="6519304" y="4149256"/>
                <a:ext cx="1682067" cy="1915794"/>
              </a:xfrm>
              <a:custGeom>
                <a:avLst/>
                <a:gdLst>
                  <a:gd name="connsiteX0" fmla="*/ 1850475 w 1889017"/>
                  <a:gd name="connsiteY0" fmla="*/ 869158 h 2151500"/>
                  <a:gd name="connsiteX1" fmla="*/ 1844301 w 1889017"/>
                  <a:gd name="connsiteY1" fmla="*/ 857646 h 2151500"/>
                  <a:gd name="connsiteX2" fmla="*/ 1843383 w 1889017"/>
                  <a:gd name="connsiteY2" fmla="*/ 847469 h 2151500"/>
                  <a:gd name="connsiteX3" fmla="*/ 1842966 w 1889017"/>
                  <a:gd name="connsiteY3" fmla="*/ 840795 h 2151500"/>
                  <a:gd name="connsiteX4" fmla="*/ 1829701 w 1889017"/>
                  <a:gd name="connsiteY4" fmla="*/ 837709 h 2151500"/>
                  <a:gd name="connsiteX5" fmla="*/ 1815936 w 1889017"/>
                  <a:gd name="connsiteY5" fmla="*/ 836374 h 2151500"/>
                  <a:gd name="connsiteX6" fmla="*/ 1764545 w 1889017"/>
                  <a:gd name="connsiteY6" fmla="*/ 766802 h 2151500"/>
                  <a:gd name="connsiteX7" fmla="*/ 1767214 w 1889017"/>
                  <a:gd name="connsiteY7" fmla="*/ 757041 h 2151500"/>
                  <a:gd name="connsiteX8" fmla="*/ 1768966 w 1889017"/>
                  <a:gd name="connsiteY8" fmla="*/ 747281 h 2151500"/>
                  <a:gd name="connsiteX9" fmla="*/ 1767214 w 1889017"/>
                  <a:gd name="connsiteY9" fmla="*/ 740190 h 2151500"/>
                  <a:gd name="connsiteX10" fmla="*/ 1764962 w 1889017"/>
                  <a:gd name="connsiteY10" fmla="*/ 726009 h 2151500"/>
                  <a:gd name="connsiteX11" fmla="*/ 1767214 w 1889017"/>
                  <a:gd name="connsiteY11" fmla="*/ 716249 h 2151500"/>
                  <a:gd name="connsiteX12" fmla="*/ 1768966 w 1889017"/>
                  <a:gd name="connsiteY12" fmla="*/ 709158 h 2151500"/>
                  <a:gd name="connsiteX13" fmla="*/ 1767214 w 1889017"/>
                  <a:gd name="connsiteY13" fmla="*/ 700732 h 2151500"/>
                  <a:gd name="connsiteX14" fmla="*/ 1764545 w 1889017"/>
                  <a:gd name="connsiteY14" fmla="*/ 690972 h 2151500"/>
                  <a:gd name="connsiteX15" fmla="*/ 1789823 w 1889017"/>
                  <a:gd name="connsiteY15" fmla="*/ 648428 h 2151500"/>
                  <a:gd name="connsiteX16" fmla="*/ 1831453 w 1889017"/>
                  <a:gd name="connsiteY16" fmla="*/ 647093 h 2151500"/>
                  <a:gd name="connsiteX17" fmla="*/ 1843383 w 1889017"/>
                  <a:gd name="connsiteY17" fmla="*/ 649762 h 2151500"/>
                  <a:gd name="connsiteX18" fmla="*/ 1889017 w 1889017"/>
                  <a:gd name="connsiteY18" fmla="*/ 636916 h 2151500"/>
                  <a:gd name="connsiteX19" fmla="*/ 1863739 w 1889017"/>
                  <a:gd name="connsiteY19" fmla="*/ 605466 h 2151500"/>
                  <a:gd name="connsiteX20" fmla="*/ 1833205 w 1889017"/>
                  <a:gd name="connsiteY20" fmla="*/ 564256 h 2151500"/>
                  <a:gd name="connsiteX21" fmla="*/ 1828366 w 1889017"/>
                  <a:gd name="connsiteY21" fmla="*/ 554496 h 2151500"/>
                  <a:gd name="connsiteX22" fmla="*/ 1816436 w 1889017"/>
                  <a:gd name="connsiteY22" fmla="*/ 538980 h 2151500"/>
                  <a:gd name="connsiteX23" fmla="*/ 1812014 w 1889017"/>
                  <a:gd name="connsiteY23" fmla="*/ 534559 h 2151500"/>
                  <a:gd name="connsiteX24" fmla="*/ 1798249 w 1889017"/>
                  <a:gd name="connsiteY24" fmla="*/ 506196 h 2151500"/>
                  <a:gd name="connsiteX25" fmla="*/ 1797332 w 1889017"/>
                  <a:gd name="connsiteY25" fmla="*/ 503109 h 2151500"/>
                  <a:gd name="connsiteX26" fmla="*/ 1767631 w 1889017"/>
                  <a:gd name="connsiteY26" fmla="*/ 476999 h 2151500"/>
                  <a:gd name="connsiteX27" fmla="*/ 1736597 w 1889017"/>
                  <a:gd name="connsiteY27" fmla="*/ 487593 h 2151500"/>
                  <a:gd name="connsiteX28" fmla="*/ 1717575 w 1889017"/>
                  <a:gd name="connsiteY28" fmla="*/ 501357 h 2151500"/>
                  <a:gd name="connsiteX29" fmla="*/ 1657341 w 1889017"/>
                  <a:gd name="connsiteY29" fmla="*/ 503109 h 2151500"/>
                  <a:gd name="connsiteX30" fmla="*/ 1637819 w 1889017"/>
                  <a:gd name="connsiteY30" fmla="*/ 465904 h 2151500"/>
                  <a:gd name="connsiteX31" fmla="*/ 1629811 w 1889017"/>
                  <a:gd name="connsiteY31" fmla="*/ 444214 h 2151500"/>
                  <a:gd name="connsiteX32" fmla="*/ 1523024 w 1889017"/>
                  <a:gd name="connsiteY32" fmla="*/ 409678 h 2151500"/>
                  <a:gd name="connsiteX33" fmla="*/ 1453446 w 1889017"/>
                  <a:gd name="connsiteY33" fmla="*/ 466404 h 2151500"/>
                  <a:gd name="connsiteX34" fmla="*/ 1435759 w 1889017"/>
                  <a:gd name="connsiteY34" fmla="*/ 524882 h 2151500"/>
                  <a:gd name="connsiteX35" fmla="*/ 1408730 w 1889017"/>
                  <a:gd name="connsiteY35" fmla="*/ 587781 h 2151500"/>
                  <a:gd name="connsiteX36" fmla="*/ 1391460 w 1889017"/>
                  <a:gd name="connsiteY36" fmla="*/ 640920 h 2151500"/>
                  <a:gd name="connsiteX37" fmla="*/ 1365348 w 1889017"/>
                  <a:gd name="connsiteY37" fmla="*/ 693642 h 2151500"/>
                  <a:gd name="connsiteX38" fmla="*/ 1345408 w 1889017"/>
                  <a:gd name="connsiteY38" fmla="*/ 711827 h 2151500"/>
                  <a:gd name="connsiteX39" fmla="*/ 1344074 w 1889017"/>
                  <a:gd name="connsiteY39" fmla="*/ 714497 h 2151500"/>
                  <a:gd name="connsiteX40" fmla="*/ 1327221 w 1889017"/>
                  <a:gd name="connsiteY40" fmla="*/ 726426 h 2151500"/>
                  <a:gd name="connsiteX41" fmla="*/ 1306865 w 1889017"/>
                  <a:gd name="connsiteY41" fmla="*/ 702484 h 2151500"/>
                  <a:gd name="connsiteX42" fmla="*/ 1306448 w 1889017"/>
                  <a:gd name="connsiteY42" fmla="*/ 699815 h 2151500"/>
                  <a:gd name="connsiteX43" fmla="*/ 1288261 w 1889017"/>
                  <a:gd name="connsiteY43" fmla="*/ 667948 h 2151500"/>
                  <a:gd name="connsiteX44" fmla="*/ 1271910 w 1889017"/>
                  <a:gd name="connsiteY44" fmla="*/ 689638 h 2151500"/>
                  <a:gd name="connsiteX45" fmla="*/ 1259979 w 1889017"/>
                  <a:gd name="connsiteY45" fmla="*/ 708657 h 2151500"/>
                  <a:gd name="connsiteX46" fmla="*/ 1193989 w 1889017"/>
                  <a:gd name="connsiteY46" fmla="*/ 736603 h 2151500"/>
                  <a:gd name="connsiteX47" fmla="*/ 1186897 w 1889017"/>
                  <a:gd name="connsiteY47" fmla="*/ 737938 h 2151500"/>
                  <a:gd name="connsiteX48" fmla="*/ 1172715 w 1889017"/>
                  <a:gd name="connsiteY48" fmla="*/ 743694 h 2151500"/>
                  <a:gd name="connsiteX49" fmla="*/ 1169628 w 1889017"/>
                  <a:gd name="connsiteY49" fmla="*/ 754789 h 2151500"/>
                  <a:gd name="connsiteX50" fmla="*/ 1164789 w 1889017"/>
                  <a:gd name="connsiteY50" fmla="*/ 772057 h 2151500"/>
                  <a:gd name="connsiteX51" fmla="*/ 1107642 w 1889017"/>
                  <a:gd name="connsiteY51" fmla="*/ 796416 h 2151500"/>
                  <a:gd name="connsiteX52" fmla="*/ 1081529 w 1889017"/>
                  <a:gd name="connsiteY52" fmla="*/ 776061 h 2151500"/>
                  <a:gd name="connsiteX53" fmla="*/ 1068681 w 1889017"/>
                  <a:gd name="connsiteY53" fmla="*/ 763214 h 2151500"/>
                  <a:gd name="connsiteX54" fmla="*/ 1046073 w 1889017"/>
                  <a:gd name="connsiteY54" fmla="*/ 719335 h 2151500"/>
                  <a:gd name="connsiteX55" fmla="*/ 1046490 w 1889017"/>
                  <a:gd name="connsiteY55" fmla="*/ 695894 h 2151500"/>
                  <a:gd name="connsiteX56" fmla="*/ 1049577 w 1889017"/>
                  <a:gd name="connsiteY56" fmla="*/ 651181 h 2151500"/>
                  <a:gd name="connsiteX57" fmla="*/ 1047324 w 1889017"/>
                  <a:gd name="connsiteY57" fmla="*/ 614893 h 2151500"/>
                  <a:gd name="connsiteX58" fmla="*/ 1044237 w 1889017"/>
                  <a:gd name="connsiteY58" fmla="*/ 584778 h 2151500"/>
                  <a:gd name="connsiteX59" fmla="*/ 1051329 w 1889017"/>
                  <a:gd name="connsiteY59" fmla="*/ 540481 h 2151500"/>
                  <a:gd name="connsiteX60" fmla="*/ 1058003 w 1889017"/>
                  <a:gd name="connsiteY60" fmla="*/ 505528 h 2151500"/>
                  <a:gd name="connsiteX61" fmla="*/ 1061090 w 1889017"/>
                  <a:gd name="connsiteY61" fmla="*/ 487343 h 2151500"/>
                  <a:gd name="connsiteX62" fmla="*/ 1063342 w 1889017"/>
                  <a:gd name="connsiteY62" fmla="*/ 447050 h 2151500"/>
                  <a:gd name="connsiteX63" fmla="*/ 1043403 w 1889017"/>
                  <a:gd name="connsiteY63" fmla="*/ 440377 h 2151500"/>
                  <a:gd name="connsiteX64" fmla="*/ 1029221 w 1889017"/>
                  <a:gd name="connsiteY64" fmla="*/ 438125 h 2151500"/>
                  <a:gd name="connsiteX65" fmla="*/ 995099 w 1889017"/>
                  <a:gd name="connsiteY65" fmla="*/ 402671 h 2151500"/>
                  <a:gd name="connsiteX66" fmla="*/ 976495 w 1889017"/>
                  <a:gd name="connsiteY66" fmla="*/ 374725 h 2151500"/>
                  <a:gd name="connsiteX67" fmla="*/ 964064 w 1889017"/>
                  <a:gd name="connsiteY67" fmla="*/ 361878 h 2151500"/>
                  <a:gd name="connsiteX68" fmla="*/ 962729 w 1889017"/>
                  <a:gd name="connsiteY68" fmla="*/ 307822 h 2151500"/>
                  <a:gd name="connsiteX69" fmla="*/ 958308 w 1889017"/>
                  <a:gd name="connsiteY69" fmla="*/ 264443 h 2151500"/>
                  <a:gd name="connsiteX70" fmla="*/ 933030 w 1889017"/>
                  <a:gd name="connsiteY70" fmla="*/ 257769 h 2151500"/>
                  <a:gd name="connsiteX71" fmla="*/ 899325 w 1889017"/>
                  <a:gd name="connsiteY71" fmla="*/ 242670 h 2151500"/>
                  <a:gd name="connsiteX72" fmla="*/ 904163 w 1889017"/>
                  <a:gd name="connsiteY72" fmla="*/ 212556 h 2151500"/>
                  <a:gd name="connsiteX73" fmla="*/ 909003 w 1889017"/>
                  <a:gd name="connsiteY73" fmla="*/ 205465 h 2151500"/>
                  <a:gd name="connsiteX74" fmla="*/ 912506 w 1889017"/>
                  <a:gd name="connsiteY74" fmla="*/ 195705 h 2151500"/>
                  <a:gd name="connsiteX75" fmla="*/ 905415 w 1889017"/>
                  <a:gd name="connsiteY75" fmla="*/ 183275 h 2151500"/>
                  <a:gd name="connsiteX76" fmla="*/ 900076 w 1889017"/>
                  <a:gd name="connsiteY76" fmla="*/ 175767 h 2151500"/>
                  <a:gd name="connsiteX77" fmla="*/ 888146 w 1889017"/>
                  <a:gd name="connsiteY77" fmla="*/ 150991 h 2151500"/>
                  <a:gd name="connsiteX78" fmla="*/ 877551 w 1889017"/>
                  <a:gd name="connsiteY78" fmla="*/ 128885 h 2151500"/>
                  <a:gd name="connsiteX79" fmla="*/ 849603 w 1889017"/>
                  <a:gd name="connsiteY79" fmla="*/ 99688 h 2151500"/>
                  <a:gd name="connsiteX80" fmla="*/ 821655 w 1889017"/>
                  <a:gd name="connsiteY80" fmla="*/ 100605 h 2151500"/>
                  <a:gd name="connsiteX81" fmla="*/ 800381 w 1889017"/>
                  <a:gd name="connsiteY81" fmla="*/ 103692 h 2151500"/>
                  <a:gd name="connsiteX82" fmla="*/ 799964 w 1889017"/>
                  <a:gd name="connsiteY82" fmla="*/ 103692 h 2151500"/>
                  <a:gd name="connsiteX83" fmla="*/ 775603 w 1889017"/>
                  <a:gd name="connsiteY83" fmla="*/ 90845 h 2151500"/>
                  <a:gd name="connsiteX84" fmla="*/ 780943 w 1889017"/>
                  <a:gd name="connsiteY84" fmla="*/ 59396 h 2151500"/>
                  <a:gd name="connsiteX85" fmla="*/ 789785 w 1889017"/>
                  <a:gd name="connsiteY85" fmla="*/ 48801 h 2151500"/>
                  <a:gd name="connsiteX86" fmla="*/ 792455 w 1889017"/>
                  <a:gd name="connsiteY86" fmla="*/ 20855 h 2151500"/>
                  <a:gd name="connsiteX87" fmla="*/ 788034 w 1889017"/>
                  <a:gd name="connsiteY87" fmla="*/ 12847 h 2151500"/>
                  <a:gd name="connsiteX88" fmla="*/ 781360 w 1889017"/>
                  <a:gd name="connsiteY88" fmla="*/ 0 h 2151500"/>
                  <a:gd name="connsiteX89" fmla="*/ 772516 w 1889017"/>
                  <a:gd name="connsiteY89" fmla="*/ 24776 h 2151500"/>
                  <a:gd name="connsiteX90" fmla="*/ 749490 w 1889017"/>
                  <a:gd name="connsiteY90" fmla="*/ 45131 h 2151500"/>
                  <a:gd name="connsiteX91" fmla="*/ 742399 w 1889017"/>
                  <a:gd name="connsiteY91" fmla="*/ 49969 h 2151500"/>
                  <a:gd name="connsiteX92" fmla="*/ 736642 w 1889017"/>
                  <a:gd name="connsiteY92" fmla="*/ 54390 h 2151500"/>
                  <a:gd name="connsiteX93" fmla="*/ 723795 w 1889017"/>
                  <a:gd name="connsiteY93" fmla="*/ 63233 h 2151500"/>
                  <a:gd name="connsiteX94" fmla="*/ 706109 w 1889017"/>
                  <a:gd name="connsiteY94" fmla="*/ 66736 h 2151500"/>
                  <a:gd name="connsiteX95" fmla="*/ 694179 w 1889017"/>
                  <a:gd name="connsiteY95" fmla="*/ 68989 h 2151500"/>
                  <a:gd name="connsiteX96" fmla="*/ 678244 w 1889017"/>
                  <a:gd name="connsiteY96" fmla="*/ 113285 h 2151500"/>
                  <a:gd name="connsiteX97" fmla="*/ 685335 w 1889017"/>
                  <a:gd name="connsiteY97" fmla="*/ 130970 h 2151500"/>
                  <a:gd name="connsiteX98" fmla="*/ 692009 w 1889017"/>
                  <a:gd name="connsiteY98" fmla="*/ 144735 h 2151500"/>
                  <a:gd name="connsiteX99" fmla="*/ 685836 w 1889017"/>
                  <a:gd name="connsiteY99" fmla="*/ 172180 h 2151500"/>
                  <a:gd name="connsiteX100" fmla="*/ 679162 w 1889017"/>
                  <a:gd name="connsiteY100" fmla="*/ 181023 h 2151500"/>
                  <a:gd name="connsiteX101" fmla="*/ 680079 w 1889017"/>
                  <a:gd name="connsiteY101" fmla="*/ 190783 h 2151500"/>
                  <a:gd name="connsiteX102" fmla="*/ 681831 w 1889017"/>
                  <a:gd name="connsiteY102" fmla="*/ 205381 h 2151500"/>
                  <a:gd name="connsiteX103" fmla="*/ 677827 w 1889017"/>
                  <a:gd name="connsiteY103" fmla="*/ 217811 h 2151500"/>
                  <a:gd name="connsiteX104" fmla="*/ 677409 w 1889017"/>
                  <a:gd name="connsiteY104" fmla="*/ 230658 h 2151500"/>
                  <a:gd name="connsiteX105" fmla="*/ 697349 w 1889017"/>
                  <a:gd name="connsiteY105" fmla="*/ 249261 h 2151500"/>
                  <a:gd name="connsiteX106" fmla="*/ 726131 w 1889017"/>
                  <a:gd name="connsiteY106" fmla="*/ 289136 h 2151500"/>
                  <a:gd name="connsiteX107" fmla="*/ 717287 w 1889017"/>
                  <a:gd name="connsiteY107" fmla="*/ 316581 h 2151500"/>
                  <a:gd name="connsiteX108" fmla="*/ 714201 w 1889017"/>
                  <a:gd name="connsiteY108" fmla="*/ 322754 h 2151500"/>
                  <a:gd name="connsiteX109" fmla="*/ 714618 w 1889017"/>
                  <a:gd name="connsiteY109" fmla="*/ 338270 h 2151500"/>
                  <a:gd name="connsiteX110" fmla="*/ 719957 w 1889017"/>
                  <a:gd name="connsiteY110" fmla="*/ 350200 h 2151500"/>
                  <a:gd name="connsiteX111" fmla="*/ 711531 w 1889017"/>
                  <a:gd name="connsiteY111" fmla="*/ 385153 h 2151500"/>
                  <a:gd name="connsiteX112" fmla="*/ 706693 w 1889017"/>
                  <a:gd name="connsiteY112" fmla="*/ 392243 h 2151500"/>
                  <a:gd name="connsiteX113" fmla="*/ 699601 w 1889017"/>
                  <a:gd name="connsiteY113" fmla="*/ 417937 h 2151500"/>
                  <a:gd name="connsiteX114" fmla="*/ 696514 w 1889017"/>
                  <a:gd name="connsiteY114" fmla="*/ 436957 h 2151500"/>
                  <a:gd name="connsiteX115" fmla="*/ 680162 w 1889017"/>
                  <a:gd name="connsiteY115" fmla="*/ 462233 h 2151500"/>
                  <a:gd name="connsiteX116" fmla="*/ 671319 w 1889017"/>
                  <a:gd name="connsiteY116" fmla="*/ 472828 h 2151500"/>
                  <a:gd name="connsiteX117" fmla="*/ 668232 w 1889017"/>
                  <a:gd name="connsiteY117" fmla="*/ 477666 h 2151500"/>
                  <a:gd name="connsiteX118" fmla="*/ 648711 w 1889017"/>
                  <a:gd name="connsiteY118" fmla="*/ 500273 h 2151500"/>
                  <a:gd name="connsiteX119" fmla="*/ 640702 w 1889017"/>
                  <a:gd name="connsiteY119" fmla="*/ 505612 h 2151500"/>
                  <a:gd name="connsiteX120" fmla="*/ 633193 w 1889017"/>
                  <a:gd name="connsiteY120" fmla="*/ 513620 h 2151500"/>
                  <a:gd name="connsiteX121" fmla="*/ 635446 w 1889017"/>
                  <a:gd name="connsiteY121" fmla="*/ 516707 h 2151500"/>
                  <a:gd name="connsiteX122" fmla="*/ 638533 w 1889017"/>
                  <a:gd name="connsiteY122" fmla="*/ 522046 h 2151500"/>
                  <a:gd name="connsiteX123" fmla="*/ 635029 w 1889017"/>
                  <a:gd name="connsiteY123" fmla="*/ 546404 h 2151500"/>
                  <a:gd name="connsiteX124" fmla="*/ 628855 w 1889017"/>
                  <a:gd name="connsiteY124" fmla="*/ 554413 h 2151500"/>
                  <a:gd name="connsiteX125" fmla="*/ 620012 w 1889017"/>
                  <a:gd name="connsiteY125" fmla="*/ 574350 h 2151500"/>
                  <a:gd name="connsiteX126" fmla="*/ 624016 w 1889017"/>
                  <a:gd name="connsiteY126" fmla="*/ 604882 h 2151500"/>
                  <a:gd name="connsiteX127" fmla="*/ 658555 w 1889017"/>
                  <a:gd name="connsiteY127" fmla="*/ 668198 h 2151500"/>
                  <a:gd name="connsiteX128" fmla="*/ 681164 w 1889017"/>
                  <a:gd name="connsiteY128" fmla="*/ 669950 h 2151500"/>
                  <a:gd name="connsiteX129" fmla="*/ 717955 w 1889017"/>
                  <a:gd name="connsiteY129" fmla="*/ 685467 h 2151500"/>
                  <a:gd name="connsiteX130" fmla="*/ 700686 w 1889017"/>
                  <a:gd name="connsiteY130" fmla="*/ 759877 h 2151500"/>
                  <a:gd name="connsiteX131" fmla="*/ 686086 w 1889017"/>
                  <a:gd name="connsiteY131" fmla="*/ 787323 h 2151500"/>
                  <a:gd name="connsiteX132" fmla="*/ 703773 w 1889017"/>
                  <a:gd name="connsiteY132" fmla="*/ 803256 h 2151500"/>
                  <a:gd name="connsiteX133" fmla="*/ 710864 w 1889017"/>
                  <a:gd name="connsiteY133" fmla="*/ 805926 h 2151500"/>
                  <a:gd name="connsiteX134" fmla="*/ 737894 w 1889017"/>
                  <a:gd name="connsiteY134" fmla="*/ 876833 h 2151500"/>
                  <a:gd name="connsiteX135" fmla="*/ 726381 w 1889017"/>
                  <a:gd name="connsiteY135" fmla="*/ 895436 h 2151500"/>
                  <a:gd name="connsiteX136" fmla="*/ 717037 w 1889017"/>
                  <a:gd name="connsiteY136" fmla="*/ 910034 h 2151500"/>
                  <a:gd name="connsiteX137" fmla="*/ 716120 w 1889017"/>
                  <a:gd name="connsiteY137" fmla="*/ 926385 h 2151500"/>
                  <a:gd name="connsiteX138" fmla="*/ 716120 w 1889017"/>
                  <a:gd name="connsiteY138" fmla="*/ 943653 h 2151500"/>
                  <a:gd name="connsiteX139" fmla="*/ 704190 w 1889017"/>
                  <a:gd name="connsiteY139" fmla="*/ 960003 h 2151500"/>
                  <a:gd name="connsiteX140" fmla="*/ 644373 w 1889017"/>
                  <a:gd name="connsiteY140" fmla="*/ 947574 h 2151500"/>
                  <a:gd name="connsiteX141" fmla="*/ 630607 w 1889017"/>
                  <a:gd name="connsiteY141" fmla="*/ 941818 h 2151500"/>
                  <a:gd name="connsiteX142" fmla="*/ 563699 w 1889017"/>
                  <a:gd name="connsiteY142" fmla="*/ 898439 h 2151500"/>
                  <a:gd name="connsiteX143" fmla="*/ 560612 w 1889017"/>
                  <a:gd name="connsiteY143" fmla="*/ 893601 h 2151500"/>
                  <a:gd name="connsiteX144" fmla="*/ 550434 w 1889017"/>
                  <a:gd name="connsiteY144" fmla="*/ 884758 h 2151500"/>
                  <a:gd name="connsiteX145" fmla="*/ 519399 w 1889017"/>
                  <a:gd name="connsiteY145" fmla="*/ 902026 h 2151500"/>
                  <a:gd name="connsiteX146" fmla="*/ 511390 w 1889017"/>
                  <a:gd name="connsiteY146" fmla="*/ 914456 h 2151500"/>
                  <a:gd name="connsiteX147" fmla="*/ 516229 w 1889017"/>
                  <a:gd name="connsiteY147" fmla="*/ 932641 h 2151500"/>
                  <a:gd name="connsiteX148" fmla="*/ 524238 w 1889017"/>
                  <a:gd name="connsiteY148" fmla="*/ 961421 h 2151500"/>
                  <a:gd name="connsiteX149" fmla="*/ 510055 w 1889017"/>
                  <a:gd name="connsiteY149" fmla="*/ 991536 h 2151500"/>
                  <a:gd name="connsiteX150" fmla="*/ 503381 w 1889017"/>
                  <a:gd name="connsiteY150" fmla="*/ 1001297 h 2151500"/>
                  <a:gd name="connsiteX151" fmla="*/ 473264 w 1889017"/>
                  <a:gd name="connsiteY151" fmla="*/ 1035833 h 2151500"/>
                  <a:gd name="connsiteX152" fmla="*/ 428964 w 1889017"/>
                  <a:gd name="connsiteY152" fmla="*/ 1093393 h 2151500"/>
                  <a:gd name="connsiteX153" fmla="*/ 422791 w 1889017"/>
                  <a:gd name="connsiteY153" fmla="*/ 1110661 h 2151500"/>
                  <a:gd name="connsiteX154" fmla="*/ 414365 w 1889017"/>
                  <a:gd name="connsiteY154" fmla="*/ 1132767 h 2151500"/>
                  <a:gd name="connsiteX155" fmla="*/ 413030 w 1889017"/>
                  <a:gd name="connsiteY155" fmla="*/ 1164217 h 2151500"/>
                  <a:gd name="connsiteX156" fmla="*/ 410360 w 1889017"/>
                  <a:gd name="connsiteY156" fmla="*/ 1210265 h 2151500"/>
                  <a:gd name="connsiteX157" fmla="*/ 387334 w 1889017"/>
                  <a:gd name="connsiteY157" fmla="*/ 1211182 h 2151500"/>
                  <a:gd name="connsiteX158" fmla="*/ 357634 w 1889017"/>
                  <a:gd name="connsiteY158" fmla="*/ 1177981 h 2151500"/>
                  <a:gd name="connsiteX159" fmla="*/ 351461 w 1889017"/>
                  <a:gd name="connsiteY159" fmla="*/ 1168221 h 2151500"/>
                  <a:gd name="connsiteX160" fmla="*/ 335109 w 1889017"/>
                  <a:gd name="connsiteY160" fmla="*/ 1147866 h 2151500"/>
                  <a:gd name="connsiteX161" fmla="*/ 323179 w 1889017"/>
                  <a:gd name="connsiteY161" fmla="*/ 1133685 h 2151500"/>
                  <a:gd name="connsiteX162" fmla="*/ 320092 w 1889017"/>
                  <a:gd name="connsiteY162" fmla="*/ 1129264 h 2151500"/>
                  <a:gd name="connsiteX163" fmla="*/ 306827 w 1889017"/>
                  <a:gd name="connsiteY163" fmla="*/ 1122173 h 2151500"/>
                  <a:gd name="connsiteX164" fmla="*/ 288223 w 1889017"/>
                  <a:gd name="connsiteY164" fmla="*/ 1146114 h 2151500"/>
                  <a:gd name="connsiteX165" fmla="*/ 269619 w 1889017"/>
                  <a:gd name="connsiteY165" fmla="*/ 1174477 h 2151500"/>
                  <a:gd name="connsiteX166" fmla="*/ 205381 w 1889017"/>
                  <a:gd name="connsiteY166" fmla="*/ 1182903 h 2151500"/>
                  <a:gd name="connsiteX167" fmla="*/ 184107 w 1889017"/>
                  <a:gd name="connsiteY167" fmla="*/ 1181568 h 2151500"/>
                  <a:gd name="connsiteX168" fmla="*/ 183189 w 1889017"/>
                  <a:gd name="connsiteY168" fmla="*/ 1181568 h 2151500"/>
                  <a:gd name="connsiteX169" fmla="*/ 136220 w 1889017"/>
                  <a:gd name="connsiteY169" fmla="*/ 1224530 h 2151500"/>
                  <a:gd name="connsiteX170" fmla="*/ 131798 w 1889017"/>
                  <a:gd name="connsiteY170" fmla="*/ 1240046 h 2151500"/>
                  <a:gd name="connsiteX171" fmla="*/ 123372 w 1889017"/>
                  <a:gd name="connsiteY171" fmla="*/ 1312705 h 2151500"/>
                  <a:gd name="connsiteX172" fmla="*/ 141559 w 1889017"/>
                  <a:gd name="connsiteY172" fmla="*/ 1337982 h 2151500"/>
                  <a:gd name="connsiteX173" fmla="*/ 161081 w 1889017"/>
                  <a:gd name="connsiteY173" fmla="*/ 1369848 h 2151500"/>
                  <a:gd name="connsiteX174" fmla="*/ 164168 w 1889017"/>
                  <a:gd name="connsiteY174" fmla="*/ 1379192 h 2151500"/>
                  <a:gd name="connsiteX175" fmla="*/ 160163 w 1889017"/>
                  <a:gd name="connsiteY175" fmla="*/ 1413728 h 2151500"/>
                  <a:gd name="connsiteX176" fmla="*/ 154407 w 1889017"/>
                  <a:gd name="connsiteY176" fmla="*/ 1419484 h 2151500"/>
                  <a:gd name="connsiteX177" fmla="*/ 149985 w 1889017"/>
                  <a:gd name="connsiteY177" fmla="*/ 1423905 h 2151500"/>
                  <a:gd name="connsiteX178" fmla="*/ 147732 w 1889017"/>
                  <a:gd name="connsiteY178" fmla="*/ 1434082 h 2151500"/>
                  <a:gd name="connsiteX179" fmla="*/ 146398 w 1889017"/>
                  <a:gd name="connsiteY179" fmla="*/ 1445177 h 2151500"/>
                  <a:gd name="connsiteX180" fmla="*/ 121119 w 1889017"/>
                  <a:gd name="connsiteY180" fmla="*/ 1467784 h 2151500"/>
                  <a:gd name="connsiteX181" fmla="*/ 114445 w 1889017"/>
                  <a:gd name="connsiteY181" fmla="*/ 1469536 h 2151500"/>
                  <a:gd name="connsiteX182" fmla="*/ 92337 w 1889017"/>
                  <a:gd name="connsiteY182" fmla="*/ 1495229 h 2151500"/>
                  <a:gd name="connsiteX183" fmla="*/ 88833 w 1889017"/>
                  <a:gd name="connsiteY183" fmla="*/ 1505824 h 2151500"/>
                  <a:gd name="connsiteX184" fmla="*/ 83077 w 1889017"/>
                  <a:gd name="connsiteY184" fmla="*/ 1530600 h 2151500"/>
                  <a:gd name="connsiteX185" fmla="*/ 89751 w 1889017"/>
                  <a:gd name="connsiteY185" fmla="*/ 1547868 h 2151500"/>
                  <a:gd name="connsiteX186" fmla="*/ 98177 w 1889017"/>
                  <a:gd name="connsiteY186" fmla="*/ 1574896 h 2151500"/>
                  <a:gd name="connsiteX187" fmla="*/ 90669 w 1889017"/>
                  <a:gd name="connsiteY187" fmla="*/ 1603676 h 2151500"/>
                  <a:gd name="connsiteX188" fmla="*/ 84495 w 1889017"/>
                  <a:gd name="connsiteY188" fmla="*/ 1624031 h 2151500"/>
                  <a:gd name="connsiteX189" fmla="*/ 86247 w 1889017"/>
                  <a:gd name="connsiteY189" fmla="*/ 1644385 h 2151500"/>
                  <a:gd name="connsiteX190" fmla="*/ 87165 w 1889017"/>
                  <a:gd name="connsiteY190" fmla="*/ 1674500 h 2151500"/>
                  <a:gd name="connsiteX191" fmla="*/ 76987 w 1889017"/>
                  <a:gd name="connsiteY191" fmla="*/ 1709954 h 2151500"/>
                  <a:gd name="connsiteX192" fmla="*/ 40195 w 1889017"/>
                  <a:gd name="connsiteY192" fmla="*/ 1731643 h 2151500"/>
                  <a:gd name="connsiteX193" fmla="*/ 21174 w 1889017"/>
                  <a:gd name="connsiteY193" fmla="*/ 1743572 h 2151500"/>
                  <a:gd name="connsiteX194" fmla="*/ 14083 w 1889017"/>
                  <a:gd name="connsiteY194" fmla="*/ 1754167 h 2151500"/>
                  <a:gd name="connsiteX195" fmla="*/ 5657 w 1889017"/>
                  <a:gd name="connsiteY195" fmla="*/ 1763009 h 2151500"/>
                  <a:gd name="connsiteX196" fmla="*/ 2570 w 1889017"/>
                  <a:gd name="connsiteY196" fmla="*/ 1774938 h 2151500"/>
                  <a:gd name="connsiteX197" fmla="*/ 16752 w 1889017"/>
                  <a:gd name="connsiteY197" fmla="*/ 1785533 h 2151500"/>
                  <a:gd name="connsiteX198" fmla="*/ 32687 w 1889017"/>
                  <a:gd name="connsiteY198" fmla="*/ 1797045 h 2151500"/>
                  <a:gd name="connsiteX199" fmla="*/ 47787 w 1889017"/>
                  <a:gd name="connsiteY199" fmla="*/ 1814730 h 2151500"/>
                  <a:gd name="connsiteX200" fmla="*/ 69895 w 1889017"/>
                  <a:gd name="connsiteY200" fmla="*/ 1838672 h 2151500"/>
                  <a:gd name="connsiteX201" fmla="*/ 89417 w 1889017"/>
                  <a:gd name="connsiteY201" fmla="*/ 1852436 h 2151500"/>
                  <a:gd name="connsiteX202" fmla="*/ 102265 w 1889017"/>
                  <a:gd name="connsiteY202" fmla="*/ 1861279 h 2151500"/>
                  <a:gd name="connsiteX203" fmla="*/ 179351 w 1889017"/>
                  <a:gd name="connsiteY203" fmla="*/ 1877629 h 2151500"/>
                  <a:gd name="connsiteX204" fmla="*/ 192616 w 1889017"/>
                  <a:gd name="connsiteY204" fmla="*/ 1885637 h 2151500"/>
                  <a:gd name="connsiteX205" fmla="*/ 220064 w 1889017"/>
                  <a:gd name="connsiteY205" fmla="*/ 1899402 h 2151500"/>
                  <a:gd name="connsiteX206" fmla="*/ 251933 w 1889017"/>
                  <a:gd name="connsiteY206" fmla="*/ 1915335 h 2151500"/>
                  <a:gd name="connsiteX207" fmla="*/ 301571 w 1889017"/>
                  <a:gd name="connsiteY207" fmla="*/ 1925095 h 2151500"/>
                  <a:gd name="connsiteX208" fmla="*/ 350293 w 1889017"/>
                  <a:gd name="connsiteY208" fmla="*/ 1943698 h 2151500"/>
                  <a:gd name="connsiteX209" fmla="*/ 350710 w 1889017"/>
                  <a:gd name="connsiteY209" fmla="*/ 1945033 h 2151500"/>
                  <a:gd name="connsiteX210" fmla="*/ 352045 w 1889017"/>
                  <a:gd name="connsiteY210" fmla="*/ 1944115 h 2151500"/>
                  <a:gd name="connsiteX211" fmla="*/ 393258 w 1889017"/>
                  <a:gd name="connsiteY211" fmla="*/ 1909162 h 2151500"/>
                  <a:gd name="connsiteX212" fmla="*/ 401684 w 1889017"/>
                  <a:gd name="connsiteY212" fmla="*/ 1900319 h 2151500"/>
                  <a:gd name="connsiteX213" fmla="*/ 452157 w 1889017"/>
                  <a:gd name="connsiteY213" fmla="*/ 1871122 h 2151500"/>
                  <a:gd name="connsiteX214" fmla="*/ 473431 w 1889017"/>
                  <a:gd name="connsiteY214" fmla="*/ 1897233 h 2151500"/>
                  <a:gd name="connsiteX215" fmla="*/ 476935 w 1889017"/>
                  <a:gd name="connsiteY215" fmla="*/ 1905658 h 2151500"/>
                  <a:gd name="connsiteX216" fmla="*/ 503965 w 1889017"/>
                  <a:gd name="connsiteY216" fmla="*/ 1930017 h 2151500"/>
                  <a:gd name="connsiteX217" fmla="*/ 505717 w 1889017"/>
                  <a:gd name="connsiteY217" fmla="*/ 1931352 h 2151500"/>
                  <a:gd name="connsiteX218" fmla="*/ 548265 w 1889017"/>
                  <a:gd name="connsiteY218" fmla="*/ 1951289 h 2151500"/>
                  <a:gd name="connsiteX219" fmla="*/ 601825 w 1889017"/>
                  <a:gd name="connsiteY219" fmla="*/ 1978735 h 2151500"/>
                  <a:gd name="connsiteX220" fmla="*/ 613755 w 1889017"/>
                  <a:gd name="connsiteY220" fmla="*/ 1989329 h 2151500"/>
                  <a:gd name="connsiteX221" fmla="*/ 642120 w 1889017"/>
                  <a:gd name="connsiteY221" fmla="*/ 2009684 h 2151500"/>
                  <a:gd name="connsiteX222" fmla="*/ 668232 w 1889017"/>
                  <a:gd name="connsiteY222" fmla="*/ 2010601 h 2151500"/>
                  <a:gd name="connsiteX223" fmla="*/ 684585 w 1889017"/>
                  <a:gd name="connsiteY223" fmla="*/ 2008349 h 2151500"/>
                  <a:gd name="connsiteX224" fmla="*/ 725380 w 1889017"/>
                  <a:gd name="connsiteY224" fmla="*/ 2030038 h 2151500"/>
                  <a:gd name="connsiteX225" fmla="*/ 732471 w 1889017"/>
                  <a:gd name="connsiteY225" fmla="*/ 2037129 h 2151500"/>
                  <a:gd name="connsiteX226" fmla="*/ 764841 w 1889017"/>
                  <a:gd name="connsiteY226" fmla="*/ 2057483 h 2151500"/>
                  <a:gd name="connsiteX227" fmla="*/ 794541 w 1889017"/>
                  <a:gd name="connsiteY227" fmla="*/ 2099111 h 2151500"/>
                  <a:gd name="connsiteX228" fmla="*/ 801215 w 1889017"/>
                  <a:gd name="connsiteY228" fmla="*/ 2113292 h 2151500"/>
                  <a:gd name="connsiteX229" fmla="*/ 814981 w 1889017"/>
                  <a:gd name="connsiteY229" fmla="*/ 2114627 h 2151500"/>
                  <a:gd name="connsiteX230" fmla="*/ 863701 w 1889017"/>
                  <a:gd name="connsiteY230" fmla="*/ 2141238 h 2151500"/>
                  <a:gd name="connsiteX231" fmla="*/ 870375 w 1889017"/>
                  <a:gd name="connsiteY231" fmla="*/ 2151415 h 2151500"/>
                  <a:gd name="connsiteX232" fmla="*/ 888563 w 1889017"/>
                  <a:gd name="connsiteY232" fmla="*/ 2140320 h 2151500"/>
                  <a:gd name="connsiteX233" fmla="*/ 899659 w 1889017"/>
                  <a:gd name="connsiteY233" fmla="*/ 2131895 h 2151500"/>
                  <a:gd name="connsiteX234" fmla="*/ 912506 w 1889017"/>
                  <a:gd name="connsiteY234" fmla="*/ 2125722 h 2151500"/>
                  <a:gd name="connsiteX235" fmla="*/ 928024 w 1889017"/>
                  <a:gd name="connsiteY235" fmla="*/ 2113792 h 2151500"/>
                  <a:gd name="connsiteX236" fmla="*/ 928024 w 1889017"/>
                  <a:gd name="connsiteY236" fmla="*/ 2097859 h 2151500"/>
                  <a:gd name="connsiteX237" fmla="*/ 932863 w 1889017"/>
                  <a:gd name="connsiteY237" fmla="*/ 2068662 h 2151500"/>
                  <a:gd name="connsiteX238" fmla="*/ 957640 w 1889017"/>
                  <a:gd name="connsiteY238" fmla="*/ 2049141 h 2151500"/>
                  <a:gd name="connsiteX239" fmla="*/ 971823 w 1889017"/>
                  <a:gd name="connsiteY239" fmla="*/ 2040299 h 2151500"/>
                  <a:gd name="connsiteX240" fmla="*/ 1002858 w 1889017"/>
                  <a:gd name="connsiteY240" fmla="*/ 2006597 h 2151500"/>
                  <a:gd name="connsiteX241" fmla="*/ 1024549 w 1889017"/>
                  <a:gd name="connsiteY241" fmla="*/ 1958296 h 2151500"/>
                  <a:gd name="connsiteX242" fmla="*/ 1050244 w 1889017"/>
                  <a:gd name="connsiteY242" fmla="*/ 1904240 h 2151500"/>
                  <a:gd name="connsiteX243" fmla="*/ 1072352 w 1889017"/>
                  <a:gd name="connsiteY243" fmla="*/ 1881633 h 2151500"/>
                  <a:gd name="connsiteX244" fmla="*/ 1089205 w 1889017"/>
                  <a:gd name="connsiteY244" fmla="*/ 1865283 h 2151500"/>
                  <a:gd name="connsiteX245" fmla="*/ 1112647 w 1889017"/>
                  <a:gd name="connsiteY245" fmla="*/ 1836503 h 2151500"/>
                  <a:gd name="connsiteX246" fmla="*/ 1124577 w 1889017"/>
                  <a:gd name="connsiteY246" fmla="*/ 1821904 h 2151500"/>
                  <a:gd name="connsiteX247" fmla="*/ 1164872 w 1889017"/>
                  <a:gd name="connsiteY247" fmla="*/ 1778025 h 2151500"/>
                  <a:gd name="connsiteX248" fmla="*/ 1167542 w 1889017"/>
                  <a:gd name="connsiteY248" fmla="*/ 1775773 h 2151500"/>
                  <a:gd name="connsiteX249" fmla="*/ 1194156 w 1889017"/>
                  <a:gd name="connsiteY249" fmla="*/ 1741237 h 2151500"/>
                  <a:gd name="connsiteX250" fmla="*/ 1199912 w 1889017"/>
                  <a:gd name="connsiteY250" fmla="*/ 1702696 h 2151500"/>
                  <a:gd name="connsiteX251" fmla="*/ 1202164 w 1889017"/>
                  <a:gd name="connsiteY251" fmla="*/ 1681424 h 2151500"/>
                  <a:gd name="connsiteX252" fmla="*/ 1212342 w 1889017"/>
                  <a:gd name="connsiteY252" fmla="*/ 1621611 h 2151500"/>
                  <a:gd name="connsiteX253" fmla="*/ 1214094 w 1889017"/>
                  <a:gd name="connsiteY253" fmla="*/ 1612268 h 2151500"/>
                  <a:gd name="connsiteX254" fmla="*/ 1225190 w 1889017"/>
                  <a:gd name="connsiteY254" fmla="*/ 1564885 h 2151500"/>
                  <a:gd name="connsiteX255" fmla="*/ 1228277 w 1889017"/>
                  <a:gd name="connsiteY255" fmla="*/ 1556460 h 2151500"/>
                  <a:gd name="connsiteX256" fmla="*/ 1233616 w 1889017"/>
                  <a:gd name="connsiteY256" fmla="*/ 1530766 h 2151500"/>
                  <a:gd name="connsiteX257" fmla="*/ 1219851 w 1889017"/>
                  <a:gd name="connsiteY257" fmla="*/ 1521924 h 2151500"/>
                  <a:gd name="connsiteX258" fmla="*/ 1202581 w 1889017"/>
                  <a:gd name="connsiteY258" fmla="*/ 1513916 h 2151500"/>
                  <a:gd name="connsiteX259" fmla="*/ 1186230 w 1889017"/>
                  <a:gd name="connsiteY259" fmla="*/ 1479379 h 2151500"/>
                  <a:gd name="connsiteX260" fmla="*/ 1183560 w 1889017"/>
                  <a:gd name="connsiteY260" fmla="*/ 1450182 h 2151500"/>
                  <a:gd name="connsiteX261" fmla="*/ 1173382 w 1889017"/>
                  <a:gd name="connsiteY261" fmla="*/ 1403217 h 2151500"/>
                  <a:gd name="connsiteX262" fmla="*/ 1171630 w 1889017"/>
                  <a:gd name="connsiteY262" fmla="*/ 1400130 h 2151500"/>
                  <a:gd name="connsiteX263" fmla="*/ 1157865 w 1889017"/>
                  <a:gd name="connsiteY263" fmla="*/ 1353581 h 2151500"/>
                  <a:gd name="connsiteX264" fmla="*/ 1158282 w 1889017"/>
                  <a:gd name="connsiteY264" fmla="*/ 1336730 h 2151500"/>
                  <a:gd name="connsiteX265" fmla="*/ 1160535 w 1889017"/>
                  <a:gd name="connsiteY265" fmla="*/ 1303946 h 2151500"/>
                  <a:gd name="connsiteX266" fmla="*/ 1172965 w 1889017"/>
                  <a:gd name="connsiteY266" fmla="*/ 1289348 h 2151500"/>
                  <a:gd name="connsiteX267" fmla="*/ 1181809 w 1889017"/>
                  <a:gd name="connsiteY267" fmla="*/ 1279170 h 2151500"/>
                  <a:gd name="connsiteX268" fmla="*/ 1171213 w 1889017"/>
                  <a:gd name="connsiteY268" fmla="*/ 1273831 h 2151500"/>
                  <a:gd name="connsiteX269" fmla="*/ 1161869 w 1889017"/>
                  <a:gd name="connsiteY269" fmla="*/ 1269827 h 2151500"/>
                  <a:gd name="connsiteX270" fmla="*/ 1155695 w 1889017"/>
                  <a:gd name="connsiteY270" fmla="*/ 1262319 h 2151500"/>
                  <a:gd name="connsiteX271" fmla="*/ 1152609 w 1889017"/>
                  <a:gd name="connsiteY271" fmla="*/ 1257898 h 2151500"/>
                  <a:gd name="connsiteX272" fmla="*/ 1140678 w 1889017"/>
                  <a:gd name="connsiteY272" fmla="*/ 1251224 h 2151500"/>
                  <a:gd name="connsiteX273" fmla="*/ 1121657 w 1889017"/>
                  <a:gd name="connsiteY273" fmla="*/ 1237460 h 2151500"/>
                  <a:gd name="connsiteX274" fmla="*/ 1124744 w 1889017"/>
                  <a:gd name="connsiteY274" fmla="*/ 1191412 h 2151500"/>
                  <a:gd name="connsiteX275" fmla="*/ 1163288 w 1889017"/>
                  <a:gd name="connsiteY275" fmla="*/ 1159045 h 2151500"/>
                  <a:gd name="connsiteX276" fmla="*/ 1176552 w 1889017"/>
                  <a:gd name="connsiteY276" fmla="*/ 1154206 h 2151500"/>
                  <a:gd name="connsiteX277" fmla="*/ 1194740 w 1889017"/>
                  <a:gd name="connsiteY277" fmla="*/ 1145781 h 2151500"/>
                  <a:gd name="connsiteX278" fmla="*/ 1202248 w 1889017"/>
                  <a:gd name="connsiteY278" fmla="*/ 1123674 h 2151500"/>
                  <a:gd name="connsiteX279" fmla="*/ 1236369 w 1889017"/>
                  <a:gd name="connsiteY279" fmla="*/ 1092642 h 2151500"/>
                  <a:gd name="connsiteX280" fmla="*/ 1262065 w 1889017"/>
                  <a:gd name="connsiteY280" fmla="*/ 1096646 h 2151500"/>
                  <a:gd name="connsiteX281" fmla="*/ 1310786 w 1889017"/>
                  <a:gd name="connsiteY281" fmla="*/ 1092642 h 2151500"/>
                  <a:gd name="connsiteX282" fmla="*/ 1315625 w 1889017"/>
                  <a:gd name="connsiteY282" fmla="*/ 1076709 h 2151500"/>
                  <a:gd name="connsiteX283" fmla="*/ 1324051 w 1889017"/>
                  <a:gd name="connsiteY283" fmla="*/ 1053685 h 2151500"/>
                  <a:gd name="connsiteX284" fmla="*/ 1369268 w 1889017"/>
                  <a:gd name="connsiteY284" fmla="*/ 1046177 h 2151500"/>
                  <a:gd name="connsiteX285" fmla="*/ 1375442 w 1889017"/>
                  <a:gd name="connsiteY285" fmla="*/ 1047512 h 2151500"/>
                  <a:gd name="connsiteX286" fmla="*/ 1409981 w 1889017"/>
                  <a:gd name="connsiteY286" fmla="*/ 1045259 h 2151500"/>
                  <a:gd name="connsiteX287" fmla="*/ 1460454 w 1889017"/>
                  <a:gd name="connsiteY287" fmla="*/ 1048346 h 2151500"/>
                  <a:gd name="connsiteX288" fmla="*/ 1463540 w 1889017"/>
                  <a:gd name="connsiteY288" fmla="*/ 1050098 h 2151500"/>
                  <a:gd name="connsiteX289" fmla="*/ 1518019 w 1889017"/>
                  <a:gd name="connsiteY289" fmla="*/ 1053184 h 2151500"/>
                  <a:gd name="connsiteX290" fmla="*/ 1549470 w 1889017"/>
                  <a:gd name="connsiteY290" fmla="*/ 1050098 h 2151500"/>
                  <a:gd name="connsiteX291" fmla="*/ 1561401 w 1889017"/>
                  <a:gd name="connsiteY291" fmla="*/ 1053184 h 2151500"/>
                  <a:gd name="connsiteX292" fmla="*/ 1573831 w 1889017"/>
                  <a:gd name="connsiteY292" fmla="*/ 1044341 h 2151500"/>
                  <a:gd name="connsiteX293" fmla="*/ 1582257 w 1889017"/>
                  <a:gd name="connsiteY293" fmla="*/ 1032412 h 2151500"/>
                  <a:gd name="connsiteX294" fmla="*/ 1603531 w 1889017"/>
                  <a:gd name="connsiteY294" fmla="*/ 1019983 h 2151500"/>
                  <a:gd name="connsiteX295" fmla="*/ 1619048 w 1889017"/>
                  <a:gd name="connsiteY295" fmla="*/ 1011557 h 2151500"/>
                  <a:gd name="connsiteX296" fmla="*/ 1629644 w 1889017"/>
                  <a:gd name="connsiteY296" fmla="*/ 981025 h 2151500"/>
                  <a:gd name="connsiteX297" fmla="*/ 1630061 w 1889017"/>
                  <a:gd name="connsiteY297" fmla="*/ 973934 h 2151500"/>
                  <a:gd name="connsiteX298" fmla="*/ 1645995 w 1889017"/>
                  <a:gd name="connsiteY298" fmla="*/ 934060 h 2151500"/>
                  <a:gd name="connsiteX299" fmla="*/ 1660178 w 1889017"/>
                  <a:gd name="connsiteY299" fmla="*/ 925634 h 2151500"/>
                  <a:gd name="connsiteX300" fmla="*/ 1677447 w 1889017"/>
                  <a:gd name="connsiteY300" fmla="*/ 913205 h 2151500"/>
                  <a:gd name="connsiteX301" fmla="*/ 1730173 w 1889017"/>
                  <a:gd name="connsiteY301" fmla="*/ 874247 h 2151500"/>
                  <a:gd name="connsiteX302" fmla="*/ 1744356 w 1889017"/>
                  <a:gd name="connsiteY302" fmla="*/ 892433 h 2151500"/>
                  <a:gd name="connsiteX303" fmla="*/ 1729255 w 1889017"/>
                  <a:gd name="connsiteY303" fmla="*/ 922547 h 2151500"/>
                  <a:gd name="connsiteX304" fmla="*/ 1722163 w 1889017"/>
                  <a:gd name="connsiteY304" fmla="*/ 931390 h 2151500"/>
                  <a:gd name="connsiteX305" fmla="*/ 1721746 w 1889017"/>
                  <a:gd name="connsiteY305" fmla="*/ 931807 h 2151500"/>
                  <a:gd name="connsiteX306" fmla="*/ 1718243 w 1889017"/>
                  <a:gd name="connsiteY306" fmla="*/ 939816 h 2151500"/>
                  <a:gd name="connsiteX307" fmla="*/ 1726669 w 1889017"/>
                  <a:gd name="connsiteY307" fmla="*/ 944654 h 2151500"/>
                  <a:gd name="connsiteX308" fmla="*/ 1727586 w 1889017"/>
                  <a:gd name="connsiteY308" fmla="*/ 945071 h 2151500"/>
                  <a:gd name="connsiteX309" fmla="*/ 1728003 w 1889017"/>
                  <a:gd name="connsiteY309" fmla="*/ 945071 h 2151500"/>
                  <a:gd name="connsiteX310" fmla="*/ 1755034 w 1889017"/>
                  <a:gd name="connsiteY310" fmla="*/ 942819 h 2151500"/>
                  <a:gd name="connsiteX311" fmla="*/ 1770968 w 1889017"/>
                  <a:gd name="connsiteY311" fmla="*/ 940149 h 2151500"/>
                  <a:gd name="connsiteX312" fmla="*/ 1778978 w 1889017"/>
                  <a:gd name="connsiteY312" fmla="*/ 939732 h 2151500"/>
                  <a:gd name="connsiteX313" fmla="*/ 1816186 w 1889017"/>
                  <a:gd name="connsiteY313" fmla="*/ 929138 h 2151500"/>
                  <a:gd name="connsiteX314" fmla="*/ 1829451 w 1889017"/>
                  <a:gd name="connsiteY314" fmla="*/ 913622 h 2151500"/>
                  <a:gd name="connsiteX315" fmla="*/ 1844968 w 1889017"/>
                  <a:gd name="connsiteY315" fmla="*/ 895936 h 2151500"/>
                  <a:gd name="connsiteX316" fmla="*/ 1846303 w 1889017"/>
                  <a:gd name="connsiteY316" fmla="*/ 894601 h 2151500"/>
                  <a:gd name="connsiteX317" fmla="*/ 1855146 w 1889017"/>
                  <a:gd name="connsiteY317" fmla="*/ 873329 h 2151500"/>
                  <a:gd name="connsiteX318" fmla="*/ 1850475 w 1889017"/>
                  <a:gd name="connsiteY318" fmla="*/ 869158 h 215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</a:cxnLst>
                <a:rect l="l" t="t" r="r" b="b"/>
                <a:pathLst>
                  <a:path w="1889017" h="2151500" extrusionOk="0">
                    <a:moveTo>
                      <a:pt x="1850475" y="869158"/>
                    </a:moveTo>
                    <a:cubicBezTo>
                      <a:pt x="1848222" y="866072"/>
                      <a:pt x="1845635" y="862485"/>
                      <a:pt x="1844301" y="857646"/>
                    </a:cubicBezTo>
                    <a:cubicBezTo>
                      <a:pt x="1843383" y="854143"/>
                      <a:pt x="1843383" y="850556"/>
                      <a:pt x="1843383" y="847469"/>
                    </a:cubicBezTo>
                    <a:cubicBezTo>
                      <a:pt x="1843800" y="843965"/>
                      <a:pt x="1843800" y="842130"/>
                      <a:pt x="1842966" y="840795"/>
                    </a:cubicBezTo>
                    <a:cubicBezTo>
                      <a:pt x="1840714" y="838126"/>
                      <a:pt x="1836292" y="837709"/>
                      <a:pt x="1829701" y="837709"/>
                    </a:cubicBezTo>
                    <a:cubicBezTo>
                      <a:pt x="1824862" y="837709"/>
                      <a:pt x="1820357" y="837292"/>
                      <a:pt x="1815936" y="836374"/>
                    </a:cubicBezTo>
                    <a:cubicBezTo>
                      <a:pt x="1795579" y="829700"/>
                      <a:pt x="1761458" y="791160"/>
                      <a:pt x="1764545" y="766802"/>
                    </a:cubicBezTo>
                    <a:cubicBezTo>
                      <a:pt x="1764962" y="763298"/>
                      <a:pt x="1765879" y="760128"/>
                      <a:pt x="1767214" y="757041"/>
                    </a:cubicBezTo>
                    <a:cubicBezTo>
                      <a:pt x="1768132" y="753538"/>
                      <a:pt x="1769467" y="750868"/>
                      <a:pt x="1768966" y="747281"/>
                    </a:cubicBezTo>
                    <a:cubicBezTo>
                      <a:pt x="1768549" y="745029"/>
                      <a:pt x="1768048" y="742443"/>
                      <a:pt x="1767214" y="740190"/>
                    </a:cubicBezTo>
                    <a:cubicBezTo>
                      <a:pt x="1765879" y="736186"/>
                      <a:pt x="1764545" y="731348"/>
                      <a:pt x="1764962" y="726009"/>
                    </a:cubicBezTo>
                    <a:cubicBezTo>
                      <a:pt x="1765379" y="722505"/>
                      <a:pt x="1766297" y="718918"/>
                      <a:pt x="1767214" y="716249"/>
                    </a:cubicBezTo>
                    <a:cubicBezTo>
                      <a:pt x="1768132" y="713579"/>
                      <a:pt x="1768966" y="711410"/>
                      <a:pt x="1768966" y="709158"/>
                    </a:cubicBezTo>
                    <a:cubicBezTo>
                      <a:pt x="1768966" y="706488"/>
                      <a:pt x="1768048" y="703819"/>
                      <a:pt x="1767214" y="700732"/>
                    </a:cubicBezTo>
                    <a:cubicBezTo>
                      <a:pt x="1766297" y="697646"/>
                      <a:pt x="1764962" y="694559"/>
                      <a:pt x="1764545" y="690972"/>
                    </a:cubicBezTo>
                    <a:cubicBezTo>
                      <a:pt x="1762292" y="673287"/>
                      <a:pt x="1771636" y="657270"/>
                      <a:pt x="1789823" y="648428"/>
                    </a:cubicBezTo>
                    <a:cubicBezTo>
                      <a:pt x="1805340" y="641337"/>
                      <a:pt x="1818605" y="644006"/>
                      <a:pt x="1831453" y="647093"/>
                    </a:cubicBezTo>
                    <a:cubicBezTo>
                      <a:pt x="1835458" y="648011"/>
                      <a:pt x="1839462" y="648845"/>
                      <a:pt x="1843383" y="649762"/>
                    </a:cubicBezTo>
                    <a:cubicBezTo>
                      <a:pt x="1861570" y="652432"/>
                      <a:pt x="1874835" y="645758"/>
                      <a:pt x="1889017" y="636916"/>
                    </a:cubicBezTo>
                    <a:cubicBezTo>
                      <a:pt x="1882343" y="624069"/>
                      <a:pt x="1874417" y="612974"/>
                      <a:pt x="1863739" y="605466"/>
                    </a:cubicBezTo>
                    <a:cubicBezTo>
                      <a:pt x="1847388" y="594371"/>
                      <a:pt x="1840714" y="579355"/>
                      <a:pt x="1833205" y="564256"/>
                    </a:cubicBezTo>
                    <a:cubicBezTo>
                      <a:pt x="1831870" y="561170"/>
                      <a:pt x="1830118" y="557583"/>
                      <a:pt x="1828366" y="554496"/>
                    </a:cubicBezTo>
                    <a:cubicBezTo>
                      <a:pt x="1824862" y="546988"/>
                      <a:pt x="1821275" y="543902"/>
                      <a:pt x="1816436" y="538980"/>
                    </a:cubicBezTo>
                    <a:lnTo>
                      <a:pt x="1812014" y="534559"/>
                    </a:lnTo>
                    <a:cubicBezTo>
                      <a:pt x="1801419" y="523464"/>
                      <a:pt x="1800502" y="517708"/>
                      <a:pt x="1798249" y="506196"/>
                    </a:cubicBezTo>
                    <a:lnTo>
                      <a:pt x="1797332" y="503109"/>
                    </a:lnTo>
                    <a:cubicBezTo>
                      <a:pt x="1794662" y="489345"/>
                      <a:pt x="1785819" y="481420"/>
                      <a:pt x="1767631" y="476999"/>
                    </a:cubicBezTo>
                    <a:cubicBezTo>
                      <a:pt x="1753031" y="473495"/>
                      <a:pt x="1746357" y="479251"/>
                      <a:pt x="1736597" y="487593"/>
                    </a:cubicBezTo>
                    <a:cubicBezTo>
                      <a:pt x="1731257" y="492014"/>
                      <a:pt x="1725501" y="497353"/>
                      <a:pt x="1717575" y="501357"/>
                    </a:cubicBezTo>
                    <a:cubicBezTo>
                      <a:pt x="1700306" y="510200"/>
                      <a:pt x="1674193" y="515956"/>
                      <a:pt x="1657341" y="503109"/>
                    </a:cubicBezTo>
                    <a:cubicBezTo>
                      <a:pt x="1646245" y="494684"/>
                      <a:pt x="1641824" y="480085"/>
                      <a:pt x="1637819" y="465904"/>
                    </a:cubicBezTo>
                    <a:cubicBezTo>
                      <a:pt x="1635567" y="457478"/>
                      <a:pt x="1633398" y="449970"/>
                      <a:pt x="1629811" y="444214"/>
                    </a:cubicBezTo>
                    <a:cubicBezTo>
                      <a:pt x="1610288" y="411847"/>
                      <a:pt x="1562068" y="403422"/>
                      <a:pt x="1523024" y="409678"/>
                    </a:cubicBezTo>
                    <a:cubicBezTo>
                      <a:pt x="1484481" y="415434"/>
                      <a:pt x="1468963" y="428281"/>
                      <a:pt x="1453446" y="466404"/>
                    </a:cubicBezTo>
                    <a:cubicBezTo>
                      <a:pt x="1445437" y="486342"/>
                      <a:pt x="1439681" y="503193"/>
                      <a:pt x="1435759" y="524882"/>
                    </a:cubicBezTo>
                    <a:cubicBezTo>
                      <a:pt x="1432672" y="545237"/>
                      <a:pt x="1423829" y="566092"/>
                      <a:pt x="1408730" y="587781"/>
                    </a:cubicBezTo>
                    <a:cubicBezTo>
                      <a:pt x="1395464" y="607718"/>
                      <a:pt x="1387456" y="620982"/>
                      <a:pt x="1391460" y="640920"/>
                    </a:cubicBezTo>
                    <a:cubicBezTo>
                      <a:pt x="1397633" y="669700"/>
                      <a:pt x="1386120" y="679460"/>
                      <a:pt x="1365348" y="693642"/>
                    </a:cubicBezTo>
                    <a:cubicBezTo>
                      <a:pt x="1357338" y="699397"/>
                      <a:pt x="1351165" y="704236"/>
                      <a:pt x="1345408" y="711827"/>
                    </a:cubicBezTo>
                    <a:cubicBezTo>
                      <a:pt x="1344991" y="712745"/>
                      <a:pt x="1344491" y="713162"/>
                      <a:pt x="1344074" y="714497"/>
                    </a:cubicBezTo>
                    <a:cubicBezTo>
                      <a:pt x="1341404" y="718501"/>
                      <a:pt x="1337400" y="725091"/>
                      <a:pt x="1327221" y="726426"/>
                    </a:cubicBezTo>
                    <a:cubicBezTo>
                      <a:pt x="1311286" y="727760"/>
                      <a:pt x="1308617" y="711327"/>
                      <a:pt x="1306865" y="702484"/>
                    </a:cubicBezTo>
                    <a:lnTo>
                      <a:pt x="1306448" y="699815"/>
                    </a:lnTo>
                    <a:cubicBezTo>
                      <a:pt x="1302944" y="679877"/>
                      <a:pt x="1296270" y="668365"/>
                      <a:pt x="1288261" y="667948"/>
                    </a:cubicBezTo>
                    <a:cubicBezTo>
                      <a:pt x="1282921" y="668365"/>
                      <a:pt x="1276331" y="680378"/>
                      <a:pt x="1271910" y="689638"/>
                    </a:cubicBezTo>
                    <a:cubicBezTo>
                      <a:pt x="1267904" y="697145"/>
                      <a:pt x="1264401" y="704236"/>
                      <a:pt x="1259979" y="708657"/>
                    </a:cubicBezTo>
                    <a:cubicBezTo>
                      <a:pt x="1244045" y="724174"/>
                      <a:pt x="1217431" y="731264"/>
                      <a:pt x="1193989" y="736603"/>
                    </a:cubicBezTo>
                    <a:cubicBezTo>
                      <a:pt x="1191736" y="737020"/>
                      <a:pt x="1189567" y="737521"/>
                      <a:pt x="1186897" y="737938"/>
                    </a:cubicBezTo>
                    <a:cubicBezTo>
                      <a:pt x="1179806" y="738856"/>
                      <a:pt x="1175385" y="740190"/>
                      <a:pt x="1172715" y="743694"/>
                    </a:cubicBezTo>
                    <a:cubicBezTo>
                      <a:pt x="1170462" y="746363"/>
                      <a:pt x="1170045" y="750368"/>
                      <a:pt x="1169628" y="754789"/>
                    </a:cubicBezTo>
                    <a:cubicBezTo>
                      <a:pt x="1169211" y="760128"/>
                      <a:pt x="1168293" y="766301"/>
                      <a:pt x="1164789" y="772057"/>
                    </a:cubicBezTo>
                    <a:cubicBezTo>
                      <a:pt x="1155028" y="787573"/>
                      <a:pt x="1127998" y="801755"/>
                      <a:pt x="1107642" y="796416"/>
                    </a:cubicBezTo>
                    <a:cubicBezTo>
                      <a:pt x="1096129" y="793329"/>
                      <a:pt x="1088120" y="783986"/>
                      <a:pt x="1081529" y="776061"/>
                    </a:cubicBezTo>
                    <a:cubicBezTo>
                      <a:pt x="1077108" y="770722"/>
                      <a:pt x="1073103" y="765884"/>
                      <a:pt x="1068681" y="763214"/>
                    </a:cubicBezTo>
                    <a:cubicBezTo>
                      <a:pt x="1048326" y="749950"/>
                      <a:pt x="1044738" y="745529"/>
                      <a:pt x="1046073" y="719335"/>
                    </a:cubicBezTo>
                    <a:cubicBezTo>
                      <a:pt x="1046490" y="711327"/>
                      <a:pt x="1046490" y="703402"/>
                      <a:pt x="1046490" y="695894"/>
                    </a:cubicBezTo>
                    <a:cubicBezTo>
                      <a:pt x="1046490" y="681295"/>
                      <a:pt x="1046490" y="667114"/>
                      <a:pt x="1049577" y="651181"/>
                    </a:cubicBezTo>
                    <a:cubicBezTo>
                      <a:pt x="1051829" y="639252"/>
                      <a:pt x="1049577" y="627239"/>
                      <a:pt x="1047324" y="614893"/>
                    </a:cubicBezTo>
                    <a:cubicBezTo>
                      <a:pt x="1045572" y="605132"/>
                      <a:pt x="1043820" y="595372"/>
                      <a:pt x="1044237" y="584778"/>
                    </a:cubicBezTo>
                    <a:cubicBezTo>
                      <a:pt x="1044654" y="569679"/>
                      <a:pt x="1048242" y="555080"/>
                      <a:pt x="1051329" y="540481"/>
                    </a:cubicBezTo>
                    <a:cubicBezTo>
                      <a:pt x="1053998" y="528970"/>
                      <a:pt x="1057085" y="517041"/>
                      <a:pt x="1058003" y="505528"/>
                    </a:cubicBezTo>
                    <a:cubicBezTo>
                      <a:pt x="1058420" y="500690"/>
                      <a:pt x="1059754" y="494434"/>
                      <a:pt x="1061090" y="487343"/>
                    </a:cubicBezTo>
                    <a:cubicBezTo>
                      <a:pt x="1063760" y="473578"/>
                      <a:pt x="1067764" y="455476"/>
                      <a:pt x="1063342" y="447050"/>
                    </a:cubicBezTo>
                    <a:cubicBezTo>
                      <a:pt x="1060673" y="442212"/>
                      <a:pt x="1053581" y="441295"/>
                      <a:pt x="1043403" y="440377"/>
                    </a:cubicBezTo>
                    <a:cubicBezTo>
                      <a:pt x="1038564" y="439960"/>
                      <a:pt x="1033225" y="439459"/>
                      <a:pt x="1029221" y="438125"/>
                    </a:cubicBezTo>
                    <a:cubicBezTo>
                      <a:pt x="1007112" y="431952"/>
                      <a:pt x="1000021" y="420439"/>
                      <a:pt x="995099" y="402671"/>
                    </a:cubicBezTo>
                    <a:cubicBezTo>
                      <a:pt x="991595" y="389407"/>
                      <a:pt x="984921" y="382734"/>
                      <a:pt x="976495" y="374725"/>
                    </a:cubicBezTo>
                    <a:cubicBezTo>
                      <a:pt x="972490" y="371221"/>
                      <a:pt x="968069" y="366717"/>
                      <a:pt x="964064" y="361878"/>
                    </a:cubicBezTo>
                    <a:cubicBezTo>
                      <a:pt x="949465" y="344610"/>
                      <a:pt x="956055" y="325090"/>
                      <a:pt x="962729" y="307822"/>
                    </a:cubicBezTo>
                    <a:cubicBezTo>
                      <a:pt x="970238" y="286967"/>
                      <a:pt x="973325" y="275038"/>
                      <a:pt x="958308" y="264443"/>
                    </a:cubicBezTo>
                    <a:cubicBezTo>
                      <a:pt x="952551" y="260439"/>
                      <a:pt x="942373" y="259104"/>
                      <a:pt x="933030" y="257769"/>
                    </a:cubicBezTo>
                    <a:cubicBezTo>
                      <a:pt x="918847" y="255517"/>
                      <a:pt x="904664" y="253765"/>
                      <a:pt x="899325" y="242670"/>
                    </a:cubicBezTo>
                    <a:cubicBezTo>
                      <a:pt x="895821" y="234662"/>
                      <a:pt x="897072" y="225402"/>
                      <a:pt x="904163" y="212556"/>
                    </a:cubicBezTo>
                    <a:cubicBezTo>
                      <a:pt x="905499" y="209886"/>
                      <a:pt x="907250" y="207717"/>
                      <a:pt x="909003" y="205465"/>
                    </a:cubicBezTo>
                    <a:cubicBezTo>
                      <a:pt x="911672" y="201961"/>
                      <a:pt x="913007" y="200126"/>
                      <a:pt x="912506" y="195705"/>
                    </a:cubicBezTo>
                    <a:cubicBezTo>
                      <a:pt x="912089" y="192201"/>
                      <a:pt x="908502" y="187279"/>
                      <a:pt x="905415" y="183275"/>
                    </a:cubicBezTo>
                    <a:cubicBezTo>
                      <a:pt x="903163" y="180605"/>
                      <a:pt x="901911" y="177936"/>
                      <a:pt x="900076" y="175767"/>
                    </a:cubicBezTo>
                    <a:cubicBezTo>
                      <a:pt x="895654" y="167342"/>
                      <a:pt x="892066" y="159417"/>
                      <a:pt x="888146" y="150991"/>
                    </a:cubicBezTo>
                    <a:cubicBezTo>
                      <a:pt x="885059" y="142983"/>
                      <a:pt x="881472" y="135475"/>
                      <a:pt x="877551" y="128885"/>
                    </a:cubicBezTo>
                    <a:cubicBezTo>
                      <a:pt x="870877" y="116956"/>
                      <a:pt x="862951" y="104526"/>
                      <a:pt x="849603" y="99688"/>
                    </a:cubicBezTo>
                    <a:cubicBezTo>
                      <a:pt x="840759" y="96184"/>
                      <a:pt x="831916" y="98353"/>
                      <a:pt x="821655" y="100605"/>
                    </a:cubicBezTo>
                    <a:cubicBezTo>
                      <a:pt x="814981" y="101940"/>
                      <a:pt x="807889" y="103692"/>
                      <a:pt x="800381" y="103692"/>
                    </a:cubicBezTo>
                    <a:lnTo>
                      <a:pt x="799964" y="103692"/>
                    </a:lnTo>
                    <a:cubicBezTo>
                      <a:pt x="784029" y="103692"/>
                      <a:pt x="777856" y="95266"/>
                      <a:pt x="775603" y="90845"/>
                    </a:cubicBezTo>
                    <a:cubicBezTo>
                      <a:pt x="771181" y="82003"/>
                      <a:pt x="772933" y="69990"/>
                      <a:pt x="780943" y="59396"/>
                    </a:cubicBezTo>
                    <a:cubicBezTo>
                      <a:pt x="784029" y="55391"/>
                      <a:pt x="787116" y="51888"/>
                      <a:pt x="789785" y="48801"/>
                    </a:cubicBezTo>
                    <a:cubicBezTo>
                      <a:pt x="799129" y="38207"/>
                      <a:pt x="801298" y="35954"/>
                      <a:pt x="792455" y="20855"/>
                    </a:cubicBezTo>
                    <a:cubicBezTo>
                      <a:pt x="791120" y="18603"/>
                      <a:pt x="789785" y="16017"/>
                      <a:pt x="788034" y="12847"/>
                    </a:cubicBezTo>
                    <a:cubicBezTo>
                      <a:pt x="786281" y="9343"/>
                      <a:pt x="783612" y="4004"/>
                      <a:pt x="781360" y="0"/>
                    </a:cubicBezTo>
                    <a:cubicBezTo>
                      <a:pt x="780024" y="8843"/>
                      <a:pt x="776937" y="17268"/>
                      <a:pt x="772516" y="24776"/>
                    </a:cubicBezTo>
                    <a:cubicBezTo>
                      <a:pt x="766343" y="34536"/>
                      <a:pt x="757916" y="40292"/>
                      <a:pt x="749490" y="45131"/>
                    </a:cubicBezTo>
                    <a:cubicBezTo>
                      <a:pt x="747238" y="46465"/>
                      <a:pt x="744652" y="48217"/>
                      <a:pt x="742399" y="49969"/>
                    </a:cubicBezTo>
                    <a:cubicBezTo>
                      <a:pt x="740147" y="51304"/>
                      <a:pt x="738395" y="52638"/>
                      <a:pt x="736642" y="54390"/>
                    </a:cubicBezTo>
                    <a:cubicBezTo>
                      <a:pt x="732638" y="57477"/>
                      <a:pt x="728634" y="61064"/>
                      <a:pt x="723795" y="63233"/>
                    </a:cubicBezTo>
                    <a:cubicBezTo>
                      <a:pt x="717621" y="65902"/>
                      <a:pt x="711364" y="66319"/>
                      <a:pt x="706109" y="66736"/>
                    </a:cubicBezTo>
                    <a:cubicBezTo>
                      <a:pt x="701687" y="67154"/>
                      <a:pt x="697682" y="67654"/>
                      <a:pt x="694179" y="68989"/>
                    </a:cubicBezTo>
                    <a:cubicBezTo>
                      <a:pt x="674656" y="76080"/>
                      <a:pt x="676492" y="102190"/>
                      <a:pt x="678244" y="113285"/>
                    </a:cubicBezTo>
                    <a:cubicBezTo>
                      <a:pt x="679579" y="119959"/>
                      <a:pt x="682248" y="124797"/>
                      <a:pt x="685335" y="130970"/>
                    </a:cubicBezTo>
                    <a:cubicBezTo>
                      <a:pt x="688005" y="134975"/>
                      <a:pt x="690174" y="139396"/>
                      <a:pt x="692009" y="144735"/>
                    </a:cubicBezTo>
                    <a:cubicBezTo>
                      <a:pt x="698183" y="161085"/>
                      <a:pt x="691092" y="167759"/>
                      <a:pt x="685836" y="172180"/>
                    </a:cubicBezTo>
                    <a:cubicBezTo>
                      <a:pt x="683166" y="174849"/>
                      <a:pt x="680997" y="177018"/>
                      <a:pt x="679162" y="181023"/>
                    </a:cubicBezTo>
                    <a:cubicBezTo>
                      <a:pt x="678244" y="183692"/>
                      <a:pt x="678745" y="186361"/>
                      <a:pt x="680079" y="190783"/>
                    </a:cubicBezTo>
                    <a:cubicBezTo>
                      <a:pt x="681414" y="195204"/>
                      <a:pt x="682749" y="199626"/>
                      <a:pt x="681831" y="205381"/>
                    </a:cubicBezTo>
                    <a:cubicBezTo>
                      <a:pt x="680913" y="210220"/>
                      <a:pt x="679162" y="214224"/>
                      <a:pt x="677827" y="217811"/>
                    </a:cubicBezTo>
                    <a:cubicBezTo>
                      <a:pt x="675157" y="223150"/>
                      <a:pt x="674322" y="225819"/>
                      <a:pt x="677409" y="230658"/>
                    </a:cubicBezTo>
                    <a:cubicBezTo>
                      <a:pt x="681414" y="237748"/>
                      <a:pt x="689339" y="243504"/>
                      <a:pt x="697349" y="249261"/>
                    </a:cubicBezTo>
                    <a:cubicBezTo>
                      <a:pt x="710196" y="258604"/>
                      <a:pt x="725297" y="269198"/>
                      <a:pt x="726131" y="289136"/>
                    </a:cubicBezTo>
                    <a:cubicBezTo>
                      <a:pt x="726548" y="300230"/>
                      <a:pt x="721710" y="309073"/>
                      <a:pt x="717287" y="316581"/>
                    </a:cubicBezTo>
                    <a:cubicBezTo>
                      <a:pt x="716370" y="318833"/>
                      <a:pt x="715035" y="320585"/>
                      <a:pt x="714201" y="322754"/>
                    </a:cubicBezTo>
                    <a:cubicBezTo>
                      <a:pt x="710196" y="330762"/>
                      <a:pt x="711114" y="332514"/>
                      <a:pt x="714618" y="338270"/>
                    </a:cubicBezTo>
                    <a:cubicBezTo>
                      <a:pt x="716370" y="341357"/>
                      <a:pt x="718122" y="344944"/>
                      <a:pt x="719957" y="350200"/>
                    </a:cubicBezTo>
                    <a:cubicBezTo>
                      <a:pt x="725297" y="367050"/>
                      <a:pt x="718623" y="376310"/>
                      <a:pt x="711531" y="385153"/>
                    </a:cubicBezTo>
                    <a:cubicBezTo>
                      <a:pt x="710196" y="387405"/>
                      <a:pt x="708444" y="389574"/>
                      <a:pt x="706693" y="392243"/>
                    </a:cubicBezTo>
                    <a:cubicBezTo>
                      <a:pt x="701853" y="400252"/>
                      <a:pt x="700519" y="408177"/>
                      <a:pt x="699601" y="417937"/>
                    </a:cubicBezTo>
                    <a:cubicBezTo>
                      <a:pt x="699184" y="424110"/>
                      <a:pt x="698266" y="430366"/>
                      <a:pt x="696514" y="436957"/>
                    </a:cubicBezTo>
                    <a:cubicBezTo>
                      <a:pt x="693428" y="447551"/>
                      <a:pt x="686753" y="455142"/>
                      <a:pt x="680162" y="462233"/>
                    </a:cubicBezTo>
                    <a:cubicBezTo>
                      <a:pt x="677076" y="465320"/>
                      <a:pt x="673989" y="468907"/>
                      <a:pt x="671319" y="472828"/>
                    </a:cubicBezTo>
                    <a:lnTo>
                      <a:pt x="668232" y="477666"/>
                    </a:lnTo>
                    <a:cubicBezTo>
                      <a:pt x="662894" y="485674"/>
                      <a:pt x="657637" y="493599"/>
                      <a:pt x="648711" y="500273"/>
                    </a:cubicBezTo>
                    <a:cubicBezTo>
                      <a:pt x="646041" y="502525"/>
                      <a:pt x="643371" y="504277"/>
                      <a:pt x="640702" y="505612"/>
                    </a:cubicBezTo>
                    <a:cubicBezTo>
                      <a:pt x="634528" y="508699"/>
                      <a:pt x="633610" y="510033"/>
                      <a:pt x="633193" y="513620"/>
                    </a:cubicBezTo>
                    <a:cubicBezTo>
                      <a:pt x="633610" y="513620"/>
                      <a:pt x="634528" y="515372"/>
                      <a:pt x="635446" y="516707"/>
                    </a:cubicBezTo>
                    <a:cubicBezTo>
                      <a:pt x="636780" y="518458"/>
                      <a:pt x="638116" y="520210"/>
                      <a:pt x="638533" y="522046"/>
                    </a:cubicBezTo>
                    <a:cubicBezTo>
                      <a:pt x="643371" y="534475"/>
                      <a:pt x="640785" y="539314"/>
                      <a:pt x="635029" y="546404"/>
                    </a:cubicBezTo>
                    <a:cubicBezTo>
                      <a:pt x="632359" y="549908"/>
                      <a:pt x="630607" y="552577"/>
                      <a:pt x="628855" y="554413"/>
                    </a:cubicBezTo>
                    <a:cubicBezTo>
                      <a:pt x="623516" y="561086"/>
                      <a:pt x="620429" y="564590"/>
                      <a:pt x="620012" y="574350"/>
                    </a:cubicBezTo>
                    <a:cubicBezTo>
                      <a:pt x="619595" y="582776"/>
                      <a:pt x="620929" y="592953"/>
                      <a:pt x="624016" y="604882"/>
                    </a:cubicBezTo>
                    <a:cubicBezTo>
                      <a:pt x="632443" y="636332"/>
                      <a:pt x="645290" y="659356"/>
                      <a:pt x="658555" y="668198"/>
                    </a:cubicBezTo>
                    <a:cubicBezTo>
                      <a:pt x="665229" y="672620"/>
                      <a:pt x="672738" y="671285"/>
                      <a:pt x="681164" y="669950"/>
                    </a:cubicBezTo>
                    <a:cubicBezTo>
                      <a:pt x="692676" y="667698"/>
                      <a:pt x="708611" y="665112"/>
                      <a:pt x="717955" y="685467"/>
                    </a:cubicBezTo>
                    <a:cubicBezTo>
                      <a:pt x="733890" y="720920"/>
                      <a:pt x="719290" y="742192"/>
                      <a:pt x="700686" y="759877"/>
                    </a:cubicBezTo>
                    <a:cubicBezTo>
                      <a:pt x="690508" y="769638"/>
                      <a:pt x="684334" y="776728"/>
                      <a:pt x="686086" y="787323"/>
                    </a:cubicBezTo>
                    <a:cubicBezTo>
                      <a:pt x="687421" y="797083"/>
                      <a:pt x="692760" y="799252"/>
                      <a:pt x="703773" y="803256"/>
                    </a:cubicBezTo>
                    <a:cubicBezTo>
                      <a:pt x="706025" y="804174"/>
                      <a:pt x="708611" y="804591"/>
                      <a:pt x="710864" y="805926"/>
                    </a:cubicBezTo>
                    <a:cubicBezTo>
                      <a:pt x="738812" y="817855"/>
                      <a:pt x="749824" y="847135"/>
                      <a:pt x="737894" y="876833"/>
                    </a:cubicBezTo>
                    <a:cubicBezTo>
                      <a:pt x="734807" y="883924"/>
                      <a:pt x="730803" y="889680"/>
                      <a:pt x="726381" y="895436"/>
                    </a:cubicBezTo>
                    <a:cubicBezTo>
                      <a:pt x="722877" y="900274"/>
                      <a:pt x="719290" y="905196"/>
                      <a:pt x="717037" y="910034"/>
                    </a:cubicBezTo>
                    <a:cubicBezTo>
                      <a:pt x="714784" y="915374"/>
                      <a:pt x="715703" y="920629"/>
                      <a:pt x="716120" y="926385"/>
                    </a:cubicBezTo>
                    <a:cubicBezTo>
                      <a:pt x="716537" y="931223"/>
                      <a:pt x="717454" y="936979"/>
                      <a:pt x="716120" y="943653"/>
                    </a:cubicBezTo>
                    <a:cubicBezTo>
                      <a:pt x="713867" y="953413"/>
                      <a:pt x="708110" y="957834"/>
                      <a:pt x="704190" y="960003"/>
                    </a:cubicBezTo>
                    <a:cubicBezTo>
                      <a:pt x="688255" y="968012"/>
                      <a:pt x="663894" y="956500"/>
                      <a:pt x="644373" y="947574"/>
                    </a:cubicBezTo>
                    <a:cubicBezTo>
                      <a:pt x="639033" y="944904"/>
                      <a:pt x="634194" y="942735"/>
                      <a:pt x="630607" y="941818"/>
                    </a:cubicBezTo>
                    <a:cubicBezTo>
                      <a:pt x="606246" y="933809"/>
                      <a:pt x="580551" y="923632"/>
                      <a:pt x="563699" y="898439"/>
                    </a:cubicBezTo>
                    <a:cubicBezTo>
                      <a:pt x="562364" y="896687"/>
                      <a:pt x="561446" y="894935"/>
                      <a:pt x="560612" y="893601"/>
                    </a:cubicBezTo>
                    <a:cubicBezTo>
                      <a:pt x="557108" y="887428"/>
                      <a:pt x="555773" y="885592"/>
                      <a:pt x="550434" y="884758"/>
                    </a:cubicBezTo>
                    <a:cubicBezTo>
                      <a:pt x="542425" y="883840"/>
                      <a:pt x="531412" y="889596"/>
                      <a:pt x="519399" y="902026"/>
                    </a:cubicBezTo>
                    <a:lnTo>
                      <a:pt x="511390" y="914456"/>
                    </a:lnTo>
                    <a:cubicBezTo>
                      <a:pt x="510473" y="920212"/>
                      <a:pt x="512725" y="925050"/>
                      <a:pt x="516229" y="932641"/>
                    </a:cubicBezTo>
                    <a:cubicBezTo>
                      <a:pt x="520234" y="940650"/>
                      <a:pt x="525072" y="949910"/>
                      <a:pt x="524238" y="961421"/>
                    </a:cubicBezTo>
                    <a:cubicBezTo>
                      <a:pt x="523320" y="972517"/>
                      <a:pt x="516229" y="982694"/>
                      <a:pt x="510055" y="991536"/>
                    </a:cubicBezTo>
                    <a:cubicBezTo>
                      <a:pt x="507386" y="994623"/>
                      <a:pt x="505217" y="998210"/>
                      <a:pt x="503381" y="1001297"/>
                    </a:cubicBezTo>
                    <a:cubicBezTo>
                      <a:pt x="495873" y="1015061"/>
                      <a:pt x="488782" y="1026573"/>
                      <a:pt x="473264" y="1035833"/>
                    </a:cubicBezTo>
                    <a:cubicBezTo>
                      <a:pt x="456912" y="1046010"/>
                      <a:pt x="440060" y="1067282"/>
                      <a:pt x="428964" y="1093393"/>
                    </a:cubicBezTo>
                    <a:cubicBezTo>
                      <a:pt x="426295" y="1099149"/>
                      <a:pt x="424543" y="1104905"/>
                      <a:pt x="422791" y="1110661"/>
                    </a:cubicBezTo>
                    <a:cubicBezTo>
                      <a:pt x="420122" y="1117751"/>
                      <a:pt x="417952" y="1125259"/>
                      <a:pt x="414365" y="1132767"/>
                    </a:cubicBezTo>
                    <a:cubicBezTo>
                      <a:pt x="409025" y="1144696"/>
                      <a:pt x="409025" y="1150452"/>
                      <a:pt x="413030" y="1164217"/>
                    </a:cubicBezTo>
                    <a:cubicBezTo>
                      <a:pt x="415699" y="1172225"/>
                      <a:pt x="422791" y="1199670"/>
                      <a:pt x="410360" y="1210265"/>
                    </a:cubicBezTo>
                    <a:cubicBezTo>
                      <a:pt x="406856" y="1213351"/>
                      <a:pt x="399765" y="1216438"/>
                      <a:pt x="387334" y="1211182"/>
                    </a:cubicBezTo>
                    <a:cubicBezTo>
                      <a:pt x="373569" y="1205009"/>
                      <a:pt x="365143" y="1190828"/>
                      <a:pt x="357634" y="1177981"/>
                    </a:cubicBezTo>
                    <a:cubicBezTo>
                      <a:pt x="355382" y="1174477"/>
                      <a:pt x="353630" y="1171308"/>
                      <a:pt x="351461" y="1168221"/>
                    </a:cubicBezTo>
                    <a:cubicBezTo>
                      <a:pt x="346622" y="1161130"/>
                      <a:pt x="341283" y="1154456"/>
                      <a:pt x="335109" y="1147866"/>
                    </a:cubicBezTo>
                    <a:cubicBezTo>
                      <a:pt x="331105" y="1143445"/>
                      <a:pt x="326683" y="1138523"/>
                      <a:pt x="323179" y="1133685"/>
                    </a:cubicBezTo>
                    <a:cubicBezTo>
                      <a:pt x="321844" y="1132350"/>
                      <a:pt x="320927" y="1130598"/>
                      <a:pt x="320092" y="1129264"/>
                    </a:cubicBezTo>
                    <a:cubicBezTo>
                      <a:pt x="315254" y="1122173"/>
                      <a:pt x="313918" y="1120421"/>
                      <a:pt x="306827" y="1122173"/>
                    </a:cubicBezTo>
                    <a:cubicBezTo>
                      <a:pt x="297484" y="1124425"/>
                      <a:pt x="293563" y="1132767"/>
                      <a:pt x="288223" y="1146114"/>
                    </a:cubicBezTo>
                    <a:cubicBezTo>
                      <a:pt x="283802" y="1156709"/>
                      <a:pt x="279380" y="1167804"/>
                      <a:pt x="269619" y="1174477"/>
                    </a:cubicBezTo>
                    <a:cubicBezTo>
                      <a:pt x="250097" y="1187324"/>
                      <a:pt x="226654" y="1185072"/>
                      <a:pt x="205381" y="1182903"/>
                    </a:cubicBezTo>
                    <a:cubicBezTo>
                      <a:pt x="198289" y="1181985"/>
                      <a:pt x="191198" y="1181568"/>
                      <a:pt x="184107" y="1181568"/>
                    </a:cubicBezTo>
                    <a:lnTo>
                      <a:pt x="183189" y="1181568"/>
                    </a:lnTo>
                    <a:cubicBezTo>
                      <a:pt x="157911" y="1181568"/>
                      <a:pt x="144229" y="1193998"/>
                      <a:pt x="136220" y="1224530"/>
                    </a:cubicBezTo>
                    <a:cubicBezTo>
                      <a:pt x="134885" y="1229869"/>
                      <a:pt x="133550" y="1234707"/>
                      <a:pt x="131798" y="1240046"/>
                    </a:cubicBezTo>
                    <a:cubicBezTo>
                      <a:pt x="124707" y="1263988"/>
                      <a:pt x="117615" y="1289181"/>
                      <a:pt x="123372" y="1312705"/>
                    </a:cubicBezTo>
                    <a:cubicBezTo>
                      <a:pt x="126459" y="1324217"/>
                      <a:pt x="131381" y="1329556"/>
                      <a:pt x="141559" y="1337982"/>
                    </a:cubicBezTo>
                    <a:cubicBezTo>
                      <a:pt x="154407" y="1348159"/>
                      <a:pt x="157076" y="1357502"/>
                      <a:pt x="161081" y="1369848"/>
                    </a:cubicBezTo>
                    <a:lnTo>
                      <a:pt x="164168" y="1379192"/>
                    </a:lnTo>
                    <a:cubicBezTo>
                      <a:pt x="167671" y="1391121"/>
                      <a:pt x="170842" y="1399546"/>
                      <a:pt x="160163" y="1413728"/>
                    </a:cubicBezTo>
                    <a:cubicBezTo>
                      <a:pt x="158411" y="1416397"/>
                      <a:pt x="156159" y="1418149"/>
                      <a:pt x="154407" y="1419484"/>
                    </a:cubicBezTo>
                    <a:cubicBezTo>
                      <a:pt x="152154" y="1420818"/>
                      <a:pt x="151320" y="1422153"/>
                      <a:pt x="149985" y="1423905"/>
                    </a:cubicBezTo>
                    <a:cubicBezTo>
                      <a:pt x="148650" y="1426574"/>
                      <a:pt x="148233" y="1430078"/>
                      <a:pt x="147732" y="1434082"/>
                    </a:cubicBezTo>
                    <a:cubicBezTo>
                      <a:pt x="147315" y="1437586"/>
                      <a:pt x="147315" y="1441173"/>
                      <a:pt x="146398" y="1445177"/>
                    </a:cubicBezTo>
                    <a:cubicBezTo>
                      <a:pt x="141058" y="1462028"/>
                      <a:pt x="133550" y="1464698"/>
                      <a:pt x="121119" y="1467784"/>
                    </a:cubicBezTo>
                    <a:cubicBezTo>
                      <a:pt x="118867" y="1468201"/>
                      <a:pt x="117115" y="1468702"/>
                      <a:pt x="114445" y="1469536"/>
                    </a:cubicBezTo>
                    <a:cubicBezTo>
                      <a:pt x="100263" y="1473540"/>
                      <a:pt x="96759" y="1479296"/>
                      <a:pt x="92337" y="1495229"/>
                    </a:cubicBezTo>
                    <a:cubicBezTo>
                      <a:pt x="91419" y="1498316"/>
                      <a:pt x="90084" y="1501903"/>
                      <a:pt x="88833" y="1505824"/>
                    </a:cubicBezTo>
                    <a:cubicBezTo>
                      <a:pt x="85747" y="1514249"/>
                      <a:pt x="82159" y="1524009"/>
                      <a:pt x="83077" y="1530600"/>
                    </a:cubicBezTo>
                    <a:cubicBezTo>
                      <a:pt x="83994" y="1536773"/>
                      <a:pt x="86581" y="1542112"/>
                      <a:pt x="89751" y="1547868"/>
                    </a:cubicBezTo>
                    <a:cubicBezTo>
                      <a:pt x="93756" y="1555375"/>
                      <a:pt x="98177" y="1563801"/>
                      <a:pt x="98177" y="1574896"/>
                    </a:cubicBezTo>
                    <a:cubicBezTo>
                      <a:pt x="98594" y="1585991"/>
                      <a:pt x="94673" y="1594834"/>
                      <a:pt x="90669" y="1603676"/>
                    </a:cubicBezTo>
                    <a:cubicBezTo>
                      <a:pt x="87582" y="1610767"/>
                      <a:pt x="84912" y="1617440"/>
                      <a:pt x="84495" y="1624031"/>
                    </a:cubicBezTo>
                    <a:cubicBezTo>
                      <a:pt x="84078" y="1630621"/>
                      <a:pt x="84912" y="1637295"/>
                      <a:pt x="86247" y="1644385"/>
                    </a:cubicBezTo>
                    <a:cubicBezTo>
                      <a:pt x="87582" y="1653728"/>
                      <a:pt x="89334" y="1663906"/>
                      <a:pt x="87165" y="1674500"/>
                    </a:cubicBezTo>
                    <a:cubicBezTo>
                      <a:pt x="84912" y="1686429"/>
                      <a:pt x="80991" y="1699776"/>
                      <a:pt x="76987" y="1709954"/>
                    </a:cubicBezTo>
                    <a:cubicBezTo>
                      <a:pt x="68978" y="1730308"/>
                      <a:pt x="57965" y="1731643"/>
                      <a:pt x="40195" y="1731643"/>
                    </a:cubicBezTo>
                    <a:cubicBezTo>
                      <a:pt x="28265" y="1731643"/>
                      <a:pt x="26430" y="1734730"/>
                      <a:pt x="21174" y="1743572"/>
                    </a:cubicBezTo>
                    <a:cubicBezTo>
                      <a:pt x="18922" y="1746659"/>
                      <a:pt x="17169" y="1750663"/>
                      <a:pt x="14083" y="1754167"/>
                    </a:cubicBezTo>
                    <a:cubicBezTo>
                      <a:pt x="11413" y="1757670"/>
                      <a:pt x="8743" y="1760340"/>
                      <a:pt x="5657" y="1763009"/>
                    </a:cubicBezTo>
                    <a:cubicBezTo>
                      <a:pt x="-1017" y="1769182"/>
                      <a:pt x="-1435" y="1769683"/>
                      <a:pt x="2570" y="1774938"/>
                    </a:cubicBezTo>
                    <a:cubicBezTo>
                      <a:pt x="5657" y="1778942"/>
                      <a:pt x="10996" y="1782029"/>
                      <a:pt x="16752" y="1785533"/>
                    </a:cubicBezTo>
                    <a:cubicBezTo>
                      <a:pt x="22092" y="1789036"/>
                      <a:pt x="27848" y="1792206"/>
                      <a:pt x="32687" y="1797045"/>
                    </a:cubicBezTo>
                    <a:cubicBezTo>
                      <a:pt x="38026" y="1802801"/>
                      <a:pt x="42865" y="1808974"/>
                      <a:pt x="47787" y="1814730"/>
                    </a:cubicBezTo>
                    <a:cubicBezTo>
                      <a:pt x="54879" y="1823572"/>
                      <a:pt x="61553" y="1831998"/>
                      <a:pt x="69895" y="1838672"/>
                    </a:cubicBezTo>
                    <a:cubicBezTo>
                      <a:pt x="76069" y="1843510"/>
                      <a:pt x="82743" y="1848015"/>
                      <a:pt x="89417" y="1852436"/>
                    </a:cubicBezTo>
                    <a:cubicBezTo>
                      <a:pt x="93839" y="1855106"/>
                      <a:pt x="98261" y="1858192"/>
                      <a:pt x="102265" y="1861279"/>
                    </a:cubicBezTo>
                    <a:cubicBezTo>
                      <a:pt x="129295" y="1845345"/>
                      <a:pt x="156743" y="1863031"/>
                      <a:pt x="179351" y="1877629"/>
                    </a:cubicBezTo>
                    <a:cubicBezTo>
                      <a:pt x="183773" y="1880298"/>
                      <a:pt x="188194" y="1883385"/>
                      <a:pt x="192616" y="1885637"/>
                    </a:cubicBezTo>
                    <a:cubicBezTo>
                      <a:pt x="201042" y="1890976"/>
                      <a:pt x="210303" y="1894980"/>
                      <a:pt x="220064" y="1899402"/>
                    </a:cubicBezTo>
                    <a:cubicBezTo>
                      <a:pt x="230659" y="1904240"/>
                      <a:pt x="241338" y="1909162"/>
                      <a:pt x="251933" y="1915335"/>
                    </a:cubicBezTo>
                    <a:cubicBezTo>
                      <a:pt x="271455" y="1927264"/>
                      <a:pt x="282967" y="1931685"/>
                      <a:pt x="301571" y="1925095"/>
                    </a:cubicBezTo>
                    <a:cubicBezTo>
                      <a:pt x="321928" y="1917587"/>
                      <a:pt x="338780" y="1914501"/>
                      <a:pt x="350293" y="1943698"/>
                    </a:cubicBezTo>
                    <a:cubicBezTo>
                      <a:pt x="350710" y="1944115"/>
                      <a:pt x="350710" y="1944616"/>
                      <a:pt x="350710" y="1945033"/>
                    </a:cubicBezTo>
                    <a:cubicBezTo>
                      <a:pt x="351127" y="1944616"/>
                      <a:pt x="351628" y="1944616"/>
                      <a:pt x="352045" y="1944115"/>
                    </a:cubicBezTo>
                    <a:cubicBezTo>
                      <a:pt x="364476" y="1935272"/>
                      <a:pt x="377740" y="1923760"/>
                      <a:pt x="393258" y="1909162"/>
                    </a:cubicBezTo>
                    <a:cubicBezTo>
                      <a:pt x="395511" y="1906492"/>
                      <a:pt x="398096" y="1903823"/>
                      <a:pt x="401684" y="1900319"/>
                    </a:cubicBezTo>
                    <a:cubicBezTo>
                      <a:pt x="414532" y="1885721"/>
                      <a:pt x="432218" y="1864866"/>
                      <a:pt x="452157" y="1871122"/>
                    </a:cubicBezTo>
                    <a:cubicBezTo>
                      <a:pt x="465005" y="1874626"/>
                      <a:pt x="469844" y="1887055"/>
                      <a:pt x="473431" y="1897233"/>
                    </a:cubicBezTo>
                    <a:cubicBezTo>
                      <a:pt x="474766" y="1900319"/>
                      <a:pt x="475683" y="1903406"/>
                      <a:pt x="476935" y="1905658"/>
                    </a:cubicBezTo>
                    <a:cubicBezTo>
                      <a:pt x="483109" y="1916753"/>
                      <a:pt x="492869" y="1922926"/>
                      <a:pt x="503965" y="1930017"/>
                    </a:cubicBezTo>
                    <a:lnTo>
                      <a:pt x="505717" y="1931352"/>
                    </a:lnTo>
                    <a:cubicBezTo>
                      <a:pt x="518982" y="1939777"/>
                      <a:pt x="533665" y="1945533"/>
                      <a:pt x="548265" y="1951289"/>
                    </a:cubicBezTo>
                    <a:cubicBezTo>
                      <a:pt x="566452" y="1958380"/>
                      <a:pt x="585473" y="1965471"/>
                      <a:pt x="601825" y="1978735"/>
                    </a:cubicBezTo>
                    <a:cubicBezTo>
                      <a:pt x="605829" y="1981821"/>
                      <a:pt x="609834" y="1985408"/>
                      <a:pt x="613755" y="1989329"/>
                    </a:cubicBezTo>
                    <a:cubicBezTo>
                      <a:pt x="622598" y="1997338"/>
                      <a:pt x="631942" y="2005680"/>
                      <a:pt x="642120" y="2009684"/>
                    </a:cubicBezTo>
                    <a:cubicBezTo>
                      <a:pt x="650963" y="2013187"/>
                      <a:pt x="658972" y="2012353"/>
                      <a:pt x="668232" y="2010601"/>
                    </a:cubicBezTo>
                    <a:cubicBezTo>
                      <a:pt x="673572" y="2009684"/>
                      <a:pt x="678828" y="2008849"/>
                      <a:pt x="684585" y="2008349"/>
                    </a:cubicBezTo>
                    <a:cubicBezTo>
                      <a:pt x="703606" y="2007014"/>
                      <a:pt x="714701" y="2019444"/>
                      <a:pt x="725380" y="2030038"/>
                    </a:cubicBezTo>
                    <a:cubicBezTo>
                      <a:pt x="727633" y="2032708"/>
                      <a:pt x="730218" y="2034877"/>
                      <a:pt x="732471" y="2037129"/>
                    </a:cubicBezTo>
                    <a:cubicBezTo>
                      <a:pt x="742649" y="2046889"/>
                      <a:pt x="752410" y="2051727"/>
                      <a:pt x="764841" y="2057483"/>
                    </a:cubicBezTo>
                    <a:cubicBezTo>
                      <a:pt x="786949" y="2067661"/>
                      <a:pt x="790537" y="2077421"/>
                      <a:pt x="794541" y="2099111"/>
                    </a:cubicBezTo>
                    <a:cubicBezTo>
                      <a:pt x="795875" y="2106201"/>
                      <a:pt x="798045" y="2111040"/>
                      <a:pt x="801215" y="2113292"/>
                    </a:cubicBezTo>
                    <a:cubicBezTo>
                      <a:pt x="803885" y="2115544"/>
                      <a:pt x="808306" y="2115544"/>
                      <a:pt x="814981" y="2114627"/>
                    </a:cubicBezTo>
                    <a:cubicBezTo>
                      <a:pt x="846016" y="2108871"/>
                      <a:pt x="852606" y="2112374"/>
                      <a:pt x="863701" y="2141238"/>
                    </a:cubicBezTo>
                    <a:cubicBezTo>
                      <a:pt x="866788" y="2149663"/>
                      <a:pt x="869458" y="2150998"/>
                      <a:pt x="870375" y="2151415"/>
                    </a:cubicBezTo>
                    <a:cubicBezTo>
                      <a:pt x="874798" y="2152333"/>
                      <a:pt x="882806" y="2145659"/>
                      <a:pt x="888563" y="2140320"/>
                    </a:cubicBezTo>
                    <a:cubicBezTo>
                      <a:pt x="892066" y="2137234"/>
                      <a:pt x="896072" y="2134147"/>
                      <a:pt x="899659" y="2131895"/>
                    </a:cubicBezTo>
                    <a:cubicBezTo>
                      <a:pt x="904080" y="2128808"/>
                      <a:pt x="908502" y="2127474"/>
                      <a:pt x="912506" y="2125722"/>
                    </a:cubicBezTo>
                    <a:cubicBezTo>
                      <a:pt x="920933" y="2122635"/>
                      <a:pt x="925354" y="2120383"/>
                      <a:pt x="928024" y="2113792"/>
                    </a:cubicBezTo>
                    <a:cubicBezTo>
                      <a:pt x="929358" y="2108954"/>
                      <a:pt x="928941" y="2103615"/>
                      <a:pt x="928024" y="2097859"/>
                    </a:cubicBezTo>
                    <a:cubicBezTo>
                      <a:pt x="926689" y="2089434"/>
                      <a:pt x="925354" y="2078339"/>
                      <a:pt x="932863" y="2068662"/>
                    </a:cubicBezTo>
                    <a:cubicBezTo>
                      <a:pt x="939036" y="2060237"/>
                      <a:pt x="948797" y="2054481"/>
                      <a:pt x="957640" y="2049141"/>
                    </a:cubicBezTo>
                    <a:cubicBezTo>
                      <a:pt x="962979" y="2046055"/>
                      <a:pt x="967819" y="2043385"/>
                      <a:pt x="971823" y="2040299"/>
                    </a:cubicBezTo>
                    <a:cubicBezTo>
                      <a:pt x="983753" y="2030539"/>
                      <a:pt x="993931" y="2019444"/>
                      <a:pt x="1002858" y="2006597"/>
                    </a:cubicBezTo>
                    <a:cubicBezTo>
                      <a:pt x="1012618" y="1992415"/>
                      <a:pt x="1018792" y="1975148"/>
                      <a:pt x="1024549" y="1958296"/>
                    </a:cubicBezTo>
                    <a:cubicBezTo>
                      <a:pt x="1031223" y="1939694"/>
                      <a:pt x="1038314" y="1920174"/>
                      <a:pt x="1050244" y="1904240"/>
                    </a:cubicBezTo>
                    <a:cubicBezTo>
                      <a:pt x="1056417" y="1895815"/>
                      <a:pt x="1064844" y="1888724"/>
                      <a:pt x="1072352" y="1881633"/>
                    </a:cubicBezTo>
                    <a:cubicBezTo>
                      <a:pt x="1078525" y="1876294"/>
                      <a:pt x="1084282" y="1871039"/>
                      <a:pt x="1089205" y="1865283"/>
                    </a:cubicBezTo>
                    <a:cubicBezTo>
                      <a:pt x="1097213" y="1855940"/>
                      <a:pt x="1105139" y="1846263"/>
                      <a:pt x="1112647" y="1836503"/>
                    </a:cubicBezTo>
                    <a:cubicBezTo>
                      <a:pt x="1116151" y="1831664"/>
                      <a:pt x="1120656" y="1826743"/>
                      <a:pt x="1124577" y="1821904"/>
                    </a:cubicBezTo>
                    <a:cubicBezTo>
                      <a:pt x="1135673" y="1808140"/>
                      <a:pt x="1148938" y="1792206"/>
                      <a:pt x="1164872" y="1778025"/>
                    </a:cubicBezTo>
                    <a:lnTo>
                      <a:pt x="1167542" y="1775773"/>
                    </a:lnTo>
                    <a:cubicBezTo>
                      <a:pt x="1179472" y="1765178"/>
                      <a:pt x="1189650" y="1755835"/>
                      <a:pt x="1194156" y="1741237"/>
                    </a:cubicBezTo>
                    <a:cubicBezTo>
                      <a:pt x="1197660" y="1729307"/>
                      <a:pt x="1198994" y="1715960"/>
                      <a:pt x="1199912" y="1702696"/>
                    </a:cubicBezTo>
                    <a:cubicBezTo>
                      <a:pt x="1200329" y="1695605"/>
                      <a:pt x="1200830" y="1688515"/>
                      <a:pt x="1202164" y="1681424"/>
                    </a:cubicBezTo>
                    <a:cubicBezTo>
                      <a:pt x="1204834" y="1663238"/>
                      <a:pt x="1207921" y="1643801"/>
                      <a:pt x="1212342" y="1621611"/>
                    </a:cubicBezTo>
                    <a:lnTo>
                      <a:pt x="1214094" y="1612268"/>
                    </a:lnTo>
                    <a:cubicBezTo>
                      <a:pt x="1217181" y="1596335"/>
                      <a:pt x="1220268" y="1580402"/>
                      <a:pt x="1225190" y="1564885"/>
                    </a:cubicBezTo>
                    <a:cubicBezTo>
                      <a:pt x="1226108" y="1562216"/>
                      <a:pt x="1227442" y="1559546"/>
                      <a:pt x="1228277" y="1556460"/>
                    </a:cubicBezTo>
                    <a:cubicBezTo>
                      <a:pt x="1231781" y="1547617"/>
                      <a:pt x="1236286" y="1537440"/>
                      <a:pt x="1233616" y="1530766"/>
                    </a:cubicBezTo>
                    <a:cubicBezTo>
                      <a:pt x="1231364" y="1525428"/>
                      <a:pt x="1227859" y="1524093"/>
                      <a:pt x="1219851" y="1521924"/>
                    </a:cubicBezTo>
                    <a:cubicBezTo>
                      <a:pt x="1214511" y="1520589"/>
                      <a:pt x="1207921" y="1518837"/>
                      <a:pt x="1202581" y="1513916"/>
                    </a:cubicBezTo>
                    <a:cubicBezTo>
                      <a:pt x="1192403" y="1505490"/>
                      <a:pt x="1188816" y="1492226"/>
                      <a:pt x="1186230" y="1479379"/>
                    </a:cubicBezTo>
                    <a:cubicBezTo>
                      <a:pt x="1184478" y="1469619"/>
                      <a:pt x="1183977" y="1459859"/>
                      <a:pt x="1183560" y="1450182"/>
                    </a:cubicBezTo>
                    <a:cubicBezTo>
                      <a:pt x="1182643" y="1433331"/>
                      <a:pt x="1182226" y="1417398"/>
                      <a:pt x="1173382" y="1403217"/>
                    </a:cubicBezTo>
                    <a:lnTo>
                      <a:pt x="1171630" y="1400130"/>
                    </a:lnTo>
                    <a:cubicBezTo>
                      <a:pt x="1162787" y="1385031"/>
                      <a:pt x="1156112" y="1374436"/>
                      <a:pt x="1157865" y="1353581"/>
                    </a:cubicBezTo>
                    <a:cubicBezTo>
                      <a:pt x="1158282" y="1348242"/>
                      <a:pt x="1158282" y="1342487"/>
                      <a:pt x="1158282" y="1336730"/>
                    </a:cubicBezTo>
                    <a:cubicBezTo>
                      <a:pt x="1157865" y="1325635"/>
                      <a:pt x="1157865" y="1314124"/>
                      <a:pt x="1160535" y="1303946"/>
                    </a:cubicBezTo>
                    <a:cubicBezTo>
                      <a:pt x="1161869" y="1298190"/>
                      <a:pt x="1167209" y="1293769"/>
                      <a:pt x="1172965" y="1289348"/>
                    </a:cubicBezTo>
                    <a:cubicBezTo>
                      <a:pt x="1176052" y="1286261"/>
                      <a:pt x="1182726" y="1280922"/>
                      <a:pt x="1181809" y="1279170"/>
                    </a:cubicBezTo>
                    <a:cubicBezTo>
                      <a:pt x="1180890" y="1276501"/>
                      <a:pt x="1174717" y="1274749"/>
                      <a:pt x="1171213" y="1273831"/>
                    </a:cubicBezTo>
                    <a:cubicBezTo>
                      <a:pt x="1167709" y="1272496"/>
                      <a:pt x="1164539" y="1271579"/>
                      <a:pt x="1161869" y="1269827"/>
                    </a:cubicBezTo>
                    <a:cubicBezTo>
                      <a:pt x="1159199" y="1267575"/>
                      <a:pt x="1157448" y="1264989"/>
                      <a:pt x="1155695" y="1262319"/>
                    </a:cubicBezTo>
                    <a:cubicBezTo>
                      <a:pt x="1154778" y="1260985"/>
                      <a:pt x="1153443" y="1259233"/>
                      <a:pt x="1152609" y="1257898"/>
                    </a:cubicBezTo>
                    <a:cubicBezTo>
                      <a:pt x="1149522" y="1255229"/>
                      <a:pt x="1145518" y="1253477"/>
                      <a:pt x="1140678" y="1251224"/>
                    </a:cubicBezTo>
                    <a:cubicBezTo>
                      <a:pt x="1134004" y="1248138"/>
                      <a:pt x="1126496" y="1245051"/>
                      <a:pt x="1121657" y="1237460"/>
                    </a:cubicBezTo>
                    <a:cubicBezTo>
                      <a:pt x="1111479" y="1223278"/>
                      <a:pt x="1116819" y="1204259"/>
                      <a:pt x="1124744" y="1191412"/>
                    </a:cubicBezTo>
                    <a:cubicBezTo>
                      <a:pt x="1134922" y="1175479"/>
                      <a:pt x="1151358" y="1165301"/>
                      <a:pt x="1163288" y="1159045"/>
                    </a:cubicBezTo>
                    <a:cubicBezTo>
                      <a:pt x="1167292" y="1156792"/>
                      <a:pt x="1171713" y="1155541"/>
                      <a:pt x="1176552" y="1154206"/>
                    </a:cubicBezTo>
                    <a:cubicBezTo>
                      <a:pt x="1183643" y="1151954"/>
                      <a:pt x="1190735" y="1149785"/>
                      <a:pt x="1194740" y="1145781"/>
                    </a:cubicBezTo>
                    <a:cubicBezTo>
                      <a:pt x="1200913" y="1139608"/>
                      <a:pt x="1201414" y="1132016"/>
                      <a:pt x="1202248" y="1123674"/>
                    </a:cubicBezTo>
                    <a:cubicBezTo>
                      <a:pt x="1203583" y="1110828"/>
                      <a:pt x="1205334" y="1092642"/>
                      <a:pt x="1236369" y="1092642"/>
                    </a:cubicBezTo>
                    <a:cubicBezTo>
                      <a:pt x="1244379" y="1092642"/>
                      <a:pt x="1252721" y="1094894"/>
                      <a:pt x="1262065" y="1096646"/>
                    </a:cubicBezTo>
                    <a:cubicBezTo>
                      <a:pt x="1281587" y="1100650"/>
                      <a:pt x="1301025" y="1105072"/>
                      <a:pt x="1310786" y="1092642"/>
                    </a:cubicBezTo>
                    <a:cubicBezTo>
                      <a:pt x="1313873" y="1088638"/>
                      <a:pt x="1315208" y="1082882"/>
                      <a:pt x="1315625" y="1076709"/>
                    </a:cubicBezTo>
                    <a:cubicBezTo>
                      <a:pt x="1316960" y="1069618"/>
                      <a:pt x="1318295" y="1060775"/>
                      <a:pt x="1324051" y="1053685"/>
                    </a:cubicBezTo>
                    <a:cubicBezTo>
                      <a:pt x="1336899" y="1038168"/>
                      <a:pt x="1355503" y="1043090"/>
                      <a:pt x="1369268" y="1046177"/>
                    </a:cubicBezTo>
                    <a:lnTo>
                      <a:pt x="1375442" y="1047512"/>
                    </a:lnTo>
                    <a:cubicBezTo>
                      <a:pt x="1386955" y="1050181"/>
                      <a:pt x="1398050" y="1047929"/>
                      <a:pt x="1409981" y="1045259"/>
                    </a:cubicBezTo>
                    <a:cubicBezTo>
                      <a:pt x="1426332" y="1041756"/>
                      <a:pt x="1442768" y="1038168"/>
                      <a:pt x="1460454" y="1048346"/>
                    </a:cubicBezTo>
                    <a:lnTo>
                      <a:pt x="1463540" y="1050098"/>
                    </a:lnTo>
                    <a:cubicBezTo>
                      <a:pt x="1487901" y="1064279"/>
                      <a:pt x="1494575" y="1068283"/>
                      <a:pt x="1518019" y="1053184"/>
                    </a:cubicBezTo>
                    <a:cubicBezTo>
                      <a:pt x="1532201" y="1044341"/>
                      <a:pt x="1541044" y="1047011"/>
                      <a:pt x="1549470" y="1050098"/>
                    </a:cubicBezTo>
                    <a:cubicBezTo>
                      <a:pt x="1552974" y="1051432"/>
                      <a:pt x="1556561" y="1052767"/>
                      <a:pt x="1561401" y="1053184"/>
                    </a:cubicBezTo>
                    <a:cubicBezTo>
                      <a:pt x="1568492" y="1054102"/>
                      <a:pt x="1569826" y="1051849"/>
                      <a:pt x="1573831" y="1044341"/>
                    </a:cubicBezTo>
                    <a:cubicBezTo>
                      <a:pt x="1576083" y="1040838"/>
                      <a:pt x="1578252" y="1036333"/>
                      <a:pt x="1582257" y="1032412"/>
                    </a:cubicBezTo>
                    <a:cubicBezTo>
                      <a:pt x="1588430" y="1026239"/>
                      <a:pt x="1596023" y="1023069"/>
                      <a:pt x="1603531" y="1019983"/>
                    </a:cubicBezTo>
                    <a:cubicBezTo>
                      <a:pt x="1609704" y="1017313"/>
                      <a:pt x="1615044" y="1015144"/>
                      <a:pt x="1619048" y="1011557"/>
                    </a:cubicBezTo>
                    <a:cubicBezTo>
                      <a:pt x="1627057" y="1004466"/>
                      <a:pt x="1628809" y="995207"/>
                      <a:pt x="1629644" y="981025"/>
                    </a:cubicBezTo>
                    <a:cubicBezTo>
                      <a:pt x="1630061" y="978773"/>
                      <a:pt x="1630061" y="976187"/>
                      <a:pt x="1630061" y="973934"/>
                    </a:cubicBezTo>
                    <a:cubicBezTo>
                      <a:pt x="1630978" y="960170"/>
                      <a:pt x="1631395" y="945154"/>
                      <a:pt x="1645995" y="934060"/>
                    </a:cubicBezTo>
                    <a:cubicBezTo>
                      <a:pt x="1650834" y="930556"/>
                      <a:pt x="1655756" y="927887"/>
                      <a:pt x="1660178" y="925634"/>
                    </a:cubicBezTo>
                    <a:cubicBezTo>
                      <a:pt x="1666852" y="922130"/>
                      <a:pt x="1672107" y="919461"/>
                      <a:pt x="1677447" y="913205"/>
                    </a:cubicBezTo>
                    <a:cubicBezTo>
                      <a:pt x="1701391" y="882673"/>
                      <a:pt x="1717742" y="870660"/>
                      <a:pt x="1730173" y="874247"/>
                    </a:cubicBezTo>
                    <a:cubicBezTo>
                      <a:pt x="1735012" y="875165"/>
                      <a:pt x="1741269" y="879586"/>
                      <a:pt x="1744356" y="892433"/>
                    </a:cubicBezTo>
                    <a:cubicBezTo>
                      <a:pt x="1746608" y="903027"/>
                      <a:pt x="1737681" y="912787"/>
                      <a:pt x="1729255" y="922547"/>
                    </a:cubicBezTo>
                    <a:cubicBezTo>
                      <a:pt x="1727003" y="925217"/>
                      <a:pt x="1724416" y="928304"/>
                      <a:pt x="1722163" y="931390"/>
                    </a:cubicBezTo>
                    <a:lnTo>
                      <a:pt x="1721746" y="931807"/>
                    </a:lnTo>
                    <a:cubicBezTo>
                      <a:pt x="1719077" y="934894"/>
                      <a:pt x="1717742" y="937980"/>
                      <a:pt x="1718243" y="939816"/>
                    </a:cubicBezTo>
                    <a:cubicBezTo>
                      <a:pt x="1718243" y="940233"/>
                      <a:pt x="1719160" y="942485"/>
                      <a:pt x="1726669" y="944654"/>
                    </a:cubicBezTo>
                    <a:cubicBezTo>
                      <a:pt x="1727086" y="944654"/>
                      <a:pt x="1727086" y="945071"/>
                      <a:pt x="1727586" y="945071"/>
                    </a:cubicBezTo>
                    <a:cubicBezTo>
                      <a:pt x="1728003" y="945071"/>
                      <a:pt x="1728003" y="945071"/>
                      <a:pt x="1728003" y="945071"/>
                    </a:cubicBezTo>
                    <a:cubicBezTo>
                      <a:pt x="1735095" y="947323"/>
                      <a:pt x="1745690" y="945071"/>
                      <a:pt x="1755034" y="942819"/>
                    </a:cubicBezTo>
                    <a:cubicBezTo>
                      <a:pt x="1760791" y="941484"/>
                      <a:pt x="1766130" y="940566"/>
                      <a:pt x="1770968" y="940149"/>
                    </a:cubicBezTo>
                    <a:lnTo>
                      <a:pt x="1778978" y="939732"/>
                    </a:lnTo>
                    <a:cubicBezTo>
                      <a:pt x="1793160" y="938814"/>
                      <a:pt x="1806926" y="938397"/>
                      <a:pt x="1816186" y="929138"/>
                    </a:cubicBezTo>
                    <a:cubicBezTo>
                      <a:pt x="1821024" y="924716"/>
                      <a:pt x="1825029" y="918960"/>
                      <a:pt x="1829451" y="913622"/>
                    </a:cubicBezTo>
                    <a:cubicBezTo>
                      <a:pt x="1833872" y="907449"/>
                      <a:pt x="1838795" y="901192"/>
                      <a:pt x="1844968" y="895936"/>
                    </a:cubicBezTo>
                    <a:lnTo>
                      <a:pt x="1846303" y="894601"/>
                    </a:lnTo>
                    <a:cubicBezTo>
                      <a:pt x="1856481" y="885259"/>
                      <a:pt x="1859151" y="882172"/>
                      <a:pt x="1855146" y="873329"/>
                    </a:cubicBezTo>
                    <a:cubicBezTo>
                      <a:pt x="1852726" y="872746"/>
                      <a:pt x="1851392" y="870994"/>
                      <a:pt x="1850475" y="86915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2808648" name="Полилиния 405"/>
              <p:cNvSpPr/>
              <p:nvPr/>
            </p:nvSpPr>
            <p:spPr bwMode="auto">
              <a:xfrm>
                <a:off x="1023085" y="2962980"/>
                <a:ext cx="201004" cy="217719"/>
              </a:xfrm>
              <a:custGeom>
                <a:avLst/>
                <a:gdLst>
                  <a:gd name="connsiteX0" fmla="*/ 190380 w 225735"/>
                  <a:gd name="connsiteY0" fmla="*/ 87174 h 244505"/>
                  <a:gd name="connsiteX1" fmla="*/ 171359 w 225735"/>
                  <a:gd name="connsiteY1" fmla="*/ 53973 h 244505"/>
                  <a:gd name="connsiteX2" fmla="*/ 133733 w 225735"/>
                  <a:gd name="connsiteY2" fmla="*/ 71241 h 244505"/>
                  <a:gd name="connsiteX3" fmla="*/ 109790 w 225735"/>
                  <a:gd name="connsiteY3" fmla="*/ 45548 h 244505"/>
                  <a:gd name="connsiteX4" fmla="*/ 110707 w 225735"/>
                  <a:gd name="connsiteY4" fmla="*/ 19437 h 244505"/>
                  <a:gd name="connsiteX5" fmla="*/ 47386 w 225735"/>
                  <a:gd name="connsiteY5" fmla="*/ 24776 h 244505"/>
                  <a:gd name="connsiteX6" fmla="*/ 36791 w 225735"/>
                  <a:gd name="connsiteY6" fmla="*/ 7925 h 244505"/>
                  <a:gd name="connsiteX7" fmla="*/ 22192 w 225735"/>
                  <a:gd name="connsiteY7" fmla="*/ 21689 h 244505"/>
                  <a:gd name="connsiteX8" fmla="*/ 11096 w 225735"/>
                  <a:gd name="connsiteY8" fmla="*/ 8843 h 244505"/>
                  <a:gd name="connsiteX9" fmla="*/ 0 w 225735"/>
                  <a:gd name="connsiteY9" fmla="*/ 0 h 244505"/>
                  <a:gd name="connsiteX10" fmla="*/ 44717 w 225735"/>
                  <a:gd name="connsiteY10" fmla="*/ 102774 h 244505"/>
                  <a:gd name="connsiteX11" fmla="*/ 71747 w 225735"/>
                  <a:gd name="connsiteY11" fmla="*/ 135975 h 244505"/>
                  <a:gd name="connsiteX12" fmla="*/ 92103 w 225735"/>
                  <a:gd name="connsiteY12" fmla="*/ 159917 h 244505"/>
                  <a:gd name="connsiteX13" fmla="*/ 112042 w 225735"/>
                  <a:gd name="connsiteY13" fmla="*/ 189114 h 244505"/>
                  <a:gd name="connsiteX14" fmla="*/ 135986 w 225735"/>
                  <a:gd name="connsiteY14" fmla="*/ 222816 h 244505"/>
                  <a:gd name="connsiteX15" fmla="*/ 146581 w 225735"/>
                  <a:gd name="connsiteY15" fmla="*/ 234328 h 244505"/>
                  <a:gd name="connsiteX16" fmla="*/ 156342 w 225735"/>
                  <a:gd name="connsiteY16" fmla="*/ 244506 h 244505"/>
                  <a:gd name="connsiteX17" fmla="*/ 171442 w 225735"/>
                  <a:gd name="connsiteY17" fmla="*/ 239667 h 244505"/>
                  <a:gd name="connsiteX18" fmla="*/ 225503 w 225735"/>
                  <a:gd name="connsiteY18" fmla="*/ 186028 h 244505"/>
                  <a:gd name="connsiteX19" fmla="*/ 190380 w 225735"/>
                  <a:gd name="connsiteY19" fmla="*/ 87174 h 2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5735" h="244505" extrusionOk="0">
                    <a:moveTo>
                      <a:pt x="190380" y="87174"/>
                    </a:moveTo>
                    <a:cubicBezTo>
                      <a:pt x="183706" y="76580"/>
                      <a:pt x="177115" y="65485"/>
                      <a:pt x="171359" y="53973"/>
                    </a:cubicBezTo>
                    <a:cubicBezTo>
                      <a:pt x="161598" y="69489"/>
                      <a:pt x="152337" y="84505"/>
                      <a:pt x="133733" y="71241"/>
                    </a:cubicBezTo>
                    <a:cubicBezTo>
                      <a:pt x="123555" y="64150"/>
                      <a:pt x="110707" y="58811"/>
                      <a:pt x="109790" y="45548"/>
                    </a:cubicBezTo>
                    <a:cubicBezTo>
                      <a:pt x="108872" y="37122"/>
                      <a:pt x="118216" y="26945"/>
                      <a:pt x="110707" y="19437"/>
                    </a:cubicBezTo>
                    <a:cubicBezTo>
                      <a:pt x="93438" y="3504"/>
                      <a:pt x="65073" y="59729"/>
                      <a:pt x="47386" y="24776"/>
                    </a:cubicBezTo>
                    <a:cubicBezTo>
                      <a:pt x="43882" y="17685"/>
                      <a:pt x="47804" y="2670"/>
                      <a:pt x="36791" y="7925"/>
                    </a:cubicBezTo>
                    <a:cubicBezTo>
                      <a:pt x="30117" y="11429"/>
                      <a:pt x="35456" y="23858"/>
                      <a:pt x="22192" y="21689"/>
                    </a:cubicBezTo>
                    <a:cubicBezTo>
                      <a:pt x="14183" y="20355"/>
                      <a:pt x="15517" y="12847"/>
                      <a:pt x="11096" y="8843"/>
                    </a:cubicBezTo>
                    <a:cubicBezTo>
                      <a:pt x="6674" y="4838"/>
                      <a:pt x="4422" y="2169"/>
                      <a:pt x="0" y="0"/>
                    </a:cubicBezTo>
                    <a:cubicBezTo>
                      <a:pt x="7091" y="34953"/>
                      <a:pt x="22609" y="70407"/>
                      <a:pt x="44717" y="102774"/>
                    </a:cubicBezTo>
                    <a:cubicBezTo>
                      <a:pt x="52726" y="114286"/>
                      <a:pt x="62403" y="125381"/>
                      <a:pt x="71747" y="135975"/>
                    </a:cubicBezTo>
                    <a:cubicBezTo>
                      <a:pt x="78838" y="143984"/>
                      <a:pt x="85513" y="151492"/>
                      <a:pt x="92103" y="159917"/>
                    </a:cubicBezTo>
                    <a:cubicBezTo>
                      <a:pt x="99194" y="169260"/>
                      <a:pt x="105869" y="179438"/>
                      <a:pt x="112042" y="189114"/>
                    </a:cubicBezTo>
                    <a:cubicBezTo>
                      <a:pt x="119551" y="200626"/>
                      <a:pt x="127560" y="212556"/>
                      <a:pt x="135986" y="222816"/>
                    </a:cubicBezTo>
                    <a:cubicBezTo>
                      <a:pt x="139073" y="226820"/>
                      <a:pt x="143077" y="230825"/>
                      <a:pt x="146581" y="234328"/>
                    </a:cubicBezTo>
                    <a:cubicBezTo>
                      <a:pt x="149668" y="237415"/>
                      <a:pt x="153255" y="241002"/>
                      <a:pt x="156342" y="244506"/>
                    </a:cubicBezTo>
                    <a:cubicBezTo>
                      <a:pt x="161181" y="242754"/>
                      <a:pt x="166520" y="241002"/>
                      <a:pt x="171442" y="239667"/>
                    </a:cubicBezTo>
                    <a:cubicBezTo>
                      <a:pt x="203812" y="229073"/>
                      <a:pt x="223250" y="217060"/>
                      <a:pt x="225503" y="186028"/>
                    </a:cubicBezTo>
                    <a:cubicBezTo>
                      <a:pt x="228006" y="149156"/>
                      <a:pt x="209902" y="119041"/>
                      <a:pt x="190380" y="871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55659768" name="Полилиния 406"/>
              <p:cNvSpPr/>
              <p:nvPr/>
            </p:nvSpPr>
            <p:spPr bwMode="auto">
              <a:xfrm>
                <a:off x="4993211" y="5694561"/>
                <a:ext cx="771692" cy="547650"/>
              </a:xfrm>
              <a:custGeom>
                <a:avLst/>
                <a:gdLst>
                  <a:gd name="connsiteX0" fmla="*/ 570640 w 866637"/>
                  <a:gd name="connsiteY0" fmla="*/ 614112 h 615029"/>
                  <a:gd name="connsiteX1" fmla="*/ 556457 w 866637"/>
                  <a:gd name="connsiteY1" fmla="*/ 615030 h 615029"/>
                  <a:gd name="connsiteX2" fmla="*/ 484710 w 866637"/>
                  <a:gd name="connsiteY2" fmla="*/ 544623 h 615029"/>
                  <a:gd name="connsiteX3" fmla="*/ 426645 w 866637"/>
                  <a:gd name="connsiteY3" fmla="*/ 560973 h 615029"/>
                  <a:gd name="connsiteX4" fmla="*/ 383680 w 866637"/>
                  <a:gd name="connsiteY4" fmla="*/ 576489 h 615029"/>
                  <a:gd name="connsiteX5" fmla="*/ 280898 w 866637"/>
                  <a:gd name="connsiteY5" fmla="*/ 545040 h 615029"/>
                  <a:gd name="connsiteX6" fmla="*/ 261376 w 866637"/>
                  <a:gd name="connsiteY6" fmla="*/ 513590 h 615029"/>
                  <a:gd name="connsiteX7" fmla="*/ 262711 w 866637"/>
                  <a:gd name="connsiteY7" fmla="*/ 504748 h 615029"/>
                  <a:gd name="connsiteX8" fmla="*/ 251198 w 866637"/>
                  <a:gd name="connsiteY8" fmla="*/ 471046 h 615029"/>
                  <a:gd name="connsiteX9" fmla="*/ 212655 w 866637"/>
                  <a:gd name="connsiteY9" fmla="*/ 462203 h 615029"/>
                  <a:gd name="connsiteX10" fmla="*/ 184290 w 866637"/>
                  <a:gd name="connsiteY10" fmla="*/ 491400 h 615029"/>
                  <a:gd name="connsiteX11" fmla="*/ 153755 w 866637"/>
                  <a:gd name="connsiteY11" fmla="*/ 530858 h 615029"/>
                  <a:gd name="connsiteX12" fmla="*/ 137821 w 866637"/>
                  <a:gd name="connsiteY12" fmla="*/ 526020 h 615029"/>
                  <a:gd name="connsiteX13" fmla="*/ 125390 w 866637"/>
                  <a:gd name="connsiteY13" fmla="*/ 494153 h 615029"/>
                  <a:gd name="connsiteX14" fmla="*/ 123639 w 866637"/>
                  <a:gd name="connsiteY14" fmla="*/ 485311 h 615029"/>
                  <a:gd name="connsiteX15" fmla="*/ 108538 w 866637"/>
                  <a:gd name="connsiteY15" fmla="*/ 425498 h 615029"/>
                  <a:gd name="connsiteX16" fmla="*/ 86847 w 866637"/>
                  <a:gd name="connsiteY16" fmla="*/ 354591 h 615029"/>
                  <a:gd name="connsiteX17" fmla="*/ 69995 w 866637"/>
                  <a:gd name="connsiteY17" fmla="*/ 300534 h 615029"/>
                  <a:gd name="connsiteX18" fmla="*/ 26613 w 866637"/>
                  <a:gd name="connsiteY18" fmla="*/ 174736 h 615029"/>
                  <a:gd name="connsiteX19" fmla="*/ 24361 w 866637"/>
                  <a:gd name="connsiteY19" fmla="*/ 169898 h 615029"/>
                  <a:gd name="connsiteX20" fmla="*/ 0 w 866637"/>
                  <a:gd name="connsiteY20" fmla="*/ 109668 h 615029"/>
                  <a:gd name="connsiteX21" fmla="*/ 0 w 866637"/>
                  <a:gd name="connsiteY21" fmla="*/ 109251 h 615029"/>
                  <a:gd name="connsiteX22" fmla="*/ 13765 w 866637"/>
                  <a:gd name="connsiteY22" fmla="*/ 77802 h 615029"/>
                  <a:gd name="connsiteX23" fmla="*/ 16852 w 866637"/>
                  <a:gd name="connsiteY23" fmla="*/ 77384 h 615029"/>
                  <a:gd name="connsiteX24" fmla="*/ 19939 w 866637"/>
                  <a:gd name="connsiteY24" fmla="*/ 79637 h 615029"/>
                  <a:gd name="connsiteX25" fmla="*/ 20857 w 866637"/>
                  <a:gd name="connsiteY25" fmla="*/ 84058 h 615029"/>
                  <a:gd name="connsiteX26" fmla="*/ 27948 w 866637"/>
                  <a:gd name="connsiteY26" fmla="*/ 96905 h 615029"/>
                  <a:gd name="connsiteX27" fmla="*/ 62487 w 866637"/>
                  <a:gd name="connsiteY27" fmla="*/ 90732 h 615029"/>
                  <a:gd name="connsiteX28" fmla="*/ 65156 w 866637"/>
                  <a:gd name="connsiteY28" fmla="*/ 88062 h 615029"/>
                  <a:gd name="connsiteX29" fmla="*/ 82008 w 866637"/>
                  <a:gd name="connsiteY29" fmla="*/ 78302 h 615029"/>
                  <a:gd name="connsiteX30" fmla="*/ 89100 w 866637"/>
                  <a:gd name="connsiteY30" fmla="*/ 79637 h 615029"/>
                  <a:gd name="connsiteX31" fmla="*/ 90852 w 866637"/>
                  <a:gd name="connsiteY31" fmla="*/ 80554 h 615029"/>
                  <a:gd name="connsiteX32" fmla="*/ 202894 w 866637"/>
                  <a:gd name="connsiteY32" fmla="*/ 48187 h 615029"/>
                  <a:gd name="connsiteX33" fmla="*/ 205564 w 866637"/>
                  <a:gd name="connsiteY33" fmla="*/ 45935 h 615029"/>
                  <a:gd name="connsiteX34" fmla="*/ 215742 w 866637"/>
                  <a:gd name="connsiteY34" fmla="*/ 37510 h 615029"/>
                  <a:gd name="connsiteX35" fmla="*/ 237850 w 866637"/>
                  <a:gd name="connsiteY35" fmla="*/ 29501 h 615029"/>
                  <a:gd name="connsiteX36" fmla="*/ 263545 w 866637"/>
                  <a:gd name="connsiteY36" fmla="*/ 21076 h 615029"/>
                  <a:gd name="connsiteX37" fmla="*/ 276393 w 866637"/>
                  <a:gd name="connsiteY37" fmla="*/ 11315 h 615029"/>
                  <a:gd name="connsiteX38" fmla="*/ 285236 w 866637"/>
                  <a:gd name="connsiteY38" fmla="*/ 4224 h 615029"/>
                  <a:gd name="connsiteX39" fmla="*/ 302923 w 866637"/>
                  <a:gd name="connsiteY39" fmla="*/ 1555 h 615029"/>
                  <a:gd name="connsiteX40" fmla="*/ 310431 w 866637"/>
                  <a:gd name="connsiteY40" fmla="*/ 13484 h 615029"/>
                  <a:gd name="connsiteX41" fmla="*/ 313935 w 866637"/>
                  <a:gd name="connsiteY41" fmla="*/ 21910 h 615029"/>
                  <a:gd name="connsiteX42" fmla="*/ 343134 w 866637"/>
                  <a:gd name="connsiteY42" fmla="*/ 48020 h 615029"/>
                  <a:gd name="connsiteX43" fmla="*/ 367912 w 866637"/>
                  <a:gd name="connsiteY43" fmla="*/ 71044 h 615029"/>
                  <a:gd name="connsiteX44" fmla="*/ 371416 w 866637"/>
                  <a:gd name="connsiteY44" fmla="*/ 83474 h 615029"/>
                  <a:gd name="connsiteX45" fmla="*/ 370999 w 866637"/>
                  <a:gd name="connsiteY45" fmla="*/ 86978 h 615029"/>
                  <a:gd name="connsiteX46" fmla="*/ 371917 w 866637"/>
                  <a:gd name="connsiteY46" fmla="*/ 97572 h 615029"/>
                  <a:gd name="connsiteX47" fmla="*/ 387434 w 866637"/>
                  <a:gd name="connsiteY47" fmla="*/ 112671 h 615029"/>
                  <a:gd name="connsiteX48" fmla="*/ 390938 w 866637"/>
                  <a:gd name="connsiteY48" fmla="*/ 114006 h 615029"/>
                  <a:gd name="connsiteX49" fmla="*/ 399782 w 866637"/>
                  <a:gd name="connsiteY49" fmla="*/ 118845 h 615029"/>
                  <a:gd name="connsiteX50" fmla="*/ 404620 w 866637"/>
                  <a:gd name="connsiteY50" fmla="*/ 127270 h 615029"/>
                  <a:gd name="connsiteX51" fmla="*/ 409959 w 866637"/>
                  <a:gd name="connsiteY51" fmla="*/ 136613 h 615029"/>
                  <a:gd name="connsiteX52" fmla="*/ 433903 w 866637"/>
                  <a:gd name="connsiteY52" fmla="*/ 149460 h 615029"/>
                  <a:gd name="connsiteX53" fmla="*/ 434320 w 866637"/>
                  <a:gd name="connsiteY53" fmla="*/ 149460 h 615029"/>
                  <a:gd name="connsiteX54" fmla="*/ 457346 w 866637"/>
                  <a:gd name="connsiteY54" fmla="*/ 129522 h 615029"/>
                  <a:gd name="connsiteX55" fmla="*/ 462185 w 866637"/>
                  <a:gd name="connsiteY55" fmla="*/ 118928 h 615029"/>
                  <a:gd name="connsiteX56" fmla="*/ 467524 w 866637"/>
                  <a:gd name="connsiteY56" fmla="*/ 106999 h 615029"/>
                  <a:gd name="connsiteX57" fmla="*/ 498976 w 866637"/>
                  <a:gd name="connsiteY57" fmla="*/ 78219 h 615029"/>
                  <a:gd name="connsiteX58" fmla="*/ 508320 w 866637"/>
                  <a:gd name="connsiteY58" fmla="*/ 73380 h 615029"/>
                  <a:gd name="connsiteX59" fmla="*/ 514076 w 866637"/>
                  <a:gd name="connsiteY59" fmla="*/ 73798 h 615029"/>
                  <a:gd name="connsiteX60" fmla="*/ 515828 w 866637"/>
                  <a:gd name="connsiteY60" fmla="*/ 76050 h 615029"/>
                  <a:gd name="connsiteX61" fmla="*/ 523336 w 866637"/>
                  <a:gd name="connsiteY61" fmla="*/ 82723 h 615029"/>
                  <a:gd name="connsiteX62" fmla="*/ 543276 w 866637"/>
                  <a:gd name="connsiteY62" fmla="*/ 75633 h 615029"/>
                  <a:gd name="connsiteX63" fmla="*/ 546362 w 866637"/>
                  <a:gd name="connsiteY63" fmla="*/ 71211 h 615029"/>
                  <a:gd name="connsiteX64" fmla="*/ 550367 w 866637"/>
                  <a:gd name="connsiteY64" fmla="*/ 65873 h 615029"/>
                  <a:gd name="connsiteX65" fmla="*/ 562798 w 866637"/>
                  <a:gd name="connsiteY65" fmla="*/ 64955 h 615029"/>
                  <a:gd name="connsiteX66" fmla="*/ 566301 w 866637"/>
                  <a:gd name="connsiteY66" fmla="*/ 65873 h 615029"/>
                  <a:gd name="connsiteX67" fmla="*/ 583571 w 866637"/>
                  <a:gd name="connsiteY67" fmla="*/ 68125 h 615029"/>
                  <a:gd name="connsiteX68" fmla="*/ 601257 w 866637"/>
                  <a:gd name="connsiteY68" fmla="*/ 61034 h 615029"/>
                  <a:gd name="connsiteX69" fmla="*/ 615023 w 866637"/>
                  <a:gd name="connsiteY69" fmla="*/ 55695 h 615029"/>
                  <a:gd name="connsiteX70" fmla="*/ 622531 w 866637"/>
                  <a:gd name="connsiteY70" fmla="*/ 57030 h 615029"/>
                  <a:gd name="connsiteX71" fmla="*/ 638048 w 866637"/>
                  <a:gd name="connsiteY71" fmla="*/ 58365 h 615029"/>
                  <a:gd name="connsiteX72" fmla="*/ 651313 w 866637"/>
                  <a:gd name="connsiteY72" fmla="*/ 51274 h 615029"/>
                  <a:gd name="connsiteX73" fmla="*/ 683182 w 866637"/>
                  <a:gd name="connsiteY73" fmla="*/ 25997 h 615029"/>
                  <a:gd name="connsiteX74" fmla="*/ 694695 w 866637"/>
                  <a:gd name="connsiteY74" fmla="*/ 14903 h 615029"/>
                  <a:gd name="connsiteX75" fmla="*/ 696948 w 866637"/>
                  <a:gd name="connsiteY75" fmla="*/ 16654 h 615029"/>
                  <a:gd name="connsiteX76" fmla="*/ 708044 w 866637"/>
                  <a:gd name="connsiteY76" fmla="*/ 32170 h 615029"/>
                  <a:gd name="connsiteX77" fmla="*/ 723144 w 866637"/>
                  <a:gd name="connsiteY77" fmla="*/ 51691 h 615029"/>
                  <a:gd name="connsiteX78" fmla="*/ 740413 w 866637"/>
                  <a:gd name="connsiteY78" fmla="*/ 62285 h 615029"/>
                  <a:gd name="connsiteX79" fmla="*/ 758100 w 866637"/>
                  <a:gd name="connsiteY79" fmla="*/ 74715 h 615029"/>
                  <a:gd name="connsiteX80" fmla="*/ 776287 w 866637"/>
                  <a:gd name="connsiteY80" fmla="*/ 92400 h 615029"/>
                  <a:gd name="connsiteX81" fmla="*/ 787382 w 866637"/>
                  <a:gd name="connsiteY81" fmla="*/ 102995 h 615029"/>
                  <a:gd name="connsiteX82" fmla="*/ 809073 w 866637"/>
                  <a:gd name="connsiteY82" fmla="*/ 140200 h 615029"/>
                  <a:gd name="connsiteX83" fmla="*/ 826343 w 866637"/>
                  <a:gd name="connsiteY83" fmla="*/ 173902 h 615029"/>
                  <a:gd name="connsiteX84" fmla="*/ 844947 w 866637"/>
                  <a:gd name="connsiteY84" fmla="*/ 187166 h 615029"/>
                  <a:gd name="connsiteX85" fmla="*/ 854708 w 866637"/>
                  <a:gd name="connsiteY85" fmla="*/ 188084 h 615029"/>
                  <a:gd name="connsiteX86" fmla="*/ 858212 w 866637"/>
                  <a:gd name="connsiteY86" fmla="*/ 189001 h 615029"/>
                  <a:gd name="connsiteX87" fmla="*/ 849786 w 866637"/>
                  <a:gd name="connsiteY87" fmla="*/ 200096 h 615029"/>
                  <a:gd name="connsiteX88" fmla="*/ 840025 w 866637"/>
                  <a:gd name="connsiteY88" fmla="*/ 212025 h 615029"/>
                  <a:gd name="connsiteX89" fmla="*/ 848034 w 866637"/>
                  <a:gd name="connsiteY89" fmla="*/ 239470 h 615029"/>
                  <a:gd name="connsiteX90" fmla="*/ 853373 w 866637"/>
                  <a:gd name="connsiteY90" fmla="*/ 244810 h 615029"/>
                  <a:gd name="connsiteX91" fmla="*/ 859129 w 866637"/>
                  <a:gd name="connsiteY91" fmla="*/ 270086 h 615029"/>
                  <a:gd name="connsiteX92" fmla="*/ 866638 w 866637"/>
                  <a:gd name="connsiteY92" fmla="*/ 310378 h 615029"/>
                  <a:gd name="connsiteX93" fmla="*/ 866221 w 866637"/>
                  <a:gd name="connsiteY93" fmla="*/ 310378 h 615029"/>
                  <a:gd name="connsiteX94" fmla="*/ 862717 w 866637"/>
                  <a:gd name="connsiteY94" fmla="*/ 311295 h 615029"/>
                  <a:gd name="connsiteX95" fmla="*/ 821921 w 866637"/>
                  <a:gd name="connsiteY95" fmla="*/ 339241 h 615029"/>
                  <a:gd name="connsiteX96" fmla="*/ 826760 w 866637"/>
                  <a:gd name="connsiteY96" fmla="*/ 367187 h 615029"/>
                  <a:gd name="connsiteX97" fmla="*/ 831599 w 866637"/>
                  <a:gd name="connsiteY97" fmla="*/ 382286 h 615029"/>
                  <a:gd name="connsiteX98" fmla="*/ 823590 w 866637"/>
                  <a:gd name="connsiteY98" fmla="*/ 393381 h 615029"/>
                  <a:gd name="connsiteX99" fmla="*/ 816916 w 866637"/>
                  <a:gd name="connsiteY99" fmla="*/ 395634 h 615029"/>
                  <a:gd name="connsiteX100" fmla="*/ 804068 w 866637"/>
                  <a:gd name="connsiteY100" fmla="*/ 403642 h 615029"/>
                  <a:gd name="connsiteX101" fmla="*/ 788968 w 866637"/>
                  <a:gd name="connsiteY101" fmla="*/ 410733 h 615029"/>
                  <a:gd name="connsiteX102" fmla="*/ 779624 w 866637"/>
                  <a:gd name="connsiteY102" fmla="*/ 404560 h 615029"/>
                  <a:gd name="connsiteX103" fmla="*/ 747755 w 866637"/>
                  <a:gd name="connsiteY103" fmla="*/ 407229 h 615029"/>
                  <a:gd name="connsiteX104" fmla="*/ 735825 w 866637"/>
                  <a:gd name="connsiteY104" fmla="*/ 429336 h 615029"/>
                  <a:gd name="connsiteX105" fmla="*/ 728316 w 866637"/>
                  <a:gd name="connsiteY105" fmla="*/ 444852 h 615029"/>
                  <a:gd name="connsiteX106" fmla="*/ 709295 w 866637"/>
                  <a:gd name="connsiteY106" fmla="*/ 460785 h 615029"/>
                  <a:gd name="connsiteX107" fmla="*/ 694695 w 866637"/>
                  <a:gd name="connsiteY107" fmla="*/ 472297 h 615029"/>
                  <a:gd name="connsiteX108" fmla="*/ 654400 w 866637"/>
                  <a:gd name="connsiteY108" fmla="*/ 489982 h 615029"/>
                  <a:gd name="connsiteX109" fmla="*/ 613604 w 866637"/>
                  <a:gd name="connsiteY109" fmla="*/ 506333 h 615029"/>
                  <a:gd name="connsiteX110" fmla="*/ 592331 w 866637"/>
                  <a:gd name="connsiteY110" fmla="*/ 513007 h 615029"/>
                  <a:gd name="connsiteX111" fmla="*/ 575061 w 866637"/>
                  <a:gd name="connsiteY111" fmla="*/ 515676 h 615029"/>
                  <a:gd name="connsiteX112" fmla="*/ 546279 w 866637"/>
                  <a:gd name="connsiteY112" fmla="*/ 539117 h 615029"/>
                  <a:gd name="connsiteX113" fmla="*/ 549783 w 866637"/>
                  <a:gd name="connsiteY113" fmla="*/ 560806 h 615029"/>
                  <a:gd name="connsiteX114" fmla="*/ 575061 w 866637"/>
                  <a:gd name="connsiteY114" fmla="*/ 573653 h 615029"/>
                  <a:gd name="connsiteX115" fmla="*/ 587909 w 866637"/>
                  <a:gd name="connsiteY115" fmla="*/ 577157 h 615029"/>
                  <a:gd name="connsiteX116" fmla="*/ 596335 w 866637"/>
                  <a:gd name="connsiteY116" fmla="*/ 590004 h 615029"/>
                  <a:gd name="connsiteX117" fmla="*/ 590996 w 866637"/>
                  <a:gd name="connsiteY117" fmla="*/ 607272 h 615029"/>
                  <a:gd name="connsiteX118" fmla="*/ 570640 w 866637"/>
                  <a:gd name="connsiteY118" fmla="*/ 614112 h 61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866637" h="615029" extrusionOk="0">
                    <a:moveTo>
                      <a:pt x="570640" y="614112"/>
                    </a:moveTo>
                    <a:cubicBezTo>
                      <a:pt x="566218" y="614112"/>
                      <a:pt x="560878" y="614529"/>
                      <a:pt x="556457" y="615030"/>
                    </a:cubicBezTo>
                    <a:cubicBezTo>
                      <a:pt x="544527" y="588001"/>
                      <a:pt x="524588" y="549461"/>
                      <a:pt x="484710" y="544623"/>
                    </a:cubicBezTo>
                    <a:cubicBezTo>
                      <a:pt x="462101" y="542370"/>
                      <a:pt x="444415" y="551714"/>
                      <a:pt x="426645" y="560973"/>
                    </a:cubicBezTo>
                    <a:cubicBezTo>
                      <a:pt x="412462" y="568981"/>
                      <a:pt x="399197" y="576072"/>
                      <a:pt x="383680" y="576489"/>
                    </a:cubicBezTo>
                    <a:cubicBezTo>
                      <a:pt x="343385" y="577407"/>
                      <a:pt x="305676" y="566312"/>
                      <a:pt x="280898" y="545040"/>
                    </a:cubicBezTo>
                    <a:cubicBezTo>
                      <a:pt x="267133" y="533528"/>
                      <a:pt x="260542" y="526854"/>
                      <a:pt x="261376" y="513590"/>
                    </a:cubicBezTo>
                    <a:cubicBezTo>
                      <a:pt x="261793" y="510504"/>
                      <a:pt x="262294" y="507417"/>
                      <a:pt x="262711" y="504748"/>
                    </a:cubicBezTo>
                    <a:cubicBezTo>
                      <a:pt x="264964" y="494153"/>
                      <a:pt x="266716" y="482141"/>
                      <a:pt x="251198" y="471046"/>
                    </a:cubicBezTo>
                    <a:cubicBezTo>
                      <a:pt x="234847" y="459117"/>
                      <a:pt x="221081" y="459534"/>
                      <a:pt x="212655" y="462203"/>
                    </a:cubicBezTo>
                    <a:cubicBezTo>
                      <a:pt x="200224" y="465707"/>
                      <a:pt x="190046" y="476385"/>
                      <a:pt x="184290" y="491400"/>
                    </a:cubicBezTo>
                    <a:cubicBezTo>
                      <a:pt x="178116" y="507751"/>
                      <a:pt x="166604" y="527688"/>
                      <a:pt x="153755" y="530858"/>
                    </a:cubicBezTo>
                    <a:cubicBezTo>
                      <a:pt x="148416" y="532193"/>
                      <a:pt x="143161" y="530441"/>
                      <a:pt x="137821" y="526020"/>
                    </a:cubicBezTo>
                    <a:cubicBezTo>
                      <a:pt x="129812" y="519847"/>
                      <a:pt x="127643" y="505665"/>
                      <a:pt x="125390" y="494153"/>
                    </a:cubicBezTo>
                    <a:cubicBezTo>
                      <a:pt x="124973" y="491067"/>
                      <a:pt x="124056" y="487980"/>
                      <a:pt x="123639" y="485311"/>
                    </a:cubicBezTo>
                    <a:cubicBezTo>
                      <a:pt x="119217" y="464956"/>
                      <a:pt x="113878" y="444518"/>
                      <a:pt x="108538" y="425498"/>
                    </a:cubicBezTo>
                    <a:cubicBezTo>
                      <a:pt x="101864" y="401557"/>
                      <a:pt x="94356" y="378115"/>
                      <a:pt x="86847" y="354591"/>
                    </a:cubicBezTo>
                    <a:cubicBezTo>
                      <a:pt x="81091" y="336405"/>
                      <a:pt x="75751" y="318303"/>
                      <a:pt x="69995" y="300534"/>
                    </a:cubicBezTo>
                    <a:cubicBezTo>
                      <a:pt x="57565" y="257990"/>
                      <a:pt x="41630" y="215445"/>
                      <a:pt x="26613" y="174736"/>
                    </a:cubicBezTo>
                    <a:lnTo>
                      <a:pt x="24361" y="169898"/>
                    </a:lnTo>
                    <a:cubicBezTo>
                      <a:pt x="17270" y="149960"/>
                      <a:pt x="9761" y="129105"/>
                      <a:pt x="0" y="109668"/>
                    </a:cubicBezTo>
                    <a:lnTo>
                      <a:pt x="0" y="109251"/>
                    </a:lnTo>
                    <a:cubicBezTo>
                      <a:pt x="1752" y="100409"/>
                      <a:pt x="8843" y="80471"/>
                      <a:pt x="13765" y="77802"/>
                    </a:cubicBezTo>
                    <a:cubicBezTo>
                      <a:pt x="14183" y="77384"/>
                      <a:pt x="15517" y="77384"/>
                      <a:pt x="16852" y="77384"/>
                    </a:cubicBezTo>
                    <a:cubicBezTo>
                      <a:pt x="18604" y="77802"/>
                      <a:pt x="19522" y="78719"/>
                      <a:pt x="19939" y="79637"/>
                    </a:cubicBezTo>
                    <a:cubicBezTo>
                      <a:pt x="20356" y="80554"/>
                      <a:pt x="20857" y="82306"/>
                      <a:pt x="20857" y="84058"/>
                    </a:cubicBezTo>
                    <a:cubicBezTo>
                      <a:pt x="21774" y="87562"/>
                      <a:pt x="22609" y="93401"/>
                      <a:pt x="27948" y="96905"/>
                    </a:cubicBezTo>
                    <a:cubicBezTo>
                      <a:pt x="36791" y="103578"/>
                      <a:pt x="50056" y="101326"/>
                      <a:pt x="62487" y="90732"/>
                    </a:cubicBezTo>
                    <a:lnTo>
                      <a:pt x="65156" y="88062"/>
                    </a:lnTo>
                    <a:cubicBezTo>
                      <a:pt x="70913" y="83224"/>
                      <a:pt x="76252" y="78302"/>
                      <a:pt x="82008" y="78302"/>
                    </a:cubicBezTo>
                    <a:cubicBezTo>
                      <a:pt x="84261" y="78719"/>
                      <a:pt x="86847" y="79220"/>
                      <a:pt x="89100" y="79637"/>
                    </a:cubicBezTo>
                    <a:lnTo>
                      <a:pt x="90852" y="80554"/>
                    </a:lnTo>
                    <a:cubicBezTo>
                      <a:pt x="126308" y="90732"/>
                      <a:pt x="169273" y="78302"/>
                      <a:pt x="202894" y="48187"/>
                    </a:cubicBezTo>
                    <a:lnTo>
                      <a:pt x="205564" y="45935"/>
                    </a:lnTo>
                    <a:cubicBezTo>
                      <a:pt x="208651" y="42848"/>
                      <a:pt x="212238" y="39762"/>
                      <a:pt x="215742" y="37510"/>
                    </a:cubicBezTo>
                    <a:cubicBezTo>
                      <a:pt x="221915" y="33505"/>
                      <a:pt x="229924" y="31753"/>
                      <a:pt x="237850" y="29501"/>
                    </a:cubicBezTo>
                    <a:cubicBezTo>
                      <a:pt x="246276" y="27749"/>
                      <a:pt x="255119" y="25497"/>
                      <a:pt x="263545" y="21076"/>
                    </a:cubicBezTo>
                    <a:cubicBezTo>
                      <a:pt x="268384" y="18406"/>
                      <a:pt x="272389" y="14903"/>
                      <a:pt x="276393" y="11315"/>
                    </a:cubicBezTo>
                    <a:cubicBezTo>
                      <a:pt x="279063" y="8646"/>
                      <a:pt x="282150" y="6477"/>
                      <a:pt x="285236" y="4224"/>
                    </a:cubicBezTo>
                    <a:cubicBezTo>
                      <a:pt x="290075" y="1138"/>
                      <a:pt x="298084" y="-1949"/>
                      <a:pt x="302923" y="1555"/>
                    </a:cubicBezTo>
                    <a:cubicBezTo>
                      <a:pt x="306009" y="3807"/>
                      <a:pt x="308262" y="8229"/>
                      <a:pt x="310431" y="13484"/>
                    </a:cubicBezTo>
                    <a:cubicBezTo>
                      <a:pt x="311766" y="16571"/>
                      <a:pt x="313101" y="19240"/>
                      <a:pt x="313935" y="21910"/>
                    </a:cubicBezTo>
                    <a:cubicBezTo>
                      <a:pt x="320609" y="33839"/>
                      <a:pt x="332122" y="41430"/>
                      <a:pt x="343134" y="48020"/>
                    </a:cubicBezTo>
                    <a:cubicBezTo>
                      <a:pt x="353730" y="54694"/>
                      <a:pt x="363491" y="60867"/>
                      <a:pt x="367912" y="71044"/>
                    </a:cubicBezTo>
                    <a:cubicBezTo>
                      <a:pt x="369664" y="74548"/>
                      <a:pt x="371416" y="79470"/>
                      <a:pt x="371416" y="83474"/>
                    </a:cubicBezTo>
                    <a:cubicBezTo>
                      <a:pt x="371416" y="84392"/>
                      <a:pt x="370999" y="85727"/>
                      <a:pt x="370999" y="86978"/>
                    </a:cubicBezTo>
                    <a:cubicBezTo>
                      <a:pt x="370582" y="90065"/>
                      <a:pt x="370582" y="93651"/>
                      <a:pt x="371917" y="97572"/>
                    </a:cubicBezTo>
                    <a:cubicBezTo>
                      <a:pt x="373669" y="103745"/>
                      <a:pt x="379008" y="109084"/>
                      <a:pt x="387434" y="112671"/>
                    </a:cubicBezTo>
                    <a:lnTo>
                      <a:pt x="390938" y="114006"/>
                    </a:lnTo>
                    <a:cubicBezTo>
                      <a:pt x="394442" y="115341"/>
                      <a:pt x="397612" y="116676"/>
                      <a:pt x="399782" y="118845"/>
                    </a:cubicBezTo>
                    <a:cubicBezTo>
                      <a:pt x="402034" y="121097"/>
                      <a:pt x="403285" y="123683"/>
                      <a:pt x="404620" y="127270"/>
                    </a:cubicBezTo>
                    <a:cubicBezTo>
                      <a:pt x="405955" y="129939"/>
                      <a:pt x="407707" y="133443"/>
                      <a:pt x="409959" y="136613"/>
                    </a:cubicBezTo>
                    <a:cubicBezTo>
                      <a:pt x="414798" y="142786"/>
                      <a:pt x="425477" y="149460"/>
                      <a:pt x="433903" y="149460"/>
                    </a:cubicBezTo>
                    <a:cubicBezTo>
                      <a:pt x="433903" y="149460"/>
                      <a:pt x="433903" y="149460"/>
                      <a:pt x="434320" y="149460"/>
                    </a:cubicBezTo>
                    <a:cubicBezTo>
                      <a:pt x="442746" y="149043"/>
                      <a:pt x="450672" y="142786"/>
                      <a:pt x="457346" y="129522"/>
                    </a:cubicBezTo>
                    <a:cubicBezTo>
                      <a:pt x="459098" y="126018"/>
                      <a:pt x="460433" y="122432"/>
                      <a:pt x="462185" y="118928"/>
                    </a:cubicBezTo>
                    <a:cubicBezTo>
                      <a:pt x="463520" y="114924"/>
                      <a:pt x="465272" y="110920"/>
                      <a:pt x="467524" y="106999"/>
                    </a:cubicBezTo>
                    <a:cubicBezTo>
                      <a:pt x="474615" y="95070"/>
                      <a:pt x="487463" y="86144"/>
                      <a:pt x="498976" y="78219"/>
                    </a:cubicBezTo>
                    <a:cubicBezTo>
                      <a:pt x="502063" y="75966"/>
                      <a:pt x="505149" y="73798"/>
                      <a:pt x="508320" y="73380"/>
                    </a:cubicBezTo>
                    <a:cubicBezTo>
                      <a:pt x="510572" y="72463"/>
                      <a:pt x="513159" y="72963"/>
                      <a:pt x="514076" y="73798"/>
                    </a:cubicBezTo>
                    <a:cubicBezTo>
                      <a:pt x="514493" y="74215"/>
                      <a:pt x="515411" y="75132"/>
                      <a:pt x="515828" y="76050"/>
                    </a:cubicBezTo>
                    <a:cubicBezTo>
                      <a:pt x="517163" y="78302"/>
                      <a:pt x="519332" y="80888"/>
                      <a:pt x="523336" y="82723"/>
                    </a:cubicBezTo>
                    <a:cubicBezTo>
                      <a:pt x="530845" y="86227"/>
                      <a:pt x="538854" y="81806"/>
                      <a:pt x="543276" y="75633"/>
                    </a:cubicBezTo>
                    <a:cubicBezTo>
                      <a:pt x="544610" y="74298"/>
                      <a:pt x="545528" y="72963"/>
                      <a:pt x="546362" y="71211"/>
                    </a:cubicBezTo>
                    <a:cubicBezTo>
                      <a:pt x="547697" y="68959"/>
                      <a:pt x="549032" y="67207"/>
                      <a:pt x="550367" y="65873"/>
                    </a:cubicBezTo>
                    <a:cubicBezTo>
                      <a:pt x="553454" y="63620"/>
                      <a:pt x="558793" y="64121"/>
                      <a:pt x="562798" y="64955"/>
                    </a:cubicBezTo>
                    <a:lnTo>
                      <a:pt x="566301" y="65873"/>
                    </a:lnTo>
                    <a:cubicBezTo>
                      <a:pt x="571140" y="67207"/>
                      <a:pt x="576897" y="68542"/>
                      <a:pt x="583571" y="68125"/>
                    </a:cubicBezTo>
                    <a:cubicBezTo>
                      <a:pt x="590662" y="67207"/>
                      <a:pt x="596418" y="63704"/>
                      <a:pt x="601257" y="61034"/>
                    </a:cubicBezTo>
                    <a:cubicBezTo>
                      <a:pt x="606096" y="57948"/>
                      <a:pt x="610601" y="55695"/>
                      <a:pt x="615023" y="55695"/>
                    </a:cubicBezTo>
                    <a:cubicBezTo>
                      <a:pt x="617692" y="56112"/>
                      <a:pt x="619861" y="56613"/>
                      <a:pt x="622531" y="57030"/>
                    </a:cubicBezTo>
                    <a:cubicBezTo>
                      <a:pt x="626953" y="58365"/>
                      <a:pt x="632292" y="59699"/>
                      <a:pt x="638048" y="58365"/>
                    </a:cubicBezTo>
                    <a:cubicBezTo>
                      <a:pt x="643388" y="57447"/>
                      <a:pt x="648227" y="53943"/>
                      <a:pt x="651313" y="51274"/>
                    </a:cubicBezTo>
                    <a:lnTo>
                      <a:pt x="683182" y="25997"/>
                    </a:lnTo>
                    <a:cubicBezTo>
                      <a:pt x="686686" y="22911"/>
                      <a:pt x="691608" y="19324"/>
                      <a:pt x="694695" y="14903"/>
                    </a:cubicBezTo>
                    <a:cubicBezTo>
                      <a:pt x="695613" y="15320"/>
                      <a:pt x="696030" y="15820"/>
                      <a:pt x="696948" y="16654"/>
                    </a:cubicBezTo>
                    <a:cubicBezTo>
                      <a:pt x="701370" y="20659"/>
                      <a:pt x="704957" y="26414"/>
                      <a:pt x="708044" y="32170"/>
                    </a:cubicBezTo>
                    <a:cubicBezTo>
                      <a:pt x="712048" y="38844"/>
                      <a:pt x="716470" y="45935"/>
                      <a:pt x="723144" y="51691"/>
                    </a:cubicBezTo>
                    <a:cubicBezTo>
                      <a:pt x="728483" y="56529"/>
                      <a:pt x="734657" y="59699"/>
                      <a:pt x="740413" y="62285"/>
                    </a:cubicBezTo>
                    <a:cubicBezTo>
                      <a:pt x="746587" y="65789"/>
                      <a:pt x="752844" y="68959"/>
                      <a:pt x="758100" y="74715"/>
                    </a:cubicBezTo>
                    <a:cubicBezTo>
                      <a:pt x="763856" y="80888"/>
                      <a:pt x="770030" y="86644"/>
                      <a:pt x="776287" y="92400"/>
                    </a:cubicBezTo>
                    <a:cubicBezTo>
                      <a:pt x="779791" y="95904"/>
                      <a:pt x="783795" y="99491"/>
                      <a:pt x="787382" y="102995"/>
                    </a:cubicBezTo>
                    <a:cubicBezTo>
                      <a:pt x="797561" y="113172"/>
                      <a:pt x="803317" y="126436"/>
                      <a:pt x="809073" y="140200"/>
                    </a:cubicBezTo>
                    <a:cubicBezTo>
                      <a:pt x="813495" y="151295"/>
                      <a:pt x="818834" y="163641"/>
                      <a:pt x="826343" y="173902"/>
                    </a:cubicBezTo>
                    <a:cubicBezTo>
                      <a:pt x="833017" y="182744"/>
                      <a:pt x="835186" y="184079"/>
                      <a:pt x="844947" y="187166"/>
                    </a:cubicBezTo>
                    <a:cubicBezTo>
                      <a:pt x="848451" y="188501"/>
                      <a:pt x="852038" y="188084"/>
                      <a:pt x="854708" y="188084"/>
                    </a:cubicBezTo>
                    <a:cubicBezTo>
                      <a:pt x="855626" y="188084"/>
                      <a:pt x="857378" y="188084"/>
                      <a:pt x="858212" y="189001"/>
                    </a:cubicBezTo>
                    <a:cubicBezTo>
                      <a:pt x="859547" y="191253"/>
                      <a:pt x="855125" y="195675"/>
                      <a:pt x="849786" y="200096"/>
                    </a:cubicBezTo>
                    <a:cubicBezTo>
                      <a:pt x="845781" y="203600"/>
                      <a:pt x="841777" y="207604"/>
                      <a:pt x="840025" y="212025"/>
                    </a:cubicBezTo>
                    <a:cubicBezTo>
                      <a:pt x="833851" y="226207"/>
                      <a:pt x="842277" y="233714"/>
                      <a:pt x="848034" y="239470"/>
                    </a:cubicBezTo>
                    <a:cubicBezTo>
                      <a:pt x="849786" y="241222"/>
                      <a:pt x="851538" y="242974"/>
                      <a:pt x="853373" y="244810"/>
                    </a:cubicBezTo>
                    <a:cubicBezTo>
                      <a:pt x="860464" y="253235"/>
                      <a:pt x="860464" y="257239"/>
                      <a:pt x="859129" y="270086"/>
                    </a:cubicBezTo>
                    <a:cubicBezTo>
                      <a:pt x="858212" y="283850"/>
                      <a:pt x="860881" y="298032"/>
                      <a:pt x="866638" y="310378"/>
                    </a:cubicBezTo>
                    <a:cubicBezTo>
                      <a:pt x="866221" y="310378"/>
                      <a:pt x="866221" y="310378"/>
                      <a:pt x="866221" y="310378"/>
                    </a:cubicBezTo>
                    <a:lnTo>
                      <a:pt x="862717" y="311295"/>
                    </a:lnTo>
                    <a:cubicBezTo>
                      <a:pt x="848117" y="314799"/>
                      <a:pt x="828178" y="320138"/>
                      <a:pt x="821921" y="339241"/>
                    </a:cubicBezTo>
                    <a:cubicBezTo>
                      <a:pt x="818417" y="350337"/>
                      <a:pt x="823256" y="359596"/>
                      <a:pt x="826760" y="367187"/>
                    </a:cubicBezTo>
                    <a:cubicBezTo>
                      <a:pt x="829430" y="372526"/>
                      <a:pt x="831599" y="377365"/>
                      <a:pt x="831599" y="382286"/>
                    </a:cubicBezTo>
                    <a:cubicBezTo>
                      <a:pt x="831599" y="391129"/>
                      <a:pt x="831181" y="391129"/>
                      <a:pt x="823590" y="393381"/>
                    </a:cubicBezTo>
                    <a:cubicBezTo>
                      <a:pt x="821337" y="393798"/>
                      <a:pt x="819168" y="394716"/>
                      <a:pt x="816916" y="395634"/>
                    </a:cubicBezTo>
                    <a:cubicBezTo>
                      <a:pt x="812077" y="397386"/>
                      <a:pt x="808072" y="400472"/>
                      <a:pt x="804068" y="403642"/>
                    </a:cubicBezTo>
                    <a:cubicBezTo>
                      <a:pt x="798728" y="407646"/>
                      <a:pt x="793473" y="411651"/>
                      <a:pt x="788968" y="410733"/>
                    </a:cubicBezTo>
                    <a:cubicBezTo>
                      <a:pt x="785464" y="409815"/>
                      <a:pt x="782294" y="407646"/>
                      <a:pt x="779624" y="404560"/>
                    </a:cubicBezTo>
                    <a:cubicBezTo>
                      <a:pt x="771615" y="397469"/>
                      <a:pt x="762354" y="391296"/>
                      <a:pt x="747755" y="407229"/>
                    </a:cubicBezTo>
                    <a:cubicBezTo>
                      <a:pt x="741581" y="413903"/>
                      <a:pt x="738411" y="421828"/>
                      <a:pt x="735825" y="429336"/>
                    </a:cubicBezTo>
                    <a:cubicBezTo>
                      <a:pt x="733572" y="435091"/>
                      <a:pt x="731403" y="440431"/>
                      <a:pt x="728316" y="444852"/>
                    </a:cubicBezTo>
                    <a:cubicBezTo>
                      <a:pt x="723895" y="450191"/>
                      <a:pt x="716386" y="455446"/>
                      <a:pt x="709295" y="460785"/>
                    </a:cubicBezTo>
                    <a:cubicBezTo>
                      <a:pt x="703955" y="464289"/>
                      <a:pt x="698700" y="468794"/>
                      <a:pt x="694695" y="472297"/>
                    </a:cubicBezTo>
                    <a:cubicBezTo>
                      <a:pt x="683599" y="482475"/>
                      <a:pt x="669417" y="486061"/>
                      <a:pt x="654400" y="489982"/>
                    </a:cubicBezTo>
                    <a:cubicBezTo>
                      <a:pt x="640635" y="493486"/>
                      <a:pt x="626452" y="497490"/>
                      <a:pt x="613604" y="506333"/>
                    </a:cubicBezTo>
                    <a:cubicBezTo>
                      <a:pt x="605595" y="511672"/>
                      <a:pt x="600340" y="512506"/>
                      <a:pt x="592331" y="513007"/>
                    </a:cubicBezTo>
                    <a:cubicBezTo>
                      <a:pt x="587492" y="513424"/>
                      <a:pt x="581735" y="513924"/>
                      <a:pt x="575061" y="515676"/>
                    </a:cubicBezTo>
                    <a:cubicBezTo>
                      <a:pt x="563965" y="518762"/>
                      <a:pt x="550284" y="527188"/>
                      <a:pt x="546279" y="539117"/>
                    </a:cubicBezTo>
                    <a:cubicBezTo>
                      <a:pt x="544026" y="543955"/>
                      <a:pt x="543609" y="551964"/>
                      <a:pt x="549783" y="560806"/>
                    </a:cubicBezTo>
                    <a:cubicBezTo>
                      <a:pt x="555956" y="569649"/>
                      <a:pt x="566135" y="571901"/>
                      <a:pt x="575061" y="573653"/>
                    </a:cubicBezTo>
                    <a:cubicBezTo>
                      <a:pt x="579900" y="574571"/>
                      <a:pt x="584822" y="575906"/>
                      <a:pt x="587909" y="577157"/>
                    </a:cubicBezTo>
                    <a:cubicBezTo>
                      <a:pt x="592331" y="579826"/>
                      <a:pt x="595000" y="584665"/>
                      <a:pt x="596335" y="590004"/>
                    </a:cubicBezTo>
                    <a:cubicBezTo>
                      <a:pt x="597253" y="596177"/>
                      <a:pt x="595000" y="602850"/>
                      <a:pt x="590996" y="607272"/>
                    </a:cubicBezTo>
                    <a:cubicBezTo>
                      <a:pt x="589244" y="614112"/>
                      <a:pt x="580401" y="614112"/>
                      <a:pt x="570640" y="61411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20133465" name="Полилиния 407"/>
              <p:cNvSpPr/>
              <p:nvPr/>
            </p:nvSpPr>
            <p:spPr bwMode="auto">
              <a:xfrm>
                <a:off x="2684196" y="3224376"/>
                <a:ext cx="981337" cy="690519"/>
              </a:xfrm>
              <a:custGeom>
                <a:avLst/>
                <a:gdLst>
                  <a:gd name="connsiteX0" fmla="*/ 774645 w 1102075"/>
                  <a:gd name="connsiteY0" fmla="*/ 122711 h 775476"/>
                  <a:gd name="connsiteX1" fmla="*/ 706903 w 1102075"/>
                  <a:gd name="connsiteY1" fmla="*/ 57560 h 775476"/>
                  <a:gd name="connsiteX2" fmla="*/ 648421 w 1102075"/>
                  <a:gd name="connsiteY2" fmla="*/ 0 h 775476"/>
                  <a:gd name="connsiteX3" fmla="*/ 647503 w 1102075"/>
                  <a:gd name="connsiteY3" fmla="*/ 0 h 775476"/>
                  <a:gd name="connsiteX4" fmla="*/ 606707 w 1102075"/>
                  <a:gd name="connsiteY4" fmla="*/ 23942 h 775476"/>
                  <a:gd name="connsiteX5" fmla="*/ 565912 w 1102075"/>
                  <a:gd name="connsiteY5" fmla="*/ 49218 h 775476"/>
                  <a:gd name="connsiteX6" fmla="*/ 565494 w 1102075"/>
                  <a:gd name="connsiteY6" fmla="*/ 49218 h 775476"/>
                  <a:gd name="connsiteX7" fmla="*/ 518942 w 1102075"/>
                  <a:gd name="connsiteY7" fmla="*/ 47466 h 775476"/>
                  <a:gd name="connsiteX8" fmla="*/ 461378 w 1102075"/>
                  <a:gd name="connsiteY8" fmla="*/ 52305 h 775476"/>
                  <a:gd name="connsiteX9" fmla="*/ 309457 w 1102075"/>
                  <a:gd name="connsiteY9" fmla="*/ 120960 h 775476"/>
                  <a:gd name="connsiteX10" fmla="*/ 254062 w 1102075"/>
                  <a:gd name="connsiteY10" fmla="*/ 95683 h 775476"/>
                  <a:gd name="connsiteX11" fmla="*/ 220858 w 1102075"/>
                  <a:gd name="connsiteY11" fmla="*/ 110282 h 775476"/>
                  <a:gd name="connsiteX12" fmla="*/ 135763 w 1102075"/>
                  <a:gd name="connsiteY12" fmla="*/ 42962 h 775476"/>
                  <a:gd name="connsiteX13" fmla="*/ 121580 w 1102075"/>
                  <a:gd name="connsiteY13" fmla="*/ 54474 h 775476"/>
                  <a:gd name="connsiteX14" fmla="*/ 111819 w 1102075"/>
                  <a:gd name="connsiteY14" fmla="*/ 61981 h 775476"/>
                  <a:gd name="connsiteX15" fmla="*/ 102058 w 1102075"/>
                  <a:gd name="connsiteY15" fmla="*/ 99187 h 775476"/>
                  <a:gd name="connsiteX16" fmla="*/ 101141 w 1102075"/>
                  <a:gd name="connsiteY16" fmla="*/ 116872 h 775476"/>
                  <a:gd name="connsiteX17" fmla="*/ 72358 w 1102075"/>
                  <a:gd name="connsiteY17" fmla="*/ 154495 h 775476"/>
                  <a:gd name="connsiteX18" fmla="*/ 61763 w 1102075"/>
                  <a:gd name="connsiteY18" fmla="*/ 161585 h 775476"/>
                  <a:gd name="connsiteX19" fmla="*/ 39655 w 1102075"/>
                  <a:gd name="connsiteY19" fmla="*/ 171763 h 775476"/>
                  <a:gd name="connsiteX20" fmla="*/ 30311 w 1102075"/>
                  <a:gd name="connsiteY20" fmla="*/ 187696 h 775476"/>
                  <a:gd name="connsiteX21" fmla="*/ 8203 w 1102075"/>
                  <a:gd name="connsiteY21" fmla="*/ 235496 h 775476"/>
                  <a:gd name="connsiteX22" fmla="*/ 194 w 1102075"/>
                  <a:gd name="connsiteY22" fmla="*/ 293056 h 775476"/>
                  <a:gd name="connsiteX23" fmla="*/ 2864 w 1102075"/>
                  <a:gd name="connsiteY23" fmla="*/ 312994 h 775476"/>
                  <a:gd name="connsiteX24" fmla="*/ 9955 w 1102075"/>
                  <a:gd name="connsiteY24" fmla="*/ 316998 h 775476"/>
                  <a:gd name="connsiteX25" fmla="*/ 22803 w 1102075"/>
                  <a:gd name="connsiteY25" fmla="*/ 324088 h 775476"/>
                  <a:gd name="connsiteX26" fmla="*/ 31646 w 1102075"/>
                  <a:gd name="connsiteY26" fmla="*/ 341357 h 775476"/>
                  <a:gd name="connsiteX27" fmla="*/ 41407 w 1102075"/>
                  <a:gd name="connsiteY27" fmla="*/ 355955 h 775476"/>
                  <a:gd name="connsiteX28" fmla="*/ 47163 w 1102075"/>
                  <a:gd name="connsiteY28" fmla="*/ 359459 h 775476"/>
                  <a:gd name="connsiteX29" fmla="*/ 57341 w 1102075"/>
                  <a:gd name="connsiteY29" fmla="*/ 366550 h 775476"/>
                  <a:gd name="connsiteX30" fmla="*/ 67102 w 1102075"/>
                  <a:gd name="connsiteY30" fmla="*/ 382066 h 775476"/>
                  <a:gd name="connsiteX31" fmla="*/ 71524 w 1102075"/>
                  <a:gd name="connsiteY31" fmla="*/ 390491 h 775476"/>
                  <a:gd name="connsiteX32" fmla="*/ 89711 w 1102075"/>
                  <a:gd name="connsiteY32" fmla="*/ 400252 h 775476"/>
                  <a:gd name="connsiteX33" fmla="*/ 106980 w 1102075"/>
                  <a:gd name="connsiteY33" fmla="*/ 405590 h 775476"/>
                  <a:gd name="connsiteX34" fmla="*/ 130924 w 1102075"/>
                  <a:gd name="connsiteY34" fmla="*/ 432619 h 775476"/>
                  <a:gd name="connsiteX35" fmla="*/ 143772 w 1102075"/>
                  <a:gd name="connsiteY35" fmla="*/ 450805 h 775476"/>
                  <a:gd name="connsiteX36" fmla="*/ 166797 w 1102075"/>
                  <a:gd name="connsiteY36" fmla="*/ 455643 h 775476"/>
                  <a:gd name="connsiteX37" fmla="*/ 173889 w 1102075"/>
                  <a:gd name="connsiteY37" fmla="*/ 455643 h 775476"/>
                  <a:gd name="connsiteX38" fmla="*/ 214184 w 1102075"/>
                  <a:gd name="connsiteY38" fmla="*/ 475580 h 775476"/>
                  <a:gd name="connsiteX39" fmla="*/ 241631 w 1102075"/>
                  <a:gd name="connsiteY39" fmla="*/ 496852 h 775476"/>
                  <a:gd name="connsiteX40" fmla="*/ 248723 w 1102075"/>
                  <a:gd name="connsiteY40" fmla="*/ 500857 h 775476"/>
                  <a:gd name="connsiteX41" fmla="*/ 275753 w 1102075"/>
                  <a:gd name="connsiteY41" fmla="*/ 528803 h 775476"/>
                  <a:gd name="connsiteX42" fmla="*/ 286849 w 1102075"/>
                  <a:gd name="connsiteY42" fmla="*/ 543401 h 775476"/>
                  <a:gd name="connsiteX43" fmla="*/ 323640 w 1102075"/>
                  <a:gd name="connsiteY43" fmla="*/ 549574 h 775476"/>
                  <a:gd name="connsiteX44" fmla="*/ 373279 w 1102075"/>
                  <a:gd name="connsiteY44" fmla="*/ 563756 h 775476"/>
                  <a:gd name="connsiteX45" fmla="*/ 377701 w 1102075"/>
                  <a:gd name="connsiteY45" fmla="*/ 570430 h 775476"/>
                  <a:gd name="connsiteX46" fmla="*/ 432595 w 1102075"/>
                  <a:gd name="connsiteY46" fmla="*/ 610721 h 775476"/>
                  <a:gd name="connsiteX47" fmla="*/ 437017 w 1102075"/>
                  <a:gd name="connsiteY47" fmla="*/ 608052 h 775476"/>
                  <a:gd name="connsiteX48" fmla="*/ 471139 w 1102075"/>
                  <a:gd name="connsiteY48" fmla="*/ 597875 h 775476"/>
                  <a:gd name="connsiteX49" fmla="*/ 483986 w 1102075"/>
                  <a:gd name="connsiteY49" fmla="*/ 613808 h 775476"/>
                  <a:gd name="connsiteX50" fmla="*/ 481317 w 1102075"/>
                  <a:gd name="connsiteY50" fmla="*/ 631994 h 775476"/>
                  <a:gd name="connsiteX51" fmla="*/ 479064 w 1102075"/>
                  <a:gd name="connsiteY51" fmla="*/ 639502 h 775476"/>
                  <a:gd name="connsiteX52" fmla="*/ 491912 w 1102075"/>
                  <a:gd name="connsiteY52" fmla="*/ 655018 h 775476"/>
                  <a:gd name="connsiteX53" fmla="*/ 502507 w 1102075"/>
                  <a:gd name="connsiteY53" fmla="*/ 658522 h 775476"/>
                  <a:gd name="connsiteX54" fmla="*/ 518442 w 1102075"/>
                  <a:gd name="connsiteY54" fmla="*/ 665195 h 775476"/>
                  <a:gd name="connsiteX55" fmla="*/ 528202 w 1102075"/>
                  <a:gd name="connsiteY55" fmla="*/ 690472 h 775476"/>
                  <a:gd name="connsiteX56" fmla="*/ 528620 w 1102075"/>
                  <a:gd name="connsiteY56" fmla="*/ 695810 h 775476"/>
                  <a:gd name="connsiteX57" fmla="*/ 536629 w 1102075"/>
                  <a:gd name="connsiteY57" fmla="*/ 717500 h 775476"/>
                  <a:gd name="connsiteX58" fmla="*/ 539715 w 1102075"/>
                  <a:gd name="connsiteY58" fmla="*/ 714830 h 775476"/>
                  <a:gd name="connsiteX59" fmla="*/ 549893 w 1102075"/>
                  <a:gd name="connsiteY59" fmla="*/ 706822 h 775476"/>
                  <a:gd name="connsiteX60" fmla="*/ 580428 w 1102075"/>
                  <a:gd name="connsiteY60" fmla="*/ 708574 h 775476"/>
                  <a:gd name="connsiteX61" fmla="*/ 600367 w 1102075"/>
                  <a:gd name="connsiteY61" fmla="*/ 726759 h 775476"/>
                  <a:gd name="connsiteX62" fmla="*/ 609210 w 1102075"/>
                  <a:gd name="connsiteY62" fmla="*/ 741358 h 775476"/>
                  <a:gd name="connsiteX63" fmla="*/ 610128 w 1102075"/>
                  <a:gd name="connsiteY63" fmla="*/ 753788 h 775476"/>
                  <a:gd name="connsiteX64" fmla="*/ 610128 w 1102075"/>
                  <a:gd name="connsiteY64" fmla="*/ 760878 h 775476"/>
                  <a:gd name="connsiteX65" fmla="*/ 624310 w 1102075"/>
                  <a:gd name="connsiteY65" fmla="*/ 775477 h 775476"/>
                  <a:gd name="connsiteX66" fmla="*/ 629650 w 1102075"/>
                  <a:gd name="connsiteY66" fmla="*/ 770639 h 775476"/>
                  <a:gd name="connsiteX67" fmla="*/ 687214 w 1102075"/>
                  <a:gd name="connsiteY67" fmla="*/ 763131 h 775476"/>
                  <a:gd name="connsiteX68" fmla="*/ 694305 w 1102075"/>
                  <a:gd name="connsiteY68" fmla="*/ 764883 h 775476"/>
                  <a:gd name="connsiteX69" fmla="*/ 722671 w 1102075"/>
                  <a:gd name="connsiteY69" fmla="*/ 760461 h 775476"/>
                  <a:gd name="connsiteX70" fmla="*/ 731097 w 1102075"/>
                  <a:gd name="connsiteY70" fmla="*/ 753788 h 775476"/>
                  <a:gd name="connsiteX71" fmla="*/ 749701 w 1102075"/>
                  <a:gd name="connsiteY71" fmla="*/ 733850 h 775476"/>
                  <a:gd name="connsiteX72" fmla="*/ 745279 w 1102075"/>
                  <a:gd name="connsiteY72" fmla="*/ 719669 h 775476"/>
                  <a:gd name="connsiteX73" fmla="*/ 739940 w 1102075"/>
                  <a:gd name="connsiteY73" fmla="*/ 692223 h 775476"/>
                  <a:gd name="connsiteX74" fmla="*/ 774896 w 1102075"/>
                  <a:gd name="connsiteY74" fmla="*/ 651431 h 775476"/>
                  <a:gd name="connsiteX75" fmla="*/ 794418 w 1102075"/>
                  <a:gd name="connsiteY75" fmla="*/ 643005 h 775476"/>
                  <a:gd name="connsiteX76" fmla="*/ 812605 w 1102075"/>
                  <a:gd name="connsiteY76" fmla="*/ 634580 h 775476"/>
                  <a:gd name="connsiteX77" fmla="*/ 823700 w 1102075"/>
                  <a:gd name="connsiteY77" fmla="*/ 622150 h 775476"/>
                  <a:gd name="connsiteX78" fmla="*/ 838300 w 1102075"/>
                  <a:gd name="connsiteY78" fmla="*/ 606217 h 775476"/>
                  <a:gd name="connsiteX79" fmla="*/ 856904 w 1102075"/>
                  <a:gd name="connsiteY79" fmla="*/ 574350 h 775476"/>
                  <a:gd name="connsiteX80" fmla="*/ 844057 w 1102075"/>
                  <a:gd name="connsiteY80" fmla="*/ 551743 h 775476"/>
                  <a:gd name="connsiteX81" fmla="*/ 798005 w 1102075"/>
                  <a:gd name="connsiteY81" fmla="*/ 545570 h 775476"/>
                  <a:gd name="connsiteX82" fmla="*/ 781653 w 1102075"/>
                  <a:gd name="connsiteY82" fmla="*/ 559751 h 775476"/>
                  <a:gd name="connsiteX83" fmla="*/ 768806 w 1102075"/>
                  <a:gd name="connsiteY83" fmla="*/ 573933 h 775476"/>
                  <a:gd name="connsiteX84" fmla="*/ 732014 w 1102075"/>
                  <a:gd name="connsiteY84" fmla="*/ 575268 h 775476"/>
                  <a:gd name="connsiteX85" fmla="*/ 724923 w 1102075"/>
                  <a:gd name="connsiteY85" fmla="*/ 571764 h 775476"/>
                  <a:gd name="connsiteX86" fmla="*/ 711658 w 1102075"/>
                  <a:gd name="connsiteY86" fmla="*/ 568678 h 775476"/>
                  <a:gd name="connsiteX87" fmla="*/ 685963 w 1102075"/>
                  <a:gd name="connsiteY87" fmla="*/ 547405 h 775476"/>
                  <a:gd name="connsiteX88" fmla="*/ 700562 w 1102075"/>
                  <a:gd name="connsiteY88" fmla="*/ 503526 h 775476"/>
                  <a:gd name="connsiteX89" fmla="*/ 711658 w 1102075"/>
                  <a:gd name="connsiteY89" fmla="*/ 484506 h 775476"/>
                  <a:gd name="connsiteX90" fmla="*/ 720084 w 1102075"/>
                  <a:gd name="connsiteY90" fmla="*/ 466821 h 775476"/>
                  <a:gd name="connsiteX91" fmla="*/ 747532 w 1102075"/>
                  <a:gd name="connsiteY91" fmla="*/ 450888 h 775476"/>
                  <a:gd name="connsiteX92" fmla="*/ 758628 w 1102075"/>
                  <a:gd name="connsiteY92" fmla="*/ 447384 h 775476"/>
                  <a:gd name="connsiteX93" fmla="*/ 766636 w 1102075"/>
                  <a:gd name="connsiteY93" fmla="*/ 412848 h 775476"/>
                  <a:gd name="connsiteX94" fmla="*/ 767054 w 1102075"/>
                  <a:gd name="connsiteY94" fmla="*/ 367634 h 775476"/>
                  <a:gd name="connsiteX95" fmla="*/ 771475 w 1102075"/>
                  <a:gd name="connsiteY95" fmla="*/ 360961 h 775476"/>
                  <a:gd name="connsiteX96" fmla="*/ 785658 w 1102075"/>
                  <a:gd name="connsiteY96" fmla="*/ 327759 h 775476"/>
                  <a:gd name="connsiteX97" fmla="*/ 775480 w 1102075"/>
                  <a:gd name="connsiteY97" fmla="*/ 285715 h 775476"/>
                  <a:gd name="connsiteX98" fmla="*/ 772810 w 1102075"/>
                  <a:gd name="connsiteY98" fmla="*/ 281294 h 775476"/>
                  <a:gd name="connsiteX99" fmla="*/ 747532 w 1102075"/>
                  <a:gd name="connsiteY99" fmla="*/ 212639 h 775476"/>
                  <a:gd name="connsiteX100" fmla="*/ 768806 w 1102075"/>
                  <a:gd name="connsiteY100" fmla="*/ 200710 h 775476"/>
                  <a:gd name="connsiteX101" fmla="*/ 804262 w 1102075"/>
                  <a:gd name="connsiteY101" fmla="*/ 214474 h 775476"/>
                  <a:gd name="connsiteX102" fmla="*/ 816192 w 1102075"/>
                  <a:gd name="connsiteY102" fmla="*/ 222900 h 775476"/>
                  <a:gd name="connsiteX103" fmla="*/ 836548 w 1102075"/>
                  <a:gd name="connsiteY103" fmla="*/ 229573 h 775476"/>
                  <a:gd name="connsiteX104" fmla="*/ 861827 w 1102075"/>
                  <a:gd name="connsiteY104" fmla="*/ 237999 h 775476"/>
                  <a:gd name="connsiteX105" fmla="*/ 916721 w 1102075"/>
                  <a:gd name="connsiteY105" fmla="*/ 269865 h 775476"/>
                  <a:gd name="connsiteX106" fmla="*/ 934908 w 1102075"/>
                  <a:gd name="connsiteY106" fmla="*/ 288468 h 775476"/>
                  <a:gd name="connsiteX107" fmla="*/ 935826 w 1102075"/>
                  <a:gd name="connsiteY107" fmla="*/ 302233 h 775476"/>
                  <a:gd name="connsiteX108" fmla="*/ 935409 w 1102075"/>
                  <a:gd name="connsiteY108" fmla="*/ 308406 h 775476"/>
                  <a:gd name="connsiteX109" fmla="*/ 952261 w 1102075"/>
                  <a:gd name="connsiteY109" fmla="*/ 313244 h 775476"/>
                  <a:gd name="connsiteX110" fmla="*/ 966027 w 1102075"/>
                  <a:gd name="connsiteY110" fmla="*/ 314162 h 775476"/>
                  <a:gd name="connsiteX111" fmla="*/ 970448 w 1102075"/>
                  <a:gd name="connsiteY111" fmla="*/ 315079 h 775476"/>
                  <a:gd name="connsiteX112" fmla="*/ 977122 w 1102075"/>
                  <a:gd name="connsiteY112" fmla="*/ 315079 h 775476"/>
                  <a:gd name="connsiteX113" fmla="*/ 981544 w 1102075"/>
                  <a:gd name="connsiteY113" fmla="*/ 312410 h 775476"/>
                  <a:gd name="connsiteX114" fmla="*/ 996144 w 1102075"/>
                  <a:gd name="connsiteY114" fmla="*/ 307571 h 775476"/>
                  <a:gd name="connsiteX115" fmla="*/ 1015666 w 1102075"/>
                  <a:gd name="connsiteY115" fmla="*/ 320418 h 775476"/>
                  <a:gd name="connsiteX116" fmla="*/ 1026261 w 1102075"/>
                  <a:gd name="connsiteY116" fmla="*/ 326591 h 775476"/>
                  <a:gd name="connsiteX117" fmla="*/ 1029348 w 1102075"/>
                  <a:gd name="connsiteY117" fmla="*/ 323922 h 775476"/>
                  <a:gd name="connsiteX118" fmla="*/ 1044448 w 1102075"/>
                  <a:gd name="connsiteY118" fmla="*/ 317248 h 775476"/>
                  <a:gd name="connsiteX119" fmla="*/ 1063970 w 1102075"/>
                  <a:gd name="connsiteY119" fmla="*/ 331013 h 775476"/>
                  <a:gd name="connsiteX120" fmla="*/ 1068391 w 1102075"/>
                  <a:gd name="connsiteY120" fmla="*/ 336769 h 775476"/>
                  <a:gd name="connsiteX121" fmla="*/ 1078987 w 1102075"/>
                  <a:gd name="connsiteY121" fmla="*/ 348280 h 775476"/>
                  <a:gd name="connsiteX122" fmla="*/ 1085661 w 1102075"/>
                  <a:gd name="connsiteY122" fmla="*/ 345194 h 775476"/>
                  <a:gd name="connsiteX123" fmla="*/ 1102012 w 1102075"/>
                  <a:gd name="connsiteY123" fmla="*/ 315496 h 775476"/>
                  <a:gd name="connsiteX124" fmla="*/ 1097591 w 1102075"/>
                  <a:gd name="connsiteY124" fmla="*/ 305319 h 775476"/>
                  <a:gd name="connsiteX125" fmla="*/ 1091417 w 1102075"/>
                  <a:gd name="connsiteY125" fmla="*/ 291137 h 775476"/>
                  <a:gd name="connsiteX126" fmla="*/ 976705 w 1102075"/>
                  <a:gd name="connsiteY126" fmla="*/ 214474 h 775476"/>
                  <a:gd name="connsiteX127" fmla="*/ 774645 w 1102075"/>
                  <a:gd name="connsiteY127" fmla="*/ 122711 h 775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102075" h="775476" extrusionOk="0">
                    <a:moveTo>
                      <a:pt x="774645" y="122711"/>
                    </a:moveTo>
                    <a:cubicBezTo>
                      <a:pt x="734767" y="121794"/>
                      <a:pt x="719751" y="87758"/>
                      <a:pt x="706903" y="57560"/>
                    </a:cubicBezTo>
                    <a:cubicBezTo>
                      <a:pt x="694055" y="27862"/>
                      <a:pt x="681625" y="0"/>
                      <a:pt x="648421" y="0"/>
                    </a:cubicBezTo>
                    <a:cubicBezTo>
                      <a:pt x="648004" y="0"/>
                      <a:pt x="648004" y="0"/>
                      <a:pt x="647503" y="0"/>
                    </a:cubicBezTo>
                    <a:cubicBezTo>
                      <a:pt x="632903" y="3504"/>
                      <a:pt x="620056" y="13264"/>
                      <a:pt x="606707" y="23942"/>
                    </a:cubicBezTo>
                    <a:cubicBezTo>
                      <a:pt x="594277" y="33702"/>
                      <a:pt x="581429" y="43879"/>
                      <a:pt x="565912" y="49218"/>
                    </a:cubicBezTo>
                    <a:lnTo>
                      <a:pt x="565494" y="49218"/>
                    </a:lnTo>
                    <a:cubicBezTo>
                      <a:pt x="550394" y="52722"/>
                      <a:pt x="534459" y="50136"/>
                      <a:pt x="518942" y="47466"/>
                    </a:cubicBezTo>
                    <a:cubicBezTo>
                      <a:pt x="497668" y="43963"/>
                      <a:pt x="478146" y="40375"/>
                      <a:pt x="461378" y="52305"/>
                    </a:cubicBezTo>
                    <a:cubicBezTo>
                      <a:pt x="441439" y="69990"/>
                      <a:pt x="372361" y="125381"/>
                      <a:pt x="309457" y="120960"/>
                    </a:cubicBezTo>
                    <a:cubicBezTo>
                      <a:pt x="287766" y="119625"/>
                      <a:pt x="269579" y="111200"/>
                      <a:pt x="254062" y="95683"/>
                    </a:cubicBezTo>
                    <a:cubicBezTo>
                      <a:pt x="244301" y="105861"/>
                      <a:pt x="232788" y="110782"/>
                      <a:pt x="220858" y="110282"/>
                    </a:cubicBezTo>
                    <a:cubicBezTo>
                      <a:pt x="188071" y="109364"/>
                      <a:pt x="156202" y="69990"/>
                      <a:pt x="135763" y="42962"/>
                    </a:cubicBezTo>
                    <a:cubicBezTo>
                      <a:pt x="131341" y="47383"/>
                      <a:pt x="126002" y="50970"/>
                      <a:pt x="121580" y="54474"/>
                    </a:cubicBezTo>
                    <a:cubicBezTo>
                      <a:pt x="118076" y="57143"/>
                      <a:pt x="114489" y="59812"/>
                      <a:pt x="111819" y="61981"/>
                    </a:cubicBezTo>
                    <a:cubicBezTo>
                      <a:pt x="102058" y="71325"/>
                      <a:pt x="102058" y="84088"/>
                      <a:pt x="102058" y="99187"/>
                    </a:cubicBezTo>
                    <a:cubicBezTo>
                      <a:pt x="102058" y="104943"/>
                      <a:pt x="102058" y="111116"/>
                      <a:pt x="101141" y="116872"/>
                    </a:cubicBezTo>
                    <a:cubicBezTo>
                      <a:pt x="98471" y="137227"/>
                      <a:pt x="85206" y="146069"/>
                      <a:pt x="72358" y="154495"/>
                    </a:cubicBezTo>
                    <a:cubicBezTo>
                      <a:pt x="68854" y="156747"/>
                      <a:pt x="65267" y="158916"/>
                      <a:pt x="61763" y="161585"/>
                    </a:cubicBezTo>
                    <a:cubicBezTo>
                      <a:pt x="54672" y="166924"/>
                      <a:pt x="47163" y="170428"/>
                      <a:pt x="39655" y="171763"/>
                    </a:cubicBezTo>
                    <a:cubicBezTo>
                      <a:pt x="36568" y="177519"/>
                      <a:pt x="33481" y="182858"/>
                      <a:pt x="30311" y="187696"/>
                    </a:cubicBezTo>
                    <a:cubicBezTo>
                      <a:pt x="20550" y="203629"/>
                      <a:pt x="11707" y="218228"/>
                      <a:pt x="8203" y="235496"/>
                    </a:cubicBezTo>
                    <a:cubicBezTo>
                      <a:pt x="3364" y="255851"/>
                      <a:pt x="695" y="275788"/>
                      <a:pt x="194" y="293056"/>
                    </a:cubicBezTo>
                    <a:cubicBezTo>
                      <a:pt x="-223" y="300147"/>
                      <a:pt x="-223" y="308990"/>
                      <a:pt x="2864" y="312994"/>
                    </a:cubicBezTo>
                    <a:cubicBezTo>
                      <a:pt x="3782" y="314746"/>
                      <a:pt x="6368" y="315663"/>
                      <a:pt x="9955" y="316998"/>
                    </a:cubicBezTo>
                    <a:cubicBezTo>
                      <a:pt x="13960" y="318333"/>
                      <a:pt x="18798" y="320084"/>
                      <a:pt x="22803" y="324088"/>
                    </a:cubicBezTo>
                    <a:cubicBezTo>
                      <a:pt x="28142" y="330262"/>
                      <a:pt x="29894" y="336018"/>
                      <a:pt x="31646" y="341357"/>
                    </a:cubicBezTo>
                    <a:cubicBezTo>
                      <a:pt x="33898" y="347113"/>
                      <a:pt x="35150" y="351534"/>
                      <a:pt x="41407" y="355955"/>
                    </a:cubicBezTo>
                    <a:cubicBezTo>
                      <a:pt x="43159" y="357290"/>
                      <a:pt x="44911" y="358625"/>
                      <a:pt x="47163" y="359459"/>
                    </a:cubicBezTo>
                    <a:cubicBezTo>
                      <a:pt x="50250" y="361211"/>
                      <a:pt x="54255" y="363463"/>
                      <a:pt x="57341" y="366550"/>
                    </a:cubicBezTo>
                    <a:cubicBezTo>
                      <a:pt x="62681" y="371388"/>
                      <a:pt x="64850" y="377144"/>
                      <a:pt x="67102" y="382066"/>
                    </a:cubicBezTo>
                    <a:cubicBezTo>
                      <a:pt x="68437" y="385152"/>
                      <a:pt x="69772" y="387822"/>
                      <a:pt x="71524" y="390491"/>
                    </a:cubicBezTo>
                    <a:cubicBezTo>
                      <a:pt x="75946" y="397165"/>
                      <a:pt x="81702" y="398500"/>
                      <a:pt x="89711" y="400252"/>
                    </a:cubicBezTo>
                    <a:cubicBezTo>
                      <a:pt x="95050" y="401169"/>
                      <a:pt x="100807" y="402504"/>
                      <a:pt x="106980" y="405590"/>
                    </a:cubicBezTo>
                    <a:cubicBezTo>
                      <a:pt x="118911" y="411764"/>
                      <a:pt x="124667" y="422442"/>
                      <a:pt x="130924" y="432619"/>
                    </a:cubicBezTo>
                    <a:cubicBezTo>
                      <a:pt x="134928" y="439709"/>
                      <a:pt x="138432" y="445882"/>
                      <a:pt x="143772" y="450805"/>
                    </a:cubicBezTo>
                    <a:cubicBezTo>
                      <a:pt x="149528" y="456143"/>
                      <a:pt x="157037" y="455643"/>
                      <a:pt x="166797" y="455643"/>
                    </a:cubicBezTo>
                    <a:lnTo>
                      <a:pt x="173889" y="455643"/>
                    </a:lnTo>
                    <a:cubicBezTo>
                      <a:pt x="193828" y="456060"/>
                      <a:pt x="202254" y="460481"/>
                      <a:pt x="214184" y="475580"/>
                    </a:cubicBezTo>
                    <a:cubicBezTo>
                      <a:pt x="222193" y="485758"/>
                      <a:pt x="231036" y="490679"/>
                      <a:pt x="241631" y="496852"/>
                    </a:cubicBezTo>
                    <a:lnTo>
                      <a:pt x="248723" y="500857"/>
                    </a:lnTo>
                    <a:cubicBezTo>
                      <a:pt x="261988" y="508865"/>
                      <a:pt x="269079" y="519042"/>
                      <a:pt x="275753" y="528803"/>
                    </a:cubicBezTo>
                    <a:cubicBezTo>
                      <a:pt x="278840" y="533224"/>
                      <a:pt x="282427" y="538563"/>
                      <a:pt x="286849" y="543401"/>
                    </a:cubicBezTo>
                    <a:cubicBezTo>
                      <a:pt x="296610" y="554496"/>
                      <a:pt x="307205" y="552744"/>
                      <a:pt x="323640" y="549574"/>
                    </a:cubicBezTo>
                    <a:cubicBezTo>
                      <a:pt x="339575" y="546488"/>
                      <a:pt x="359096" y="542484"/>
                      <a:pt x="373279" y="563756"/>
                    </a:cubicBezTo>
                    <a:lnTo>
                      <a:pt x="377701" y="570430"/>
                    </a:lnTo>
                    <a:cubicBezTo>
                      <a:pt x="394052" y="595706"/>
                      <a:pt x="413157" y="621817"/>
                      <a:pt x="432595" y="610721"/>
                    </a:cubicBezTo>
                    <a:cubicBezTo>
                      <a:pt x="433930" y="609804"/>
                      <a:pt x="435682" y="608970"/>
                      <a:pt x="437017" y="608052"/>
                    </a:cubicBezTo>
                    <a:cubicBezTo>
                      <a:pt x="446778" y="601879"/>
                      <a:pt x="459626" y="593454"/>
                      <a:pt x="471139" y="597875"/>
                    </a:cubicBezTo>
                    <a:cubicBezTo>
                      <a:pt x="477312" y="600127"/>
                      <a:pt x="481317" y="605383"/>
                      <a:pt x="483986" y="613808"/>
                    </a:cubicBezTo>
                    <a:cubicBezTo>
                      <a:pt x="486239" y="621316"/>
                      <a:pt x="483569" y="627573"/>
                      <a:pt x="481317" y="631994"/>
                    </a:cubicBezTo>
                    <a:cubicBezTo>
                      <a:pt x="479982" y="635080"/>
                      <a:pt x="478647" y="637333"/>
                      <a:pt x="479064" y="639502"/>
                    </a:cubicBezTo>
                    <a:cubicBezTo>
                      <a:pt x="479982" y="643923"/>
                      <a:pt x="484821" y="650096"/>
                      <a:pt x="491912" y="655018"/>
                    </a:cubicBezTo>
                    <a:cubicBezTo>
                      <a:pt x="494999" y="656770"/>
                      <a:pt x="499003" y="657687"/>
                      <a:pt x="502507" y="658522"/>
                    </a:cubicBezTo>
                    <a:cubicBezTo>
                      <a:pt x="507846" y="659856"/>
                      <a:pt x="513603" y="661191"/>
                      <a:pt x="518442" y="665195"/>
                    </a:cubicBezTo>
                    <a:cubicBezTo>
                      <a:pt x="526868" y="672286"/>
                      <a:pt x="527785" y="682046"/>
                      <a:pt x="528202" y="690472"/>
                    </a:cubicBezTo>
                    <a:cubicBezTo>
                      <a:pt x="528202" y="692223"/>
                      <a:pt x="528202" y="694476"/>
                      <a:pt x="528620" y="695810"/>
                    </a:cubicBezTo>
                    <a:cubicBezTo>
                      <a:pt x="529537" y="704236"/>
                      <a:pt x="532124" y="711327"/>
                      <a:pt x="536629" y="717500"/>
                    </a:cubicBezTo>
                    <a:lnTo>
                      <a:pt x="539715" y="714830"/>
                    </a:lnTo>
                    <a:cubicBezTo>
                      <a:pt x="542385" y="712161"/>
                      <a:pt x="545472" y="709074"/>
                      <a:pt x="549893" y="706822"/>
                    </a:cubicBezTo>
                    <a:cubicBezTo>
                      <a:pt x="558737" y="702401"/>
                      <a:pt x="570250" y="702818"/>
                      <a:pt x="580428" y="708574"/>
                    </a:cubicBezTo>
                    <a:cubicBezTo>
                      <a:pt x="588437" y="712995"/>
                      <a:pt x="594193" y="719669"/>
                      <a:pt x="600367" y="726759"/>
                    </a:cubicBezTo>
                    <a:cubicBezTo>
                      <a:pt x="603454" y="730263"/>
                      <a:pt x="607875" y="735185"/>
                      <a:pt x="609210" y="741358"/>
                    </a:cubicBezTo>
                    <a:cubicBezTo>
                      <a:pt x="610545" y="745362"/>
                      <a:pt x="610545" y="750201"/>
                      <a:pt x="610128" y="753788"/>
                    </a:cubicBezTo>
                    <a:cubicBezTo>
                      <a:pt x="609711" y="756457"/>
                      <a:pt x="609711" y="758626"/>
                      <a:pt x="610128" y="760878"/>
                    </a:cubicBezTo>
                    <a:cubicBezTo>
                      <a:pt x="611463" y="766634"/>
                      <a:pt x="617636" y="771473"/>
                      <a:pt x="624310" y="775477"/>
                    </a:cubicBezTo>
                    <a:cubicBezTo>
                      <a:pt x="626062" y="773725"/>
                      <a:pt x="627397" y="771974"/>
                      <a:pt x="629650" y="770639"/>
                    </a:cubicBezTo>
                    <a:cubicBezTo>
                      <a:pt x="643415" y="759544"/>
                      <a:pt x="662019" y="756874"/>
                      <a:pt x="687214" y="763131"/>
                    </a:cubicBezTo>
                    <a:lnTo>
                      <a:pt x="694305" y="764883"/>
                    </a:lnTo>
                    <a:cubicBezTo>
                      <a:pt x="708071" y="768386"/>
                      <a:pt x="712910" y="769721"/>
                      <a:pt x="722671" y="760461"/>
                    </a:cubicBezTo>
                    <a:cubicBezTo>
                      <a:pt x="724923" y="758709"/>
                      <a:pt x="728010" y="756457"/>
                      <a:pt x="731097" y="753788"/>
                    </a:cubicBezTo>
                    <a:cubicBezTo>
                      <a:pt x="738188" y="748032"/>
                      <a:pt x="748783" y="739606"/>
                      <a:pt x="749701" y="733850"/>
                    </a:cubicBezTo>
                    <a:cubicBezTo>
                      <a:pt x="750118" y="729429"/>
                      <a:pt x="747949" y="725008"/>
                      <a:pt x="745279" y="719669"/>
                    </a:cubicBezTo>
                    <a:cubicBezTo>
                      <a:pt x="741275" y="712578"/>
                      <a:pt x="736436" y="703318"/>
                      <a:pt x="739940" y="692223"/>
                    </a:cubicBezTo>
                    <a:cubicBezTo>
                      <a:pt x="743944" y="679377"/>
                      <a:pt x="765218" y="658105"/>
                      <a:pt x="774896" y="651431"/>
                    </a:cubicBezTo>
                    <a:cubicBezTo>
                      <a:pt x="781069" y="647426"/>
                      <a:pt x="787743" y="645257"/>
                      <a:pt x="794418" y="643005"/>
                    </a:cubicBezTo>
                    <a:cubicBezTo>
                      <a:pt x="801092" y="640753"/>
                      <a:pt x="807682" y="639001"/>
                      <a:pt x="812605" y="634580"/>
                    </a:cubicBezTo>
                    <a:cubicBezTo>
                      <a:pt x="816609" y="631076"/>
                      <a:pt x="820113" y="626571"/>
                      <a:pt x="823700" y="622150"/>
                    </a:cubicBezTo>
                    <a:cubicBezTo>
                      <a:pt x="828122" y="616394"/>
                      <a:pt x="832544" y="611055"/>
                      <a:pt x="838300" y="606217"/>
                    </a:cubicBezTo>
                    <a:cubicBezTo>
                      <a:pt x="850230" y="596039"/>
                      <a:pt x="857321" y="587614"/>
                      <a:pt x="856904" y="574350"/>
                    </a:cubicBezTo>
                    <a:cubicBezTo>
                      <a:pt x="856487" y="565007"/>
                      <a:pt x="852066" y="557082"/>
                      <a:pt x="844057" y="551743"/>
                    </a:cubicBezTo>
                    <a:cubicBezTo>
                      <a:pt x="831626" y="542901"/>
                      <a:pt x="813022" y="540648"/>
                      <a:pt x="798005" y="545570"/>
                    </a:cubicBezTo>
                    <a:cubicBezTo>
                      <a:pt x="790497" y="547822"/>
                      <a:pt x="786492" y="553078"/>
                      <a:pt x="781653" y="559751"/>
                    </a:cubicBezTo>
                    <a:cubicBezTo>
                      <a:pt x="778566" y="564173"/>
                      <a:pt x="774145" y="569512"/>
                      <a:pt x="768806" y="573933"/>
                    </a:cubicBezTo>
                    <a:cubicBezTo>
                      <a:pt x="751953" y="587197"/>
                      <a:pt x="742192" y="581441"/>
                      <a:pt x="732014" y="575268"/>
                    </a:cubicBezTo>
                    <a:cubicBezTo>
                      <a:pt x="729762" y="574350"/>
                      <a:pt x="727593" y="573016"/>
                      <a:pt x="724923" y="571764"/>
                    </a:cubicBezTo>
                    <a:cubicBezTo>
                      <a:pt x="720501" y="570012"/>
                      <a:pt x="716497" y="569095"/>
                      <a:pt x="711658" y="568678"/>
                    </a:cubicBezTo>
                    <a:cubicBezTo>
                      <a:pt x="701897" y="567343"/>
                      <a:pt x="689049" y="566008"/>
                      <a:pt x="685963" y="547405"/>
                    </a:cubicBezTo>
                    <a:cubicBezTo>
                      <a:pt x="682876" y="529720"/>
                      <a:pt x="688215" y="515038"/>
                      <a:pt x="700562" y="503526"/>
                    </a:cubicBezTo>
                    <a:cubicBezTo>
                      <a:pt x="706736" y="497353"/>
                      <a:pt x="708989" y="491597"/>
                      <a:pt x="711658" y="484506"/>
                    </a:cubicBezTo>
                    <a:cubicBezTo>
                      <a:pt x="713410" y="479168"/>
                      <a:pt x="715663" y="473411"/>
                      <a:pt x="720084" y="466821"/>
                    </a:cubicBezTo>
                    <a:cubicBezTo>
                      <a:pt x="727175" y="456227"/>
                      <a:pt x="737771" y="453557"/>
                      <a:pt x="747532" y="450888"/>
                    </a:cubicBezTo>
                    <a:cubicBezTo>
                      <a:pt x="751536" y="449970"/>
                      <a:pt x="755040" y="448636"/>
                      <a:pt x="758628" y="447384"/>
                    </a:cubicBezTo>
                    <a:cubicBezTo>
                      <a:pt x="774562" y="440293"/>
                      <a:pt x="772393" y="431868"/>
                      <a:pt x="766636" y="412848"/>
                    </a:cubicBezTo>
                    <a:cubicBezTo>
                      <a:pt x="762215" y="398667"/>
                      <a:pt x="757293" y="382316"/>
                      <a:pt x="767054" y="367634"/>
                    </a:cubicBezTo>
                    <a:lnTo>
                      <a:pt x="771475" y="360961"/>
                    </a:lnTo>
                    <a:cubicBezTo>
                      <a:pt x="779484" y="349449"/>
                      <a:pt x="783405" y="343692"/>
                      <a:pt x="785658" y="327759"/>
                    </a:cubicBezTo>
                    <a:cubicBezTo>
                      <a:pt x="787910" y="310074"/>
                      <a:pt x="785658" y="301148"/>
                      <a:pt x="775480" y="285715"/>
                    </a:cubicBezTo>
                    <a:lnTo>
                      <a:pt x="772810" y="281294"/>
                    </a:lnTo>
                    <a:cubicBezTo>
                      <a:pt x="754623" y="255601"/>
                      <a:pt x="739606" y="228989"/>
                      <a:pt x="747532" y="212639"/>
                    </a:cubicBezTo>
                    <a:cubicBezTo>
                      <a:pt x="750201" y="207300"/>
                      <a:pt x="755958" y="201544"/>
                      <a:pt x="768806" y="200710"/>
                    </a:cubicBezTo>
                    <a:cubicBezTo>
                      <a:pt x="784323" y="199375"/>
                      <a:pt x="794918" y="207383"/>
                      <a:pt x="804262" y="214474"/>
                    </a:cubicBezTo>
                    <a:cubicBezTo>
                      <a:pt x="808267" y="217978"/>
                      <a:pt x="811770" y="220647"/>
                      <a:pt x="816192" y="222900"/>
                    </a:cubicBezTo>
                    <a:cubicBezTo>
                      <a:pt x="822366" y="225986"/>
                      <a:pt x="829457" y="227738"/>
                      <a:pt x="836548" y="229573"/>
                    </a:cubicBezTo>
                    <a:cubicBezTo>
                      <a:pt x="844557" y="231325"/>
                      <a:pt x="853400" y="233577"/>
                      <a:pt x="861827" y="237999"/>
                    </a:cubicBezTo>
                    <a:cubicBezTo>
                      <a:pt x="879096" y="246841"/>
                      <a:pt x="898618" y="257936"/>
                      <a:pt x="916721" y="269865"/>
                    </a:cubicBezTo>
                    <a:cubicBezTo>
                      <a:pt x="924230" y="274704"/>
                      <a:pt x="931822" y="279626"/>
                      <a:pt x="934908" y="288468"/>
                    </a:cubicBezTo>
                    <a:cubicBezTo>
                      <a:pt x="936660" y="293807"/>
                      <a:pt x="936243" y="298645"/>
                      <a:pt x="935826" y="302233"/>
                    </a:cubicBezTo>
                    <a:cubicBezTo>
                      <a:pt x="934908" y="304902"/>
                      <a:pt x="934908" y="307071"/>
                      <a:pt x="935409" y="308406"/>
                    </a:cubicBezTo>
                    <a:cubicBezTo>
                      <a:pt x="936744" y="312827"/>
                      <a:pt x="940748" y="313744"/>
                      <a:pt x="952261" y="313244"/>
                    </a:cubicBezTo>
                    <a:cubicBezTo>
                      <a:pt x="957100" y="313244"/>
                      <a:pt x="961605" y="313244"/>
                      <a:pt x="966027" y="314162"/>
                    </a:cubicBezTo>
                    <a:cubicBezTo>
                      <a:pt x="967779" y="314579"/>
                      <a:pt x="969113" y="314579"/>
                      <a:pt x="970448" y="315079"/>
                    </a:cubicBezTo>
                    <a:cubicBezTo>
                      <a:pt x="973535" y="315997"/>
                      <a:pt x="973952" y="315997"/>
                      <a:pt x="977122" y="315079"/>
                    </a:cubicBezTo>
                    <a:cubicBezTo>
                      <a:pt x="978457" y="314662"/>
                      <a:pt x="979792" y="313744"/>
                      <a:pt x="981544" y="312410"/>
                    </a:cubicBezTo>
                    <a:cubicBezTo>
                      <a:pt x="985048" y="310158"/>
                      <a:pt x="989970" y="307071"/>
                      <a:pt x="996144" y="307571"/>
                    </a:cubicBezTo>
                    <a:cubicBezTo>
                      <a:pt x="1005905" y="308489"/>
                      <a:pt x="1011661" y="315580"/>
                      <a:pt x="1015666" y="320418"/>
                    </a:cubicBezTo>
                    <a:cubicBezTo>
                      <a:pt x="1020504" y="326591"/>
                      <a:pt x="1021839" y="327926"/>
                      <a:pt x="1026261" y="326591"/>
                    </a:cubicBezTo>
                    <a:cubicBezTo>
                      <a:pt x="1026678" y="326591"/>
                      <a:pt x="1028013" y="325257"/>
                      <a:pt x="1029348" y="323922"/>
                    </a:cubicBezTo>
                    <a:cubicBezTo>
                      <a:pt x="1032434" y="320835"/>
                      <a:pt x="1036856" y="316831"/>
                      <a:pt x="1044448" y="317248"/>
                    </a:cubicBezTo>
                    <a:cubicBezTo>
                      <a:pt x="1054209" y="318166"/>
                      <a:pt x="1060382" y="325674"/>
                      <a:pt x="1063970" y="331013"/>
                    </a:cubicBezTo>
                    <a:cubicBezTo>
                      <a:pt x="1065722" y="332765"/>
                      <a:pt x="1067057" y="334516"/>
                      <a:pt x="1068391" y="336769"/>
                    </a:cubicBezTo>
                    <a:cubicBezTo>
                      <a:pt x="1071895" y="341607"/>
                      <a:pt x="1075900" y="347363"/>
                      <a:pt x="1078987" y="348280"/>
                    </a:cubicBezTo>
                    <a:cubicBezTo>
                      <a:pt x="1081239" y="348280"/>
                      <a:pt x="1083825" y="346529"/>
                      <a:pt x="1085661" y="345194"/>
                    </a:cubicBezTo>
                    <a:cubicBezTo>
                      <a:pt x="1093670" y="339021"/>
                      <a:pt x="1102930" y="322587"/>
                      <a:pt x="1102012" y="315496"/>
                    </a:cubicBezTo>
                    <a:cubicBezTo>
                      <a:pt x="1101595" y="313244"/>
                      <a:pt x="1099760" y="308823"/>
                      <a:pt x="1097591" y="305319"/>
                    </a:cubicBezTo>
                    <a:cubicBezTo>
                      <a:pt x="1094921" y="300481"/>
                      <a:pt x="1092251" y="295559"/>
                      <a:pt x="1091417" y="291137"/>
                    </a:cubicBezTo>
                    <a:cubicBezTo>
                      <a:pt x="1049370" y="272118"/>
                      <a:pt x="1012579" y="242837"/>
                      <a:pt x="976705" y="214474"/>
                    </a:cubicBezTo>
                    <a:cubicBezTo>
                      <a:pt x="915053" y="166174"/>
                      <a:pt x="856153" y="119625"/>
                      <a:pt x="774645" y="12271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0241054" name="Полилиния 408"/>
              <p:cNvSpPr/>
              <p:nvPr/>
            </p:nvSpPr>
            <p:spPr bwMode="auto">
              <a:xfrm>
                <a:off x="3162604" y="3289998"/>
                <a:ext cx="1257114" cy="906877"/>
              </a:xfrm>
              <a:custGeom>
                <a:avLst/>
                <a:gdLst>
                  <a:gd name="connsiteX0" fmla="*/ 1410442 w 1411781"/>
                  <a:gd name="connsiteY0" fmla="*/ 472543 h 1018453"/>
                  <a:gd name="connsiteX1" fmla="*/ 1411360 w 1411781"/>
                  <a:gd name="connsiteY1" fmla="*/ 469456 h 1018453"/>
                  <a:gd name="connsiteX2" fmla="*/ 1411777 w 1411781"/>
                  <a:gd name="connsiteY2" fmla="*/ 466787 h 1018453"/>
                  <a:gd name="connsiteX3" fmla="*/ 1405603 w 1411781"/>
                  <a:gd name="connsiteY3" fmla="*/ 457443 h 1018453"/>
                  <a:gd name="connsiteX4" fmla="*/ 1401181 w 1411781"/>
                  <a:gd name="connsiteY4" fmla="*/ 452605 h 1018453"/>
                  <a:gd name="connsiteX5" fmla="*/ 1395008 w 1411781"/>
                  <a:gd name="connsiteY5" fmla="*/ 400300 h 1018453"/>
                  <a:gd name="connsiteX6" fmla="*/ 1396343 w 1411781"/>
                  <a:gd name="connsiteY6" fmla="*/ 383032 h 1018453"/>
                  <a:gd name="connsiteX7" fmla="*/ 1391003 w 1411781"/>
                  <a:gd name="connsiteY7" fmla="*/ 371937 h 1018453"/>
                  <a:gd name="connsiteX8" fmla="*/ 1386582 w 1411781"/>
                  <a:gd name="connsiteY8" fmla="*/ 363929 h 1018453"/>
                  <a:gd name="connsiteX9" fmla="*/ 1402933 w 1411781"/>
                  <a:gd name="connsiteY9" fmla="*/ 308121 h 1018453"/>
                  <a:gd name="connsiteX10" fmla="*/ 1405603 w 1411781"/>
                  <a:gd name="connsiteY10" fmla="*/ 306369 h 1018453"/>
                  <a:gd name="connsiteX11" fmla="*/ 1405603 w 1411781"/>
                  <a:gd name="connsiteY11" fmla="*/ 306369 h 1018453"/>
                  <a:gd name="connsiteX12" fmla="*/ 1397594 w 1411781"/>
                  <a:gd name="connsiteY12" fmla="*/ 290435 h 1018453"/>
                  <a:gd name="connsiteX13" fmla="*/ 1374151 w 1411781"/>
                  <a:gd name="connsiteY13" fmla="*/ 279341 h 1018453"/>
                  <a:gd name="connsiteX14" fmla="*/ 1364808 w 1411781"/>
                  <a:gd name="connsiteY14" fmla="*/ 274002 h 1018453"/>
                  <a:gd name="connsiteX15" fmla="*/ 1247009 w 1411781"/>
                  <a:gd name="connsiteY15" fmla="*/ 213772 h 1018453"/>
                  <a:gd name="connsiteX16" fmla="*/ 1164166 w 1411781"/>
                  <a:gd name="connsiteY16" fmla="*/ 172980 h 1018453"/>
                  <a:gd name="connsiteX17" fmla="*/ 1026428 w 1411781"/>
                  <a:gd name="connsiteY17" fmla="*/ 103907 h 1018453"/>
                  <a:gd name="connsiteX18" fmla="*/ 1008742 w 1411781"/>
                  <a:gd name="connsiteY18" fmla="*/ 94147 h 1018453"/>
                  <a:gd name="connsiteX19" fmla="*/ 927234 w 1411781"/>
                  <a:gd name="connsiteY19" fmla="*/ 43177 h 1018453"/>
                  <a:gd name="connsiteX20" fmla="*/ 913468 w 1411781"/>
                  <a:gd name="connsiteY20" fmla="*/ 31248 h 1018453"/>
                  <a:gd name="connsiteX21" fmla="*/ 849230 w 1411781"/>
                  <a:gd name="connsiteY21" fmla="*/ 716 h 1018453"/>
                  <a:gd name="connsiteX22" fmla="*/ 823951 w 1411781"/>
                  <a:gd name="connsiteY22" fmla="*/ 10059 h 1018453"/>
                  <a:gd name="connsiteX23" fmla="*/ 786743 w 1411781"/>
                  <a:gd name="connsiteY23" fmla="*/ 21154 h 1018453"/>
                  <a:gd name="connsiteX24" fmla="*/ 754874 w 1411781"/>
                  <a:gd name="connsiteY24" fmla="*/ 21154 h 1018453"/>
                  <a:gd name="connsiteX25" fmla="*/ 738939 w 1411781"/>
                  <a:gd name="connsiteY25" fmla="*/ 21154 h 1018453"/>
                  <a:gd name="connsiteX26" fmla="*/ 704818 w 1411781"/>
                  <a:gd name="connsiteY26" fmla="*/ 20737 h 1018453"/>
                  <a:gd name="connsiteX27" fmla="*/ 637075 w 1411781"/>
                  <a:gd name="connsiteY27" fmla="*/ 21154 h 1018453"/>
                  <a:gd name="connsiteX28" fmla="*/ 626897 w 1411781"/>
                  <a:gd name="connsiteY28" fmla="*/ 22906 h 1018453"/>
                  <a:gd name="connsiteX29" fmla="*/ 613632 w 1411781"/>
                  <a:gd name="connsiteY29" fmla="*/ 29580 h 1018453"/>
                  <a:gd name="connsiteX30" fmla="*/ 579510 w 1411781"/>
                  <a:gd name="connsiteY30" fmla="*/ 70372 h 1018453"/>
                  <a:gd name="connsiteX31" fmla="*/ 563993 w 1411781"/>
                  <a:gd name="connsiteY31" fmla="*/ 92479 h 1018453"/>
                  <a:gd name="connsiteX32" fmla="*/ 551562 w 1411781"/>
                  <a:gd name="connsiteY32" fmla="*/ 111082 h 1018453"/>
                  <a:gd name="connsiteX33" fmla="*/ 558654 w 1411781"/>
                  <a:gd name="connsiteY33" fmla="*/ 140779 h 1018453"/>
                  <a:gd name="connsiteX34" fmla="*/ 563075 w 1411781"/>
                  <a:gd name="connsiteY34" fmla="*/ 145201 h 1018453"/>
                  <a:gd name="connsiteX35" fmla="*/ 570167 w 1411781"/>
                  <a:gd name="connsiteY35" fmla="*/ 182406 h 1018453"/>
                  <a:gd name="connsiteX36" fmla="*/ 567080 w 1411781"/>
                  <a:gd name="connsiteY36" fmla="*/ 195253 h 1018453"/>
                  <a:gd name="connsiteX37" fmla="*/ 567998 w 1411781"/>
                  <a:gd name="connsiteY37" fmla="*/ 215608 h 1018453"/>
                  <a:gd name="connsiteX38" fmla="*/ 572419 w 1411781"/>
                  <a:gd name="connsiteY38" fmla="*/ 226202 h 1018453"/>
                  <a:gd name="connsiteX39" fmla="*/ 578176 w 1411781"/>
                  <a:gd name="connsiteY39" fmla="*/ 241301 h 1018453"/>
                  <a:gd name="connsiteX40" fmla="*/ 556485 w 1411781"/>
                  <a:gd name="connsiteY40" fmla="*/ 283845 h 1018453"/>
                  <a:gd name="connsiteX41" fmla="*/ 538798 w 1411781"/>
                  <a:gd name="connsiteY41" fmla="*/ 289601 h 1018453"/>
                  <a:gd name="connsiteX42" fmla="*/ 518859 w 1411781"/>
                  <a:gd name="connsiteY42" fmla="*/ 271916 h 1018453"/>
                  <a:gd name="connsiteX43" fmla="*/ 515355 w 1411781"/>
                  <a:gd name="connsiteY43" fmla="*/ 266578 h 1018453"/>
                  <a:gd name="connsiteX44" fmla="*/ 506512 w 1411781"/>
                  <a:gd name="connsiteY44" fmla="*/ 258569 h 1018453"/>
                  <a:gd name="connsiteX45" fmla="*/ 502091 w 1411781"/>
                  <a:gd name="connsiteY45" fmla="*/ 261238 h 1018453"/>
                  <a:gd name="connsiteX46" fmla="*/ 492747 w 1411781"/>
                  <a:gd name="connsiteY46" fmla="*/ 267412 h 1018453"/>
                  <a:gd name="connsiteX47" fmla="*/ 467051 w 1411781"/>
                  <a:gd name="connsiteY47" fmla="*/ 256317 h 1018453"/>
                  <a:gd name="connsiteX48" fmla="*/ 457707 w 1411781"/>
                  <a:gd name="connsiteY48" fmla="*/ 248809 h 1018453"/>
                  <a:gd name="connsiteX49" fmla="*/ 452368 w 1411781"/>
                  <a:gd name="connsiteY49" fmla="*/ 251478 h 1018453"/>
                  <a:gd name="connsiteX50" fmla="*/ 443942 w 1411781"/>
                  <a:gd name="connsiteY50" fmla="*/ 255899 h 1018453"/>
                  <a:gd name="connsiteX51" fmla="*/ 429759 w 1411781"/>
                  <a:gd name="connsiteY51" fmla="*/ 255899 h 1018453"/>
                  <a:gd name="connsiteX52" fmla="*/ 426255 w 1411781"/>
                  <a:gd name="connsiteY52" fmla="*/ 254982 h 1018453"/>
                  <a:gd name="connsiteX53" fmla="*/ 415160 w 1411781"/>
                  <a:gd name="connsiteY53" fmla="*/ 254565 h 1018453"/>
                  <a:gd name="connsiteX54" fmla="*/ 384625 w 1411781"/>
                  <a:gd name="connsiteY54" fmla="*/ 239466 h 1018453"/>
                  <a:gd name="connsiteX55" fmla="*/ 384208 w 1411781"/>
                  <a:gd name="connsiteY55" fmla="*/ 227536 h 1018453"/>
                  <a:gd name="connsiteX56" fmla="*/ 384208 w 1411781"/>
                  <a:gd name="connsiteY56" fmla="*/ 220863 h 1018453"/>
                  <a:gd name="connsiteX57" fmla="*/ 373113 w 1411781"/>
                  <a:gd name="connsiteY57" fmla="*/ 210269 h 1018453"/>
                  <a:gd name="connsiteX58" fmla="*/ 317717 w 1411781"/>
                  <a:gd name="connsiteY58" fmla="*/ 177901 h 1018453"/>
                  <a:gd name="connsiteX59" fmla="*/ 296026 w 1411781"/>
                  <a:gd name="connsiteY59" fmla="*/ 170811 h 1018453"/>
                  <a:gd name="connsiteX60" fmla="*/ 272083 w 1411781"/>
                  <a:gd name="connsiteY60" fmla="*/ 162802 h 1018453"/>
                  <a:gd name="connsiteX61" fmla="*/ 258317 w 1411781"/>
                  <a:gd name="connsiteY61" fmla="*/ 153459 h 1018453"/>
                  <a:gd name="connsiteX62" fmla="*/ 232622 w 1411781"/>
                  <a:gd name="connsiteY62" fmla="*/ 142364 h 1018453"/>
                  <a:gd name="connsiteX63" fmla="*/ 223278 w 1411781"/>
                  <a:gd name="connsiteY63" fmla="*/ 146368 h 1018453"/>
                  <a:gd name="connsiteX64" fmla="*/ 247222 w 1411781"/>
                  <a:gd name="connsiteY64" fmla="*/ 200842 h 1018453"/>
                  <a:gd name="connsiteX65" fmla="*/ 250308 w 1411781"/>
                  <a:gd name="connsiteY65" fmla="*/ 205263 h 1018453"/>
                  <a:gd name="connsiteX66" fmla="*/ 262238 w 1411781"/>
                  <a:gd name="connsiteY66" fmla="*/ 257067 h 1018453"/>
                  <a:gd name="connsiteX67" fmla="*/ 245887 w 1411781"/>
                  <a:gd name="connsiteY67" fmla="*/ 296525 h 1018453"/>
                  <a:gd name="connsiteX68" fmla="*/ 241465 w 1411781"/>
                  <a:gd name="connsiteY68" fmla="*/ 302698 h 1018453"/>
                  <a:gd name="connsiteX69" fmla="*/ 242800 w 1411781"/>
                  <a:gd name="connsiteY69" fmla="*/ 336400 h 1018453"/>
                  <a:gd name="connsiteX70" fmla="*/ 226865 w 1411781"/>
                  <a:gd name="connsiteY70" fmla="*/ 387787 h 1018453"/>
                  <a:gd name="connsiteX71" fmla="*/ 214018 w 1411781"/>
                  <a:gd name="connsiteY71" fmla="*/ 392208 h 1018453"/>
                  <a:gd name="connsiteX72" fmla="*/ 194496 w 1411781"/>
                  <a:gd name="connsiteY72" fmla="*/ 402386 h 1018453"/>
                  <a:gd name="connsiteX73" fmla="*/ 187404 w 1411781"/>
                  <a:gd name="connsiteY73" fmla="*/ 416985 h 1018453"/>
                  <a:gd name="connsiteX74" fmla="*/ 172805 w 1411781"/>
                  <a:gd name="connsiteY74" fmla="*/ 441343 h 1018453"/>
                  <a:gd name="connsiteX75" fmla="*/ 162627 w 1411781"/>
                  <a:gd name="connsiteY75" fmla="*/ 472376 h 1018453"/>
                  <a:gd name="connsiteX76" fmla="*/ 175892 w 1411781"/>
                  <a:gd name="connsiteY76" fmla="*/ 482136 h 1018453"/>
                  <a:gd name="connsiteX77" fmla="*/ 193578 w 1411781"/>
                  <a:gd name="connsiteY77" fmla="*/ 486557 h 1018453"/>
                  <a:gd name="connsiteX78" fmla="*/ 201587 w 1411781"/>
                  <a:gd name="connsiteY78" fmla="*/ 490979 h 1018453"/>
                  <a:gd name="connsiteX79" fmla="*/ 222444 w 1411781"/>
                  <a:gd name="connsiteY79" fmla="*/ 490562 h 1018453"/>
                  <a:gd name="connsiteX80" fmla="*/ 233039 w 1411781"/>
                  <a:gd name="connsiteY80" fmla="*/ 479466 h 1018453"/>
                  <a:gd name="connsiteX81" fmla="*/ 256482 w 1411781"/>
                  <a:gd name="connsiteY81" fmla="*/ 460447 h 1018453"/>
                  <a:gd name="connsiteX82" fmla="*/ 314964 w 1411781"/>
                  <a:gd name="connsiteY82" fmla="*/ 468455 h 1018453"/>
                  <a:gd name="connsiteX83" fmla="*/ 333568 w 1411781"/>
                  <a:gd name="connsiteY83" fmla="*/ 501656 h 1018453"/>
                  <a:gd name="connsiteX84" fmla="*/ 310125 w 1411781"/>
                  <a:gd name="connsiteY84" fmla="*/ 545536 h 1018453"/>
                  <a:gd name="connsiteX85" fmla="*/ 297695 w 1411781"/>
                  <a:gd name="connsiteY85" fmla="*/ 559300 h 1018453"/>
                  <a:gd name="connsiteX86" fmla="*/ 284847 w 1411781"/>
                  <a:gd name="connsiteY86" fmla="*/ 573482 h 1018453"/>
                  <a:gd name="connsiteX87" fmla="*/ 261404 w 1411781"/>
                  <a:gd name="connsiteY87" fmla="*/ 584993 h 1018453"/>
                  <a:gd name="connsiteX88" fmla="*/ 245469 w 1411781"/>
                  <a:gd name="connsiteY88" fmla="*/ 591667 h 1018453"/>
                  <a:gd name="connsiteX89" fmla="*/ 215769 w 1411781"/>
                  <a:gd name="connsiteY89" fmla="*/ 624869 h 1018453"/>
                  <a:gd name="connsiteX90" fmla="*/ 219774 w 1411781"/>
                  <a:gd name="connsiteY90" fmla="*/ 641219 h 1018453"/>
                  <a:gd name="connsiteX91" fmla="*/ 225948 w 1411781"/>
                  <a:gd name="connsiteY91" fmla="*/ 664243 h 1018453"/>
                  <a:gd name="connsiteX92" fmla="*/ 202922 w 1411781"/>
                  <a:gd name="connsiteY92" fmla="*/ 693941 h 1018453"/>
                  <a:gd name="connsiteX93" fmla="*/ 195413 w 1411781"/>
                  <a:gd name="connsiteY93" fmla="*/ 700114 h 1018453"/>
                  <a:gd name="connsiteX94" fmla="*/ 153783 w 1411781"/>
                  <a:gd name="connsiteY94" fmla="*/ 708122 h 1018453"/>
                  <a:gd name="connsiteX95" fmla="*/ 147109 w 1411781"/>
                  <a:gd name="connsiteY95" fmla="*/ 706370 h 1018453"/>
                  <a:gd name="connsiteX96" fmla="*/ 101892 w 1411781"/>
                  <a:gd name="connsiteY96" fmla="*/ 711209 h 1018453"/>
                  <a:gd name="connsiteX97" fmla="*/ 100140 w 1411781"/>
                  <a:gd name="connsiteY97" fmla="*/ 712960 h 1018453"/>
                  <a:gd name="connsiteX98" fmla="*/ 92131 w 1411781"/>
                  <a:gd name="connsiteY98" fmla="*/ 724890 h 1018453"/>
                  <a:gd name="connsiteX99" fmla="*/ 88126 w 1411781"/>
                  <a:gd name="connsiteY99" fmla="*/ 735484 h 1018453"/>
                  <a:gd name="connsiteX100" fmla="*/ 84122 w 1411781"/>
                  <a:gd name="connsiteY100" fmla="*/ 746996 h 1018453"/>
                  <a:gd name="connsiteX101" fmla="*/ 73944 w 1411781"/>
                  <a:gd name="connsiteY101" fmla="*/ 766016 h 1018453"/>
                  <a:gd name="connsiteX102" fmla="*/ 62848 w 1411781"/>
                  <a:gd name="connsiteY102" fmla="*/ 791293 h 1018453"/>
                  <a:gd name="connsiteX103" fmla="*/ 42492 w 1411781"/>
                  <a:gd name="connsiteY103" fmla="*/ 812982 h 1018453"/>
                  <a:gd name="connsiteX104" fmla="*/ 31396 w 1411781"/>
                  <a:gd name="connsiteY104" fmla="*/ 817403 h 1018453"/>
                  <a:gd name="connsiteX105" fmla="*/ 18966 w 1411781"/>
                  <a:gd name="connsiteY105" fmla="*/ 837758 h 1018453"/>
                  <a:gd name="connsiteX106" fmla="*/ 13626 w 1411781"/>
                  <a:gd name="connsiteY106" fmla="*/ 850187 h 1018453"/>
                  <a:gd name="connsiteX107" fmla="*/ 8788 w 1411781"/>
                  <a:gd name="connsiteY107" fmla="*/ 858196 h 1018453"/>
                  <a:gd name="connsiteX108" fmla="*/ 1279 w 1411781"/>
                  <a:gd name="connsiteY108" fmla="*/ 881220 h 1018453"/>
                  <a:gd name="connsiteX109" fmla="*/ 6118 w 1411781"/>
                  <a:gd name="connsiteY109" fmla="*/ 884306 h 1018453"/>
                  <a:gd name="connsiteX110" fmla="*/ 15462 w 1411781"/>
                  <a:gd name="connsiteY110" fmla="*/ 890980 h 1018453"/>
                  <a:gd name="connsiteX111" fmla="*/ 21635 w 1411781"/>
                  <a:gd name="connsiteY111" fmla="*/ 922012 h 1018453"/>
                  <a:gd name="connsiteX112" fmla="*/ 19883 w 1411781"/>
                  <a:gd name="connsiteY112" fmla="*/ 930438 h 1018453"/>
                  <a:gd name="connsiteX113" fmla="*/ 18131 w 1411781"/>
                  <a:gd name="connsiteY113" fmla="*/ 940198 h 1018453"/>
                  <a:gd name="connsiteX114" fmla="*/ 22553 w 1411781"/>
                  <a:gd name="connsiteY114" fmla="*/ 945537 h 1018453"/>
                  <a:gd name="connsiteX115" fmla="*/ 29644 w 1411781"/>
                  <a:gd name="connsiteY115" fmla="*/ 955714 h 1018453"/>
                  <a:gd name="connsiteX116" fmla="*/ 29227 w 1411781"/>
                  <a:gd name="connsiteY116" fmla="*/ 976069 h 1018453"/>
                  <a:gd name="connsiteX117" fmla="*/ 28810 w 1411781"/>
                  <a:gd name="connsiteY117" fmla="*/ 990250 h 1018453"/>
                  <a:gd name="connsiteX118" fmla="*/ 31897 w 1411781"/>
                  <a:gd name="connsiteY118" fmla="*/ 991168 h 1018453"/>
                  <a:gd name="connsiteX119" fmla="*/ 49583 w 1411781"/>
                  <a:gd name="connsiteY119" fmla="*/ 970813 h 1018453"/>
                  <a:gd name="connsiteX120" fmla="*/ 50918 w 1411781"/>
                  <a:gd name="connsiteY120" fmla="*/ 968144 h 1018453"/>
                  <a:gd name="connsiteX121" fmla="*/ 89878 w 1411781"/>
                  <a:gd name="connsiteY121" fmla="*/ 935360 h 1018453"/>
                  <a:gd name="connsiteX122" fmla="*/ 140852 w 1411781"/>
                  <a:gd name="connsiteY122" fmla="*/ 942033 h 1018453"/>
                  <a:gd name="connsiteX123" fmla="*/ 175391 w 1411781"/>
                  <a:gd name="connsiteY123" fmla="*/ 942951 h 1018453"/>
                  <a:gd name="connsiteX124" fmla="*/ 183400 w 1411781"/>
                  <a:gd name="connsiteY124" fmla="*/ 940698 h 1018453"/>
                  <a:gd name="connsiteX125" fmla="*/ 214435 w 1411781"/>
                  <a:gd name="connsiteY125" fmla="*/ 953545 h 1018453"/>
                  <a:gd name="connsiteX126" fmla="*/ 221109 w 1411781"/>
                  <a:gd name="connsiteY126" fmla="*/ 962388 h 1018453"/>
                  <a:gd name="connsiteX127" fmla="*/ 246387 w 1411781"/>
                  <a:gd name="connsiteY127" fmla="*/ 957967 h 1018453"/>
                  <a:gd name="connsiteX128" fmla="*/ 256565 w 1411781"/>
                  <a:gd name="connsiteY128" fmla="*/ 951293 h 1018453"/>
                  <a:gd name="connsiteX129" fmla="*/ 299530 w 1411781"/>
                  <a:gd name="connsiteY129" fmla="*/ 951293 h 1018453"/>
                  <a:gd name="connsiteX130" fmla="*/ 302617 w 1411781"/>
                  <a:gd name="connsiteY130" fmla="*/ 952628 h 1018453"/>
                  <a:gd name="connsiteX131" fmla="*/ 304869 w 1411781"/>
                  <a:gd name="connsiteY131" fmla="*/ 947789 h 1018453"/>
                  <a:gd name="connsiteX132" fmla="*/ 300031 w 1411781"/>
                  <a:gd name="connsiteY132" fmla="*/ 924348 h 1018453"/>
                  <a:gd name="connsiteX133" fmla="*/ 290687 w 1411781"/>
                  <a:gd name="connsiteY133" fmla="*/ 905745 h 1018453"/>
                  <a:gd name="connsiteX134" fmla="*/ 296026 w 1411781"/>
                  <a:gd name="connsiteY134" fmla="*/ 878300 h 1018453"/>
                  <a:gd name="connsiteX135" fmla="*/ 319469 w 1411781"/>
                  <a:gd name="connsiteY135" fmla="*/ 864536 h 1018453"/>
                  <a:gd name="connsiteX136" fmla="*/ 338490 w 1411781"/>
                  <a:gd name="connsiteY136" fmla="*/ 868957 h 1018453"/>
                  <a:gd name="connsiteX137" fmla="*/ 344664 w 1411781"/>
                  <a:gd name="connsiteY137" fmla="*/ 871626 h 1018453"/>
                  <a:gd name="connsiteX138" fmla="*/ 353090 w 1411781"/>
                  <a:gd name="connsiteY138" fmla="*/ 872043 h 1018453"/>
                  <a:gd name="connsiteX139" fmla="*/ 361099 w 1411781"/>
                  <a:gd name="connsiteY139" fmla="*/ 870709 h 1018453"/>
                  <a:gd name="connsiteX140" fmla="*/ 408068 w 1411781"/>
                  <a:gd name="connsiteY140" fmla="*/ 872961 h 1018453"/>
                  <a:gd name="connsiteX141" fmla="*/ 438603 w 1411781"/>
                  <a:gd name="connsiteY141" fmla="*/ 909750 h 1018453"/>
                  <a:gd name="connsiteX142" fmla="*/ 456289 w 1411781"/>
                  <a:gd name="connsiteY142" fmla="*/ 933191 h 1018453"/>
                  <a:gd name="connsiteX143" fmla="*/ 464715 w 1411781"/>
                  <a:gd name="connsiteY143" fmla="*/ 931439 h 1018453"/>
                  <a:gd name="connsiteX144" fmla="*/ 488158 w 1411781"/>
                  <a:gd name="connsiteY144" fmla="*/ 933691 h 1018453"/>
                  <a:gd name="connsiteX145" fmla="*/ 503258 w 1411781"/>
                  <a:gd name="connsiteY145" fmla="*/ 947873 h 1018453"/>
                  <a:gd name="connsiteX146" fmla="*/ 506762 w 1411781"/>
                  <a:gd name="connsiteY146" fmla="*/ 951877 h 1018453"/>
                  <a:gd name="connsiteX147" fmla="*/ 509015 w 1411781"/>
                  <a:gd name="connsiteY147" fmla="*/ 954546 h 1018453"/>
                  <a:gd name="connsiteX148" fmla="*/ 537797 w 1411781"/>
                  <a:gd name="connsiteY148" fmla="*/ 974484 h 1018453"/>
                  <a:gd name="connsiteX149" fmla="*/ 540467 w 1411781"/>
                  <a:gd name="connsiteY149" fmla="*/ 974484 h 1018453"/>
                  <a:gd name="connsiteX150" fmla="*/ 551562 w 1411781"/>
                  <a:gd name="connsiteY150" fmla="*/ 970980 h 1018453"/>
                  <a:gd name="connsiteX151" fmla="*/ 555067 w 1411781"/>
                  <a:gd name="connsiteY151" fmla="*/ 968728 h 1018453"/>
                  <a:gd name="connsiteX152" fmla="*/ 588270 w 1411781"/>
                  <a:gd name="connsiteY152" fmla="*/ 964724 h 1018453"/>
                  <a:gd name="connsiteX153" fmla="*/ 598031 w 1411781"/>
                  <a:gd name="connsiteY153" fmla="*/ 971397 h 1018453"/>
                  <a:gd name="connsiteX154" fmla="*/ 606457 w 1411781"/>
                  <a:gd name="connsiteY154" fmla="*/ 976236 h 1018453"/>
                  <a:gd name="connsiteX155" fmla="*/ 606875 w 1411781"/>
                  <a:gd name="connsiteY155" fmla="*/ 976236 h 1018453"/>
                  <a:gd name="connsiteX156" fmla="*/ 612214 w 1411781"/>
                  <a:gd name="connsiteY156" fmla="*/ 973149 h 1018453"/>
                  <a:gd name="connsiteX157" fmla="*/ 620640 w 1411781"/>
                  <a:gd name="connsiteY157" fmla="*/ 968311 h 1018453"/>
                  <a:gd name="connsiteX158" fmla="*/ 644583 w 1411781"/>
                  <a:gd name="connsiteY158" fmla="*/ 971814 h 1018453"/>
                  <a:gd name="connsiteX159" fmla="*/ 657431 w 1411781"/>
                  <a:gd name="connsiteY159" fmla="*/ 974067 h 1018453"/>
                  <a:gd name="connsiteX160" fmla="*/ 664105 w 1411781"/>
                  <a:gd name="connsiteY160" fmla="*/ 967894 h 1018453"/>
                  <a:gd name="connsiteX161" fmla="*/ 676953 w 1411781"/>
                  <a:gd name="connsiteY161" fmla="*/ 956799 h 1018453"/>
                  <a:gd name="connsiteX162" fmla="*/ 708822 w 1411781"/>
                  <a:gd name="connsiteY162" fmla="*/ 951043 h 1018453"/>
                  <a:gd name="connsiteX163" fmla="*/ 724757 w 1411781"/>
                  <a:gd name="connsiteY163" fmla="*/ 959885 h 1018453"/>
                  <a:gd name="connsiteX164" fmla="*/ 729178 w 1411781"/>
                  <a:gd name="connsiteY164" fmla="*/ 963889 h 1018453"/>
                  <a:gd name="connsiteX165" fmla="*/ 742026 w 1411781"/>
                  <a:gd name="connsiteY165" fmla="*/ 968311 h 1018453"/>
                  <a:gd name="connsiteX166" fmla="*/ 749117 w 1411781"/>
                  <a:gd name="connsiteY166" fmla="*/ 970563 h 1018453"/>
                  <a:gd name="connsiteX167" fmla="*/ 791164 w 1411781"/>
                  <a:gd name="connsiteY167" fmla="*/ 989166 h 1018453"/>
                  <a:gd name="connsiteX168" fmla="*/ 797338 w 1411781"/>
                  <a:gd name="connsiteY168" fmla="*/ 992252 h 1018453"/>
                  <a:gd name="connsiteX169" fmla="*/ 877094 w 1411781"/>
                  <a:gd name="connsiteY169" fmla="*/ 1018363 h 1018453"/>
                  <a:gd name="connsiteX170" fmla="*/ 891277 w 1411781"/>
                  <a:gd name="connsiteY170" fmla="*/ 1015694 h 1018453"/>
                  <a:gd name="connsiteX171" fmla="*/ 904124 w 1411781"/>
                  <a:gd name="connsiteY171" fmla="*/ 1009020 h 1018453"/>
                  <a:gd name="connsiteX172" fmla="*/ 924981 w 1411781"/>
                  <a:gd name="connsiteY172" fmla="*/ 983743 h 1018453"/>
                  <a:gd name="connsiteX173" fmla="*/ 932072 w 1411781"/>
                  <a:gd name="connsiteY173" fmla="*/ 971814 h 1018453"/>
                  <a:gd name="connsiteX174" fmla="*/ 932990 w 1411781"/>
                  <a:gd name="connsiteY174" fmla="*/ 970480 h 1018453"/>
                  <a:gd name="connsiteX175" fmla="*/ 950259 w 1411781"/>
                  <a:gd name="connsiteY175" fmla="*/ 943451 h 1018453"/>
                  <a:gd name="connsiteX176" fmla="*/ 966611 w 1411781"/>
                  <a:gd name="connsiteY176" fmla="*/ 918175 h 1018453"/>
                  <a:gd name="connsiteX177" fmla="*/ 973702 w 1411781"/>
                  <a:gd name="connsiteY177" fmla="*/ 894734 h 1018453"/>
                  <a:gd name="connsiteX178" fmla="*/ 980794 w 1411781"/>
                  <a:gd name="connsiteY178" fmla="*/ 870375 h 1018453"/>
                  <a:gd name="connsiteX179" fmla="*/ 987468 w 1411781"/>
                  <a:gd name="connsiteY179" fmla="*/ 858446 h 1018453"/>
                  <a:gd name="connsiteX180" fmla="*/ 993641 w 1411781"/>
                  <a:gd name="connsiteY180" fmla="*/ 836340 h 1018453"/>
                  <a:gd name="connsiteX181" fmla="*/ 1004737 w 1411781"/>
                  <a:gd name="connsiteY181" fmla="*/ 785370 h 1018453"/>
                  <a:gd name="connsiteX182" fmla="*/ 1075149 w 1411781"/>
                  <a:gd name="connsiteY182" fmla="*/ 699029 h 1018453"/>
                  <a:gd name="connsiteX183" fmla="*/ 1080489 w 1411781"/>
                  <a:gd name="connsiteY183" fmla="*/ 694191 h 1018453"/>
                  <a:gd name="connsiteX184" fmla="*/ 1101345 w 1411781"/>
                  <a:gd name="connsiteY184" fmla="*/ 665411 h 1018453"/>
                  <a:gd name="connsiteX185" fmla="*/ 1111941 w 1411781"/>
                  <a:gd name="connsiteY185" fmla="*/ 621532 h 1018453"/>
                  <a:gd name="connsiteX186" fmla="*/ 1114610 w 1411781"/>
                  <a:gd name="connsiteY186" fmla="*/ 608685 h 1018453"/>
                  <a:gd name="connsiteX187" fmla="*/ 1123954 w 1411781"/>
                  <a:gd name="connsiteY187" fmla="*/ 580739 h 1018453"/>
                  <a:gd name="connsiteX188" fmla="*/ 1167837 w 1411781"/>
                  <a:gd name="connsiteY188" fmla="*/ 545786 h 1018453"/>
                  <a:gd name="connsiteX189" fmla="*/ 1210801 w 1411781"/>
                  <a:gd name="connsiteY189" fmla="*/ 552876 h 1018453"/>
                  <a:gd name="connsiteX190" fmla="*/ 1236497 w 1411781"/>
                  <a:gd name="connsiteY190" fmla="*/ 563471 h 1018453"/>
                  <a:gd name="connsiteX191" fmla="*/ 1290558 w 1411781"/>
                  <a:gd name="connsiteY191" fmla="*/ 529769 h 1018453"/>
                  <a:gd name="connsiteX192" fmla="*/ 1312249 w 1411781"/>
                  <a:gd name="connsiteY192" fmla="*/ 511583 h 1018453"/>
                  <a:gd name="connsiteX193" fmla="*/ 1359218 w 1411781"/>
                  <a:gd name="connsiteY193" fmla="*/ 491646 h 1018453"/>
                  <a:gd name="connsiteX194" fmla="*/ 1373400 w 1411781"/>
                  <a:gd name="connsiteY194" fmla="*/ 488976 h 1018453"/>
                  <a:gd name="connsiteX195" fmla="*/ 1376904 w 1411781"/>
                  <a:gd name="connsiteY195" fmla="*/ 488059 h 1018453"/>
                  <a:gd name="connsiteX196" fmla="*/ 1410609 w 1411781"/>
                  <a:gd name="connsiteY196" fmla="*/ 480551 h 1018453"/>
                  <a:gd name="connsiteX197" fmla="*/ 1410442 w 1411781"/>
                  <a:gd name="connsiteY197" fmla="*/ 472543 h 10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</a:cxnLst>
                <a:rect l="l" t="t" r="r" b="b"/>
                <a:pathLst>
                  <a:path w="1411781" h="1018453" extrusionOk="0">
                    <a:moveTo>
                      <a:pt x="1410442" y="472543"/>
                    </a:moveTo>
                    <a:cubicBezTo>
                      <a:pt x="1410442" y="471625"/>
                      <a:pt x="1410859" y="470290"/>
                      <a:pt x="1411360" y="469456"/>
                    </a:cubicBezTo>
                    <a:cubicBezTo>
                      <a:pt x="1411860" y="468622"/>
                      <a:pt x="1411777" y="467204"/>
                      <a:pt x="1411777" y="466787"/>
                    </a:cubicBezTo>
                    <a:cubicBezTo>
                      <a:pt x="1411777" y="464117"/>
                      <a:pt x="1408690" y="461030"/>
                      <a:pt x="1405603" y="457443"/>
                    </a:cubicBezTo>
                    <a:cubicBezTo>
                      <a:pt x="1404268" y="456109"/>
                      <a:pt x="1402516" y="454357"/>
                      <a:pt x="1401181" y="452605"/>
                    </a:cubicBezTo>
                    <a:cubicBezTo>
                      <a:pt x="1389251" y="438007"/>
                      <a:pt x="1391421" y="418069"/>
                      <a:pt x="1395008" y="400300"/>
                    </a:cubicBezTo>
                    <a:cubicBezTo>
                      <a:pt x="1396343" y="393627"/>
                      <a:pt x="1397678" y="388371"/>
                      <a:pt x="1396343" y="383032"/>
                    </a:cubicBezTo>
                    <a:cubicBezTo>
                      <a:pt x="1395425" y="379529"/>
                      <a:pt x="1393256" y="375941"/>
                      <a:pt x="1391003" y="371937"/>
                    </a:cubicBezTo>
                    <a:cubicBezTo>
                      <a:pt x="1389669" y="369268"/>
                      <a:pt x="1387917" y="366599"/>
                      <a:pt x="1386582" y="363929"/>
                    </a:cubicBezTo>
                    <a:cubicBezTo>
                      <a:pt x="1377739" y="344409"/>
                      <a:pt x="1384830" y="319633"/>
                      <a:pt x="1402933" y="308121"/>
                    </a:cubicBezTo>
                    <a:cubicBezTo>
                      <a:pt x="1404268" y="307203"/>
                      <a:pt x="1405186" y="306786"/>
                      <a:pt x="1405603" y="306369"/>
                    </a:cubicBezTo>
                    <a:lnTo>
                      <a:pt x="1405603" y="306369"/>
                    </a:lnTo>
                    <a:cubicBezTo>
                      <a:pt x="1401598" y="301948"/>
                      <a:pt x="1398929" y="296609"/>
                      <a:pt x="1397594" y="290435"/>
                    </a:cubicBezTo>
                    <a:cubicBezTo>
                      <a:pt x="1389168" y="287766"/>
                      <a:pt x="1381659" y="283345"/>
                      <a:pt x="1374151" y="279341"/>
                    </a:cubicBezTo>
                    <a:cubicBezTo>
                      <a:pt x="1371065" y="277088"/>
                      <a:pt x="1367978" y="275337"/>
                      <a:pt x="1364808" y="274002"/>
                    </a:cubicBezTo>
                    <a:cubicBezTo>
                      <a:pt x="1325847" y="253647"/>
                      <a:pt x="1286386" y="233710"/>
                      <a:pt x="1247009" y="213772"/>
                    </a:cubicBezTo>
                    <a:cubicBezTo>
                      <a:pt x="1219978" y="200008"/>
                      <a:pt x="1192114" y="186744"/>
                      <a:pt x="1164166" y="172980"/>
                    </a:cubicBezTo>
                    <a:cubicBezTo>
                      <a:pt x="1118531" y="150873"/>
                      <a:pt x="1071562" y="128266"/>
                      <a:pt x="1026428" y="103907"/>
                    </a:cubicBezTo>
                    <a:lnTo>
                      <a:pt x="1008742" y="94147"/>
                    </a:lnTo>
                    <a:cubicBezTo>
                      <a:pt x="981294" y="79549"/>
                      <a:pt x="952512" y="64449"/>
                      <a:pt x="927234" y="43177"/>
                    </a:cubicBezTo>
                    <a:cubicBezTo>
                      <a:pt x="922395" y="39173"/>
                      <a:pt x="917890" y="35169"/>
                      <a:pt x="913468" y="31248"/>
                    </a:cubicBezTo>
                    <a:cubicBezTo>
                      <a:pt x="893529" y="13062"/>
                      <a:pt x="874925" y="-3705"/>
                      <a:pt x="849230" y="716"/>
                    </a:cubicBezTo>
                    <a:cubicBezTo>
                      <a:pt x="840386" y="2468"/>
                      <a:pt x="832377" y="6472"/>
                      <a:pt x="823951" y="10059"/>
                    </a:cubicBezTo>
                    <a:cubicBezTo>
                      <a:pt x="812855" y="15398"/>
                      <a:pt x="800925" y="20654"/>
                      <a:pt x="786743" y="21154"/>
                    </a:cubicBezTo>
                    <a:cubicBezTo>
                      <a:pt x="776148" y="21571"/>
                      <a:pt x="765469" y="21571"/>
                      <a:pt x="754874" y="21154"/>
                    </a:cubicBezTo>
                    <a:lnTo>
                      <a:pt x="738939" y="21154"/>
                    </a:lnTo>
                    <a:cubicBezTo>
                      <a:pt x="727844" y="21154"/>
                      <a:pt x="716330" y="21154"/>
                      <a:pt x="704818" y="20737"/>
                    </a:cubicBezTo>
                    <a:cubicBezTo>
                      <a:pt x="682209" y="20320"/>
                      <a:pt x="659183" y="19819"/>
                      <a:pt x="637075" y="21154"/>
                    </a:cubicBezTo>
                    <a:cubicBezTo>
                      <a:pt x="633571" y="21571"/>
                      <a:pt x="629984" y="22072"/>
                      <a:pt x="626897" y="22906"/>
                    </a:cubicBezTo>
                    <a:cubicBezTo>
                      <a:pt x="622058" y="24658"/>
                      <a:pt x="617553" y="26410"/>
                      <a:pt x="613632" y="29580"/>
                    </a:cubicBezTo>
                    <a:cubicBezTo>
                      <a:pt x="599867" y="38005"/>
                      <a:pt x="590189" y="53021"/>
                      <a:pt x="579510" y="70372"/>
                    </a:cubicBezTo>
                    <a:cubicBezTo>
                      <a:pt x="574672" y="77880"/>
                      <a:pt x="569332" y="85472"/>
                      <a:pt x="563993" y="92479"/>
                    </a:cubicBezTo>
                    <a:cubicBezTo>
                      <a:pt x="559989" y="98652"/>
                      <a:pt x="555567" y="104908"/>
                      <a:pt x="551562" y="111082"/>
                    </a:cubicBezTo>
                    <a:cubicBezTo>
                      <a:pt x="542719" y="124345"/>
                      <a:pt x="546724" y="128350"/>
                      <a:pt x="558654" y="140779"/>
                    </a:cubicBezTo>
                    <a:lnTo>
                      <a:pt x="563075" y="145201"/>
                    </a:lnTo>
                    <a:cubicBezTo>
                      <a:pt x="577258" y="160299"/>
                      <a:pt x="573671" y="171311"/>
                      <a:pt x="570167" y="182406"/>
                    </a:cubicBezTo>
                    <a:cubicBezTo>
                      <a:pt x="569249" y="186410"/>
                      <a:pt x="567914" y="190414"/>
                      <a:pt x="567080" y="195253"/>
                    </a:cubicBezTo>
                    <a:cubicBezTo>
                      <a:pt x="565745" y="202344"/>
                      <a:pt x="566663" y="209852"/>
                      <a:pt x="567998" y="215608"/>
                    </a:cubicBezTo>
                    <a:cubicBezTo>
                      <a:pt x="568415" y="218277"/>
                      <a:pt x="570250" y="222698"/>
                      <a:pt x="572419" y="226202"/>
                    </a:cubicBezTo>
                    <a:cubicBezTo>
                      <a:pt x="575089" y="231040"/>
                      <a:pt x="577759" y="236379"/>
                      <a:pt x="578176" y="241301"/>
                    </a:cubicBezTo>
                    <a:cubicBezTo>
                      <a:pt x="579510" y="255065"/>
                      <a:pt x="566246" y="276254"/>
                      <a:pt x="556485" y="283845"/>
                    </a:cubicBezTo>
                    <a:cubicBezTo>
                      <a:pt x="550311" y="288684"/>
                      <a:pt x="544054" y="290519"/>
                      <a:pt x="538798" y="289601"/>
                    </a:cubicBezTo>
                    <a:cubicBezTo>
                      <a:pt x="529454" y="287850"/>
                      <a:pt x="523698" y="279424"/>
                      <a:pt x="518859" y="271916"/>
                    </a:cubicBezTo>
                    <a:cubicBezTo>
                      <a:pt x="517942" y="270164"/>
                      <a:pt x="516607" y="267912"/>
                      <a:pt x="515355" y="266578"/>
                    </a:cubicBezTo>
                    <a:cubicBezTo>
                      <a:pt x="512686" y="263074"/>
                      <a:pt x="509599" y="259070"/>
                      <a:pt x="506512" y="258569"/>
                    </a:cubicBezTo>
                    <a:cubicBezTo>
                      <a:pt x="505177" y="258569"/>
                      <a:pt x="504760" y="258569"/>
                      <a:pt x="502091" y="261238"/>
                    </a:cubicBezTo>
                    <a:cubicBezTo>
                      <a:pt x="499838" y="263491"/>
                      <a:pt x="497252" y="266077"/>
                      <a:pt x="492747" y="267412"/>
                    </a:cubicBezTo>
                    <a:cubicBezTo>
                      <a:pt x="478981" y="271833"/>
                      <a:pt x="471890" y="262573"/>
                      <a:pt x="467051" y="256317"/>
                    </a:cubicBezTo>
                    <a:cubicBezTo>
                      <a:pt x="463047" y="251895"/>
                      <a:pt x="460878" y="249226"/>
                      <a:pt x="457707" y="248809"/>
                    </a:cubicBezTo>
                    <a:cubicBezTo>
                      <a:pt x="455955" y="248809"/>
                      <a:pt x="454621" y="249726"/>
                      <a:pt x="452368" y="251478"/>
                    </a:cubicBezTo>
                    <a:cubicBezTo>
                      <a:pt x="450116" y="252813"/>
                      <a:pt x="447029" y="254982"/>
                      <a:pt x="443942" y="255899"/>
                    </a:cubicBezTo>
                    <a:cubicBezTo>
                      <a:pt x="437768" y="257651"/>
                      <a:pt x="434181" y="257234"/>
                      <a:pt x="429759" y="255899"/>
                    </a:cubicBezTo>
                    <a:cubicBezTo>
                      <a:pt x="428842" y="255482"/>
                      <a:pt x="427507" y="255482"/>
                      <a:pt x="426255" y="254982"/>
                    </a:cubicBezTo>
                    <a:cubicBezTo>
                      <a:pt x="423169" y="254565"/>
                      <a:pt x="419581" y="254565"/>
                      <a:pt x="415160" y="254565"/>
                    </a:cubicBezTo>
                    <a:cubicBezTo>
                      <a:pt x="404064" y="254982"/>
                      <a:pt x="389047" y="254982"/>
                      <a:pt x="384625" y="239466"/>
                    </a:cubicBezTo>
                    <a:cubicBezTo>
                      <a:pt x="383291" y="235044"/>
                      <a:pt x="383708" y="231040"/>
                      <a:pt x="384208" y="227536"/>
                    </a:cubicBezTo>
                    <a:cubicBezTo>
                      <a:pt x="384625" y="225284"/>
                      <a:pt x="385126" y="222698"/>
                      <a:pt x="384208" y="220863"/>
                    </a:cubicBezTo>
                    <a:cubicBezTo>
                      <a:pt x="382873" y="216442"/>
                      <a:pt x="378452" y="213772"/>
                      <a:pt x="373113" y="210269"/>
                    </a:cubicBezTo>
                    <a:cubicBezTo>
                      <a:pt x="354091" y="197422"/>
                      <a:pt x="334569" y="186827"/>
                      <a:pt x="317717" y="177901"/>
                    </a:cubicBezTo>
                    <a:cubicBezTo>
                      <a:pt x="311043" y="174398"/>
                      <a:pt x="303952" y="172562"/>
                      <a:pt x="296026" y="170811"/>
                    </a:cubicBezTo>
                    <a:cubicBezTo>
                      <a:pt x="288017" y="169059"/>
                      <a:pt x="280092" y="166807"/>
                      <a:pt x="272083" y="162802"/>
                    </a:cubicBezTo>
                    <a:cubicBezTo>
                      <a:pt x="267244" y="160133"/>
                      <a:pt x="262739" y="156629"/>
                      <a:pt x="258317" y="153459"/>
                    </a:cubicBezTo>
                    <a:cubicBezTo>
                      <a:pt x="250308" y="147286"/>
                      <a:pt x="242800" y="141530"/>
                      <a:pt x="232622" y="142364"/>
                    </a:cubicBezTo>
                    <a:cubicBezTo>
                      <a:pt x="227783" y="142781"/>
                      <a:pt x="224196" y="144116"/>
                      <a:pt x="223278" y="146368"/>
                    </a:cubicBezTo>
                    <a:cubicBezTo>
                      <a:pt x="217521" y="157880"/>
                      <a:pt x="240130" y="190248"/>
                      <a:pt x="247222" y="200842"/>
                    </a:cubicBezTo>
                    <a:lnTo>
                      <a:pt x="250308" y="205263"/>
                    </a:lnTo>
                    <a:cubicBezTo>
                      <a:pt x="261821" y="223449"/>
                      <a:pt x="264908" y="235795"/>
                      <a:pt x="262238" y="257067"/>
                    </a:cubicBezTo>
                    <a:cubicBezTo>
                      <a:pt x="259986" y="276087"/>
                      <a:pt x="254229" y="284096"/>
                      <a:pt x="245887" y="296525"/>
                    </a:cubicBezTo>
                    <a:lnTo>
                      <a:pt x="241465" y="302698"/>
                    </a:lnTo>
                    <a:cubicBezTo>
                      <a:pt x="235291" y="312042"/>
                      <a:pt x="238795" y="323971"/>
                      <a:pt x="242800" y="336400"/>
                    </a:cubicBezTo>
                    <a:cubicBezTo>
                      <a:pt x="247639" y="352751"/>
                      <a:pt x="254730" y="375858"/>
                      <a:pt x="226865" y="387787"/>
                    </a:cubicBezTo>
                    <a:cubicBezTo>
                      <a:pt x="222861" y="389539"/>
                      <a:pt x="218439" y="390874"/>
                      <a:pt x="214018" y="392208"/>
                    </a:cubicBezTo>
                    <a:cubicBezTo>
                      <a:pt x="205591" y="394461"/>
                      <a:pt x="198500" y="396213"/>
                      <a:pt x="194496" y="402386"/>
                    </a:cubicBezTo>
                    <a:cubicBezTo>
                      <a:pt x="190992" y="407224"/>
                      <a:pt x="189156" y="412146"/>
                      <a:pt x="187404" y="416985"/>
                    </a:cubicBezTo>
                    <a:cubicBezTo>
                      <a:pt x="184735" y="424993"/>
                      <a:pt x="181648" y="432918"/>
                      <a:pt x="172805" y="441343"/>
                    </a:cubicBezTo>
                    <a:cubicBezTo>
                      <a:pt x="163461" y="449769"/>
                      <a:pt x="160374" y="459529"/>
                      <a:pt x="162627" y="472376"/>
                    </a:cubicBezTo>
                    <a:cubicBezTo>
                      <a:pt x="163962" y="479884"/>
                      <a:pt x="166130" y="480801"/>
                      <a:pt x="175892" y="482136"/>
                    </a:cubicBezTo>
                    <a:cubicBezTo>
                      <a:pt x="181231" y="482553"/>
                      <a:pt x="187404" y="483471"/>
                      <a:pt x="193578" y="486557"/>
                    </a:cubicBezTo>
                    <a:cubicBezTo>
                      <a:pt x="196665" y="488309"/>
                      <a:pt x="198917" y="489644"/>
                      <a:pt x="201587" y="490979"/>
                    </a:cubicBezTo>
                    <a:cubicBezTo>
                      <a:pt x="210931" y="496735"/>
                      <a:pt x="213100" y="497652"/>
                      <a:pt x="222444" y="490562"/>
                    </a:cubicBezTo>
                    <a:cubicBezTo>
                      <a:pt x="226865" y="487475"/>
                      <a:pt x="229952" y="483888"/>
                      <a:pt x="233039" y="479466"/>
                    </a:cubicBezTo>
                    <a:cubicBezTo>
                      <a:pt x="238378" y="472376"/>
                      <a:pt x="244552" y="463950"/>
                      <a:pt x="256482" y="460447"/>
                    </a:cubicBezTo>
                    <a:cubicBezTo>
                      <a:pt x="275503" y="454274"/>
                      <a:pt x="299029" y="457360"/>
                      <a:pt x="314964" y="468455"/>
                    </a:cubicBezTo>
                    <a:cubicBezTo>
                      <a:pt x="326477" y="476463"/>
                      <a:pt x="333151" y="487975"/>
                      <a:pt x="333568" y="501656"/>
                    </a:cubicBezTo>
                    <a:cubicBezTo>
                      <a:pt x="334486" y="523346"/>
                      <a:pt x="322055" y="535775"/>
                      <a:pt x="310125" y="545536"/>
                    </a:cubicBezTo>
                    <a:cubicBezTo>
                      <a:pt x="305704" y="549540"/>
                      <a:pt x="301699" y="554378"/>
                      <a:pt x="297695" y="559300"/>
                    </a:cubicBezTo>
                    <a:cubicBezTo>
                      <a:pt x="294191" y="563721"/>
                      <a:pt x="290186" y="569060"/>
                      <a:pt x="284847" y="573482"/>
                    </a:cubicBezTo>
                    <a:cubicBezTo>
                      <a:pt x="277338" y="580155"/>
                      <a:pt x="268913" y="582824"/>
                      <a:pt x="261404" y="584993"/>
                    </a:cubicBezTo>
                    <a:cubicBezTo>
                      <a:pt x="255648" y="586745"/>
                      <a:pt x="249891" y="588497"/>
                      <a:pt x="245469" y="591667"/>
                    </a:cubicBezTo>
                    <a:cubicBezTo>
                      <a:pt x="236126" y="597840"/>
                      <a:pt x="218439" y="616944"/>
                      <a:pt x="215769" y="624869"/>
                    </a:cubicBezTo>
                    <a:cubicBezTo>
                      <a:pt x="214018" y="630207"/>
                      <a:pt x="216187" y="634211"/>
                      <a:pt x="219774" y="641219"/>
                    </a:cubicBezTo>
                    <a:cubicBezTo>
                      <a:pt x="223278" y="647892"/>
                      <a:pt x="227282" y="654983"/>
                      <a:pt x="225948" y="664243"/>
                    </a:cubicBezTo>
                    <a:cubicBezTo>
                      <a:pt x="224613" y="674837"/>
                      <a:pt x="212683" y="684180"/>
                      <a:pt x="202922" y="693941"/>
                    </a:cubicBezTo>
                    <a:cubicBezTo>
                      <a:pt x="199835" y="696193"/>
                      <a:pt x="197583" y="697945"/>
                      <a:pt x="195413" y="700114"/>
                    </a:cubicBezTo>
                    <a:cubicBezTo>
                      <a:pt x="179896" y="714712"/>
                      <a:pt x="168383" y="711626"/>
                      <a:pt x="153783" y="708122"/>
                    </a:cubicBezTo>
                    <a:lnTo>
                      <a:pt x="147109" y="706370"/>
                    </a:lnTo>
                    <a:cubicBezTo>
                      <a:pt x="126753" y="701532"/>
                      <a:pt x="112153" y="703284"/>
                      <a:pt x="101892" y="711209"/>
                    </a:cubicBezTo>
                    <a:cubicBezTo>
                      <a:pt x="100974" y="711626"/>
                      <a:pt x="100557" y="712126"/>
                      <a:pt x="100140" y="712960"/>
                    </a:cubicBezTo>
                    <a:cubicBezTo>
                      <a:pt x="96636" y="716464"/>
                      <a:pt x="94383" y="720468"/>
                      <a:pt x="92131" y="724890"/>
                    </a:cubicBezTo>
                    <a:cubicBezTo>
                      <a:pt x="90796" y="727976"/>
                      <a:pt x="89461" y="731980"/>
                      <a:pt x="88126" y="735484"/>
                    </a:cubicBezTo>
                    <a:cubicBezTo>
                      <a:pt x="86792" y="739488"/>
                      <a:pt x="85457" y="743492"/>
                      <a:pt x="84122" y="746996"/>
                    </a:cubicBezTo>
                    <a:cubicBezTo>
                      <a:pt x="81035" y="754087"/>
                      <a:pt x="77448" y="760260"/>
                      <a:pt x="73944" y="766016"/>
                    </a:cubicBezTo>
                    <a:cubicBezTo>
                      <a:pt x="69522" y="774024"/>
                      <a:pt x="65518" y="781532"/>
                      <a:pt x="62848" y="791293"/>
                    </a:cubicBezTo>
                    <a:cubicBezTo>
                      <a:pt x="58844" y="807643"/>
                      <a:pt x="52253" y="810312"/>
                      <a:pt x="42492" y="812982"/>
                    </a:cubicBezTo>
                    <a:cubicBezTo>
                      <a:pt x="39405" y="813899"/>
                      <a:pt x="35818" y="814733"/>
                      <a:pt x="31396" y="817403"/>
                    </a:cubicBezTo>
                    <a:cubicBezTo>
                      <a:pt x="25640" y="821407"/>
                      <a:pt x="22052" y="829332"/>
                      <a:pt x="18966" y="837758"/>
                    </a:cubicBezTo>
                    <a:cubicBezTo>
                      <a:pt x="17214" y="842179"/>
                      <a:pt x="15879" y="846600"/>
                      <a:pt x="13626" y="850187"/>
                    </a:cubicBezTo>
                    <a:cubicBezTo>
                      <a:pt x="12291" y="852857"/>
                      <a:pt x="10539" y="855526"/>
                      <a:pt x="8788" y="858196"/>
                    </a:cubicBezTo>
                    <a:cubicBezTo>
                      <a:pt x="2113" y="867956"/>
                      <a:pt x="-2308" y="875464"/>
                      <a:pt x="1279" y="881220"/>
                    </a:cubicBezTo>
                    <a:cubicBezTo>
                      <a:pt x="1696" y="882137"/>
                      <a:pt x="3949" y="883472"/>
                      <a:pt x="6118" y="884306"/>
                    </a:cubicBezTo>
                    <a:cubicBezTo>
                      <a:pt x="8788" y="886058"/>
                      <a:pt x="12792" y="887810"/>
                      <a:pt x="15462" y="890980"/>
                    </a:cubicBezTo>
                    <a:cubicBezTo>
                      <a:pt x="22970" y="900323"/>
                      <a:pt x="22970" y="911335"/>
                      <a:pt x="21635" y="922012"/>
                    </a:cubicBezTo>
                    <a:cubicBezTo>
                      <a:pt x="21218" y="924682"/>
                      <a:pt x="20718" y="927351"/>
                      <a:pt x="19883" y="930438"/>
                    </a:cubicBezTo>
                    <a:cubicBezTo>
                      <a:pt x="18548" y="933942"/>
                      <a:pt x="17631" y="937946"/>
                      <a:pt x="18131" y="940198"/>
                    </a:cubicBezTo>
                    <a:cubicBezTo>
                      <a:pt x="18548" y="941533"/>
                      <a:pt x="20801" y="943284"/>
                      <a:pt x="22553" y="945537"/>
                    </a:cubicBezTo>
                    <a:cubicBezTo>
                      <a:pt x="25223" y="948623"/>
                      <a:pt x="28309" y="951293"/>
                      <a:pt x="29644" y="955714"/>
                    </a:cubicBezTo>
                    <a:cubicBezTo>
                      <a:pt x="31897" y="961887"/>
                      <a:pt x="30562" y="968978"/>
                      <a:pt x="29227" y="976069"/>
                    </a:cubicBezTo>
                    <a:cubicBezTo>
                      <a:pt x="28309" y="980907"/>
                      <a:pt x="26558" y="988916"/>
                      <a:pt x="28810" y="990250"/>
                    </a:cubicBezTo>
                    <a:cubicBezTo>
                      <a:pt x="30145" y="991585"/>
                      <a:pt x="31063" y="991585"/>
                      <a:pt x="31897" y="991168"/>
                    </a:cubicBezTo>
                    <a:cubicBezTo>
                      <a:pt x="38571" y="989833"/>
                      <a:pt x="46496" y="976569"/>
                      <a:pt x="49583" y="970813"/>
                    </a:cubicBezTo>
                    <a:lnTo>
                      <a:pt x="50918" y="968144"/>
                    </a:lnTo>
                    <a:cubicBezTo>
                      <a:pt x="58009" y="956632"/>
                      <a:pt x="69939" y="940698"/>
                      <a:pt x="89878" y="935360"/>
                    </a:cubicBezTo>
                    <a:cubicBezTo>
                      <a:pt x="104478" y="931355"/>
                      <a:pt x="121747" y="933608"/>
                      <a:pt x="140852" y="942033"/>
                    </a:cubicBezTo>
                    <a:cubicBezTo>
                      <a:pt x="155035" y="948206"/>
                      <a:pt x="161208" y="946455"/>
                      <a:pt x="175391" y="942951"/>
                    </a:cubicBezTo>
                    <a:lnTo>
                      <a:pt x="183400" y="940698"/>
                    </a:lnTo>
                    <a:cubicBezTo>
                      <a:pt x="202004" y="935860"/>
                      <a:pt x="208678" y="945120"/>
                      <a:pt x="214435" y="953545"/>
                    </a:cubicBezTo>
                    <a:cubicBezTo>
                      <a:pt x="216187" y="956215"/>
                      <a:pt x="218439" y="959301"/>
                      <a:pt x="221109" y="962388"/>
                    </a:cubicBezTo>
                    <a:cubicBezTo>
                      <a:pt x="227783" y="969061"/>
                      <a:pt x="232622" y="967226"/>
                      <a:pt x="246387" y="957967"/>
                    </a:cubicBezTo>
                    <a:cubicBezTo>
                      <a:pt x="249891" y="955714"/>
                      <a:pt x="253479" y="953128"/>
                      <a:pt x="256565" y="951293"/>
                    </a:cubicBezTo>
                    <a:cubicBezTo>
                      <a:pt x="276087" y="941115"/>
                      <a:pt x="284930" y="944619"/>
                      <a:pt x="299530" y="951293"/>
                    </a:cubicBezTo>
                    <a:lnTo>
                      <a:pt x="302617" y="952628"/>
                    </a:lnTo>
                    <a:cubicBezTo>
                      <a:pt x="303535" y="950876"/>
                      <a:pt x="303952" y="949541"/>
                      <a:pt x="304869" y="947789"/>
                    </a:cubicBezTo>
                    <a:cubicBezTo>
                      <a:pt x="308874" y="938029"/>
                      <a:pt x="305286" y="932690"/>
                      <a:pt x="300031" y="924348"/>
                    </a:cubicBezTo>
                    <a:cubicBezTo>
                      <a:pt x="296527" y="919510"/>
                      <a:pt x="292939" y="913754"/>
                      <a:pt x="290687" y="905745"/>
                    </a:cubicBezTo>
                    <a:cubicBezTo>
                      <a:pt x="288017" y="896402"/>
                      <a:pt x="290270" y="886225"/>
                      <a:pt x="296026" y="878300"/>
                    </a:cubicBezTo>
                    <a:cubicBezTo>
                      <a:pt x="301365" y="870792"/>
                      <a:pt x="309792" y="865453"/>
                      <a:pt x="319469" y="864536"/>
                    </a:cubicBezTo>
                    <a:cubicBezTo>
                      <a:pt x="327478" y="863618"/>
                      <a:pt x="333234" y="866288"/>
                      <a:pt x="338490" y="868957"/>
                    </a:cubicBezTo>
                    <a:cubicBezTo>
                      <a:pt x="340242" y="869874"/>
                      <a:pt x="342495" y="870709"/>
                      <a:pt x="344664" y="871626"/>
                    </a:cubicBezTo>
                    <a:cubicBezTo>
                      <a:pt x="349086" y="872961"/>
                      <a:pt x="350420" y="872961"/>
                      <a:pt x="353090" y="872043"/>
                    </a:cubicBezTo>
                    <a:cubicBezTo>
                      <a:pt x="354842" y="871626"/>
                      <a:pt x="357512" y="870709"/>
                      <a:pt x="361099" y="870709"/>
                    </a:cubicBezTo>
                    <a:cubicBezTo>
                      <a:pt x="372195" y="870292"/>
                      <a:pt x="387712" y="870709"/>
                      <a:pt x="408068" y="872961"/>
                    </a:cubicBezTo>
                    <a:cubicBezTo>
                      <a:pt x="432846" y="875213"/>
                      <a:pt x="436016" y="895068"/>
                      <a:pt x="438603" y="909750"/>
                    </a:cubicBezTo>
                    <a:cubicBezTo>
                      <a:pt x="441272" y="927017"/>
                      <a:pt x="443441" y="933191"/>
                      <a:pt x="456289" y="933191"/>
                    </a:cubicBezTo>
                    <a:cubicBezTo>
                      <a:pt x="459793" y="933191"/>
                      <a:pt x="462046" y="932273"/>
                      <a:pt x="464715" y="931439"/>
                    </a:cubicBezTo>
                    <a:cubicBezTo>
                      <a:pt x="470054" y="930104"/>
                      <a:pt x="477146" y="927435"/>
                      <a:pt x="488158" y="933691"/>
                    </a:cubicBezTo>
                    <a:cubicBezTo>
                      <a:pt x="494832" y="937195"/>
                      <a:pt x="499254" y="943034"/>
                      <a:pt x="503258" y="947873"/>
                    </a:cubicBezTo>
                    <a:cubicBezTo>
                      <a:pt x="504176" y="949207"/>
                      <a:pt x="505511" y="950542"/>
                      <a:pt x="506762" y="951877"/>
                    </a:cubicBezTo>
                    <a:lnTo>
                      <a:pt x="509015" y="954546"/>
                    </a:lnTo>
                    <a:cubicBezTo>
                      <a:pt x="517858" y="964307"/>
                      <a:pt x="526284" y="974067"/>
                      <a:pt x="537797" y="974484"/>
                    </a:cubicBezTo>
                    <a:lnTo>
                      <a:pt x="540467" y="974484"/>
                    </a:lnTo>
                    <a:cubicBezTo>
                      <a:pt x="544471" y="974067"/>
                      <a:pt x="547975" y="972732"/>
                      <a:pt x="551562" y="970980"/>
                    </a:cubicBezTo>
                    <a:cubicBezTo>
                      <a:pt x="552897" y="970063"/>
                      <a:pt x="553815" y="969645"/>
                      <a:pt x="555067" y="968728"/>
                    </a:cubicBezTo>
                    <a:cubicBezTo>
                      <a:pt x="563075" y="963889"/>
                      <a:pt x="573253" y="958134"/>
                      <a:pt x="588270" y="964724"/>
                    </a:cubicBezTo>
                    <a:cubicBezTo>
                      <a:pt x="592275" y="966476"/>
                      <a:pt x="595362" y="969145"/>
                      <a:pt x="598031" y="971397"/>
                    </a:cubicBezTo>
                    <a:cubicBezTo>
                      <a:pt x="601535" y="974067"/>
                      <a:pt x="603788" y="976236"/>
                      <a:pt x="606457" y="976236"/>
                    </a:cubicBezTo>
                    <a:cubicBezTo>
                      <a:pt x="606875" y="976236"/>
                      <a:pt x="606875" y="976236"/>
                      <a:pt x="606875" y="976236"/>
                    </a:cubicBezTo>
                    <a:cubicBezTo>
                      <a:pt x="608209" y="976236"/>
                      <a:pt x="609544" y="974901"/>
                      <a:pt x="612214" y="973149"/>
                    </a:cubicBezTo>
                    <a:cubicBezTo>
                      <a:pt x="614466" y="971397"/>
                      <a:pt x="617053" y="969145"/>
                      <a:pt x="620640" y="968311"/>
                    </a:cubicBezTo>
                    <a:cubicBezTo>
                      <a:pt x="630401" y="965224"/>
                      <a:pt x="638326" y="968728"/>
                      <a:pt x="644583" y="971814"/>
                    </a:cubicBezTo>
                    <a:cubicBezTo>
                      <a:pt x="650340" y="974484"/>
                      <a:pt x="653927" y="975818"/>
                      <a:pt x="657431" y="974067"/>
                    </a:cubicBezTo>
                    <a:cubicBezTo>
                      <a:pt x="659183" y="973149"/>
                      <a:pt x="661853" y="970563"/>
                      <a:pt x="664105" y="967894"/>
                    </a:cubicBezTo>
                    <a:cubicBezTo>
                      <a:pt x="667609" y="963889"/>
                      <a:pt x="671614" y="959468"/>
                      <a:pt x="676953" y="956799"/>
                    </a:cubicBezTo>
                    <a:cubicBezTo>
                      <a:pt x="683127" y="953712"/>
                      <a:pt x="695974" y="948373"/>
                      <a:pt x="708822" y="951043"/>
                    </a:cubicBezTo>
                    <a:cubicBezTo>
                      <a:pt x="716831" y="952377"/>
                      <a:pt x="721253" y="956799"/>
                      <a:pt x="724757" y="959885"/>
                    </a:cubicBezTo>
                    <a:cubicBezTo>
                      <a:pt x="726092" y="961220"/>
                      <a:pt x="727426" y="962555"/>
                      <a:pt x="729178" y="963889"/>
                    </a:cubicBezTo>
                    <a:cubicBezTo>
                      <a:pt x="732265" y="965641"/>
                      <a:pt x="737187" y="966976"/>
                      <a:pt x="742026" y="968311"/>
                    </a:cubicBezTo>
                    <a:cubicBezTo>
                      <a:pt x="744278" y="969228"/>
                      <a:pt x="746865" y="969645"/>
                      <a:pt x="749117" y="970563"/>
                    </a:cubicBezTo>
                    <a:cubicBezTo>
                      <a:pt x="763717" y="974984"/>
                      <a:pt x="776565" y="981658"/>
                      <a:pt x="791164" y="989166"/>
                    </a:cubicBezTo>
                    <a:lnTo>
                      <a:pt x="797338" y="992252"/>
                    </a:lnTo>
                    <a:cubicBezTo>
                      <a:pt x="822616" y="1006017"/>
                      <a:pt x="848312" y="1019698"/>
                      <a:pt x="877094" y="1018363"/>
                    </a:cubicBezTo>
                    <a:cubicBezTo>
                      <a:pt x="882433" y="1018363"/>
                      <a:pt x="886855" y="1017445"/>
                      <a:pt x="891277" y="1015694"/>
                    </a:cubicBezTo>
                    <a:cubicBezTo>
                      <a:pt x="895698" y="1014359"/>
                      <a:pt x="900120" y="1011689"/>
                      <a:pt x="904124" y="1009020"/>
                    </a:cubicBezTo>
                    <a:cubicBezTo>
                      <a:pt x="912133" y="1002346"/>
                      <a:pt x="918724" y="993921"/>
                      <a:pt x="924981" y="983743"/>
                    </a:cubicBezTo>
                    <a:cubicBezTo>
                      <a:pt x="927234" y="980240"/>
                      <a:pt x="929820" y="976236"/>
                      <a:pt x="932072" y="971814"/>
                    </a:cubicBezTo>
                    <a:cubicBezTo>
                      <a:pt x="932489" y="971397"/>
                      <a:pt x="932489" y="970897"/>
                      <a:pt x="932990" y="970480"/>
                    </a:cubicBezTo>
                    <a:cubicBezTo>
                      <a:pt x="938329" y="960719"/>
                      <a:pt x="944503" y="951877"/>
                      <a:pt x="950259" y="943451"/>
                    </a:cubicBezTo>
                    <a:cubicBezTo>
                      <a:pt x="956016" y="935443"/>
                      <a:pt x="961772" y="927101"/>
                      <a:pt x="966611" y="918175"/>
                    </a:cubicBezTo>
                    <a:cubicBezTo>
                      <a:pt x="971033" y="911084"/>
                      <a:pt x="972367" y="903076"/>
                      <a:pt x="973702" y="894734"/>
                    </a:cubicBezTo>
                    <a:cubicBezTo>
                      <a:pt x="975454" y="886726"/>
                      <a:pt x="976789" y="878801"/>
                      <a:pt x="980794" y="870375"/>
                    </a:cubicBezTo>
                    <a:cubicBezTo>
                      <a:pt x="983046" y="865537"/>
                      <a:pt x="985215" y="861949"/>
                      <a:pt x="987468" y="858446"/>
                    </a:cubicBezTo>
                    <a:cubicBezTo>
                      <a:pt x="992807" y="850938"/>
                      <a:pt x="994976" y="846934"/>
                      <a:pt x="993641" y="836340"/>
                    </a:cubicBezTo>
                    <a:cubicBezTo>
                      <a:pt x="990555" y="814650"/>
                      <a:pt x="994559" y="802637"/>
                      <a:pt x="1004737" y="785370"/>
                    </a:cubicBezTo>
                    <a:cubicBezTo>
                      <a:pt x="1023341" y="754337"/>
                      <a:pt x="1049037" y="722471"/>
                      <a:pt x="1075149" y="699029"/>
                    </a:cubicBezTo>
                    <a:lnTo>
                      <a:pt x="1080489" y="694191"/>
                    </a:lnTo>
                    <a:cubicBezTo>
                      <a:pt x="1091084" y="684848"/>
                      <a:pt x="1098676" y="678258"/>
                      <a:pt x="1101345" y="665411"/>
                    </a:cubicBezTo>
                    <a:cubicBezTo>
                      <a:pt x="1104849" y="647726"/>
                      <a:pt x="1108019" y="635296"/>
                      <a:pt x="1111941" y="621532"/>
                    </a:cubicBezTo>
                    <a:cubicBezTo>
                      <a:pt x="1113276" y="617527"/>
                      <a:pt x="1113693" y="613106"/>
                      <a:pt x="1114610" y="608685"/>
                    </a:cubicBezTo>
                    <a:cubicBezTo>
                      <a:pt x="1115945" y="598925"/>
                      <a:pt x="1117280" y="589164"/>
                      <a:pt x="1123954" y="580739"/>
                    </a:cubicBezTo>
                    <a:cubicBezTo>
                      <a:pt x="1131462" y="569644"/>
                      <a:pt x="1146563" y="558132"/>
                      <a:pt x="1167837" y="545786"/>
                    </a:cubicBezTo>
                    <a:cubicBezTo>
                      <a:pt x="1189111" y="532939"/>
                      <a:pt x="1201040" y="544034"/>
                      <a:pt x="1210801" y="552876"/>
                    </a:cubicBezTo>
                    <a:cubicBezTo>
                      <a:pt x="1218310" y="559967"/>
                      <a:pt x="1224567" y="565723"/>
                      <a:pt x="1236497" y="563471"/>
                    </a:cubicBezTo>
                    <a:cubicBezTo>
                      <a:pt x="1256853" y="559967"/>
                      <a:pt x="1274122" y="544451"/>
                      <a:pt x="1290558" y="529769"/>
                    </a:cubicBezTo>
                    <a:cubicBezTo>
                      <a:pt x="1297649" y="523596"/>
                      <a:pt x="1305157" y="516922"/>
                      <a:pt x="1312249" y="511583"/>
                    </a:cubicBezTo>
                    <a:cubicBezTo>
                      <a:pt x="1327349" y="500071"/>
                      <a:pt x="1343283" y="495233"/>
                      <a:pt x="1359218" y="491646"/>
                    </a:cubicBezTo>
                    <a:cubicBezTo>
                      <a:pt x="1363639" y="490311"/>
                      <a:pt x="1368562" y="489894"/>
                      <a:pt x="1373400" y="488976"/>
                    </a:cubicBezTo>
                    <a:cubicBezTo>
                      <a:pt x="1374735" y="488559"/>
                      <a:pt x="1375653" y="488559"/>
                      <a:pt x="1376904" y="488059"/>
                    </a:cubicBezTo>
                    <a:cubicBezTo>
                      <a:pt x="1388000" y="486307"/>
                      <a:pt x="1399013" y="484055"/>
                      <a:pt x="1410609" y="480551"/>
                    </a:cubicBezTo>
                    <a:cubicBezTo>
                      <a:pt x="1410025" y="477798"/>
                      <a:pt x="1410025" y="475212"/>
                      <a:pt x="1410442" y="47254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33311220" name="Полилиния 409"/>
              <p:cNvSpPr/>
              <p:nvPr/>
            </p:nvSpPr>
            <p:spPr bwMode="auto">
              <a:xfrm>
                <a:off x="5640921" y="4663324"/>
                <a:ext cx="1333928" cy="1439096"/>
              </a:xfrm>
              <a:custGeom>
                <a:avLst/>
                <a:gdLst>
                  <a:gd name="connsiteX0" fmla="*/ 391188 w 1498046"/>
                  <a:gd name="connsiteY0" fmla="*/ 131091 h 1616153"/>
                  <a:gd name="connsiteX1" fmla="*/ 344636 w 1498046"/>
                  <a:gd name="connsiteY1" fmla="*/ 115992 h 1616153"/>
                  <a:gd name="connsiteX2" fmla="*/ 316271 w 1498046"/>
                  <a:gd name="connsiteY2" fmla="*/ 67274 h 1616153"/>
                  <a:gd name="connsiteX3" fmla="*/ 315854 w 1498046"/>
                  <a:gd name="connsiteY3" fmla="*/ 65523 h 1616153"/>
                  <a:gd name="connsiteX4" fmla="*/ 306093 w 1498046"/>
                  <a:gd name="connsiteY4" fmla="*/ 44250 h 1616153"/>
                  <a:gd name="connsiteX5" fmla="*/ 289241 w 1498046"/>
                  <a:gd name="connsiteY5" fmla="*/ 39829 h 1616153"/>
                  <a:gd name="connsiteX6" fmla="*/ 283902 w 1498046"/>
                  <a:gd name="connsiteY6" fmla="*/ 46002 h 1616153"/>
                  <a:gd name="connsiteX7" fmla="*/ 273306 w 1498046"/>
                  <a:gd name="connsiteY7" fmla="*/ 57097 h 1616153"/>
                  <a:gd name="connsiteX8" fmla="*/ 240520 w 1498046"/>
                  <a:gd name="connsiteY8" fmla="*/ 44250 h 1616153"/>
                  <a:gd name="connsiteX9" fmla="*/ 239185 w 1498046"/>
                  <a:gd name="connsiteY9" fmla="*/ 41998 h 1616153"/>
                  <a:gd name="connsiteX10" fmla="*/ 229007 w 1498046"/>
                  <a:gd name="connsiteY10" fmla="*/ 31404 h 1616153"/>
                  <a:gd name="connsiteX11" fmla="*/ 229007 w 1498046"/>
                  <a:gd name="connsiteY11" fmla="*/ 31821 h 1616153"/>
                  <a:gd name="connsiteX12" fmla="*/ 228590 w 1498046"/>
                  <a:gd name="connsiteY12" fmla="*/ 32738 h 1616153"/>
                  <a:gd name="connsiteX13" fmla="*/ 227672 w 1498046"/>
                  <a:gd name="connsiteY13" fmla="*/ 34490 h 1616153"/>
                  <a:gd name="connsiteX14" fmla="*/ 217494 w 1498046"/>
                  <a:gd name="connsiteY14" fmla="*/ 42498 h 1616153"/>
                  <a:gd name="connsiteX15" fmla="*/ 194051 w 1498046"/>
                  <a:gd name="connsiteY15" fmla="*/ 37660 h 1616153"/>
                  <a:gd name="connsiteX16" fmla="*/ 175447 w 1498046"/>
                  <a:gd name="connsiteY16" fmla="*/ 21310 h 1616153"/>
                  <a:gd name="connsiteX17" fmla="*/ 171442 w 1498046"/>
                  <a:gd name="connsiteY17" fmla="*/ 15554 h 1616153"/>
                  <a:gd name="connsiteX18" fmla="*/ 166604 w 1498046"/>
                  <a:gd name="connsiteY18" fmla="*/ 8463 h 1616153"/>
                  <a:gd name="connsiteX19" fmla="*/ 146247 w 1498046"/>
                  <a:gd name="connsiteY19" fmla="*/ 37 h 1616153"/>
                  <a:gd name="connsiteX20" fmla="*/ 126725 w 1498046"/>
                  <a:gd name="connsiteY20" fmla="*/ 9798 h 1616153"/>
                  <a:gd name="connsiteX21" fmla="*/ 129812 w 1498046"/>
                  <a:gd name="connsiteY21" fmla="*/ 17806 h 1616153"/>
                  <a:gd name="connsiteX22" fmla="*/ 122721 w 1498046"/>
                  <a:gd name="connsiteY22" fmla="*/ 36409 h 1616153"/>
                  <a:gd name="connsiteX23" fmla="*/ 116047 w 1498046"/>
                  <a:gd name="connsiteY23" fmla="*/ 43082 h 1616153"/>
                  <a:gd name="connsiteX24" fmla="*/ 107203 w 1498046"/>
                  <a:gd name="connsiteY24" fmla="*/ 53260 h 1616153"/>
                  <a:gd name="connsiteX25" fmla="*/ 104534 w 1498046"/>
                  <a:gd name="connsiteY25" fmla="*/ 59433 h 1616153"/>
                  <a:gd name="connsiteX26" fmla="*/ 87265 w 1498046"/>
                  <a:gd name="connsiteY26" fmla="*/ 76284 h 1616153"/>
                  <a:gd name="connsiteX27" fmla="*/ 73082 w 1498046"/>
                  <a:gd name="connsiteY27" fmla="*/ 78953 h 1616153"/>
                  <a:gd name="connsiteX28" fmla="*/ 60651 w 1498046"/>
                  <a:gd name="connsiteY28" fmla="*/ 81623 h 1616153"/>
                  <a:gd name="connsiteX29" fmla="*/ 40295 w 1498046"/>
                  <a:gd name="connsiteY29" fmla="*/ 94887 h 1616153"/>
                  <a:gd name="connsiteX30" fmla="*/ 27864 w 1498046"/>
                  <a:gd name="connsiteY30" fmla="*/ 104230 h 1616153"/>
                  <a:gd name="connsiteX31" fmla="*/ 23443 w 1498046"/>
                  <a:gd name="connsiteY31" fmla="*/ 106899 h 1616153"/>
                  <a:gd name="connsiteX32" fmla="*/ 0 w 1498046"/>
                  <a:gd name="connsiteY32" fmla="*/ 121081 h 1616153"/>
                  <a:gd name="connsiteX33" fmla="*/ 27948 w 1498046"/>
                  <a:gd name="connsiteY33" fmla="*/ 194574 h 1616153"/>
                  <a:gd name="connsiteX34" fmla="*/ 16852 w 1498046"/>
                  <a:gd name="connsiteY34" fmla="*/ 229527 h 1616153"/>
                  <a:gd name="connsiteX35" fmla="*/ 12431 w 1498046"/>
                  <a:gd name="connsiteY35" fmla="*/ 267650 h 1616153"/>
                  <a:gd name="connsiteX36" fmla="*/ 85095 w 1498046"/>
                  <a:gd name="connsiteY36" fmla="*/ 274741 h 1616153"/>
                  <a:gd name="connsiteX37" fmla="*/ 106786 w 1498046"/>
                  <a:gd name="connsiteY37" fmla="*/ 272072 h 1616153"/>
                  <a:gd name="connsiteX38" fmla="*/ 206481 w 1498046"/>
                  <a:gd name="connsiteY38" fmla="*/ 293344 h 1616153"/>
                  <a:gd name="connsiteX39" fmla="*/ 216243 w 1498046"/>
                  <a:gd name="connsiteY39" fmla="*/ 307108 h 1616153"/>
                  <a:gd name="connsiteX40" fmla="*/ 225586 w 1498046"/>
                  <a:gd name="connsiteY40" fmla="*/ 318620 h 1616153"/>
                  <a:gd name="connsiteX41" fmla="*/ 234930 w 1498046"/>
                  <a:gd name="connsiteY41" fmla="*/ 322625 h 1616153"/>
                  <a:gd name="connsiteX42" fmla="*/ 256621 w 1498046"/>
                  <a:gd name="connsiteY42" fmla="*/ 339893 h 1616153"/>
                  <a:gd name="connsiteX43" fmla="*/ 263712 w 1498046"/>
                  <a:gd name="connsiteY43" fmla="*/ 364251 h 1616153"/>
                  <a:gd name="connsiteX44" fmla="*/ 288990 w 1498046"/>
                  <a:gd name="connsiteY44" fmla="*/ 388193 h 1616153"/>
                  <a:gd name="connsiteX45" fmla="*/ 294330 w 1498046"/>
                  <a:gd name="connsiteY45" fmla="*/ 387776 h 1616153"/>
                  <a:gd name="connsiteX46" fmla="*/ 332456 w 1498046"/>
                  <a:gd name="connsiteY46" fmla="*/ 397119 h 1616153"/>
                  <a:gd name="connsiteX47" fmla="*/ 340882 w 1498046"/>
                  <a:gd name="connsiteY47" fmla="*/ 440081 h 1616153"/>
                  <a:gd name="connsiteX48" fmla="*/ 320943 w 1498046"/>
                  <a:gd name="connsiteY48" fmla="*/ 459601 h 1616153"/>
                  <a:gd name="connsiteX49" fmla="*/ 310348 w 1498046"/>
                  <a:gd name="connsiteY49" fmla="*/ 466692 h 1616153"/>
                  <a:gd name="connsiteX50" fmla="*/ 282900 w 1498046"/>
                  <a:gd name="connsiteY50" fmla="*/ 502145 h 1616153"/>
                  <a:gd name="connsiteX51" fmla="*/ 283818 w 1498046"/>
                  <a:gd name="connsiteY51" fmla="*/ 567714 h 1616153"/>
                  <a:gd name="connsiteX52" fmla="*/ 309514 w 1498046"/>
                  <a:gd name="connsiteY52" fmla="*/ 590321 h 1616153"/>
                  <a:gd name="connsiteX53" fmla="*/ 324113 w 1498046"/>
                  <a:gd name="connsiteY53" fmla="*/ 596077 h 1616153"/>
                  <a:gd name="connsiteX54" fmla="*/ 353313 w 1498046"/>
                  <a:gd name="connsiteY54" fmla="*/ 605837 h 1616153"/>
                  <a:gd name="connsiteX55" fmla="*/ 363908 w 1498046"/>
                  <a:gd name="connsiteY55" fmla="*/ 605837 h 1616153"/>
                  <a:gd name="connsiteX56" fmla="*/ 396695 w 1498046"/>
                  <a:gd name="connsiteY56" fmla="*/ 616932 h 1616153"/>
                  <a:gd name="connsiteX57" fmla="*/ 395360 w 1498046"/>
                  <a:gd name="connsiteY57" fmla="*/ 650634 h 1616153"/>
                  <a:gd name="connsiteX58" fmla="*/ 363908 w 1498046"/>
                  <a:gd name="connsiteY58" fmla="*/ 696265 h 1616153"/>
                  <a:gd name="connsiteX59" fmla="*/ 347056 w 1498046"/>
                  <a:gd name="connsiteY59" fmla="*/ 717537 h 1616153"/>
                  <a:gd name="connsiteX60" fmla="*/ 339547 w 1498046"/>
                  <a:gd name="connsiteY60" fmla="*/ 726880 h 1616153"/>
                  <a:gd name="connsiteX61" fmla="*/ 324030 w 1498046"/>
                  <a:gd name="connsiteY61" fmla="*/ 752991 h 1616153"/>
                  <a:gd name="connsiteX62" fmla="*/ 326700 w 1498046"/>
                  <a:gd name="connsiteY62" fmla="*/ 757412 h 1616153"/>
                  <a:gd name="connsiteX63" fmla="*/ 332039 w 1498046"/>
                  <a:gd name="connsiteY63" fmla="*/ 767590 h 1616153"/>
                  <a:gd name="connsiteX64" fmla="*/ 329369 w 1498046"/>
                  <a:gd name="connsiteY64" fmla="*/ 782689 h 1616153"/>
                  <a:gd name="connsiteX65" fmla="*/ 327117 w 1498046"/>
                  <a:gd name="connsiteY65" fmla="*/ 786192 h 1616153"/>
                  <a:gd name="connsiteX66" fmla="*/ 325782 w 1498046"/>
                  <a:gd name="connsiteY66" fmla="*/ 791531 h 1616153"/>
                  <a:gd name="connsiteX67" fmla="*/ 326199 w 1498046"/>
                  <a:gd name="connsiteY67" fmla="*/ 805295 h 1616153"/>
                  <a:gd name="connsiteX68" fmla="*/ 326199 w 1498046"/>
                  <a:gd name="connsiteY68" fmla="*/ 805713 h 1616153"/>
                  <a:gd name="connsiteX69" fmla="*/ 326616 w 1498046"/>
                  <a:gd name="connsiteY69" fmla="*/ 823398 h 1616153"/>
                  <a:gd name="connsiteX70" fmla="*/ 323947 w 1498046"/>
                  <a:gd name="connsiteY70" fmla="*/ 836245 h 1616153"/>
                  <a:gd name="connsiteX71" fmla="*/ 324864 w 1498046"/>
                  <a:gd name="connsiteY71" fmla="*/ 858351 h 1616153"/>
                  <a:gd name="connsiteX72" fmla="*/ 339047 w 1498046"/>
                  <a:gd name="connsiteY72" fmla="*/ 868528 h 1616153"/>
                  <a:gd name="connsiteX73" fmla="*/ 354981 w 1498046"/>
                  <a:gd name="connsiteY73" fmla="*/ 879623 h 1616153"/>
                  <a:gd name="connsiteX74" fmla="*/ 361655 w 1498046"/>
                  <a:gd name="connsiteY74" fmla="*/ 891135 h 1616153"/>
                  <a:gd name="connsiteX75" fmla="*/ 364325 w 1498046"/>
                  <a:gd name="connsiteY75" fmla="*/ 896891 h 1616153"/>
                  <a:gd name="connsiteX76" fmla="*/ 369664 w 1498046"/>
                  <a:gd name="connsiteY76" fmla="*/ 903064 h 1616153"/>
                  <a:gd name="connsiteX77" fmla="*/ 375421 w 1498046"/>
                  <a:gd name="connsiteY77" fmla="*/ 909237 h 1616153"/>
                  <a:gd name="connsiteX78" fmla="*/ 388686 w 1498046"/>
                  <a:gd name="connsiteY78" fmla="*/ 956203 h 1616153"/>
                  <a:gd name="connsiteX79" fmla="*/ 367829 w 1498046"/>
                  <a:gd name="connsiteY79" fmla="*/ 985901 h 1616153"/>
                  <a:gd name="connsiteX80" fmla="*/ 327033 w 1498046"/>
                  <a:gd name="connsiteY80" fmla="*/ 1015599 h 1616153"/>
                  <a:gd name="connsiteX81" fmla="*/ 358068 w 1498046"/>
                  <a:gd name="connsiteY81" fmla="*/ 1056391 h 1616153"/>
                  <a:gd name="connsiteX82" fmla="*/ 370916 w 1498046"/>
                  <a:gd name="connsiteY82" fmla="*/ 1073242 h 1616153"/>
                  <a:gd name="connsiteX83" fmla="*/ 419637 w 1498046"/>
                  <a:gd name="connsiteY83" fmla="*/ 1080333 h 1616153"/>
                  <a:gd name="connsiteX84" fmla="*/ 434737 w 1498046"/>
                  <a:gd name="connsiteY84" fmla="*/ 1075912 h 1616153"/>
                  <a:gd name="connsiteX85" fmla="*/ 463937 w 1498046"/>
                  <a:gd name="connsiteY85" fmla="*/ 1075912 h 1616153"/>
                  <a:gd name="connsiteX86" fmla="*/ 480288 w 1498046"/>
                  <a:gd name="connsiteY86" fmla="*/ 1077246 h 1616153"/>
                  <a:gd name="connsiteX87" fmla="*/ 494471 w 1498046"/>
                  <a:gd name="connsiteY87" fmla="*/ 1074160 h 1616153"/>
                  <a:gd name="connsiteX88" fmla="*/ 525506 w 1498046"/>
                  <a:gd name="connsiteY88" fmla="*/ 1072825 h 1616153"/>
                  <a:gd name="connsiteX89" fmla="*/ 540105 w 1498046"/>
                  <a:gd name="connsiteY89" fmla="*/ 1122460 h 1616153"/>
                  <a:gd name="connsiteX90" fmla="*/ 538354 w 1498046"/>
                  <a:gd name="connsiteY90" fmla="*/ 1137977 h 1616153"/>
                  <a:gd name="connsiteX91" fmla="*/ 551201 w 1498046"/>
                  <a:gd name="connsiteY91" fmla="*/ 1160083 h 1616153"/>
                  <a:gd name="connsiteX92" fmla="*/ 575562 w 1498046"/>
                  <a:gd name="connsiteY92" fmla="*/ 1197706 h 1616153"/>
                  <a:gd name="connsiteX93" fmla="*/ 578231 w 1498046"/>
                  <a:gd name="connsiteY93" fmla="*/ 1203045 h 1616153"/>
                  <a:gd name="connsiteX94" fmla="*/ 599088 w 1498046"/>
                  <a:gd name="connsiteY94" fmla="*/ 1239333 h 1616153"/>
                  <a:gd name="connsiteX95" fmla="*/ 627036 w 1498046"/>
                  <a:gd name="connsiteY95" fmla="*/ 1293806 h 1616153"/>
                  <a:gd name="connsiteX96" fmla="*/ 627453 w 1498046"/>
                  <a:gd name="connsiteY96" fmla="*/ 1384651 h 1616153"/>
                  <a:gd name="connsiteX97" fmla="*/ 608849 w 1498046"/>
                  <a:gd name="connsiteY97" fmla="*/ 1403254 h 1616153"/>
                  <a:gd name="connsiteX98" fmla="*/ 598671 w 1498046"/>
                  <a:gd name="connsiteY98" fmla="*/ 1411262 h 1616153"/>
                  <a:gd name="connsiteX99" fmla="*/ 588076 w 1498046"/>
                  <a:gd name="connsiteY99" fmla="*/ 1437373 h 1616153"/>
                  <a:gd name="connsiteX100" fmla="*/ 583237 w 1498046"/>
                  <a:gd name="connsiteY100" fmla="*/ 1455058 h 1616153"/>
                  <a:gd name="connsiteX101" fmla="*/ 553537 w 1498046"/>
                  <a:gd name="connsiteY101" fmla="*/ 1492263 h 1616153"/>
                  <a:gd name="connsiteX102" fmla="*/ 541107 w 1498046"/>
                  <a:gd name="connsiteY102" fmla="*/ 1497102 h 1616153"/>
                  <a:gd name="connsiteX103" fmla="*/ 520750 w 1498046"/>
                  <a:gd name="connsiteY103" fmla="*/ 1511701 h 1616153"/>
                  <a:gd name="connsiteX104" fmla="*/ 513242 w 1498046"/>
                  <a:gd name="connsiteY104" fmla="*/ 1525465 h 1616153"/>
                  <a:gd name="connsiteX105" fmla="*/ 497307 w 1498046"/>
                  <a:gd name="connsiteY105" fmla="*/ 1550741 h 1616153"/>
                  <a:gd name="connsiteX106" fmla="*/ 494220 w 1498046"/>
                  <a:gd name="connsiteY106" fmla="*/ 1553828 h 1616153"/>
                  <a:gd name="connsiteX107" fmla="*/ 515911 w 1498046"/>
                  <a:gd name="connsiteY107" fmla="*/ 1574683 h 1616153"/>
                  <a:gd name="connsiteX108" fmla="*/ 557959 w 1498046"/>
                  <a:gd name="connsiteY108" fmla="*/ 1591034 h 1616153"/>
                  <a:gd name="connsiteX109" fmla="*/ 573476 w 1498046"/>
                  <a:gd name="connsiteY109" fmla="*/ 1591951 h 1616153"/>
                  <a:gd name="connsiteX110" fmla="*/ 624867 w 1498046"/>
                  <a:gd name="connsiteY110" fmla="*/ 1604381 h 1616153"/>
                  <a:gd name="connsiteX111" fmla="*/ 708627 w 1498046"/>
                  <a:gd name="connsiteY111" fmla="*/ 1610554 h 1616153"/>
                  <a:gd name="connsiteX112" fmla="*/ 740080 w 1498046"/>
                  <a:gd name="connsiteY112" fmla="*/ 1586612 h 1616153"/>
                  <a:gd name="connsiteX113" fmla="*/ 753845 w 1498046"/>
                  <a:gd name="connsiteY113" fmla="*/ 1573348 h 1616153"/>
                  <a:gd name="connsiteX114" fmla="*/ 771114 w 1498046"/>
                  <a:gd name="connsiteY114" fmla="*/ 1560502 h 1616153"/>
                  <a:gd name="connsiteX115" fmla="*/ 798562 w 1498046"/>
                  <a:gd name="connsiteY115" fmla="*/ 1534808 h 1616153"/>
                  <a:gd name="connsiteX116" fmla="*/ 802566 w 1498046"/>
                  <a:gd name="connsiteY116" fmla="*/ 1522879 h 1616153"/>
                  <a:gd name="connsiteX117" fmla="*/ 809240 w 1498046"/>
                  <a:gd name="connsiteY117" fmla="*/ 1504693 h 1616153"/>
                  <a:gd name="connsiteX118" fmla="*/ 819836 w 1498046"/>
                  <a:gd name="connsiteY118" fmla="*/ 1492263 h 1616153"/>
                  <a:gd name="connsiteX119" fmla="*/ 827344 w 1498046"/>
                  <a:gd name="connsiteY119" fmla="*/ 1484255 h 1616153"/>
                  <a:gd name="connsiteX120" fmla="*/ 835770 w 1498046"/>
                  <a:gd name="connsiteY120" fmla="*/ 1464735 h 1616153"/>
                  <a:gd name="connsiteX121" fmla="*/ 856627 w 1498046"/>
                  <a:gd name="connsiteY121" fmla="*/ 1431951 h 1616153"/>
                  <a:gd name="connsiteX122" fmla="*/ 865971 w 1498046"/>
                  <a:gd name="connsiteY122" fmla="*/ 1427112 h 1616153"/>
                  <a:gd name="connsiteX123" fmla="*/ 878401 w 1498046"/>
                  <a:gd name="connsiteY123" fmla="*/ 1417352 h 1616153"/>
                  <a:gd name="connsiteX124" fmla="*/ 883240 w 1498046"/>
                  <a:gd name="connsiteY124" fmla="*/ 1399667 h 1616153"/>
                  <a:gd name="connsiteX125" fmla="*/ 884158 w 1498046"/>
                  <a:gd name="connsiteY125" fmla="*/ 1393911 h 1616153"/>
                  <a:gd name="connsiteX126" fmla="*/ 906266 w 1498046"/>
                  <a:gd name="connsiteY126" fmla="*/ 1350949 h 1616153"/>
                  <a:gd name="connsiteX127" fmla="*/ 941222 w 1498046"/>
                  <a:gd name="connsiteY127" fmla="*/ 1342106 h 1616153"/>
                  <a:gd name="connsiteX128" fmla="*/ 949648 w 1498046"/>
                  <a:gd name="connsiteY128" fmla="*/ 1341189 h 1616153"/>
                  <a:gd name="connsiteX129" fmla="*/ 987273 w 1498046"/>
                  <a:gd name="connsiteY129" fmla="*/ 1327425 h 1616153"/>
                  <a:gd name="connsiteX130" fmla="*/ 1023564 w 1498046"/>
                  <a:gd name="connsiteY130" fmla="*/ 1317664 h 1616153"/>
                  <a:gd name="connsiteX131" fmla="*/ 1044838 w 1498046"/>
                  <a:gd name="connsiteY131" fmla="*/ 1313243 h 1616153"/>
                  <a:gd name="connsiteX132" fmla="*/ 1055433 w 1498046"/>
                  <a:gd name="connsiteY132" fmla="*/ 1310991 h 1616153"/>
                  <a:gd name="connsiteX133" fmla="*/ 1066529 w 1498046"/>
                  <a:gd name="connsiteY133" fmla="*/ 1308321 h 1616153"/>
                  <a:gd name="connsiteX134" fmla="*/ 1076290 w 1498046"/>
                  <a:gd name="connsiteY134" fmla="*/ 1299896 h 1616153"/>
                  <a:gd name="connsiteX135" fmla="*/ 1079377 w 1498046"/>
                  <a:gd name="connsiteY135" fmla="*/ 1296809 h 1616153"/>
                  <a:gd name="connsiteX136" fmla="*/ 1070533 w 1498046"/>
                  <a:gd name="connsiteY136" fmla="*/ 1290636 h 1616153"/>
                  <a:gd name="connsiteX137" fmla="*/ 1050177 w 1498046"/>
                  <a:gd name="connsiteY137" fmla="*/ 1276038 h 1616153"/>
                  <a:gd name="connsiteX138" fmla="*/ 1025816 w 1498046"/>
                  <a:gd name="connsiteY138" fmla="*/ 1249927 h 1616153"/>
                  <a:gd name="connsiteX139" fmla="*/ 1011634 w 1498046"/>
                  <a:gd name="connsiteY139" fmla="*/ 1233577 h 1616153"/>
                  <a:gd name="connsiteX140" fmla="*/ 998786 w 1498046"/>
                  <a:gd name="connsiteY140" fmla="*/ 1224233 h 1616153"/>
                  <a:gd name="connsiteX141" fmla="*/ 980599 w 1498046"/>
                  <a:gd name="connsiteY141" fmla="*/ 1210052 h 1616153"/>
                  <a:gd name="connsiteX142" fmla="*/ 985021 w 1498046"/>
                  <a:gd name="connsiteY142" fmla="*/ 1179019 h 1616153"/>
                  <a:gd name="connsiteX143" fmla="*/ 991695 w 1498046"/>
                  <a:gd name="connsiteY143" fmla="*/ 1171929 h 1616153"/>
                  <a:gd name="connsiteX144" fmla="*/ 997868 w 1498046"/>
                  <a:gd name="connsiteY144" fmla="*/ 1162169 h 1616153"/>
                  <a:gd name="connsiteX145" fmla="*/ 1028903 w 1498046"/>
                  <a:gd name="connsiteY145" fmla="*/ 1143149 h 1616153"/>
                  <a:gd name="connsiteX146" fmla="*/ 1052346 w 1498046"/>
                  <a:gd name="connsiteY146" fmla="*/ 1130719 h 1616153"/>
                  <a:gd name="connsiteX147" fmla="*/ 1062107 w 1498046"/>
                  <a:gd name="connsiteY147" fmla="*/ 1097518 h 1616153"/>
                  <a:gd name="connsiteX148" fmla="*/ 1060772 w 1498046"/>
                  <a:gd name="connsiteY148" fmla="*/ 1072742 h 1616153"/>
                  <a:gd name="connsiteX149" fmla="*/ 1058520 w 1498046"/>
                  <a:gd name="connsiteY149" fmla="*/ 1048800 h 1616153"/>
                  <a:gd name="connsiteX150" fmla="*/ 1066028 w 1498046"/>
                  <a:gd name="connsiteY150" fmla="*/ 1024024 h 1616153"/>
                  <a:gd name="connsiteX151" fmla="*/ 1072703 w 1498046"/>
                  <a:gd name="connsiteY151" fmla="*/ 1000583 h 1616153"/>
                  <a:gd name="connsiteX152" fmla="*/ 1065611 w 1498046"/>
                  <a:gd name="connsiteY152" fmla="*/ 980646 h 1616153"/>
                  <a:gd name="connsiteX153" fmla="*/ 1057185 w 1498046"/>
                  <a:gd name="connsiteY153" fmla="*/ 958539 h 1616153"/>
                  <a:gd name="connsiteX154" fmla="*/ 1063859 w 1498046"/>
                  <a:gd name="connsiteY154" fmla="*/ 927089 h 1616153"/>
                  <a:gd name="connsiteX155" fmla="*/ 1066946 w 1498046"/>
                  <a:gd name="connsiteY155" fmla="*/ 917329 h 1616153"/>
                  <a:gd name="connsiteX156" fmla="*/ 1098398 w 1498046"/>
                  <a:gd name="connsiteY156" fmla="*/ 882376 h 1616153"/>
                  <a:gd name="connsiteX157" fmla="*/ 1105489 w 1498046"/>
                  <a:gd name="connsiteY157" fmla="*/ 880124 h 1616153"/>
                  <a:gd name="connsiteX158" fmla="*/ 1120089 w 1498046"/>
                  <a:gd name="connsiteY158" fmla="*/ 867277 h 1616153"/>
                  <a:gd name="connsiteX159" fmla="*/ 1121424 w 1498046"/>
                  <a:gd name="connsiteY159" fmla="*/ 859269 h 1616153"/>
                  <a:gd name="connsiteX160" fmla="*/ 1124927 w 1498046"/>
                  <a:gd name="connsiteY160" fmla="*/ 843752 h 1616153"/>
                  <a:gd name="connsiteX161" fmla="*/ 1132936 w 1498046"/>
                  <a:gd name="connsiteY161" fmla="*/ 834910 h 1616153"/>
                  <a:gd name="connsiteX162" fmla="*/ 1136441 w 1498046"/>
                  <a:gd name="connsiteY162" fmla="*/ 831823 h 1616153"/>
                  <a:gd name="connsiteX163" fmla="*/ 1138193 w 1498046"/>
                  <a:gd name="connsiteY163" fmla="*/ 810551 h 1616153"/>
                  <a:gd name="connsiteX164" fmla="*/ 1135106 w 1498046"/>
                  <a:gd name="connsiteY164" fmla="*/ 800791 h 1616153"/>
                  <a:gd name="connsiteX165" fmla="*/ 1120506 w 1498046"/>
                  <a:gd name="connsiteY165" fmla="*/ 776015 h 1616153"/>
                  <a:gd name="connsiteX166" fmla="*/ 1097480 w 1498046"/>
                  <a:gd name="connsiteY166" fmla="*/ 743648 h 1616153"/>
                  <a:gd name="connsiteX167" fmla="*/ 1105906 w 1498046"/>
                  <a:gd name="connsiteY167" fmla="*/ 663481 h 1616153"/>
                  <a:gd name="connsiteX168" fmla="*/ 1110328 w 1498046"/>
                  <a:gd name="connsiteY168" fmla="*/ 647965 h 1616153"/>
                  <a:gd name="connsiteX169" fmla="*/ 1171897 w 1498046"/>
                  <a:gd name="connsiteY169" fmla="*/ 594325 h 1616153"/>
                  <a:gd name="connsiteX170" fmla="*/ 1194005 w 1498046"/>
                  <a:gd name="connsiteY170" fmla="*/ 596077 h 1616153"/>
                  <a:gd name="connsiteX171" fmla="*/ 1248483 w 1498046"/>
                  <a:gd name="connsiteY171" fmla="*/ 589904 h 1616153"/>
                  <a:gd name="connsiteX172" fmla="*/ 1262248 w 1498046"/>
                  <a:gd name="connsiteY172" fmla="*/ 568215 h 1616153"/>
                  <a:gd name="connsiteX173" fmla="*/ 1291031 w 1498046"/>
                  <a:gd name="connsiteY173" fmla="*/ 535847 h 1616153"/>
                  <a:gd name="connsiteX174" fmla="*/ 1318979 w 1498046"/>
                  <a:gd name="connsiteY174" fmla="*/ 548277 h 1616153"/>
                  <a:gd name="connsiteX175" fmla="*/ 1322065 w 1498046"/>
                  <a:gd name="connsiteY175" fmla="*/ 551781 h 1616153"/>
                  <a:gd name="connsiteX176" fmla="*/ 1333161 w 1498046"/>
                  <a:gd name="connsiteY176" fmla="*/ 565545 h 1616153"/>
                  <a:gd name="connsiteX177" fmla="*/ 1350847 w 1498046"/>
                  <a:gd name="connsiteY177" fmla="*/ 587234 h 1616153"/>
                  <a:gd name="connsiteX178" fmla="*/ 1357521 w 1498046"/>
                  <a:gd name="connsiteY178" fmla="*/ 597412 h 1616153"/>
                  <a:gd name="connsiteX179" fmla="*/ 1380965 w 1498046"/>
                  <a:gd name="connsiteY179" fmla="*/ 624857 h 1616153"/>
                  <a:gd name="connsiteX180" fmla="*/ 1388973 w 1498046"/>
                  <a:gd name="connsiteY180" fmla="*/ 626192 h 1616153"/>
                  <a:gd name="connsiteX181" fmla="*/ 1387639 w 1498046"/>
                  <a:gd name="connsiteY181" fmla="*/ 595159 h 1616153"/>
                  <a:gd name="connsiteX182" fmla="*/ 1389892 w 1498046"/>
                  <a:gd name="connsiteY182" fmla="*/ 553115 h 1616153"/>
                  <a:gd name="connsiteX183" fmla="*/ 1397400 w 1498046"/>
                  <a:gd name="connsiteY183" fmla="*/ 532761 h 1616153"/>
                  <a:gd name="connsiteX184" fmla="*/ 1404074 w 1498046"/>
                  <a:gd name="connsiteY184" fmla="*/ 514158 h 1616153"/>
                  <a:gd name="connsiteX185" fmla="*/ 1454130 w 1498046"/>
                  <a:gd name="connsiteY185" fmla="*/ 449924 h 1616153"/>
                  <a:gd name="connsiteX186" fmla="*/ 1479408 w 1498046"/>
                  <a:gd name="connsiteY186" fmla="*/ 421144 h 1616153"/>
                  <a:gd name="connsiteX187" fmla="*/ 1486500 w 1498046"/>
                  <a:gd name="connsiteY187" fmla="*/ 410049 h 1616153"/>
                  <a:gd name="connsiteX188" fmla="*/ 1498012 w 1498046"/>
                  <a:gd name="connsiteY188" fmla="*/ 387025 h 1616153"/>
                  <a:gd name="connsiteX189" fmla="*/ 1491338 w 1498046"/>
                  <a:gd name="connsiteY189" fmla="*/ 365336 h 1616153"/>
                  <a:gd name="connsiteX190" fmla="*/ 1488668 w 1498046"/>
                  <a:gd name="connsiteY190" fmla="*/ 329048 h 1616153"/>
                  <a:gd name="connsiteX191" fmla="*/ 1488668 w 1498046"/>
                  <a:gd name="connsiteY191" fmla="*/ 328631 h 1616153"/>
                  <a:gd name="connsiteX192" fmla="*/ 1478490 w 1498046"/>
                  <a:gd name="connsiteY192" fmla="*/ 303354 h 1616153"/>
                  <a:gd name="connsiteX193" fmla="*/ 1462973 w 1498046"/>
                  <a:gd name="connsiteY193" fmla="*/ 274157 h 1616153"/>
                  <a:gd name="connsiteX194" fmla="*/ 1384552 w 1498046"/>
                  <a:gd name="connsiteY194" fmla="*/ 267484 h 1616153"/>
                  <a:gd name="connsiteX195" fmla="*/ 1360191 w 1498046"/>
                  <a:gd name="connsiteY195" fmla="*/ 270987 h 1616153"/>
                  <a:gd name="connsiteX196" fmla="*/ 1298622 w 1498046"/>
                  <a:gd name="connsiteY196" fmla="*/ 260810 h 1616153"/>
                  <a:gd name="connsiteX197" fmla="*/ 1278266 w 1498046"/>
                  <a:gd name="connsiteY197" fmla="*/ 246629 h 1616153"/>
                  <a:gd name="connsiteX198" fmla="*/ 1239723 w 1498046"/>
                  <a:gd name="connsiteY198" fmla="*/ 230278 h 1616153"/>
                  <a:gd name="connsiteX199" fmla="*/ 1208688 w 1498046"/>
                  <a:gd name="connsiteY199" fmla="*/ 254220 h 1616153"/>
                  <a:gd name="connsiteX200" fmla="*/ 1196758 w 1498046"/>
                  <a:gd name="connsiteY200" fmla="*/ 267484 h 1616153"/>
                  <a:gd name="connsiteX201" fmla="*/ 1129433 w 1498046"/>
                  <a:gd name="connsiteY201" fmla="*/ 300268 h 1616153"/>
                  <a:gd name="connsiteX202" fmla="*/ 1126763 w 1498046"/>
                  <a:gd name="connsiteY202" fmla="*/ 301185 h 1616153"/>
                  <a:gd name="connsiteX203" fmla="*/ 1105489 w 1498046"/>
                  <a:gd name="connsiteY203" fmla="*/ 306524 h 1616153"/>
                  <a:gd name="connsiteX204" fmla="*/ 1063859 w 1498046"/>
                  <a:gd name="connsiteY204" fmla="*/ 320289 h 1616153"/>
                  <a:gd name="connsiteX205" fmla="*/ 1047925 w 1498046"/>
                  <a:gd name="connsiteY205" fmla="*/ 329131 h 1616153"/>
                  <a:gd name="connsiteX206" fmla="*/ 995616 w 1498046"/>
                  <a:gd name="connsiteY206" fmla="*/ 346400 h 1616153"/>
                  <a:gd name="connsiteX207" fmla="*/ 985021 w 1498046"/>
                  <a:gd name="connsiteY207" fmla="*/ 346400 h 1616153"/>
                  <a:gd name="connsiteX208" fmla="*/ 893335 w 1498046"/>
                  <a:gd name="connsiteY208" fmla="*/ 336639 h 1616153"/>
                  <a:gd name="connsiteX209" fmla="*/ 859630 w 1498046"/>
                  <a:gd name="connsiteY209" fmla="*/ 305189 h 1616153"/>
                  <a:gd name="connsiteX210" fmla="*/ 856543 w 1498046"/>
                  <a:gd name="connsiteY210" fmla="*/ 289256 h 1616153"/>
                  <a:gd name="connsiteX211" fmla="*/ 853457 w 1498046"/>
                  <a:gd name="connsiteY211" fmla="*/ 273740 h 1616153"/>
                  <a:gd name="connsiteX212" fmla="*/ 849452 w 1498046"/>
                  <a:gd name="connsiteY212" fmla="*/ 264397 h 1616153"/>
                  <a:gd name="connsiteX213" fmla="*/ 841026 w 1498046"/>
                  <a:gd name="connsiteY213" fmla="*/ 237369 h 1616153"/>
                  <a:gd name="connsiteX214" fmla="*/ 856543 w 1498046"/>
                  <a:gd name="connsiteY214" fmla="*/ 195742 h 1616153"/>
                  <a:gd name="connsiteX215" fmla="*/ 866304 w 1498046"/>
                  <a:gd name="connsiteY215" fmla="*/ 178057 h 1616153"/>
                  <a:gd name="connsiteX216" fmla="*/ 864970 w 1498046"/>
                  <a:gd name="connsiteY216" fmla="*/ 124000 h 1616153"/>
                  <a:gd name="connsiteX217" fmla="*/ 829513 w 1498046"/>
                  <a:gd name="connsiteY217" fmla="*/ 92968 h 1616153"/>
                  <a:gd name="connsiteX218" fmla="*/ 797644 w 1498046"/>
                  <a:gd name="connsiteY218" fmla="*/ 98307 h 1616153"/>
                  <a:gd name="connsiteX219" fmla="*/ 779040 w 1498046"/>
                  <a:gd name="connsiteY219" fmla="*/ 107149 h 1616153"/>
                  <a:gd name="connsiteX220" fmla="*/ 723644 w 1498046"/>
                  <a:gd name="connsiteY220" fmla="*/ 96555 h 1616153"/>
                  <a:gd name="connsiteX221" fmla="*/ 696614 w 1498046"/>
                  <a:gd name="connsiteY221" fmla="*/ 75700 h 1616153"/>
                  <a:gd name="connsiteX222" fmla="*/ 684184 w 1498046"/>
                  <a:gd name="connsiteY222" fmla="*/ 63270 h 1616153"/>
                  <a:gd name="connsiteX223" fmla="*/ 671753 w 1498046"/>
                  <a:gd name="connsiteY223" fmla="*/ 58432 h 1616153"/>
                  <a:gd name="connsiteX224" fmla="*/ 651814 w 1498046"/>
                  <a:gd name="connsiteY224" fmla="*/ 96055 h 1616153"/>
                  <a:gd name="connsiteX225" fmla="*/ 639884 w 1498046"/>
                  <a:gd name="connsiteY225" fmla="*/ 124000 h 1616153"/>
                  <a:gd name="connsiteX226" fmla="*/ 565884 w 1498046"/>
                  <a:gd name="connsiteY226" fmla="*/ 164292 h 1616153"/>
                  <a:gd name="connsiteX227" fmla="*/ 532180 w 1498046"/>
                  <a:gd name="connsiteY227" fmla="*/ 143437 h 1616153"/>
                  <a:gd name="connsiteX228" fmla="*/ 519332 w 1498046"/>
                  <a:gd name="connsiteY228" fmla="*/ 112905 h 1616153"/>
                  <a:gd name="connsiteX229" fmla="*/ 519332 w 1498046"/>
                  <a:gd name="connsiteY229" fmla="*/ 112905 h 1616153"/>
                  <a:gd name="connsiteX230" fmla="*/ 416550 w 1498046"/>
                  <a:gd name="connsiteY230" fmla="*/ 131925 h 1616153"/>
                  <a:gd name="connsiteX231" fmla="*/ 391188 w 1498046"/>
                  <a:gd name="connsiteY231" fmla="*/ 131091 h 161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1498046" h="1616153" extrusionOk="0">
                    <a:moveTo>
                      <a:pt x="391188" y="131091"/>
                    </a:moveTo>
                    <a:cubicBezTo>
                      <a:pt x="377006" y="129756"/>
                      <a:pt x="358819" y="127087"/>
                      <a:pt x="344636" y="115992"/>
                    </a:cubicBezTo>
                    <a:cubicBezTo>
                      <a:pt x="328702" y="103562"/>
                      <a:pt x="321193" y="84542"/>
                      <a:pt x="316271" y="67274"/>
                    </a:cubicBezTo>
                    <a:lnTo>
                      <a:pt x="315854" y="65523"/>
                    </a:lnTo>
                    <a:cubicBezTo>
                      <a:pt x="313184" y="57514"/>
                      <a:pt x="311015" y="49589"/>
                      <a:pt x="306093" y="44250"/>
                    </a:cubicBezTo>
                    <a:cubicBezTo>
                      <a:pt x="302089" y="39412"/>
                      <a:pt x="294163" y="36742"/>
                      <a:pt x="289241" y="39829"/>
                    </a:cubicBezTo>
                    <a:cubicBezTo>
                      <a:pt x="287489" y="41164"/>
                      <a:pt x="285737" y="43333"/>
                      <a:pt x="283902" y="46002"/>
                    </a:cubicBezTo>
                    <a:cubicBezTo>
                      <a:pt x="281232" y="50006"/>
                      <a:pt x="278145" y="54428"/>
                      <a:pt x="273306" y="57097"/>
                    </a:cubicBezTo>
                    <a:cubicBezTo>
                      <a:pt x="260876" y="63270"/>
                      <a:pt x="248528" y="54428"/>
                      <a:pt x="240520" y="44250"/>
                    </a:cubicBezTo>
                    <a:cubicBezTo>
                      <a:pt x="240103" y="43833"/>
                      <a:pt x="239602" y="42915"/>
                      <a:pt x="239185" y="41998"/>
                    </a:cubicBezTo>
                    <a:cubicBezTo>
                      <a:pt x="233429" y="33990"/>
                      <a:pt x="230759" y="31821"/>
                      <a:pt x="229007" y="31404"/>
                    </a:cubicBezTo>
                    <a:cubicBezTo>
                      <a:pt x="229007" y="31404"/>
                      <a:pt x="229007" y="31404"/>
                      <a:pt x="229007" y="31821"/>
                    </a:cubicBezTo>
                    <a:cubicBezTo>
                      <a:pt x="228590" y="32238"/>
                      <a:pt x="228590" y="32738"/>
                      <a:pt x="228590" y="32738"/>
                    </a:cubicBezTo>
                    <a:cubicBezTo>
                      <a:pt x="228172" y="33156"/>
                      <a:pt x="228172" y="34073"/>
                      <a:pt x="227672" y="34490"/>
                    </a:cubicBezTo>
                    <a:cubicBezTo>
                      <a:pt x="225419" y="38494"/>
                      <a:pt x="221915" y="41164"/>
                      <a:pt x="217494" y="42498"/>
                    </a:cubicBezTo>
                    <a:cubicBezTo>
                      <a:pt x="207733" y="45168"/>
                      <a:pt x="197138" y="39412"/>
                      <a:pt x="194051" y="37660"/>
                    </a:cubicBezTo>
                    <a:cubicBezTo>
                      <a:pt x="186542" y="33239"/>
                      <a:pt x="179868" y="27900"/>
                      <a:pt x="175447" y="21310"/>
                    </a:cubicBezTo>
                    <a:cubicBezTo>
                      <a:pt x="174112" y="19558"/>
                      <a:pt x="172777" y="17306"/>
                      <a:pt x="171442" y="15554"/>
                    </a:cubicBezTo>
                    <a:cubicBezTo>
                      <a:pt x="169690" y="12884"/>
                      <a:pt x="168356" y="10715"/>
                      <a:pt x="166604" y="8463"/>
                    </a:cubicBezTo>
                    <a:cubicBezTo>
                      <a:pt x="161765" y="2707"/>
                      <a:pt x="153756" y="-380"/>
                      <a:pt x="146247" y="37"/>
                    </a:cubicBezTo>
                    <a:cubicBezTo>
                      <a:pt x="142243" y="455"/>
                      <a:pt x="133817" y="4876"/>
                      <a:pt x="126725" y="9798"/>
                    </a:cubicBezTo>
                    <a:cubicBezTo>
                      <a:pt x="128477" y="12050"/>
                      <a:pt x="129395" y="14636"/>
                      <a:pt x="129812" y="17806"/>
                    </a:cubicBezTo>
                    <a:cubicBezTo>
                      <a:pt x="130730" y="23979"/>
                      <a:pt x="128060" y="30236"/>
                      <a:pt x="122721" y="36409"/>
                    </a:cubicBezTo>
                    <a:cubicBezTo>
                      <a:pt x="120468" y="39078"/>
                      <a:pt x="118299" y="40830"/>
                      <a:pt x="116047" y="43082"/>
                    </a:cubicBezTo>
                    <a:cubicBezTo>
                      <a:pt x="112543" y="46169"/>
                      <a:pt x="109873" y="48838"/>
                      <a:pt x="107203" y="53260"/>
                    </a:cubicBezTo>
                    <a:cubicBezTo>
                      <a:pt x="105869" y="55929"/>
                      <a:pt x="105451" y="57681"/>
                      <a:pt x="104534" y="59433"/>
                    </a:cubicBezTo>
                    <a:cubicBezTo>
                      <a:pt x="101447" y="66107"/>
                      <a:pt x="99194" y="71863"/>
                      <a:pt x="87265" y="76284"/>
                    </a:cubicBezTo>
                    <a:cubicBezTo>
                      <a:pt x="82426" y="78036"/>
                      <a:pt x="77503" y="78536"/>
                      <a:pt x="73082" y="78953"/>
                    </a:cubicBezTo>
                    <a:cubicBezTo>
                      <a:pt x="68661" y="79370"/>
                      <a:pt x="64239" y="80288"/>
                      <a:pt x="60651" y="81623"/>
                    </a:cubicBezTo>
                    <a:cubicBezTo>
                      <a:pt x="53977" y="84292"/>
                      <a:pt x="46886" y="90048"/>
                      <a:pt x="40295" y="94887"/>
                    </a:cubicBezTo>
                    <a:cubicBezTo>
                      <a:pt x="36291" y="98390"/>
                      <a:pt x="31869" y="101560"/>
                      <a:pt x="27864" y="104230"/>
                    </a:cubicBezTo>
                    <a:lnTo>
                      <a:pt x="23443" y="106899"/>
                    </a:lnTo>
                    <a:cubicBezTo>
                      <a:pt x="16769" y="111320"/>
                      <a:pt x="8343" y="117076"/>
                      <a:pt x="0" y="121081"/>
                    </a:cubicBezTo>
                    <a:cubicBezTo>
                      <a:pt x="12848" y="144522"/>
                      <a:pt x="26113" y="170716"/>
                      <a:pt x="27948" y="194574"/>
                    </a:cubicBezTo>
                    <a:cubicBezTo>
                      <a:pt x="28866" y="206503"/>
                      <a:pt x="23109" y="218516"/>
                      <a:pt x="16852" y="229527"/>
                    </a:cubicBezTo>
                    <a:cubicBezTo>
                      <a:pt x="7508" y="246378"/>
                      <a:pt x="2670" y="257473"/>
                      <a:pt x="12431" y="267650"/>
                    </a:cubicBezTo>
                    <a:cubicBezTo>
                      <a:pt x="27531" y="283167"/>
                      <a:pt x="59400" y="278245"/>
                      <a:pt x="85095" y="274741"/>
                    </a:cubicBezTo>
                    <a:cubicBezTo>
                      <a:pt x="93104" y="273407"/>
                      <a:pt x="100613" y="272489"/>
                      <a:pt x="106786" y="272072"/>
                    </a:cubicBezTo>
                    <a:cubicBezTo>
                      <a:pt x="128477" y="271154"/>
                      <a:pt x="181620" y="269819"/>
                      <a:pt x="206481" y="293344"/>
                    </a:cubicBezTo>
                    <a:cubicBezTo>
                      <a:pt x="211320" y="297765"/>
                      <a:pt x="213990" y="302687"/>
                      <a:pt x="216243" y="307108"/>
                    </a:cubicBezTo>
                    <a:cubicBezTo>
                      <a:pt x="218912" y="311947"/>
                      <a:pt x="220664" y="315951"/>
                      <a:pt x="225586" y="318620"/>
                    </a:cubicBezTo>
                    <a:cubicBezTo>
                      <a:pt x="228673" y="320372"/>
                      <a:pt x="232260" y="321707"/>
                      <a:pt x="234930" y="322625"/>
                    </a:cubicBezTo>
                    <a:cubicBezTo>
                      <a:pt x="242438" y="325294"/>
                      <a:pt x="250865" y="327964"/>
                      <a:pt x="256621" y="339893"/>
                    </a:cubicBezTo>
                    <a:cubicBezTo>
                      <a:pt x="260625" y="347901"/>
                      <a:pt x="262377" y="356243"/>
                      <a:pt x="263712" y="364251"/>
                    </a:cubicBezTo>
                    <a:cubicBezTo>
                      <a:pt x="267216" y="381519"/>
                      <a:pt x="269052" y="389528"/>
                      <a:pt x="288990" y="388193"/>
                    </a:cubicBezTo>
                    <a:lnTo>
                      <a:pt x="294330" y="387776"/>
                    </a:lnTo>
                    <a:cubicBezTo>
                      <a:pt x="306761" y="386441"/>
                      <a:pt x="320443" y="385107"/>
                      <a:pt x="332456" y="397119"/>
                    </a:cubicBezTo>
                    <a:cubicBezTo>
                      <a:pt x="343051" y="407297"/>
                      <a:pt x="346639" y="425899"/>
                      <a:pt x="340882" y="440081"/>
                    </a:cubicBezTo>
                    <a:cubicBezTo>
                      <a:pt x="336878" y="449841"/>
                      <a:pt x="328034" y="455180"/>
                      <a:pt x="320943" y="459601"/>
                    </a:cubicBezTo>
                    <a:cubicBezTo>
                      <a:pt x="316938" y="461853"/>
                      <a:pt x="313435" y="464022"/>
                      <a:pt x="310348" y="466692"/>
                    </a:cubicBezTo>
                    <a:cubicBezTo>
                      <a:pt x="301004" y="475117"/>
                      <a:pt x="291327" y="487964"/>
                      <a:pt x="282900" y="502145"/>
                    </a:cubicBezTo>
                    <a:cubicBezTo>
                      <a:pt x="272305" y="519831"/>
                      <a:pt x="272722" y="545107"/>
                      <a:pt x="283818" y="567714"/>
                    </a:cubicBezTo>
                    <a:cubicBezTo>
                      <a:pt x="289575" y="579643"/>
                      <a:pt x="297083" y="585900"/>
                      <a:pt x="309514" y="590321"/>
                    </a:cubicBezTo>
                    <a:cubicBezTo>
                      <a:pt x="313935" y="592073"/>
                      <a:pt x="318858" y="593824"/>
                      <a:pt x="324113" y="596077"/>
                    </a:cubicBezTo>
                    <a:cubicBezTo>
                      <a:pt x="333874" y="600498"/>
                      <a:pt x="344469" y="604503"/>
                      <a:pt x="353313" y="605837"/>
                    </a:cubicBezTo>
                    <a:cubicBezTo>
                      <a:pt x="356817" y="606254"/>
                      <a:pt x="360404" y="606254"/>
                      <a:pt x="363908" y="605837"/>
                    </a:cubicBezTo>
                    <a:cubicBezTo>
                      <a:pt x="374086" y="604920"/>
                      <a:pt x="388268" y="604503"/>
                      <a:pt x="396695" y="616932"/>
                    </a:cubicBezTo>
                    <a:cubicBezTo>
                      <a:pt x="405121" y="629362"/>
                      <a:pt x="398447" y="643960"/>
                      <a:pt x="395360" y="650634"/>
                    </a:cubicBezTo>
                    <a:cubicBezTo>
                      <a:pt x="387851" y="667485"/>
                      <a:pt x="375838" y="682084"/>
                      <a:pt x="363908" y="696265"/>
                    </a:cubicBezTo>
                    <a:cubicBezTo>
                      <a:pt x="357735" y="703356"/>
                      <a:pt x="351978" y="710447"/>
                      <a:pt x="347056" y="717537"/>
                    </a:cubicBezTo>
                    <a:cubicBezTo>
                      <a:pt x="344803" y="720207"/>
                      <a:pt x="342217" y="723293"/>
                      <a:pt x="339547" y="726880"/>
                    </a:cubicBezTo>
                    <a:cubicBezTo>
                      <a:pt x="332873" y="734889"/>
                      <a:pt x="323613" y="745483"/>
                      <a:pt x="324030" y="752991"/>
                    </a:cubicBezTo>
                    <a:cubicBezTo>
                      <a:pt x="324447" y="754326"/>
                      <a:pt x="324948" y="755243"/>
                      <a:pt x="326700" y="757412"/>
                    </a:cubicBezTo>
                    <a:cubicBezTo>
                      <a:pt x="328952" y="759665"/>
                      <a:pt x="331121" y="763168"/>
                      <a:pt x="332039" y="767590"/>
                    </a:cubicBezTo>
                    <a:cubicBezTo>
                      <a:pt x="333374" y="774680"/>
                      <a:pt x="331622" y="778684"/>
                      <a:pt x="329369" y="782689"/>
                    </a:cubicBezTo>
                    <a:cubicBezTo>
                      <a:pt x="328452" y="783606"/>
                      <a:pt x="327617" y="784440"/>
                      <a:pt x="327117" y="786192"/>
                    </a:cubicBezTo>
                    <a:cubicBezTo>
                      <a:pt x="326616" y="787944"/>
                      <a:pt x="326199" y="789696"/>
                      <a:pt x="325782" y="791531"/>
                    </a:cubicBezTo>
                    <a:cubicBezTo>
                      <a:pt x="325365" y="795953"/>
                      <a:pt x="325782" y="800374"/>
                      <a:pt x="326199" y="805295"/>
                    </a:cubicBezTo>
                    <a:lnTo>
                      <a:pt x="326199" y="805713"/>
                    </a:lnTo>
                    <a:cubicBezTo>
                      <a:pt x="327117" y="811052"/>
                      <a:pt x="327534" y="816808"/>
                      <a:pt x="326616" y="823398"/>
                    </a:cubicBezTo>
                    <a:cubicBezTo>
                      <a:pt x="326199" y="827819"/>
                      <a:pt x="325281" y="832241"/>
                      <a:pt x="323947" y="836245"/>
                    </a:cubicBezTo>
                    <a:cubicBezTo>
                      <a:pt x="321694" y="845087"/>
                      <a:pt x="319942" y="850843"/>
                      <a:pt x="324864" y="858351"/>
                    </a:cubicBezTo>
                    <a:cubicBezTo>
                      <a:pt x="328368" y="863190"/>
                      <a:pt x="333290" y="865442"/>
                      <a:pt x="339047" y="868528"/>
                    </a:cubicBezTo>
                    <a:cubicBezTo>
                      <a:pt x="344386" y="871198"/>
                      <a:pt x="350143" y="874284"/>
                      <a:pt x="354981" y="879623"/>
                    </a:cubicBezTo>
                    <a:cubicBezTo>
                      <a:pt x="358485" y="883628"/>
                      <a:pt x="360320" y="887632"/>
                      <a:pt x="361655" y="891135"/>
                    </a:cubicBezTo>
                    <a:cubicBezTo>
                      <a:pt x="362072" y="893388"/>
                      <a:pt x="362990" y="894639"/>
                      <a:pt x="364325" y="896891"/>
                    </a:cubicBezTo>
                    <a:cubicBezTo>
                      <a:pt x="365243" y="899144"/>
                      <a:pt x="367412" y="900895"/>
                      <a:pt x="369664" y="903064"/>
                    </a:cubicBezTo>
                    <a:cubicBezTo>
                      <a:pt x="371917" y="904816"/>
                      <a:pt x="373669" y="907068"/>
                      <a:pt x="375421" y="909237"/>
                    </a:cubicBezTo>
                    <a:cubicBezTo>
                      <a:pt x="386517" y="923002"/>
                      <a:pt x="391773" y="940687"/>
                      <a:pt x="388686" y="956203"/>
                    </a:cubicBezTo>
                    <a:cubicBezTo>
                      <a:pt x="386433" y="968633"/>
                      <a:pt x="378925" y="979227"/>
                      <a:pt x="367829" y="985901"/>
                    </a:cubicBezTo>
                    <a:cubicBezTo>
                      <a:pt x="351895" y="995244"/>
                      <a:pt x="338129" y="1004504"/>
                      <a:pt x="327033" y="1015599"/>
                    </a:cubicBezTo>
                    <a:cubicBezTo>
                      <a:pt x="337629" y="1029363"/>
                      <a:pt x="347890" y="1042627"/>
                      <a:pt x="358068" y="1056391"/>
                    </a:cubicBezTo>
                    <a:lnTo>
                      <a:pt x="370916" y="1073242"/>
                    </a:lnTo>
                    <a:cubicBezTo>
                      <a:pt x="384181" y="1090511"/>
                      <a:pt x="396611" y="1087424"/>
                      <a:pt x="419637" y="1080333"/>
                    </a:cubicBezTo>
                    <a:cubicBezTo>
                      <a:pt x="424476" y="1078581"/>
                      <a:pt x="429398" y="1077246"/>
                      <a:pt x="434737" y="1075912"/>
                    </a:cubicBezTo>
                    <a:cubicBezTo>
                      <a:pt x="445833" y="1073242"/>
                      <a:pt x="455093" y="1074577"/>
                      <a:pt x="463937" y="1075912"/>
                    </a:cubicBezTo>
                    <a:cubicBezTo>
                      <a:pt x="469276" y="1076829"/>
                      <a:pt x="474115" y="1077663"/>
                      <a:pt x="480288" y="1077246"/>
                    </a:cubicBezTo>
                    <a:cubicBezTo>
                      <a:pt x="484710" y="1077246"/>
                      <a:pt x="489632" y="1075495"/>
                      <a:pt x="494471" y="1074160"/>
                    </a:cubicBezTo>
                    <a:cubicBezTo>
                      <a:pt x="503815" y="1071490"/>
                      <a:pt x="514410" y="1067987"/>
                      <a:pt x="525506" y="1072825"/>
                    </a:cubicBezTo>
                    <a:cubicBezTo>
                      <a:pt x="546362" y="1082168"/>
                      <a:pt x="542775" y="1105192"/>
                      <a:pt x="540105" y="1122460"/>
                    </a:cubicBezTo>
                    <a:cubicBezTo>
                      <a:pt x="539188" y="1128216"/>
                      <a:pt x="538354" y="1133555"/>
                      <a:pt x="538354" y="1137977"/>
                    </a:cubicBezTo>
                    <a:cubicBezTo>
                      <a:pt x="538354" y="1148154"/>
                      <a:pt x="542358" y="1151741"/>
                      <a:pt x="551201" y="1160083"/>
                    </a:cubicBezTo>
                    <a:cubicBezTo>
                      <a:pt x="563632" y="1171178"/>
                      <a:pt x="569388" y="1184025"/>
                      <a:pt x="575562" y="1197706"/>
                    </a:cubicBezTo>
                    <a:lnTo>
                      <a:pt x="578231" y="1203045"/>
                    </a:lnTo>
                    <a:cubicBezTo>
                      <a:pt x="584405" y="1215474"/>
                      <a:pt x="591997" y="1227820"/>
                      <a:pt x="599088" y="1239333"/>
                    </a:cubicBezTo>
                    <a:cubicBezTo>
                      <a:pt x="609266" y="1256600"/>
                      <a:pt x="620362" y="1273869"/>
                      <a:pt x="627036" y="1293806"/>
                    </a:cubicBezTo>
                    <a:cubicBezTo>
                      <a:pt x="634127" y="1314661"/>
                      <a:pt x="643889" y="1354036"/>
                      <a:pt x="627453" y="1384651"/>
                    </a:cubicBezTo>
                    <a:cubicBezTo>
                      <a:pt x="622114" y="1394411"/>
                      <a:pt x="615023" y="1398832"/>
                      <a:pt x="608849" y="1403254"/>
                    </a:cubicBezTo>
                    <a:cubicBezTo>
                      <a:pt x="605345" y="1405923"/>
                      <a:pt x="601758" y="1408092"/>
                      <a:pt x="598671" y="1411262"/>
                    </a:cubicBezTo>
                    <a:cubicBezTo>
                      <a:pt x="592498" y="1417435"/>
                      <a:pt x="590245" y="1427195"/>
                      <a:pt x="588076" y="1437373"/>
                    </a:cubicBezTo>
                    <a:cubicBezTo>
                      <a:pt x="586741" y="1443129"/>
                      <a:pt x="585406" y="1449302"/>
                      <a:pt x="583237" y="1455058"/>
                    </a:cubicBezTo>
                    <a:cubicBezTo>
                      <a:pt x="578399" y="1466987"/>
                      <a:pt x="570389" y="1484255"/>
                      <a:pt x="553537" y="1492263"/>
                    </a:cubicBezTo>
                    <a:cubicBezTo>
                      <a:pt x="549116" y="1494516"/>
                      <a:pt x="544694" y="1495767"/>
                      <a:pt x="541107" y="1497102"/>
                    </a:cubicBezTo>
                    <a:cubicBezTo>
                      <a:pt x="532680" y="1500605"/>
                      <a:pt x="526507" y="1502858"/>
                      <a:pt x="520750" y="1511701"/>
                    </a:cubicBezTo>
                    <a:cubicBezTo>
                      <a:pt x="518081" y="1516122"/>
                      <a:pt x="515911" y="1521043"/>
                      <a:pt x="513242" y="1525465"/>
                    </a:cubicBezTo>
                    <a:cubicBezTo>
                      <a:pt x="508820" y="1533891"/>
                      <a:pt x="504399" y="1542733"/>
                      <a:pt x="497307" y="1550741"/>
                    </a:cubicBezTo>
                    <a:cubicBezTo>
                      <a:pt x="496390" y="1551659"/>
                      <a:pt x="495055" y="1552994"/>
                      <a:pt x="494220" y="1553828"/>
                    </a:cubicBezTo>
                    <a:cubicBezTo>
                      <a:pt x="501729" y="1560502"/>
                      <a:pt x="508820" y="1567592"/>
                      <a:pt x="515911" y="1574683"/>
                    </a:cubicBezTo>
                    <a:cubicBezTo>
                      <a:pt x="528760" y="1587530"/>
                      <a:pt x="539855" y="1587947"/>
                      <a:pt x="557959" y="1591034"/>
                    </a:cubicBezTo>
                    <a:cubicBezTo>
                      <a:pt x="562798" y="1591451"/>
                      <a:pt x="568137" y="1591451"/>
                      <a:pt x="573476" y="1591951"/>
                    </a:cubicBezTo>
                    <a:cubicBezTo>
                      <a:pt x="591663" y="1593703"/>
                      <a:pt x="608432" y="1599042"/>
                      <a:pt x="624867" y="1604381"/>
                    </a:cubicBezTo>
                    <a:cubicBezTo>
                      <a:pt x="652314" y="1613724"/>
                      <a:pt x="678511" y="1622066"/>
                      <a:pt x="708627" y="1610554"/>
                    </a:cubicBezTo>
                    <a:cubicBezTo>
                      <a:pt x="721476" y="1606132"/>
                      <a:pt x="730318" y="1596790"/>
                      <a:pt x="740080" y="1586612"/>
                    </a:cubicBezTo>
                    <a:cubicBezTo>
                      <a:pt x="744501" y="1582191"/>
                      <a:pt x="748923" y="1577269"/>
                      <a:pt x="753845" y="1573348"/>
                    </a:cubicBezTo>
                    <a:cubicBezTo>
                      <a:pt x="759184" y="1568510"/>
                      <a:pt x="764941" y="1564506"/>
                      <a:pt x="771114" y="1560502"/>
                    </a:cubicBezTo>
                    <a:cubicBezTo>
                      <a:pt x="782627" y="1552994"/>
                      <a:pt x="793306" y="1545903"/>
                      <a:pt x="798562" y="1534808"/>
                    </a:cubicBezTo>
                    <a:cubicBezTo>
                      <a:pt x="800314" y="1531304"/>
                      <a:pt x="801231" y="1527300"/>
                      <a:pt x="802566" y="1522879"/>
                    </a:cubicBezTo>
                    <a:cubicBezTo>
                      <a:pt x="804318" y="1516706"/>
                      <a:pt x="805653" y="1510950"/>
                      <a:pt x="809240" y="1504693"/>
                    </a:cubicBezTo>
                    <a:cubicBezTo>
                      <a:pt x="811910" y="1499855"/>
                      <a:pt x="816332" y="1495851"/>
                      <a:pt x="819836" y="1492263"/>
                    </a:cubicBezTo>
                    <a:cubicBezTo>
                      <a:pt x="822505" y="1489594"/>
                      <a:pt x="825175" y="1487425"/>
                      <a:pt x="827344" y="1484255"/>
                    </a:cubicBezTo>
                    <a:cubicBezTo>
                      <a:pt x="831348" y="1478916"/>
                      <a:pt x="833100" y="1471825"/>
                      <a:pt x="835770" y="1464735"/>
                    </a:cubicBezTo>
                    <a:cubicBezTo>
                      <a:pt x="839274" y="1453223"/>
                      <a:pt x="843779" y="1439959"/>
                      <a:pt x="856627" y="1431951"/>
                    </a:cubicBezTo>
                    <a:cubicBezTo>
                      <a:pt x="859714" y="1429698"/>
                      <a:pt x="862801" y="1428447"/>
                      <a:pt x="865971" y="1427112"/>
                    </a:cubicBezTo>
                    <a:cubicBezTo>
                      <a:pt x="871727" y="1424443"/>
                      <a:pt x="874814" y="1423108"/>
                      <a:pt x="878401" y="1417352"/>
                    </a:cubicBezTo>
                    <a:cubicBezTo>
                      <a:pt x="881071" y="1412013"/>
                      <a:pt x="882406" y="1405840"/>
                      <a:pt x="883240" y="1399667"/>
                    </a:cubicBezTo>
                    <a:lnTo>
                      <a:pt x="884158" y="1393911"/>
                    </a:lnTo>
                    <a:cubicBezTo>
                      <a:pt x="886827" y="1378811"/>
                      <a:pt x="889914" y="1361544"/>
                      <a:pt x="906266" y="1350949"/>
                    </a:cubicBezTo>
                    <a:cubicBezTo>
                      <a:pt x="917362" y="1344275"/>
                      <a:pt x="930209" y="1342941"/>
                      <a:pt x="941222" y="1342106"/>
                    </a:cubicBezTo>
                    <a:cubicBezTo>
                      <a:pt x="943891" y="1342106"/>
                      <a:pt x="946978" y="1341689"/>
                      <a:pt x="949648" y="1341189"/>
                    </a:cubicBezTo>
                    <a:cubicBezTo>
                      <a:pt x="964248" y="1339437"/>
                      <a:pt x="973591" y="1334516"/>
                      <a:pt x="987273" y="1327425"/>
                    </a:cubicBezTo>
                    <a:cubicBezTo>
                      <a:pt x="998369" y="1321668"/>
                      <a:pt x="1011217" y="1319917"/>
                      <a:pt x="1023564" y="1317664"/>
                    </a:cubicBezTo>
                    <a:cubicBezTo>
                      <a:pt x="1031072" y="1316330"/>
                      <a:pt x="1038163" y="1314995"/>
                      <a:pt x="1044838" y="1313243"/>
                    </a:cubicBezTo>
                    <a:cubicBezTo>
                      <a:pt x="1048342" y="1311908"/>
                      <a:pt x="1051929" y="1311491"/>
                      <a:pt x="1055433" y="1310991"/>
                    </a:cubicBezTo>
                    <a:cubicBezTo>
                      <a:pt x="1059437" y="1310574"/>
                      <a:pt x="1063442" y="1309656"/>
                      <a:pt x="1066529" y="1308321"/>
                    </a:cubicBezTo>
                    <a:cubicBezTo>
                      <a:pt x="1070033" y="1306570"/>
                      <a:pt x="1073203" y="1303483"/>
                      <a:pt x="1076290" y="1299896"/>
                    </a:cubicBezTo>
                    <a:cubicBezTo>
                      <a:pt x="1077207" y="1298978"/>
                      <a:pt x="1078042" y="1297643"/>
                      <a:pt x="1079377" y="1296809"/>
                    </a:cubicBezTo>
                    <a:cubicBezTo>
                      <a:pt x="1076707" y="1294557"/>
                      <a:pt x="1073620" y="1292805"/>
                      <a:pt x="1070533" y="1290636"/>
                    </a:cubicBezTo>
                    <a:cubicBezTo>
                      <a:pt x="1063859" y="1286215"/>
                      <a:pt x="1056768" y="1281293"/>
                      <a:pt x="1050177" y="1276038"/>
                    </a:cubicBezTo>
                    <a:cubicBezTo>
                      <a:pt x="1040416" y="1268530"/>
                      <a:pt x="1032908" y="1258769"/>
                      <a:pt x="1025816" y="1249927"/>
                    </a:cubicBezTo>
                    <a:cubicBezTo>
                      <a:pt x="1021395" y="1244588"/>
                      <a:pt x="1016973" y="1238832"/>
                      <a:pt x="1011634" y="1233577"/>
                    </a:cubicBezTo>
                    <a:cubicBezTo>
                      <a:pt x="1008547" y="1230073"/>
                      <a:pt x="1003625" y="1227403"/>
                      <a:pt x="998786" y="1224233"/>
                    </a:cubicBezTo>
                    <a:cubicBezTo>
                      <a:pt x="992112" y="1220229"/>
                      <a:pt x="985521" y="1216225"/>
                      <a:pt x="980599" y="1210052"/>
                    </a:cubicBezTo>
                    <a:cubicBezTo>
                      <a:pt x="968669" y="1194536"/>
                      <a:pt x="978347" y="1185276"/>
                      <a:pt x="985021" y="1179019"/>
                    </a:cubicBezTo>
                    <a:cubicBezTo>
                      <a:pt x="987273" y="1176767"/>
                      <a:pt x="989442" y="1174598"/>
                      <a:pt x="991695" y="1171929"/>
                    </a:cubicBezTo>
                    <a:cubicBezTo>
                      <a:pt x="994364" y="1168425"/>
                      <a:pt x="996116" y="1165255"/>
                      <a:pt x="997868" y="1162169"/>
                    </a:cubicBezTo>
                    <a:cubicBezTo>
                      <a:pt x="1003625" y="1152408"/>
                      <a:pt x="1008964" y="1143149"/>
                      <a:pt x="1028903" y="1143149"/>
                    </a:cubicBezTo>
                    <a:cubicBezTo>
                      <a:pt x="1044420" y="1143149"/>
                      <a:pt x="1047925" y="1142731"/>
                      <a:pt x="1052346" y="1130719"/>
                    </a:cubicBezTo>
                    <a:cubicBezTo>
                      <a:pt x="1055850" y="1121376"/>
                      <a:pt x="1059854" y="1108613"/>
                      <a:pt x="1062107" y="1097518"/>
                    </a:cubicBezTo>
                    <a:cubicBezTo>
                      <a:pt x="1063859" y="1089509"/>
                      <a:pt x="1062107" y="1081167"/>
                      <a:pt x="1060772" y="1072742"/>
                    </a:cubicBezTo>
                    <a:cubicBezTo>
                      <a:pt x="1059437" y="1065234"/>
                      <a:pt x="1057686" y="1057225"/>
                      <a:pt x="1058520" y="1048800"/>
                    </a:cubicBezTo>
                    <a:cubicBezTo>
                      <a:pt x="1059437" y="1039457"/>
                      <a:pt x="1062941" y="1031949"/>
                      <a:pt x="1066028" y="1024024"/>
                    </a:cubicBezTo>
                    <a:cubicBezTo>
                      <a:pt x="1069532" y="1016016"/>
                      <a:pt x="1072703" y="1008508"/>
                      <a:pt x="1072703" y="1000583"/>
                    </a:cubicBezTo>
                    <a:cubicBezTo>
                      <a:pt x="1072703" y="993492"/>
                      <a:pt x="1069198" y="987319"/>
                      <a:pt x="1065611" y="980646"/>
                    </a:cubicBezTo>
                    <a:cubicBezTo>
                      <a:pt x="1061607" y="973972"/>
                      <a:pt x="1058103" y="966881"/>
                      <a:pt x="1057185" y="958539"/>
                    </a:cubicBezTo>
                    <a:cubicBezTo>
                      <a:pt x="1055850" y="948779"/>
                      <a:pt x="1060272" y="937267"/>
                      <a:pt x="1063859" y="927089"/>
                    </a:cubicBezTo>
                    <a:cubicBezTo>
                      <a:pt x="1064777" y="923586"/>
                      <a:pt x="1066111" y="920416"/>
                      <a:pt x="1066946" y="917329"/>
                    </a:cubicBezTo>
                    <a:cubicBezTo>
                      <a:pt x="1072285" y="898726"/>
                      <a:pt x="1078459" y="888132"/>
                      <a:pt x="1098398" y="882376"/>
                    </a:cubicBezTo>
                    <a:cubicBezTo>
                      <a:pt x="1101068" y="881459"/>
                      <a:pt x="1103236" y="880624"/>
                      <a:pt x="1105489" y="880124"/>
                    </a:cubicBezTo>
                    <a:cubicBezTo>
                      <a:pt x="1115250" y="877871"/>
                      <a:pt x="1117002" y="877454"/>
                      <a:pt x="1120089" y="867277"/>
                    </a:cubicBezTo>
                    <a:cubicBezTo>
                      <a:pt x="1121007" y="864608"/>
                      <a:pt x="1121007" y="862439"/>
                      <a:pt x="1121424" y="859269"/>
                    </a:cubicBezTo>
                    <a:cubicBezTo>
                      <a:pt x="1121841" y="854430"/>
                      <a:pt x="1122341" y="849091"/>
                      <a:pt x="1124927" y="843752"/>
                    </a:cubicBezTo>
                    <a:cubicBezTo>
                      <a:pt x="1127597" y="839748"/>
                      <a:pt x="1130267" y="837079"/>
                      <a:pt x="1132936" y="834910"/>
                    </a:cubicBezTo>
                    <a:cubicBezTo>
                      <a:pt x="1134271" y="833992"/>
                      <a:pt x="1135606" y="833158"/>
                      <a:pt x="1136441" y="831823"/>
                    </a:cubicBezTo>
                    <a:cubicBezTo>
                      <a:pt x="1142614" y="823815"/>
                      <a:pt x="1141780" y="821646"/>
                      <a:pt x="1138193" y="810551"/>
                    </a:cubicBezTo>
                    <a:lnTo>
                      <a:pt x="1135106" y="800791"/>
                    </a:lnTo>
                    <a:cubicBezTo>
                      <a:pt x="1131602" y="789279"/>
                      <a:pt x="1129766" y="783523"/>
                      <a:pt x="1120506" y="776015"/>
                    </a:cubicBezTo>
                    <a:cubicBezTo>
                      <a:pt x="1108075" y="766255"/>
                      <a:pt x="1101485" y="758330"/>
                      <a:pt x="1097480" y="743648"/>
                    </a:cubicBezTo>
                    <a:cubicBezTo>
                      <a:pt x="1090389" y="716203"/>
                      <a:pt x="1097897" y="689591"/>
                      <a:pt x="1105906" y="663481"/>
                    </a:cubicBezTo>
                    <a:cubicBezTo>
                      <a:pt x="1107241" y="658142"/>
                      <a:pt x="1108993" y="652886"/>
                      <a:pt x="1110328" y="647965"/>
                    </a:cubicBezTo>
                    <a:cubicBezTo>
                      <a:pt x="1117002" y="622688"/>
                      <a:pt x="1130267" y="594826"/>
                      <a:pt x="1171897" y="594325"/>
                    </a:cubicBezTo>
                    <a:cubicBezTo>
                      <a:pt x="1178571" y="594742"/>
                      <a:pt x="1186497" y="595243"/>
                      <a:pt x="1194005" y="596077"/>
                    </a:cubicBezTo>
                    <a:cubicBezTo>
                      <a:pt x="1213527" y="597829"/>
                      <a:pt x="1233466" y="600081"/>
                      <a:pt x="1248483" y="589904"/>
                    </a:cubicBezTo>
                    <a:cubicBezTo>
                      <a:pt x="1255157" y="585900"/>
                      <a:pt x="1258661" y="577057"/>
                      <a:pt x="1262248" y="568215"/>
                    </a:cubicBezTo>
                    <a:cubicBezTo>
                      <a:pt x="1267587" y="554951"/>
                      <a:pt x="1273761" y="539852"/>
                      <a:pt x="1291031" y="535847"/>
                    </a:cubicBezTo>
                    <a:cubicBezTo>
                      <a:pt x="1306965" y="531843"/>
                      <a:pt x="1313639" y="540269"/>
                      <a:pt x="1318979" y="548277"/>
                    </a:cubicBezTo>
                    <a:lnTo>
                      <a:pt x="1322065" y="551781"/>
                    </a:lnTo>
                    <a:cubicBezTo>
                      <a:pt x="1325152" y="556619"/>
                      <a:pt x="1329573" y="561124"/>
                      <a:pt x="1333161" y="565545"/>
                    </a:cubicBezTo>
                    <a:cubicBezTo>
                      <a:pt x="1339334" y="572219"/>
                      <a:pt x="1345591" y="579309"/>
                      <a:pt x="1350847" y="587234"/>
                    </a:cubicBezTo>
                    <a:cubicBezTo>
                      <a:pt x="1353100" y="590321"/>
                      <a:pt x="1355269" y="593908"/>
                      <a:pt x="1357521" y="597412"/>
                    </a:cubicBezTo>
                    <a:cubicBezTo>
                      <a:pt x="1363695" y="608507"/>
                      <a:pt x="1371287" y="620436"/>
                      <a:pt x="1380965" y="624857"/>
                    </a:cubicBezTo>
                    <a:cubicBezTo>
                      <a:pt x="1385386" y="627110"/>
                      <a:pt x="1388056" y="627110"/>
                      <a:pt x="1388973" y="626192"/>
                    </a:cubicBezTo>
                    <a:cubicBezTo>
                      <a:pt x="1392060" y="623939"/>
                      <a:pt x="1392060" y="610258"/>
                      <a:pt x="1387639" y="595159"/>
                    </a:cubicBezTo>
                    <a:cubicBezTo>
                      <a:pt x="1383217" y="578809"/>
                      <a:pt x="1382299" y="569049"/>
                      <a:pt x="1389892" y="553115"/>
                    </a:cubicBezTo>
                    <a:cubicBezTo>
                      <a:pt x="1392978" y="546442"/>
                      <a:pt x="1395230" y="539852"/>
                      <a:pt x="1397400" y="532761"/>
                    </a:cubicBezTo>
                    <a:cubicBezTo>
                      <a:pt x="1399652" y="526588"/>
                      <a:pt x="1401404" y="520331"/>
                      <a:pt x="1404074" y="514158"/>
                    </a:cubicBezTo>
                    <a:cubicBezTo>
                      <a:pt x="1409830" y="500393"/>
                      <a:pt x="1426682" y="466358"/>
                      <a:pt x="1454130" y="449924"/>
                    </a:cubicBezTo>
                    <a:cubicBezTo>
                      <a:pt x="1466977" y="442833"/>
                      <a:pt x="1472317" y="433574"/>
                      <a:pt x="1479408" y="421144"/>
                    </a:cubicBezTo>
                    <a:cubicBezTo>
                      <a:pt x="1481160" y="418058"/>
                      <a:pt x="1483830" y="413636"/>
                      <a:pt x="1486500" y="410049"/>
                    </a:cubicBezTo>
                    <a:cubicBezTo>
                      <a:pt x="1491838" y="402041"/>
                      <a:pt x="1497595" y="394116"/>
                      <a:pt x="1498012" y="387025"/>
                    </a:cubicBezTo>
                    <a:cubicBezTo>
                      <a:pt x="1498429" y="379017"/>
                      <a:pt x="1494925" y="372427"/>
                      <a:pt x="1491338" y="365336"/>
                    </a:cubicBezTo>
                    <a:cubicBezTo>
                      <a:pt x="1485999" y="355159"/>
                      <a:pt x="1480243" y="343229"/>
                      <a:pt x="1488668" y="329048"/>
                    </a:cubicBezTo>
                    <a:lnTo>
                      <a:pt x="1488668" y="328631"/>
                    </a:lnTo>
                    <a:cubicBezTo>
                      <a:pt x="1483830" y="320622"/>
                      <a:pt x="1481160" y="311780"/>
                      <a:pt x="1478490" y="303354"/>
                    </a:cubicBezTo>
                    <a:cubicBezTo>
                      <a:pt x="1474987" y="292259"/>
                      <a:pt x="1471399" y="281248"/>
                      <a:pt x="1462973" y="274157"/>
                    </a:cubicBezTo>
                    <a:cubicBezTo>
                      <a:pt x="1443451" y="257306"/>
                      <a:pt x="1412000" y="262645"/>
                      <a:pt x="1384552" y="267484"/>
                    </a:cubicBezTo>
                    <a:cubicBezTo>
                      <a:pt x="1376126" y="268818"/>
                      <a:pt x="1368201" y="270570"/>
                      <a:pt x="1360191" y="270987"/>
                    </a:cubicBezTo>
                    <a:cubicBezTo>
                      <a:pt x="1337166" y="273240"/>
                      <a:pt x="1316809" y="269653"/>
                      <a:pt x="1298622" y="260810"/>
                    </a:cubicBezTo>
                    <a:cubicBezTo>
                      <a:pt x="1291114" y="256806"/>
                      <a:pt x="1284857" y="251467"/>
                      <a:pt x="1278266" y="246629"/>
                    </a:cubicBezTo>
                    <a:cubicBezTo>
                      <a:pt x="1265836" y="236868"/>
                      <a:pt x="1254322" y="227608"/>
                      <a:pt x="1239723" y="230278"/>
                    </a:cubicBezTo>
                    <a:cubicBezTo>
                      <a:pt x="1225957" y="232948"/>
                      <a:pt x="1218032" y="242708"/>
                      <a:pt x="1208688" y="254220"/>
                    </a:cubicBezTo>
                    <a:cubicBezTo>
                      <a:pt x="1204684" y="258641"/>
                      <a:pt x="1200679" y="263563"/>
                      <a:pt x="1196758" y="267484"/>
                    </a:cubicBezTo>
                    <a:cubicBezTo>
                      <a:pt x="1178154" y="285669"/>
                      <a:pt x="1152458" y="293594"/>
                      <a:pt x="1129433" y="300268"/>
                    </a:cubicBezTo>
                    <a:lnTo>
                      <a:pt x="1126763" y="301185"/>
                    </a:lnTo>
                    <a:cubicBezTo>
                      <a:pt x="1119672" y="302937"/>
                      <a:pt x="1112580" y="304689"/>
                      <a:pt x="1105489" y="306524"/>
                    </a:cubicBezTo>
                    <a:cubicBezTo>
                      <a:pt x="1091307" y="310028"/>
                      <a:pt x="1076707" y="314032"/>
                      <a:pt x="1063859" y="320289"/>
                    </a:cubicBezTo>
                    <a:cubicBezTo>
                      <a:pt x="1058103" y="323375"/>
                      <a:pt x="1052763" y="326462"/>
                      <a:pt x="1047925" y="329131"/>
                    </a:cubicBezTo>
                    <a:cubicBezTo>
                      <a:pt x="1032824" y="337974"/>
                      <a:pt x="1018725" y="346400"/>
                      <a:pt x="995616" y="346400"/>
                    </a:cubicBezTo>
                    <a:lnTo>
                      <a:pt x="985021" y="346400"/>
                    </a:lnTo>
                    <a:cubicBezTo>
                      <a:pt x="954904" y="346400"/>
                      <a:pt x="920782" y="346400"/>
                      <a:pt x="893335" y="336639"/>
                    </a:cubicBezTo>
                    <a:cubicBezTo>
                      <a:pt x="875648" y="330466"/>
                      <a:pt x="864553" y="319788"/>
                      <a:pt x="859630" y="305189"/>
                    </a:cubicBezTo>
                    <a:cubicBezTo>
                      <a:pt x="857878" y="299851"/>
                      <a:pt x="857378" y="294095"/>
                      <a:pt x="856543" y="289256"/>
                    </a:cubicBezTo>
                    <a:cubicBezTo>
                      <a:pt x="856126" y="283917"/>
                      <a:pt x="855209" y="278662"/>
                      <a:pt x="853457" y="273740"/>
                    </a:cubicBezTo>
                    <a:cubicBezTo>
                      <a:pt x="852122" y="270653"/>
                      <a:pt x="850787" y="267567"/>
                      <a:pt x="849452" y="264397"/>
                    </a:cubicBezTo>
                    <a:cubicBezTo>
                      <a:pt x="845447" y="255971"/>
                      <a:pt x="841443" y="247546"/>
                      <a:pt x="841026" y="237369"/>
                    </a:cubicBezTo>
                    <a:cubicBezTo>
                      <a:pt x="840609" y="221018"/>
                      <a:pt x="848534" y="208172"/>
                      <a:pt x="856543" y="195742"/>
                    </a:cubicBezTo>
                    <a:cubicBezTo>
                      <a:pt x="860047" y="189569"/>
                      <a:pt x="864052" y="183813"/>
                      <a:pt x="866304" y="178057"/>
                    </a:cubicBezTo>
                    <a:cubicBezTo>
                      <a:pt x="873395" y="160789"/>
                      <a:pt x="872978" y="140851"/>
                      <a:pt x="864970" y="124000"/>
                    </a:cubicBezTo>
                    <a:cubicBezTo>
                      <a:pt x="857461" y="108901"/>
                      <a:pt x="845030" y="97890"/>
                      <a:pt x="829513" y="92968"/>
                    </a:cubicBezTo>
                    <a:cubicBezTo>
                      <a:pt x="815748" y="88130"/>
                      <a:pt x="808239" y="92551"/>
                      <a:pt x="797644" y="98307"/>
                    </a:cubicBezTo>
                    <a:cubicBezTo>
                      <a:pt x="792805" y="101393"/>
                      <a:pt x="786548" y="104480"/>
                      <a:pt x="779040" y="107149"/>
                    </a:cubicBezTo>
                    <a:cubicBezTo>
                      <a:pt x="759518" y="113823"/>
                      <a:pt x="739579" y="104480"/>
                      <a:pt x="723644" y="96555"/>
                    </a:cubicBezTo>
                    <a:cubicBezTo>
                      <a:pt x="710797" y="90799"/>
                      <a:pt x="703705" y="82791"/>
                      <a:pt x="696614" y="75700"/>
                    </a:cubicBezTo>
                    <a:cubicBezTo>
                      <a:pt x="693110" y="71696"/>
                      <a:pt x="689106" y="67274"/>
                      <a:pt x="684184" y="63270"/>
                    </a:cubicBezTo>
                    <a:cubicBezTo>
                      <a:pt x="678844" y="59266"/>
                      <a:pt x="674840" y="57514"/>
                      <a:pt x="671753" y="58432"/>
                    </a:cubicBezTo>
                    <a:cubicBezTo>
                      <a:pt x="663327" y="61101"/>
                      <a:pt x="656653" y="81456"/>
                      <a:pt x="651814" y="96055"/>
                    </a:cubicBezTo>
                    <a:cubicBezTo>
                      <a:pt x="647809" y="107983"/>
                      <a:pt x="644723" y="118161"/>
                      <a:pt x="639884" y="124000"/>
                    </a:cubicBezTo>
                    <a:cubicBezTo>
                      <a:pt x="627036" y="140851"/>
                      <a:pt x="595584" y="166545"/>
                      <a:pt x="565884" y="164292"/>
                    </a:cubicBezTo>
                    <a:cubicBezTo>
                      <a:pt x="552119" y="163375"/>
                      <a:pt x="540189" y="156284"/>
                      <a:pt x="532180" y="143437"/>
                    </a:cubicBezTo>
                    <a:cubicBezTo>
                      <a:pt x="526423" y="134094"/>
                      <a:pt x="522836" y="123083"/>
                      <a:pt x="519332" y="112905"/>
                    </a:cubicBezTo>
                    <a:lnTo>
                      <a:pt x="519332" y="112905"/>
                    </a:lnTo>
                    <a:cubicBezTo>
                      <a:pt x="486545" y="125335"/>
                      <a:pt x="451590" y="131925"/>
                      <a:pt x="416550" y="131925"/>
                    </a:cubicBezTo>
                    <a:cubicBezTo>
                      <a:pt x="408041" y="132009"/>
                      <a:pt x="399615" y="131508"/>
                      <a:pt x="391188" y="13109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  <p:grpSp>
          <p:nvGrpSpPr>
            <p:cNvPr id="1338341045" name="Группа 410"/>
            <p:cNvGrpSpPr/>
            <p:nvPr/>
          </p:nvGrpSpPr>
          <p:grpSpPr bwMode="auto">
            <a:xfrm>
              <a:off x="6807092" y="1538416"/>
              <a:ext cx="4688906" cy="4708176"/>
              <a:chOff x="6807092" y="1538416"/>
              <a:chExt cx="4688906" cy="4708176"/>
            </a:xfrm>
          </p:grpSpPr>
          <p:sp>
            <p:nvSpPr>
              <p:cNvPr id="550608390" name="Полилиния 411"/>
              <p:cNvSpPr/>
              <p:nvPr/>
            </p:nvSpPr>
            <p:spPr bwMode="auto">
              <a:xfrm>
                <a:off x="6807092" y="4940718"/>
                <a:ext cx="1428802" cy="1268220"/>
              </a:xfrm>
              <a:custGeom>
                <a:avLst/>
                <a:gdLst>
                  <a:gd name="connsiteX0" fmla="*/ 1000188 w 1604593"/>
                  <a:gd name="connsiteY0" fmla="*/ 1299031 h 1424254"/>
                  <a:gd name="connsiteX1" fmla="*/ 969154 w 1604593"/>
                  <a:gd name="connsiteY1" fmla="*/ 1365934 h 1424254"/>
                  <a:gd name="connsiteX2" fmla="*/ 958976 w 1604593"/>
                  <a:gd name="connsiteY2" fmla="*/ 1367269 h 1424254"/>
                  <a:gd name="connsiteX3" fmla="*/ 930611 w 1604593"/>
                  <a:gd name="connsiteY3" fmla="*/ 1367686 h 1424254"/>
                  <a:gd name="connsiteX4" fmla="*/ 910672 w 1604593"/>
                  <a:gd name="connsiteY4" fmla="*/ 1353088 h 1424254"/>
                  <a:gd name="connsiteX5" fmla="*/ 892485 w 1604593"/>
                  <a:gd name="connsiteY5" fmla="*/ 1337988 h 1424254"/>
                  <a:gd name="connsiteX6" fmla="*/ 843763 w 1604593"/>
                  <a:gd name="connsiteY6" fmla="*/ 1333567 h 1424254"/>
                  <a:gd name="connsiteX7" fmla="*/ 825159 w 1604593"/>
                  <a:gd name="connsiteY7" fmla="*/ 1337988 h 1424254"/>
                  <a:gd name="connsiteX8" fmla="*/ 791038 w 1604593"/>
                  <a:gd name="connsiteY8" fmla="*/ 1343745 h 1424254"/>
                  <a:gd name="connsiteX9" fmla="*/ 773769 w 1604593"/>
                  <a:gd name="connsiteY9" fmla="*/ 1343745 h 1424254"/>
                  <a:gd name="connsiteX10" fmla="*/ 738312 w 1604593"/>
                  <a:gd name="connsiteY10" fmla="*/ 1345079 h 1424254"/>
                  <a:gd name="connsiteX11" fmla="*/ 641287 w 1604593"/>
                  <a:gd name="connsiteY11" fmla="*/ 1389376 h 1424254"/>
                  <a:gd name="connsiteX12" fmla="*/ 552687 w 1604593"/>
                  <a:gd name="connsiteY12" fmla="*/ 1423077 h 1424254"/>
                  <a:gd name="connsiteX13" fmla="*/ 521652 w 1604593"/>
                  <a:gd name="connsiteY13" fmla="*/ 1419073 h 1424254"/>
                  <a:gd name="connsiteX14" fmla="*/ 442814 w 1604593"/>
                  <a:gd name="connsiteY14" fmla="*/ 1400471 h 1424254"/>
                  <a:gd name="connsiteX15" fmla="*/ 406523 w 1604593"/>
                  <a:gd name="connsiteY15" fmla="*/ 1334902 h 1424254"/>
                  <a:gd name="connsiteX16" fmla="*/ 353797 w 1604593"/>
                  <a:gd name="connsiteY16" fmla="*/ 1258739 h 1424254"/>
                  <a:gd name="connsiteX17" fmla="*/ 315254 w 1604593"/>
                  <a:gd name="connsiteY17" fmla="*/ 1258322 h 1424254"/>
                  <a:gd name="connsiteX18" fmla="*/ 294397 w 1604593"/>
                  <a:gd name="connsiteY18" fmla="*/ 1259657 h 1424254"/>
                  <a:gd name="connsiteX19" fmla="*/ 251015 w 1604593"/>
                  <a:gd name="connsiteY19" fmla="*/ 1246810 h 1424254"/>
                  <a:gd name="connsiteX20" fmla="*/ 185025 w 1604593"/>
                  <a:gd name="connsiteY20" fmla="*/ 1233963 h 1424254"/>
                  <a:gd name="connsiteX21" fmla="*/ 136721 w 1604593"/>
                  <a:gd name="connsiteY21" fmla="*/ 1227790 h 1424254"/>
                  <a:gd name="connsiteX22" fmla="*/ 86665 w 1604593"/>
                  <a:gd name="connsiteY22" fmla="*/ 1207852 h 1424254"/>
                  <a:gd name="connsiteX23" fmla="*/ 81326 w 1604593"/>
                  <a:gd name="connsiteY23" fmla="*/ 1205183 h 1424254"/>
                  <a:gd name="connsiteX24" fmla="*/ 42365 w 1604593"/>
                  <a:gd name="connsiteY24" fmla="*/ 1196341 h 1424254"/>
                  <a:gd name="connsiteX25" fmla="*/ 32187 w 1604593"/>
                  <a:gd name="connsiteY25" fmla="*/ 1203014 h 1424254"/>
                  <a:gd name="connsiteX26" fmla="*/ 6492 w 1604593"/>
                  <a:gd name="connsiteY26" fmla="*/ 1175068 h 1424254"/>
                  <a:gd name="connsiteX27" fmla="*/ 4239 w 1604593"/>
                  <a:gd name="connsiteY27" fmla="*/ 1139615 h 1424254"/>
                  <a:gd name="connsiteX28" fmla="*/ 7326 w 1604593"/>
                  <a:gd name="connsiteY28" fmla="*/ 1133442 h 1424254"/>
                  <a:gd name="connsiteX29" fmla="*/ 14417 w 1604593"/>
                  <a:gd name="connsiteY29" fmla="*/ 1114839 h 1424254"/>
                  <a:gd name="connsiteX30" fmla="*/ 13500 w 1604593"/>
                  <a:gd name="connsiteY30" fmla="*/ 1101575 h 1424254"/>
                  <a:gd name="connsiteX31" fmla="*/ 12582 w 1604593"/>
                  <a:gd name="connsiteY31" fmla="*/ 1093149 h 1424254"/>
                  <a:gd name="connsiteX32" fmla="*/ 20591 w 1604593"/>
                  <a:gd name="connsiteY32" fmla="*/ 1079385 h 1424254"/>
                  <a:gd name="connsiteX33" fmla="*/ 29017 w 1604593"/>
                  <a:gd name="connsiteY33" fmla="*/ 1074046 h 1424254"/>
                  <a:gd name="connsiteX34" fmla="*/ 33021 w 1604593"/>
                  <a:gd name="connsiteY34" fmla="*/ 1071794 h 1424254"/>
                  <a:gd name="connsiteX35" fmla="*/ 33021 w 1604593"/>
                  <a:gd name="connsiteY35" fmla="*/ 1071377 h 1424254"/>
                  <a:gd name="connsiteX36" fmla="*/ 37860 w 1604593"/>
                  <a:gd name="connsiteY36" fmla="*/ 1068290 h 1424254"/>
                  <a:gd name="connsiteX37" fmla="*/ 80408 w 1604593"/>
                  <a:gd name="connsiteY37" fmla="*/ 1031501 h 1424254"/>
                  <a:gd name="connsiteX38" fmla="*/ 89251 w 1604593"/>
                  <a:gd name="connsiteY38" fmla="*/ 1021742 h 1424254"/>
                  <a:gd name="connsiteX39" fmla="*/ 125542 w 1604593"/>
                  <a:gd name="connsiteY39" fmla="*/ 996465 h 1424254"/>
                  <a:gd name="connsiteX40" fmla="*/ 137472 w 1604593"/>
                  <a:gd name="connsiteY40" fmla="*/ 1013733 h 1424254"/>
                  <a:gd name="connsiteX41" fmla="*/ 141893 w 1604593"/>
                  <a:gd name="connsiteY41" fmla="*/ 1024327 h 1424254"/>
                  <a:gd name="connsiteX42" fmla="*/ 173763 w 1604593"/>
                  <a:gd name="connsiteY42" fmla="*/ 1054025 h 1424254"/>
                  <a:gd name="connsiteX43" fmla="*/ 175514 w 1604593"/>
                  <a:gd name="connsiteY43" fmla="*/ 1055360 h 1424254"/>
                  <a:gd name="connsiteX44" fmla="*/ 220732 w 1604593"/>
                  <a:gd name="connsiteY44" fmla="*/ 1076632 h 1424254"/>
                  <a:gd name="connsiteX45" fmla="*/ 270788 w 1604593"/>
                  <a:gd name="connsiteY45" fmla="*/ 1101908 h 1424254"/>
                  <a:gd name="connsiteX46" fmla="*/ 281883 w 1604593"/>
                  <a:gd name="connsiteY46" fmla="*/ 1112086 h 1424254"/>
                  <a:gd name="connsiteX47" fmla="*/ 314254 w 1604593"/>
                  <a:gd name="connsiteY47" fmla="*/ 1135527 h 1424254"/>
                  <a:gd name="connsiteX48" fmla="*/ 347958 w 1604593"/>
                  <a:gd name="connsiteY48" fmla="*/ 1137279 h 1424254"/>
                  <a:gd name="connsiteX49" fmla="*/ 362557 w 1604593"/>
                  <a:gd name="connsiteY49" fmla="*/ 1135527 h 1424254"/>
                  <a:gd name="connsiteX50" fmla="*/ 392258 w 1604593"/>
                  <a:gd name="connsiteY50" fmla="*/ 1153212 h 1424254"/>
                  <a:gd name="connsiteX51" fmla="*/ 400266 w 1604593"/>
                  <a:gd name="connsiteY51" fmla="*/ 1160720 h 1424254"/>
                  <a:gd name="connsiteX52" fmla="*/ 436557 w 1604593"/>
                  <a:gd name="connsiteY52" fmla="*/ 1183744 h 1424254"/>
                  <a:gd name="connsiteX53" fmla="*/ 458248 w 1604593"/>
                  <a:gd name="connsiteY53" fmla="*/ 1214777 h 1424254"/>
                  <a:gd name="connsiteX54" fmla="*/ 470679 w 1604593"/>
                  <a:gd name="connsiteY54" fmla="*/ 1238218 h 1424254"/>
                  <a:gd name="connsiteX55" fmla="*/ 494622 w 1604593"/>
                  <a:gd name="connsiteY55" fmla="*/ 1241721 h 1424254"/>
                  <a:gd name="connsiteX56" fmla="*/ 527409 w 1604593"/>
                  <a:gd name="connsiteY56" fmla="*/ 1259407 h 1424254"/>
                  <a:gd name="connsiteX57" fmla="*/ 543761 w 1604593"/>
                  <a:gd name="connsiteY57" fmla="*/ 1278009 h 1424254"/>
                  <a:gd name="connsiteX58" fmla="*/ 548182 w 1604593"/>
                  <a:gd name="connsiteY58" fmla="*/ 1278426 h 1424254"/>
                  <a:gd name="connsiteX59" fmla="*/ 574796 w 1604593"/>
                  <a:gd name="connsiteY59" fmla="*/ 1264245 h 1424254"/>
                  <a:gd name="connsiteX60" fmla="*/ 584557 w 1604593"/>
                  <a:gd name="connsiteY60" fmla="*/ 1256236 h 1424254"/>
                  <a:gd name="connsiteX61" fmla="*/ 595151 w 1604593"/>
                  <a:gd name="connsiteY61" fmla="*/ 1251398 h 1424254"/>
                  <a:gd name="connsiteX62" fmla="*/ 618595 w 1604593"/>
                  <a:gd name="connsiteY62" fmla="*/ 1231044 h 1424254"/>
                  <a:gd name="connsiteX63" fmla="*/ 619512 w 1604593"/>
                  <a:gd name="connsiteY63" fmla="*/ 1208437 h 1424254"/>
                  <a:gd name="connsiteX64" fmla="*/ 621765 w 1604593"/>
                  <a:gd name="connsiteY64" fmla="*/ 1188916 h 1424254"/>
                  <a:gd name="connsiteX65" fmla="*/ 642121 w 1604593"/>
                  <a:gd name="connsiteY65" fmla="*/ 1173400 h 1424254"/>
                  <a:gd name="connsiteX66" fmla="*/ 658055 w 1604593"/>
                  <a:gd name="connsiteY66" fmla="*/ 1163222 h 1424254"/>
                  <a:gd name="connsiteX67" fmla="*/ 691760 w 1604593"/>
                  <a:gd name="connsiteY67" fmla="*/ 1126434 h 1424254"/>
                  <a:gd name="connsiteX68" fmla="*/ 715203 w 1604593"/>
                  <a:gd name="connsiteY68" fmla="*/ 1074630 h 1424254"/>
                  <a:gd name="connsiteX69" fmla="*/ 739146 w 1604593"/>
                  <a:gd name="connsiteY69" fmla="*/ 1024161 h 1424254"/>
                  <a:gd name="connsiteX70" fmla="*/ 759085 w 1604593"/>
                  <a:gd name="connsiteY70" fmla="*/ 1003806 h 1424254"/>
                  <a:gd name="connsiteX71" fmla="*/ 777273 w 1604593"/>
                  <a:gd name="connsiteY71" fmla="*/ 986121 h 1424254"/>
                  <a:gd name="connsiteX72" fmla="*/ 801215 w 1604593"/>
                  <a:gd name="connsiteY72" fmla="*/ 956924 h 1424254"/>
                  <a:gd name="connsiteX73" fmla="*/ 813146 w 1604593"/>
                  <a:gd name="connsiteY73" fmla="*/ 942325 h 1424254"/>
                  <a:gd name="connsiteX74" fmla="*/ 851689 w 1604593"/>
                  <a:gd name="connsiteY74" fmla="*/ 899781 h 1424254"/>
                  <a:gd name="connsiteX75" fmla="*/ 854358 w 1604593"/>
                  <a:gd name="connsiteY75" fmla="*/ 897528 h 1424254"/>
                  <a:gd name="connsiteX76" fmla="*/ 884893 w 1604593"/>
                  <a:gd name="connsiteY76" fmla="*/ 857236 h 1424254"/>
                  <a:gd name="connsiteX77" fmla="*/ 891567 w 1604593"/>
                  <a:gd name="connsiteY77" fmla="*/ 815192 h 1424254"/>
                  <a:gd name="connsiteX78" fmla="*/ 893319 w 1604593"/>
                  <a:gd name="connsiteY78" fmla="*/ 795255 h 1424254"/>
                  <a:gd name="connsiteX79" fmla="*/ 903497 w 1604593"/>
                  <a:gd name="connsiteY79" fmla="*/ 735859 h 1424254"/>
                  <a:gd name="connsiteX80" fmla="*/ 905249 w 1604593"/>
                  <a:gd name="connsiteY80" fmla="*/ 726516 h 1424254"/>
                  <a:gd name="connsiteX81" fmla="*/ 915844 w 1604593"/>
                  <a:gd name="connsiteY81" fmla="*/ 681302 h 1424254"/>
                  <a:gd name="connsiteX82" fmla="*/ 918931 w 1604593"/>
                  <a:gd name="connsiteY82" fmla="*/ 673294 h 1424254"/>
                  <a:gd name="connsiteX83" fmla="*/ 924270 w 1604593"/>
                  <a:gd name="connsiteY83" fmla="*/ 637006 h 1424254"/>
                  <a:gd name="connsiteX84" fmla="*/ 901245 w 1604593"/>
                  <a:gd name="connsiteY84" fmla="*/ 619738 h 1424254"/>
                  <a:gd name="connsiteX85" fmla="*/ 889315 w 1604593"/>
                  <a:gd name="connsiteY85" fmla="*/ 614900 h 1424254"/>
                  <a:gd name="connsiteX86" fmla="*/ 878219 w 1604593"/>
                  <a:gd name="connsiteY86" fmla="*/ 588288 h 1424254"/>
                  <a:gd name="connsiteX87" fmla="*/ 875549 w 1604593"/>
                  <a:gd name="connsiteY87" fmla="*/ 561260 h 1424254"/>
                  <a:gd name="connsiteX88" fmla="*/ 863619 w 1604593"/>
                  <a:gd name="connsiteY88" fmla="*/ 507621 h 1424254"/>
                  <a:gd name="connsiteX89" fmla="*/ 861867 w 1604593"/>
                  <a:gd name="connsiteY89" fmla="*/ 504534 h 1424254"/>
                  <a:gd name="connsiteX90" fmla="*/ 849937 w 1604593"/>
                  <a:gd name="connsiteY90" fmla="*/ 465994 h 1424254"/>
                  <a:gd name="connsiteX91" fmla="*/ 850354 w 1604593"/>
                  <a:gd name="connsiteY91" fmla="*/ 448309 h 1424254"/>
                  <a:gd name="connsiteX92" fmla="*/ 852607 w 1604593"/>
                  <a:gd name="connsiteY92" fmla="*/ 419111 h 1424254"/>
                  <a:gd name="connsiteX93" fmla="*/ 860115 w 1604593"/>
                  <a:gd name="connsiteY93" fmla="*/ 412021 h 1424254"/>
                  <a:gd name="connsiteX94" fmla="*/ 873881 w 1604593"/>
                  <a:gd name="connsiteY94" fmla="*/ 386327 h 1424254"/>
                  <a:gd name="connsiteX95" fmla="*/ 853941 w 1604593"/>
                  <a:gd name="connsiteY95" fmla="*/ 371729 h 1424254"/>
                  <a:gd name="connsiteX96" fmla="*/ 849103 w 1604593"/>
                  <a:gd name="connsiteY96" fmla="*/ 369977 h 1424254"/>
                  <a:gd name="connsiteX97" fmla="*/ 846016 w 1604593"/>
                  <a:gd name="connsiteY97" fmla="*/ 365973 h 1424254"/>
                  <a:gd name="connsiteX98" fmla="*/ 840677 w 1604593"/>
                  <a:gd name="connsiteY98" fmla="*/ 359299 h 1424254"/>
                  <a:gd name="connsiteX99" fmla="*/ 824742 w 1604593"/>
                  <a:gd name="connsiteY99" fmla="*/ 349956 h 1424254"/>
                  <a:gd name="connsiteX100" fmla="*/ 811478 w 1604593"/>
                  <a:gd name="connsiteY100" fmla="*/ 341530 h 1424254"/>
                  <a:gd name="connsiteX101" fmla="*/ 814981 w 1604593"/>
                  <a:gd name="connsiteY101" fmla="*/ 311416 h 1424254"/>
                  <a:gd name="connsiteX102" fmla="*/ 847768 w 1604593"/>
                  <a:gd name="connsiteY102" fmla="*/ 283970 h 1424254"/>
                  <a:gd name="connsiteX103" fmla="*/ 859281 w 1604593"/>
                  <a:gd name="connsiteY103" fmla="*/ 279549 h 1424254"/>
                  <a:gd name="connsiteX104" fmla="*/ 882724 w 1604593"/>
                  <a:gd name="connsiteY104" fmla="*/ 267620 h 1424254"/>
                  <a:gd name="connsiteX105" fmla="*/ 894653 w 1604593"/>
                  <a:gd name="connsiteY105" fmla="*/ 236588 h 1424254"/>
                  <a:gd name="connsiteX106" fmla="*/ 914593 w 1604593"/>
                  <a:gd name="connsiteY106" fmla="*/ 218902 h 1424254"/>
                  <a:gd name="connsiteX107" fmla="*/ 937618 w 1604593"/>
                  <a:gd name="connsiteY107" fmla="*/ 222406 h 1424254"/>
                  <a:gd name="connsiteX108" fmla="*/ 1000940 w 1604593"/>
                  <a:gd name="connsiteY108" fmla="*/ 213563 h 1424254"/>
                  <a:gd name="connsiteX109" fmla="*/ 1008948 w 1604593"/>
                  <a:gd name="connsiteY109" fmla="*/ 190956 h 1424254"/>
                  <a:gd name="connsiteX110" fmla="*/ 1014288 w 1604593"/>
                  <a:gd name="connsiteY110" fmla="*/ 175023 h 1424254"/>
                  <a:gd name="connsiteX111" fmla="*/ 1044822 w 1604593"/>
                  <a:gd name="connsiteY111" fmla="*/ 171937 h 1424254"/>
                  <a:gd name="connsiteX112" fmla="*/ 1051496 w 1604593"/>
                  <a:gd name="connsiteY112" fmla="*/ 173689 h 1424254"/>
                  <a:gd name="connsiteX113" fmla="*/ 1091792 w 1604593"/>
                  <a:gd name="connsiteY113" fmla="*/ 171019 h 1424254"/>
                  <a:gd name="connsiteX114" fmla="*/ 1132087 w 1604593"/>
                  <a:gd name="connsiteY114" fmla="*/ 172354 h 1424254"/>
                  <a:gd name="connsiteX115" fmla="*/ 1134757 w 1604593"/>
                  <a:gd name="connsiteY115" fmla="*/ 174106 h 1424254"/>
                  <a:gd name="connsiteX116" fmla="*/ 1204334 w 1604593"/>
                  <a:gd name="connsiteY116" fmla="*/ 177192 h 1424254"/>
                  <a:gd name="connsiteX117" fmla="*/ 1223856 w 1604593"/>
                  <a:gd name="connsiteY117" fmla="*/ 175440 h 1424254"/>
                  <a:gd name="connsiteX118" fmla="*/ 1238456 w 1604593"/>
                  <a:gd name="connsiteY118" fmla="*/ 178944 h 1424254"/>
                  <a:gd name="connsiteX119" fmla="*/ 1265069 w 1604593"/>
                  <a:gd name="connsiteY119" fmla="*/ 163010 h 1424254"/>
                  <a:gd name="connsiteX120" fmla="*/ 1271243 w 1604593"/>
                  <a:gd name="connsiteY120" fmla="*/ 154168 h 1424254"/>
                  <a:gd name="connsiteX121" fmla="*/ 1287177 w 1604593"/>
                  <a:gd name="connsiteY121" fmla="*/ 145326 h 1424254"/>
                  <a:gd name="connsiteX122" fmla="*/ 1307116 w 1604593"/>
                  <a:gd name="connsiteY122" fmla="*/ 134230 h 1424254"/>
                  <a:gd name="connsiteX123" fmla="*/ 1322633 w 1604593"/>
                  <a:gd name="connsiteY123" fmla="*/ 94773 h 1424254"/>
                  <a:gd name="connsiteX124" fmla="*/ 1323050 w 1604593"/>
                  <a:gd name="connsiteY124" fmla="*/ 86764 h 1424254"/>
                  <a:gd name="connsiteX125" fmla="*/ 1333229 w 1604593"/>
                  <a:gd name="connsiteY125" fmla="*/ 57567 h 1424254"/>
                  <a:gd name="connsiteX126" fmla="*/ 1345158 w 1604593"/>
                  <a:gd name="connsiteY126" fmla="*/ 50476 h 1424254"/>
                  <a:gd name="connsiteX127" fmla="*/ 1367267 w 1604593"/>
                  <a:gd name="connsiteY127" fmla="*/ 33208 h 1424254"/>
                  <a:gd name="connsiteX128" fmla="*/ 1404893 w 1604593"/>
                  <a:gd name="connsiteY128" fmla="*/ 7 h 1424254"/>
                  <a:gd name="connsiteX129" fmla="*/ 1408397 w 1604593"/>
                  <a:gd name="connsiteY129" fmla="*/ 7098 h 1424254"/>
                  <a:gd name="connsiteX130" fmla="*/ 1396466 w 1604593"/>
                  <a:gd name="connsiteY130" fmla="*/ 25284 h 1424254"/>
                  <a:gd name="connsiteX131" fmla="*/ 1381866 w 1604593"/>
                  <a:gd name="connsiteY131" fmla="*/ 51895 h 1424254"/>
                  <a:gd name="connsiteX132" fmla="*/ 1371272 w 1604593"/>
                  <a:gd name="connsiteY132" fmla="*/ 63406 h 1424254"/>
                  <a:gd name="connsiteX133" fmla="*/ 1370353 w 1604593"/>
                  <a:gd name="connsiteY133" fmla="*/ 82009 h 1424254"/>
                  <a:gd name="connsiteX134" fmla="*/ 1371272 w 1604593"/>
                  <a:gd name="connsiteY134" fmla="*/ 85096 h 1424254"/>
                  <a:gd name="connsiteX135" fmla="*/ 1372606 w 1604593"/>
                  <a:gd name="connsiteY135" fmla="*/ 95690 h 1424254"/>
                  <a:gd name="connsiteX136" fmla="*/ 1374859 w 1604593"/>
                  <a:gd name="connsiteY136" fmla="*/ 108537 h 1424254"/>
                  <a:gd name="connsiteX137" fmla="*/ 1392546 w 1604593"/>
                  <a:gd name="connsiteY137" fmla="*/ 128057 h 1424254"/>
                  <a:gd name="connsiteX138" fmla="*/ 1402723 w 1604593"/>
                  <a:gd name="connsiteY138" fmla="*/ 134230 h 1424254"/>
                  <a:gd name="connsiteX139" fmla="*/ 1412901 w 1604593"/>
                  <a:gd name="connsiteY139" fmla="*/ 156837 h 1424254"/>
                  <a:gd name="connsiteX140" fmla="*/ 1423079 w 1604593"/>
                  <a:gd name="connsiteY140" fmla="*/ 181613 h 1424254"/>
                  <a:gd name="connsiteX141" fmla="*/ 1431505 w 1604593"/>
                  <a:gd name="connsiteY141" fmla="*/ 194460 h 1424254"/>
                  <a:gd name="connsiteX142" fmla="*/ 1455866 w 1604593"/>
                  <a:gd name="connsiteY142" fmla="*/ 233918 h 1424254"/>
                  <a:gd name="connsiteX143" fmla="*/ 1461206 w 1604593"/>
                  <a:gd name="connsiteY143" fmla="*/ 246765 h 1424254"/>
                  <a:gd name="connsiteX144" fmla="*/ 1482897 w 1604593"/>
                  <a:gd name="connsiteY144" fmla="*/ 282636 h 1424254"/>
                  <a:gd name="connsiteX145" fmla="*/ 1517852 w 1604593"/>
                  <a:gd name="connsiteY145" fmla="*/ 288809 h 1424254"/>
                  <a:gd name="connsiteX146" fmla="*/ 1534704 w 1604593"/>
                  <a:gd name="connsiteY146" fmla="*/ 288392 h 1424254"/>
                  <a:gd name="connsiteX147" fmla="*/ 1544465 w 1604593"/>
                  <a:gd name="connsiteY147" fmla="*/ 293731 h 1424254"/>
                  <a:gd name="connsiteX148" fmla="*/ 1551557 w 1604593"/>
                  <a:gd name="connsiteY148" fmla="*/ 299904 h 1424254"/>
                  <a:gd name="connsiteX149" fmla="*/ 1567491 w 1604593"/>
                  <a:gd name="connsiteY149" fmla="*/ 306994 h 1424254"/>
                  <a:gd name="connsiteX150" fmla="*/ 1575500 w 1604593"/>
                  <a:gd name="connsiteY150" fmla="*/ 309664 h 1424254"/>
                  <a:gd name="connsiteX151" fmla="*/ 1600779 w 1604593"/>
                  <a:gd name="connsiteY151" fmla="*/ 382740 h 1424254"/>
                  <a:gd name="connsiteX152" fmla="*/ 1565322 w 1604593"/>
                  <a:gd name="connsiteY152" fmla="*/ 410686 h 1424254"/>
                  <a:gd name="connsiteX153" fmla="*/ 1524526 w 1604593"/>
                  <a:gd name="connsiteY153" fmla="*/ 438632 h 1424254"/>
                  <a:gd name="connsiteX154" fmla="*/ 1513013 w 1604593"/>
                  <a:gd name="connsiteY154" fmla="*/ 459487 h 1424254"/>
                  <a:gd name="connsiteX155" fmla="*/ 1499749 w 1604593"/>
                  <a:gd name="connsiteY155" fmla="*/ 482511 h 1424254"/>
                  <a:gd name="connsiteX156" fmla="*/ 1485149 w 1604593"/>
                  <a:gd name="connsiteY156" fmla="*/ 512209 h 1424254"/>
                  <a:gd name="connsiteX157" fmla="*/ 1476306 w 1604593"/>
                  <a:gd name="connsiteY157" fmla="*/ 533481 h 1424254"/>
                  <a:gd name="connsiteX158" fmla="*/ 1455032 w 1604593"/>
                  <a:gd name="connsiteY158" fmla="*/ 559175 h 1424254"/>
                  <a:gd name="connsiteX159" fmla="*/ 1442602 w 1604593"/>
                  <a:gd name="connsiteY159" fmla="*/ 572939 h 1424254"/>
                  <a:gd name="connsiteX160" fmla="*/ 1428419 w 1604593"/>
                  <a:gd name="connsiteY160" fmla="*/ 585369 h 1424254"/>
                  <a:gd name="connsiteX161" fmla="*/ 1406311 w 1604593"/>
                  <a:gd name="connsiteY161" fmla="*/ 609310 h 1424254"/>
                  <a:gd name="connsiteX162" fmla="*/ 1414737 w 1604593"/>
                  <a:gd name="connsiteY162" fmla="*/ 667788 h 1424254"/>
                  <a:gd name="connsiteX163" fmla="*/ 1440849 w 1604593"/>
                  <a:gd name="connsiteY163" fmla="*/ 683721 h 1424254"/>
                  <a:gd name="connsiteX164" fmla="*/ 1458536 w 1604593"/>
                  <a:gd name="connsiteY164" fmla="*/ 692564 h 1424254"/>
                  <a:gd name="connsiteX165" fmla="*/ 1458953 w 1604593"/>
                  <a:gd name="connsiteY165" fmla="*/ 769645 h 1424254"/>
                  <a:gd name="connsiteX166" fmla="*/ 1451862 w 1604593"/>
                  <a:gd name="connsiteY166" fmla="*/ 781574 h 1424254"/>
                  <a:gd name="connsiteX167" fmla="*/ 1430588 w 1604593"/>
                  <a:gd name="connsiteY167" fmla="*/ 810354 h 1424254"/>
                  <a:gd name="connsiteX168" fmla="*/ 1412901 w 1604593"/>
                  <a:gd name="connsiteY168" fmla="*/ 820531 h 1424254"/>
                  <a:gd name="connsiteX169" fmla="*/ 1385454 w 1604593"/>
                  <a:gd name="connsiteY169" fmla="*/ 838717 h 1424254"/>
                  <a:gd name="connsiteX170" fmla="*/ 1365098 w 1604593"/>
                  <a:gd name="connsiteY170" fmla="*/ 854233 h 1424254"/>
                  <a:gd name="connsiteX171" fmla="*/ 1349164 w 1604593"/>
                  <a:gd name="connsiteY171" fmla="*/ 864827 h 1424254"/>
                  <a:gd name="connsiteX172" fmla="*/ 1342990 w 1604593"/>
                  <a:gd name="connsiteY172" fmla="*/ 870166 h 1424254"/>
                  <a:gd name="connsiteX173" fmla="*/ 1329724 w 1604593"/>
                  <a:gd name="connsiteY173" fmla="*/ 877257 h 1424254"/>
                  <a:gd name="connsiteX174" fmla="*/ 1323551 w 1604593"/>
                  <a:gd name="connsiteY174" fmla="*/ 878175 h 1424254"/>
                  <a:gd name="connsiteX175" fmla="*/ 1304029 w 1604593"/>
                  <a:gd name="connsiteY175" fmla="*/ 885266 h 1424254"/>
                  <a:gd name="connsiteX176" fmla="*/ 1285008 w 1604593"/>
                  <a:gd name="connsiteY176" fmla="*/ 922054 h 1424254"/>
                  <a:gd name="connsiteX177" fmla="*/ 1281921 w 1604593"/>
                  <a:gd name="connsiteY177" fmla="*/ 931814 h 1424254"/>
                  <a:gd name="connsiteX178" fmla="*/ 1250469 w 1604593"/>
                  <a:gd name="connsiteY178" fmla="*/ 971272 h 1424254"/>
                  <a:gd name="connsiteX179" fmla="*/ 1216348 w 1604593"/>
                  <a:gd name="connsiteY179" fmla="*/ 1018238 h 1424254"/>
                  <a:gd name="connsiteX180" fmla="*/ 1214095 w 1604593"/>
                  <a:gd name="connsiteY180" fmla="*/ 1023577 h 1424254"/>
                  <a:gd name="connsiteX181" fmla="*/ 1194573 w 1604593"/>
                  <a:gd name="connsiteY181" fmla="*/ 1049687 h 1424254"/>
                  <a:gd name="connsiteX182" fmla="*/ 1179056 w 1604593"/>
                  <a:gd name="connsiteY182" fmla="*/ 1046184 h 1424254"/>
                  <a:gd name="connsiteX183" fmla="*/ 1151608 w 1604593"/>
                  <a:gd name="connsiteY183" fmla="*/ 1042680 h 1424254"/>
                  <a:gd name="connsiteX184" fmla="*/ 1120574 w 1604593"/>
                  <a:gd name="connsiteY184" fmla="*/ 1068374 h 1424254"/>
                  <a:gd name="connsiteX185" fmla="*/ 1110813 w 1604593"/>
                  <a:gd name="connsiteY185" fmla="*/ 1079468 h 1424254"/>
                  <a:gd name="connsiteX186" fmla="*/ 1076274 w 1604593"/>
                  <a:gd name="connsiteY186" fmla="*/ 1098989 h 1424254"/>
                  <a:gd name="connsiteX187" fmla="*/ 1067848 w 1604593"/>
                  <a:gd name="connsiteY187" fmla="*/ 1095485 h 1424254"/>
                  <a:gd name="connsiteX188" fmla="*/ 1055417 w 1604593"/>
                  <a:gd name="connsiteY188" fmla="*/ 1090647 h 1424254"/>
                  <a:gd name="connsiteX189" fmla="*/ 1034560 w 1604593"/>
                  <a:gd name="connsiteY189" fmla="*/ 1097737 h 1424254"/>
                  <a:gd name="connsiteX190" fmla="*/ 1029222 w 1604593"/>
                  <a:gd name="connsiteY190" fmla="*/ 1101241 h 1424254"/>
                  <a:gd name="connsiteX191" fmla="*/ 1015456 w 1604593"/>
                  <a:gd name="connsiteY191" fmla="*/ 1105245 h 1424254"/>
                  <a:gd name="connsiteX192" fmla="*/ 991513 w 1604593"/>
                  <a:gd name="connsiteY192" fmla="*/ 1117175 h 1424254"/>
                  <a:gd name="connsiteX193" fmla="*/ 990594 w 1604593"/>
                  <a:gd name="connsiteY193" fmla="*/ 1138447 h 1424254"/>
                  <a:gd name="connsiteX194" fmla="*/ 1000355 w 1604593"/>
                  <a:gd name="connsiteY194" fmla="*/ 1155297 h 1424254"/>
                  <a:gd name="connsiteX195" fmla="*/ 1008782 w 1604593"/>
                  <a:gd name="connsiteY195" fmla="*/ 1173900 h 1424254"/>
                  <a:gd name="connsiteX196" fmla="*/ 1002608 w 1604593"/>
                  <a:gd name="connsiteY196" fmla="*/ 1179656 h 1424254"/>
                  <a:gd name="connsiteX197" fmla="*/ 995100 w 1604593"/>
                  <a:gd name="connsiteY197" fmla="*/ 1186330 h 1424254"/>
                  <a:gd name="connsiteX198" fmla="*/ 985339 w 1604593"/>
                  <a:gd name="connsiteY198" fmla="*/ 1209771 h 1424254"/>
                  <a:gd name="connsiteX199" fmla="*/ 982669 w 1604593"/>
                  <a:gd name="connsiteY199" fmla="*/ 1219531 h 1424254"/>
                  <a:gd name="connsiteX200" fmla="*/ 981334 w 1604593"/>
                  <a:gd name="connsiteY200" fmla="*/ 1248728 h 1424254"/>
                  <a:gd name="connsiteX201" fmla="*/ 1007030 w 1604593"/>
                  <a:gd name="connsiteY201" fmla="*/ 1259824 h 1424254"/>
                  <a:gd name="connsiteX202" fmla="*/ 1013704 w 1604593"/>
                  <a:gd name="connsiteY202" fmla="*/ 1260241 h 1424254"/>
                  <a:gd name="connsiteX203" fmla="*/ 1034978 w 1604593"/>
                  <a:gd name="connsiteY203" fmla="*/ 1264662 h 1424254"/>
                  <a:gd name="connsiteX204" fmla="*/ 1034978 w 1604593"/>
                  <a:gd name="connsiteY204" fmla="*/ 1270835 h 1424254"/>
                  <a:gd name="connsiteX205" fmla="*/ 1013704 w 1604593"/>
                  <a:gd name="connsiteY205" fmla="*/ 1289438 h 1424254"/>
                  <a:gd name="connsiteX206" fmla="*/ 1000188 w 1604593"/>
                  <a:gd name="connsiteY206" fmla="*/ 1299031 h 142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1604593" h="1424254" extrusionOk="0">
                    <a:moveTo>
                      <a:pt x="1000188" y="1299031"/>
                    </a:moveTo>
                    <a:cubicBezTo>
                      <a:pt x="978497" y="1315382"/>
                      <a:pt x="971406" y="1340241"/>
                      <a:pt x="969154" y="1365934"/>
                    </a:cubicBezTo>
                    <a:cubicBezTo>
                      <a:pt x="965650" y="1366351"/>
                      <a:pt x="962063" y="1366852"/>
                      <a:pt x="958976" y="1367269"/>
                    </a:cubicBezTo>
                    <a:cubicBezTo>
                      <a:pt x="949215" y="1369021"/>
                      <a:pt x="939454" y="1370356"/>
                      <a:pt x="930611" y="1367686"/>
                    </a:cubicBezTo>
                    <a:cubicBezTo>
                      <a:pt x="922601" y="1365017"/>
                      <a:pt x="916846" y="1358844"/>
                      <a:pt x="910672" y="1353088"/>
                    </a:cubicBezTo>
                    <a:cubicBezTo>
                      <a:pt x="905333" y="1347749"/>
                      <a:pt x="900076" y="1341993"/>
                      <a:pt x="892485" y="1337988"/>
                    </a:cubicBezTo>
                    <a:cubicBezTo>
                      <a:pt x="876551" y="1328646"/>
                      <a:pt x="858780" y="1330898"/>
                      <a:pt x="843763" y="1333567"/>
                    </a:cubicBezTo>
                    <a:cubicBezTo>
                      <a:pt x="837590" y="1334902"/>
                      <a:pt x="831333" y="1336237"/>
                      <a:pt x="825159" y="1337988"/>
                    </a:cubicBezTo>
                    <a:cubicBezTo>
                      <a:pt x="813646" y="1340658"/>
                      <a:pt x="802551" y="1343328"/>
                      <a:pt x="791038" y="1343745"/>
                    </a:cubicBezTo>
                    <a:lnTo>
                      <a:pt x="773769" y="1343745"/>
                    </a:lnTo>
                    <a:cubicBezTo>
                      <a:pt x="762256" y="1343745"/>
                      <a:pt x="750325" y="1343745"/>
                      <a:pt x="738312" y="1345079"/>
                    </a:cubicBezTo>
                    <a:cubicBezTo>
                      <a:pt x="704190" y="1349084"/>
                      <a:pt x="674491" y="1362764"/>
                      <a:pt x="641287" y="1389376"/>
                    </a:cubicBezTo>
                    <a:cubicBezTo>
                      <a:pt x="612087" y="1412817"/>
                      <a:pt x="588561" y="1428834"/>
                      <a:pt x="552687" y="1423077"/>
                    </a:cubicBezTo>
                    <a:cubicBezTo>
                      <a:pt x="542926" y="1421326"/>
                      <a:pt x="532331" y="1420408"/>
                      <a:pt x="521652" y="1419073"/>
                    </a:cubicBezTo>
                    <a:cubicBezTo>
                      <a:pt x="493287" y="1415987"/>
                      <a:pt x="464088" y="1412400"/>
                      <a:pt x="442814" y="1400471"/>
                    </a:cubicBezTo>
                    <a:cubicBezTo>
                      <a:pt x="418453" y="1386289"/>
                      <a:pt x="410945" y="1361013"/>
                      <a:pt x="406523" y="1334902"/>
                    </a:cubicBezTo>
                    <a:cubicBezTo>
                      <a:pt x="401685" y="1308791"/>
                      <a:pt x="394594" y="1268499"/>
                      <a:pt x="353797" y="1258739"/>
                    </a:cubicBezTo>
                    <a:cubicBezTo>
                      <a:pt x="340533" y="1255653"/>
                      <a:pt x="327685" y="1257405"/>
                      <a:pt x="315254" y="1258322"/>
                    </a:cubicBezTo>
                    <a:cubicBezTo>
                      <a:pt x="308163" y="1259240"/>
                      <a:pt x="300654" y="1259657"/>
                      <a:pt x="294397" y="1259657"/>
                    </a:cubicBezTo>
                    <a:cubicBezTo>
                      <a:pt x="278463" y="1259657"/>
                      <a:pt x="265615" y="1254318"/>
                      <a:pt x="251015" y="1246810"/>
                    </a:cubicBezTo>
                    <a:cubicBezTo>
                      <a:pt x="229324" y="1236215"/>
                      <a:pt x="206716" y="1235298"/>
                      <a:pt x="185025" y="1233963"/>
                    </a:cubicBezTo>
                    <a:cubicBezTo>
                      <a:pt x="168173" y="1233046"/>
                      <a:pt x="152239" y="1232628"/>
                      <a:pt x="136721" y="1227790"/>
                    </a:cubicBezTo>
                    <a:cubicBezTo>
                      <a:pt x="119869" y="1222952"/>
                      <a:pt x="103017" y="1215861"/>
                      <a:pt x="86665" y="1207852"/>
                    </a:cubicBezTo>
                    <a:cubicBezTo>
                      <a:pt x="84913" y="1206935"/>
                      <a:pt x="83161" y="1206101"/>
                      <a:pt x="81326" y="1205183"/>
                    </a:cubicBezTo>
                    <a:cubicBezTo>
                      <a:pt x="70730" y="1199427"/>
                      <a:pt x="55630" y="1191419"/>
                      <a:pt x="42365" y="1196341"/>
                    </a:cubicBezTo>
                    <a:cubicBezTo>
                      <a:pt x="37944" y="1197675"/>
                      <a:pt x="34357" y="1200345"/>
                      <a:pt x="32187" y="1203014"/>
                    </a:cubicBezTo>
                    <a:cubicBezTo>
                      <a:pt x="22009" y="1194589"/>
                      <a:pt x="13166" y="1185746"/>
                      <a:pt x="6492" y="1175068"/>
                    </a:cubicBezTo>
                    <a:cubicBezTo>
                      <a:pt x="-1517" y="1162639"/>
                      <a:pt x="-1934" y="1153796"/>
                      <a:pt x="4239" y="1139615"/>
                    </a:cubicBezTo>
                    <a:cubicBezTo>
                      <a:pt x="5157" y="1137362"/>
                      <a:pt x="6492" y="1135193"/>
                      <a:pt x="7326" y="1133442"/>
                    </a:cubicBezTo>
                    <a:cubicBezTo>
                      <a:pt x="10413" y="1128103"/>
                      <a:pt x="13500" y="1121929"/>
                      <a:pt x="14417" y="1114839"/>
                    </a:cubicBezTo>
                    <a:cubicBezTo>
                      <a:pt x="14834" y="1110000"/>
                      <a:pt x="14000" y="1105496"/>
                      <a:pt x="13500" y="1101575"/>
                    </a:cubicBezTo>
                    <a:cubicBezTo>
                      <a:pt x="13083" y="1098488"/>
                      <a:pt x="12582" y="1095819"/>
                      <a:pt x="12582" y="1093149"/>
                    </a:cubicBezTo>
                    <a:cubicBezTo>
                      <a:pt x="12999" y="1086976"/>
                      <a:pt x="15669" y="1082972"/>
                      <a:pt x="20591" y="1079385"/>
                    </a:cubicBezTo>
                    <a:cubicBezTo>
                      <a:pt x="22843" y="1077633"/>
                      <a:pt x="25430" y="1076298"/>
                      <a:pt x="29017" y="1074046"/>
                    </a:cubicBezTo>
                    <a:cubicBezTo>
                      <a:pt x="30351" y="1073128"/>
                      <a:pt x="31687" y="1072294"/>
                      <a:pt x="33021" y="1071794"/>
                    </a:cubicBezTo>
                    <a:lnTo>
                      <a:pt x="33021" y="1071377"/>
                    </a:lnTo>
                    <a:cubicBezTo>
                      <a:pt x="34357" y="1070459"/>
                      <a:pt x="36108" y="1069124"/>
                      <a:pt x="37860" y="1068290"/>
                    </a:cubicBezTo>
                    <a:cubicBezTo>
                      <a:pt x="50708" y="1058947"/>
                      <a:pt x="64891" y="1047018"/>
                      <a:pt x="80408" y="1031501"/>
                    </a:cubicBezTo>
                    <a:cubicBezTo>
                      <a:pt x="83077" y="1028832"/>
                      <a:pt x="86164" y="1025328"/>
                      <a:pt x="89251" y="1021742"/>
                    </a:cubicBezTo>
                    <a:cubicBezTo>
                      <a:pt x="99847" y="1009812"/>
                      <a:pt x="114029" y="993796"/>
                      <a:pt x="125542" y="996465"/>
                    </a:cubicBezTo>
                    <a:cubicBezTo>
                      <a:pt x="130881" y="998217"/>
                      <a:pt x="133968" y="1004473"/>
                      <a:pt x="137472" y="1013733"/>
                    </a:cubicBezTo>
                    <a:cubicBezTo>
                      <a:pt x="138806" y="1017237"/>
                      <a:pt x="140142" y="1021241"/>
                      <a:pt x="141893" y="1024327"/>
                    </a:cubicBezTo>
                    <a:cubicBezTo>
                      <a:pt x="149903" y="1038509"/>
                      <a:pt x="161833" y="1046434"/>
                      <a:pt x="173763" y="1054025"/>
                    </a:cubicBezTo>
                    <a:lnTo>
                      <a:pt x="175514" y="1055360"/>
                    </a:lnTo>
                    <a:cubicBezTo>
                      <a:pt x="190114" y="1064703"/>
                      <a:pt x="205632" y="1070876"/>
                      <a:pt x="220732" y="1076632"/>
                    </a:cubicBezTo>
                    <a:cubicBezTo>
                      <a:pt x="238919" y="1083723"/>
                      <a:pt x="255688" y="1090396"/>
                      <a:pt x="270788" y="1101908"/>
                    </a:cubicBezTo>
                    <a:cubicBezTo>
                      <a:pt x="274292" y="1104995"/>
                      <a:pt x="278296" y="1108582"/>
                      <a:pt x="281883" y="1112086"/>
                    </a:cubicBezTo>
                    <a:cubicBezTo>
                      <a:pt x="291644" y="1120928"/>
                      <a:pt x="301823" y="1130271"/>
                      <a:pt x="314254" y="1135527"/>
                    </a:cubicBezTo>
                    <a:cubicBezTo>
                      <a:pt x="327101" y="1140866"/>
                      <a:pt x="337696" y="1138613"/>
                      <a:pt x="347958" y="1137279"/>
                    </a:cubicBezTo>
                    <a:cubicBezTo>
                      <a:pt x="352796" y="1136361"/>
                      <a:pt x="357302" y="1135527"/>
                      <a:pt x="362557" y="1135527"/>
                    </a:cubicBezTo>
                    <a:cubicBezTo>
                      <a:pt x="375405" y="1135944"/>
                      <a:pt x="382914" y="1143035"/>
                      <a:pt x="392258" y="1153212"/>
                    </a:cubicBezTo>
                    <a:cubicBezTo>
                      <a:pt x="394927" y="1155882"/>
                      <a:pt x="397096" y="1158051"/>
                      <a:pt x="400266" y="1160720"/>
                    </a:cubicBezTo>
                    <a:cubicBezTo>
                      <a:pt x="411779" y="1171815"/>
                      <a:pt x="423709" y="1177571"/>
                      <a:pt x="436557" y="1183744"/>
                    </a:cubicBezTo>
                    <a:cubicBezTo>
                      <a:pt x="453827" y="1191752"/>
                      <a:pt x="455161" y="1196591"/>
                      <a:pt x="458248" y="1214777"/>
                    </a:cubicBezTo>
                    <a:cubicBezTo>
                      <a:pt x="460501" y="1226288"/>
                      <a:pt x="464422" y="1233379"/>
                      <a:pt x="470679" y="1238218"/>
                    </a:cubicBezTo>
                    <a:cubicBezTo>
                      <a:pt x="476852" y="1242639"/>
                      <a:pt x="484862" y="1243557"/>
                      <a:pt x="494622" y="1241721"/>
                    </a:cubicBezTo>
                    <a:cubicBezTo>
                      <a:pt x="518983" y="1237300"/>
                      <a:pt x="518983" y="1237717"/>
                      <a:pt x="527409" y="1259407"/>
                    </a:cubicBezTo>
                    <a:cubicBezTo>
                      <a:pt x="531414" y="1270001"/>
                      <a:pt x="537170" y="1276257"/>
                      <a:pt x="543761" y="1278009"/>
                    </a:cubicBezTo>
                    <a:cubicBezTo>
                      <a:pt x="545095" y="1278426"/>
                      <a:pt x="546848" y="1278426"/>
                      <a:pt x="548182" y="1278426"/>
                    </a:cubicBezTo>
                    <a:cubicBezTo>
                      <a:pt x="557943" y="1278426"/>
                      <a:pt x="566786" y="1270918"/>
                      <a:pt x="574796" y="1264245"/>
                    </a:cubicBezTo>
                    <a:cubicBezTo>
                      <a:pt x="577882" y="1261576"/>
                      <a:pt x="581470" y="1258489"/>
                      <a:pt x="584557" y="1256236"/>
                    </a:cubicBezTo>
                    <a:cubicBezTo>
                      <a:pt x="587643" y="1253984"/>
                      <a:pt x="591231" y="1252733"/>
                      <a:pt x="595151" y="1251398"/>
                    </a:cubicBezTo>
                    <a:cubicBezTo>
                      <a:pt x="603578" y="1247894"/>
                      <a:pt x="614173" y="1243390"/>
                      <a:pt x="618595" y="1231044"/>
                    </a:cubicBezTo>
                    <a:cubicBezTo>
                      <a:pt x="621264" y="1222618"/>
                      <a:pt x="620346" y="1215110"/>
                      <a:pt x="619512" y="1208437"/>
                    </a:cubicBezTo>
                    <a:cubicBezTo>
                      <a:pt x="618595" y="1200011"/>
                      <a:pt x="617760" y="1194255"/>
                      <a:pt x="621765" y="1188916"/>
                    </a:cubicBezTo>
                    <a:cubicBezTo>
                      <a:pt x="626186" y="1182743"/>
                      <a:pt x="634196" y="1178322"/>
                      <a:pt x="642121" y="1173400"/>
                    </a:cubicBezTo>
                    <a:cubicBezTo>
                      <a:pt x="647460" y="1170313"/>
                      <a:pt x="653217" y="1167227"/>
                      <a:pt x="658055" y="1163222"/>
                    </a:cubicBezTo>
                    <a:cubicBezTo>
                      <a:pt x="670903" y="1153045"/>
                      <a:pt x="681999" y="1140616"/>
                      <a:pt x="691760" y="1126434"/>
                    </a:cubicBezTo>
                    <a:cubicBezTo>
                      <a:pt x="702355" y="1110501"/>
                      <a:pt x="709029" y="1092315"/>
                      <a:pt x="715203" y="1074630"/>
                    </a:cubicBezTo>
                    <a:cubicBezTo>
                      <a:pt x="721877" y="1056027"/>
                      <a:pt x="728051" y="1038342"/>
                      <a:pt x="739146" y="1024161"/>
                    </a:cubicBezTo>
                    <a:cubicBezTo>
                      <a:pt x="744485" y="1017070"/>
                      <a:pt x="751576" y="1010396"/>
                      <a:pt x="759085" y="1003806"/>
                    </a:cubicBezTo>
                    <a:cubicBezTo>
                      <a:pt x="765259" y="998467"/>
                      <a:pt x="771933" y="992711"/>
                      <a:pt x="777273" y="986121"/>
                    </a:cubicBezTo>
                    <a:cubicBezTo>
                      <a:pt x="785698" y="976360"/>
                      <a:pt x="793207" y="966600"/>
                      <a:pt x="801215" y="956924"/>
                    </a:cubicBezTo>
                    <a:cubicBezTo>
                      <a:pt x="804720" y="952085"/>
                      <a:pt x="809225" y="947163"/>
                      <a:pt x="813146" y="942325"/>
                    </a:cubicBezTo>
                    <a:cubicBezTo>
                      <a:pt x="823741" y="929061"/>
                      <a:pt x="836589" y="913545"/>
                      <a:pt x="851689" y="899781"/>
                    </a:cubicBezTo>
                    <a:lnTo>
                      <a:pt x="854358" y="897528"/>
                    </a:lnTo>
                    <a:cubicBezTo>
                      <a:pt x="866789" y="886433"/>
                      <a:pt x="879136" y="874921"/>
                      <a:pt x="884893" y="857236"/>
                    </a:cubicBezTo>
                    <a:cubicBezTo>
                      <a:pt x="889315" y="843472"/>
                      <a:pt x="890232" y="829290"/>
                      <a:pt x="891567" y="815192"/>
                    </a:cubicBezTo>
                    <a:cubicBezTo>
                      <a:pt x="891984" y="808519"/>
                      <a:pt x="892485" y="801428"/>
                      <a:pt x="893319" y="795255"/>
                    </a:cubicBezTo>
                    <a:cubicBezTo>
                      <a:pt x="895989" y="777069"/>
                      <a:pt x="899076" y="757632"/>
                      <a:pt x="903497" y="735859"/>
                    </a:cubicBezTo>
                    <a:lnTo>
                      <a:pt x="905249" y="726516"/>
                    </a:lnTo>
                    <a:cubicBezTo>
                      <a:pt x="907919" y="711417"/>
                      <a:pt x="911006" y="695484"/>
                      <a:pt x="915844" y="681302"/>
                    </a:cubicBezTo>
                    <a:cubicBezTo>
                      <a:pt x="916762" y="679050"/>
                      <a:pt x="917596" y="676464"/>
                      <a:pt x="918931" y="673294"/>
                    </a:cubicBezTo>
                    <a:cubicBezTo>
                      <a:pt x="923353" y="662699"/>
                      <a:pt x="928692" y="649352"/>
                      <a:pt x="924270" y="637006"/>
                    </a:cubicBezTo>
                    <a:cubicBezTo>
                      <a:pt x="919849" y="624576"/>
                      <a:pt x="909670" y="621907"/>
                      <a:pt x="901245" y="619738"/>
                    </a:cubicBezTo>
                    <a:cubicBezTo>
                      <a:pt x="896406" y="618403"/>
                      <a:pt x="892402" y="617069"/>
                      <a:pt x="889315" y="614900"/>
                    </a:cubicBezTo>
                    <a:cubicBezTo>
                      <a:pt x="882641" y="609561"/>
                      <a:pt x="879971" y="598966"/>
                      <a:pt x="878219" y="588288"/>
                    </a:cubicBezTo>
                    <a:cubicBezTo>
                      <a:pt x="876467" y="579446"/>
                      <a:pt x="875966" y="570103"/>
                      <a:pt x="875549" y="561260"/>
                    </a:cubicBezTo>
                    <a:cubicBezTo>
                      <a:pt x="874631" y="543575"/>
                      <a:pt x="873797" y="524972"/>
                      <a:pt x="863619" y="507621"/>
                    </a:cubicBezTo>
                    <a:lnTo>
                      <a:pt x="861867" y="504534"/>
                    </a:lnTo>
                    <a:cubicBezTo>
                      <a:pt x="853441" y="490353"/>
                      <a:pt x="849020" y="482344"/>
                      <a:pt x="849937" y="465994"/>
                    </a:cubicBezTo>
                    <a:cubicBezTo>
                      <a:pt x="850354" y="460655"/>
                      <a:pt x="850354" y="454065"/>
                      <a:pt x="850354" y="448309"/>
                    </a:cubicBezTo>
                    <a:cubicBezTo>
                      <a:pt x="850354" y="438132"/>
                      <a:pt x="849937" y="427453"/>
                      <a:pt x="852607" y="419111"/>
                    </a:cubicBezTo>
                    <a:cubicBezTo>
                      <a:pt x="853024" y="417777"/>
                      <a:pt x="857445" y="414273"/>
                      <a:pt x="860115" y="412021"/>
                    </a:cubicBezTo>
                    <a:cubicBezTo>
                      <a:pt x="867207" y="405848"/>
                      <a:pt x="877385" y="397839"/>
                      <a:pt x="873881" y="386327"/>
                    </a:cubicBezTo>
                    <a:cubicBezTo>
                      <a:pt x="870794" y="376984"/>
                      <a:pt x="860616" y="373898"/>
                      <a:pt x="853941" y="371729"/>
                    </a:cubicBezTo>
                    <a:cubicBezTo>
                      <a:pt x="852190" y="370811"/>
                      <a:pt x="849520" y="370394"/>
                      <a:pt x="849103" y="369977"/>
                    </a:cubicBezTo>
                    <a:cubicBezTo>
                      <a:pt x="848185" y="369059"/>
                      <a:pt x="846850" y="367308"/>
                      <a:pt x="846016" y="365973"/>
                    </a:cubicBezTo>
                    <a:cubicBezTo>
                      <a:pt x="844681" y="363720"/>
                      <a:pt x="842929" y="361551"/>
                      <a:pt x="840677" y="359299"/>
                    </a:cubicBezTo>
                    <a:cubicBezTo>
                      <a:pt x="835838" y="354878"/>
                      <a:pt x="830082" y="352208"/>
                      <a:pt x="824742" y="349956"/>
                    </a:cubicBezTo>
                    <a:cubicBezTo>
                      <a:pt x="819403" y="347287"/>
                      <a:pt x="814147" y="345118"/>
                      <a:pt x="811478" y="341530"/>
                    </a:cubicBezTo>
                    <a:cubicBezTo>
                      <a:pt x="805304" y="332688"/>
                      <a:pt x="809725" y="319841"/>
                      <a:pt x="814981" y="311416"/>
                    </a:cubicBezTo>
                    <a:cubicBezTo>
                      <a:pt x="823407" y="298152"/>
                      <a:pt x="837590" y="289309"/>
                      <a:pt x="847768" y="283970"/>
                    </a:cubicBezTo>
                    <a:cubicBezTo>
                      <a:pt x="851272" y="282219"/>
                      <a:pt x="855277" y="280884"/>
                      <a:pt x="859281" y="279549"/>
                    </a:cubicBezTo>
                    <a:cubicBezTo>
                      <a:pt x="867290" y="276879"/>
                      <a:pt x="876551" y="274210"/>
                      <a:pt x="882724" y="267620"/>
                    </a:cubicBezTo>
                    <a:cubicBezTo>
                      <a:pt x="892902" y="257860"/>
                      <a:pt x="893819" y="246348"/>
                      <a:pt x="894653" y="236588"/>
                    </a:cubicBezTo>
                    <a:cubicBezTo>
                      <a:pt x="895572" y="223741"/>
                      <a:pt x="895989" y="218902"/>
                      <a:pt x="914593" y="218902"/>
                    </a:cubicBezTo>
                    <a:cubicBezTo>
                      <a:pt x="920767" y="218902"/>
                      <a:pt x="928775" y="220654"/>
                      <a:pt x="937618" y="222406"/>
                    </a:cubicBezTo>
                    <a:cubicBezTo>
                      <a:pt x="958892" y="226827"/>
                      <a:pt x="985423" y="232584"/>
                      <a:pt x="1000940" y="213563"/>
                    </a:cubicBezTo>
                    <a:cubicBezTo>
                      <a:pt x="1006279" y="206473"/>
                      <a:pt x="1007614" y="198047"/>
                      <a:pt x="1008948" y="190956"/>
                    </a:cubicBezTo>
                    <a:cubicBezTo>
                      <a:pt x="1009866" y="184283"/>
                      <a:pt x="1011201" y="179027"/>
                      <a:pt x="1014288" y="175023"/>
                    </a:cubicBezTo>
                    <a:cubicBezTo>
                      <a:pt x="1020962" y="166598"/>
                      <a:pt x="1030222" y="168350"/>
                      <a:pt x="1044822" y="171937"/>
                    </a:cubicBezTo>
                    <a:cubicBezTo>
                      <a:pt x="1047074" y="172854"/>
                      <a:pt x="1049244" y="173271"/>
                      <a:pt x="1051496" y="173689"/>
                    </a:cubicBezTo>
                    <a:cubicBezTo>
                      <a:pt x="1066096" y="176775"/>
                      <a:pt x="1078944" y="174106"/>
                      <a:pt x="1091792" y="171019"/>
                    </a:cubicBezTo>
                    <a:cubicBezTo>
                      <a:pt x="1106391" y="167933"/>
                      <a:pt x="1119239" y="165263"/>
                      <a:pt x="1132087" y="172354"/>
                    </a:cubicBezTo>
                    <a:lnTo>
                      <a:pt x="1134757" y="174106"/>
                    </a:lnTo>
                    <a:cubicBezTo>
                      <a:pt x="1160452" y="188704"/>
                      <a:pt x="1173299" y="196212"/>
                      <a:pt x="1204334" y="177192"/>
                    </a:cubicBezTo>
                    <a:cubicBezTo>
                      <a:pt x="1213178" y="171853"/>
                      <a:pt x="1216264" y="172771"/>
                      <a:pt x="1223856" y="175440"/>
                    </a:cubicBezTo>
                    <a:cubicBezTo>
                      <a:pt x="1227861" y="176775"/>
                      <a:pt x="1232699" y="178110"/>
                      <a:pt x="1238456" y="178944"/>
                    </a:cubicBezTo>
                    <a:cubicBezTo>
                      <a:pt x="1254807" y="180279"/>
                      <a:pt x="1260564" y="170518"/>
                      <a:pt x="1265069" y="163010"/>
                    </a:cubicBezTo>
                    <a:cubicBezTo>
                      <a:pt x="1266821" y="159924"/>
                      <a:pt x="1268573" y="156837"/>
                      <a:pt x="1271243" y="154168"/>
                    </a:cubicBezTo>
                    <a:cubicBezTo>
                      <a:pt x="1275247" y="149747"/>
                      <a:pt x="1281004" y="147495"/>
                      <a:pt x="1287177" y="145326"/>
                    </a:cubicBezTo>
                    <a:cubicBezTo>
                      <a:pt x="1294268" y="142239"/>
                      <a:pt x="1301359" y="139570"/>
                      <a:pt x="1307116" y="134230"/>
                    </a:cubicBezTo>
                    <a:cubicBezTo>
                      <a:pt x="1319547" y="123136"/>
                      <a:pt x="1321716" y="108120"/>
                      <a:pt x="1322633" y="94773"/>
                    </a:cubicBezTo>
                    <a:cubicBezTo>
                      <a:pt x="1323050" y="92103"/>
                      <a:pt x="1323050" y="89434"/>
                      <a:pt x="1323050" y="86764"/>
                    </a:cubicBezTo>
                    <a:cubicBezTo>
                      <a:pt x="1323467" y="73000"/>
                      <a:pt x="1324386" y="64157"/>
                      <a:pt x="1333229" y="57567"/>
                    </a:cubicBezTo>
                    <a:cubicBezTo>
                      <a:pt x="1337233" y="54481"/>
                      <a:pt x="1341238" y="52729"/>
                      <a:pt x="1345158" y="50476"/>
                    </a:cubicBezTo>
                    <a:cubicBezTo>
                      <a:pt x="1352250" y="46973"/>
                      <a:pt x="1359758" y="42468"/>
                      <a:pt x="1367267" y="33208"/>
                    </a:cubicBezTo>
                    <a:cubicBezTo>
                      <a:pt x="1394714" y="-1328"/>
                      <a:pt x="1404058" y="7"/>
                      <a:pt x="1404893" y="7"/>
                    </a:cubicBezTo>
                    <a:cubicBezTo>
                      <a:pt x="1405810" y="424"/>
                      <a:pt x="1407562" y="2676"/>
                      <a:pt x="1408397" y="7098"/>
                    </a:cubicBezTo>
                    <a:cubicBezTo>
                      <a:pt x="1409314" y="11102"/>
                      <a:pt x="1401722" y="19527"/>
                      <a:pt x="1396466" y="25284"/>
                    </a:cubicBezTo>
                    <a:cubicBezTo>
                      <a:pt x="1388958" y="33709"/>
                      <a:pt x="1380949" y="42551"/>
                      <a:pt x="1381866" y="51895"/>
                    </a:cubicBezTo>
                    <a:cubicBezTo>
                      <a:pt x="1377445" y="54564"/>
                      <a:pt x="1373440" y="58568"/>
                      <a:pt x="1371272" y="63406"/>
                    </a:cubicBezTo>
                    <a:cubicBezTo>
                      <a:pt x="1367768" y="70914"/>
                      <a:pt x="1369019" y="77171"/>
                      <a:pt x="1370353" y="82009"/>
                    </a:cubicBezTo>
                    <a:lnTo>
                      <a:pt x="1371272" y="85096"/>
                    </a:lnTo>
                    <a:cubicBezTo>
                      <a:pt x="1372189" y="88183"/>
                      <a:pt x="1372189" y="92187"/>
                      <a:pt x="1372606" y="95690"/>
                    </a:cubicBezTo>
                    <a:cubicBezTo>
                      <a:pt x="1373023" y="100111"/>
                      <a:pt x="1373524" y="104533"/>
                      <a:pt x="1374859" y="108537"/>
                    </a:cubicBezTo>
                    <a:cubicBezTo>
                      <a:pt x="1377946" y="121384"/>
                      <a:pt x="1385954" y="124888"/>
                      <a:pt x="1392546" y="128057"/>
                    </a:cubicBezTo>
                    <a:cubicBezTo>
                      <a:pt x="1396550" y="129392"/>
                      <a:pt x="1399637" y="131144"/>
                      <a:pt x="1402723" y="134230"/>
                    </a:cubicBezTo>
                    <a:cubicBezTo>
                      <a:pt x="1407145" y="139069"/>
                      <a:pt x="1409814" y="147995"/>
                      <a:pt x="1412901" y="156837"/>
                    </a:cubicBezTo>
                    <a:cubicBezTo>
                      <a:pt x="1415571" y="165263"/>
                      <a:pt x="1418241" y="174106"/>
                      <a:pt x="1423079" y="181613"/>
                    </a:cubicBezTo>
                    <a:cubicBezTo>
                      <a:pt x="1426166" y="186035"/>
                      <a:pt x="1428836" y="190039"/>
                      <a:pt x="1431505" y="194460"/>
                    </a:cubicBezTo>
                    <a:cubicBezTo>
                      <a:pt x="1440349" y="207307"/>
                      <a:pt x="1449192" y="220154"/>
                      <a:pt x="1455866" y="233918"/>
                    </a:cubicBezTo>
                    <a:cubicBezTo>
                      <a:pt x="1457618" y="237422"/>
                      <a:pt x="1459370" y="242343"/>
                      <a:pt x="1461206" y="246765"/>
                    </a:cubicBezTo>
                    <a:cubicBezTo>
                      <a:pt x="1466044" y="259195"/>
                      <a:pt x="1471801" y="273793"/>
                      <a:pt x="1482897" y="282636"/>
                    </a:cubicBezTo>
                    <a:cubicBezTo>
                      <a:pt x="1494826" y="291979"/>
                      <a:pt x="1506840" y="290644"/>
                      <a:pt x="1517852" y="288809"/>
                    </a:cubicBezTo>
                    <a:cubicBezTo>
                      <a:pt x="1523609" y="287891"/>
                      <a:pt x="1529366" y="287474"/>
                      <a:pt x="1534704" y="288392"/>
                    </a:cubicBezTo>
                    <a:cubicBezTo>
                      <a:pt x="1539543" y="289309"/>
                      <a:pt x="1540878" y="290644"/>
                      <a:pt x="1544465" y="293731"/>
                    </a:cubicBezTo>
                    <a:cubicBezTo>
                      <a:pt x="1546718" y="295983"/>
                      <a:pt x="1548470" y="297735"/>
                      <a:pt x="1551557" y="299904"/>
                    </a:cubicBezTo>
                    <a:cubicBezTo>
                      <a:pt x="1556896" y="303908"/>
                      <a:pt x="1562152" y="305242"/>
                      <a:pt x="1567491" y="306994"/>
                    </a:cubicBezTo>
                    <a:cubicBezTo>
                      <a:pt x="1570161" y="307912"/>
                      <a:pt x="1572330" y="308329"/>
                      <a:pt x="1575500" y="309664"/>
                    </a:cubicBezTo>
                    <a:cubicBezTo>
                      <a:pt x="1601613" y="320759"/>
                      <a:pt x="1610456" y="357964"/>
                      <a:pt x="1600779" y="382740"/>
                    </a:cubicBezTo>
                    <a:cubicBezTo>
                      <a:pt x="1594605" y="398256"/>
                      <a:pt x="1580839" y="404013"/>
                      <a:pt x="1565322" y="410686"/>
                    </a:cubicBezTo>
                    <a:cubicBezTo>
                      <a:pt x="1551140" y="416859"/>
                      <a:pt x="1534788" y="423533"/>
                      <a:pt x="1524526" y="438632"/>
                    </a:cubicBezTo>
                    <a:cubicBezTo>
                      <a:pt x="1519688" y="445306"/>
                      <a:pt x="1516100" y="452814"/>
                      <a:pt x="1513013" y="459487"/>
                    </a:cubicBezTo>
                    <a:cubicBezTo>
                      <a:pt x="1509009" y="467912"/>
                      <a:pt x="1505005" y="475420"/>
                      <a:pt x="1499749" y="482511"/>
                    </a:cubicBezTo>
                    <a:cubicBezTo>
                      <a:pt x="1491740" y="492271"/>
                      <a:pt x="1488653" y="502449"/>
                      <a:pt x="1485149" y="512209"/>
                    </a:cubicBezTo>
                    <a:cubicBezTo>
                      <a:pt x="1482479" y="519717"/>
                      <a:pt x="1480310" y="526807"/>
                      <a:pt x="1476306" y="533481"/>
                    </a:cubicBezTo>
                    <a:cubicBezTo>
                      <a:pt x="1470967" y="541907"/>
                      <a:pt x="1463041" y="550749"/>
                      <a:pt x="1455032" y="559175"/>
                    </a:cubicBezTo>
                    <a:cubicBezTo>
                      <a:pt x="1450610" y="563596"/>
                      <a:pt x="1446189" y="568518"/>
                      <a:pt x="1442602" y="572939"/>
                    </a:cubicBezTo>
                    <a:cubicBezTo>
                      <a:pt x="1439098" y="577360"/>
                      <a:pt x="1433758" y="581364"/>
                      <a:pt x="1428419" y="585369"/>
                    </a:cubicBezTo>
                    <a:cubicBezTo>
                      <a:pt x="1419992" y="592042"/>
                      <a:pt x="1411150" y="598633"/>
                      <a:pt x="1406311" y="609310"/>
                    </a:cubicBezTo>
                    <a:cubicBezTo>
                      <a:pt x="1398301" y="626161"/>
                      <a:pt x="1401889" y="652272"/>
                      <a:pt x="1414737" y="667788"/>
                    </a:cubicBezTo>
                    <a:cubicBezTo>
                      <a:pt x="1421828" y="676631"/>
                      <a:pt x="1432006" y="680218"/>
                      <a:pt x="1440849" y="683721"/>
                    </a:cubicBezTo>
                    <a:cubicBezTo>
                      <a:pt x="1447523" y="686391"/>
                      <a:pt x="1453697" y="688560"/>
                      <a:pt x="1458536" y="692564"/>
                    </a:cubicBezTo>
                    <a:cubicBezTo>
                      <a:pt x="1481978" y="712919"/>
                      <a:pt x="1471384" y="749707"/>
                      <a:pt x="1458953" y="769645"/>
                    </a:cubicBezTo>
                    <a:cubicBezTo>
                      <a:pt x="1456283" y="773148"/>
                      <a:pt x="1454114" y="777653"/>
                      <a:pt x="1451862" y="781574"/>
                    </a:cubicBezTo>
                    <a:cubicBezTo>
                      <a:pt x="1445688" y="792669"/>
                      <a:pt x="1439431" y="804181"/>
                      <a:pt x="1430588" y="810354"/>
                    </a:cubicBezTo>
                    <a:cubicBezTo>
                      <a:pt x="1424831" y="814775"/>
                      <a:pt x="1419075" y="817444"/>
                      <a:pt x="1412901" y="820531"/>
                    </a:cubicBezTo>
                    <a:cubicBezTo>
                      <a:pt x="1404058" y="824952"/>
                      <a:pt x="1394714" y="829874"/>
                      <a:pt x="1385454" y="838717"/>
                    </a:cubicBezTo>
                    <a:cubicBezTo>
                      <a:pt x="1379280" y="844890"/>
                      <a:pt x="1372606" y="849311"/>
                      <a:pt x="1365098" y="854233"/>
                    </a:cubicBezTo>
                    <a:cubicBezTo>
                      <a:pt x="1359758" y="857320"/>
                      <a:pt x="1354502" y="860907"/>
                      <a:pt x="1349164" y="864827"/>
                    </a:cubicBezTo>
                    <a:cubicBezTo>
                      <a:pt x="1346911" y="867080"/>
                      <a:pt x="1344741" y="868331"/>
                      <a:pt x="1342990" y="870166"/>
                    </a:cubicBezTo>
                    <a:cubicBezTo>
                      <a:pt x="1338568" y="874170"/>
                      <a:pt x="1336316" y="876339"/>
                      <a:pt x="1329724" y="877257"/>
                    </a:cubicBezTo>
                    <a:cubicBezTo>
                      <a:pt x="1327473" y="877674"/>
                      <a:pt x="1325303" y="878175"/>
                      <a:pt x="1323551" y="878175"/>
                    </a:cubicBezTo>
                    <a:cubicBezTo>
                      <a:pt x="1317795" y="878592"/>
                      <a:pt x="1311120" y="879510"/>
                      <a:pt x="1304029" y="885266"/>
                    </a:cubicBezTo>
                    <a:cubicBezTo>
                      <a:pt x="1292099" y="895025"/>
                      <a:pt x="1288512" y="909207"/>
                      <a:pt x="1285008" y="922054"/>
                    </a:cubicBezTo>
                    <a:cubicBezTo>
                      <a:pt x="1284091" y="925140"/>
                      <a:pt x="1282755" y="928728"/>
                      <a:pt x="1281921" y="931814"/>
                    </a:cubicBezTo>
                    <a:cubicBezTo>
                      <a:pt x="1275748" y="950000"/>
                      <a:pt x="1265570" y="958842"/>
                      <a:pt x="1250469" y="971272"/>
                    </a:cubicBezTo>
                    <a:cubicBezTo>
                      <a:pt x="1234118" y="985037"/>
                      <a:pt x="1224774" y="997883"/>
                      <a:pt x="1216348" y="1018238"/>
                    </a:cubicBezTo>
                    <a:lnTo>
                      <a:pt x="1214095" y="1023577"/>
                    </a:lnTo>
                    <a:cubicBezTo>
                      <a:pt x="1209674" y="1034672"/>
                      <a:pt x="1204334" y="1048353"/>
                      <a:pt x="1194573" y="1049687"/>
                    </a:cubicBezTo>
                    <a:cubicBezTo>
                      <a:pt x="1189734" y="1050105"/>
                      <a:pt x="1184813" y="1048353"/>
                      <a:pt x="1179056" y="1046184"/>
                    </a:cubicBezTo>
                    <a:cubicBezTo>
                      <a:pt x="1171047" y="1043097"/>
                      <a:pt x="1162204" y="1039510"/>
                      <a:pt x="1151608" y="1042680"/>
                    </a:cubicBezTo>
                    <a:cubicBezTo>
                      <a:pt x="1137843" y="1046684"/>
                      <a:pt x="1128583" y="1058196"/>
                      <a:pt x="1120574" y="1068374"/>
                    </a:cubicBezTo>
                    <a:cubicBezTo>
                      <a:pt x="1117487" y="1072378"/>
                      <a:pt x="1113900" y="1076382"/>
                      <a:pt x="1110813" y="1079468"/>
                    </a:cubicBezTo>
                    <a:cubicBezTo>
                      <a:pt x="1098382" y="1091898"/>
                      <a:pt x="1085535" y="1098989"/>
                      <a:pt x="1076274" y="1098989"/>
                    </a:cubicBezTo>
                    <a:cubicBezTo>
                      <a:pt x="1073187" y="1098572"/>
                      <a:pt x="1071435" y="1097654"/>
                      <a:pt x="1067848" y="1095485"/>
                    </a:cubicBezTo>
                    <a:cubicBezTo>
                      <a:pt x="1064761" y="1093233"/>
                      <a:pt x="1060757" y="1091064"/>
                      <a:pt x="1055417" y="1090647"/>
                    </a:cubicBezTo>
                    <a:cubicBezTo>
                      <a:pt x="1045239" y="1089312"/>
                      <a:pt x="1039483" y="1093733"/>
                      <a:pt x="1034560" y="1097737"/>
                    </a:cubicBezTo>
                    <a:cubicBezTo>
                      <a:pt x="1032809" y="1099072"/>
                      <a:pt x="1031056" y="1100407"/>
                      <a:pt x="1029222" y="1101241"/>
                    </a:cubicBezTo>
                    <a:cubicBezTo>
                      <a:pt x="1025718" y="1103494"/>
                      <a:pt x="1020378" y="1104328"/>
                      <a:pt x="1015456" y="1105245"/>
                    </a:cubicBezTo>
                    <a:cubicBezTo>
                      <a:pt x="1006612" y="1106997"/>
                      <a:pt x="996851" y="1108749"/>
                      <a:pt x="991513" y="1117175"/>
                    </a:cubicBezTo>
                    <a:cubicBezTo>
                      <a:pt x="988426" y="1122513"/>
                      <a:pt x="988008" y="1129604"/>
                      <a:pt x="990594" y="1138447"/>
                    </a:cubicBezTo>
                    <a:cubicBezTo>
                      <a:pt x="992347" y="1144620"/>
                      <a:pt x="996351" y="1149959"/>
                      <a:pt x="1000355" y="1155297"/>
                    </a:cubicBezTo>
                    <a:cubicBezTo>
                      <a:pt x="1006529" y="1163723"/>
                      <a:pt x="1010534" y="1169062"/>
                      <a:pt x="1008782" y="1173900"/>
                    </a:cubicBezTo>
                    <a:cubicBezTo>
                      <a:pt x="1007864" y="1175652"/>
                      <a:pt x="1005278" y="1177905"/>
                      <a:pt x="1002608" y="1179656"/>
                    </a:cubicBezTo>
                    <a:cubicBezTo>
                      <a:pt x="999938" y="1181909"/>
                      <a:pt x="997268" y="1184078"/>
                      <a:pt x="995100" y="1186330"/>
                    </a:cubicBezTo>
                    <a:cubicBezTo>
                      <a:pt x="989343" y="1193838"/>
                      <a:pt x="987091" y="1201846"/>
                      <a:pt x="985339" y="1209771"/>
                    </a:cubicBezTo>
                    <a:cubicBezTo>
                      <a:pt x="984421" y="1212858"/>
                      <a:pt x="984004" y="1216445"/>
                      <a:pt x="982669" y="1219531"/>
                    </a:cubicBezTo>
                    <a:cubicBezTo>
                      <a:pt x="979166" y="1229709"/>
                      <a:pt x="975995" y="1240386"/>
                      <a:pt x="981334" y="1248728"/>
                    </a:cubicBezTo>
                    <a:cubicBezTo>
                      <a:pt x="986674" y="1256737"/>
                      <a:pt x="997686" y="1258906"/>
                      <a:pt x="1007030" y="1259824"/>
                    </a:cubicBezTo>
                    <a:cubicBezTo>
                      <a:pt x="1009282" y="1260241"/>
                      <a:pt x="1011451" y="1260241"/>
                      <a:pt x="1013704" y="1260241"/>
                    </a:cubicBezTo>
                    <a:cubicBezTo>
                      <a:pt x="1020795" y="1260658"/>
                      <a:pt x="1031891" y="1261158"/>
                      <a:pt x="1034978" y="1264662"/>
                    </a:cubicBezTo>
                    <a:cubicBezTo>
                      <a:pt x="1035896" y="1265997"/>
                      <a:pt x="1035896" y="1267749"/>
                      <a:pt x="1034978" y="1270835"/>
                    </a:cubicBezTo>
                    <a:cubicBezTo>
                      <a:pt x="1033226" y="1277926"/>
                      <a:pt x="1022547" y="1284599"/>
                      <a:pt x="1013704" y="1289438"/>
                    </a:cubicBezTo>
                    <a:cubicBezTo>
                      <a:pt x="1006779" y="1294610"/>
                      <a:pt x="1002775" y="1296862"/>
                      <a:pt x="1000188" y="129903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78734188" name="Полилиния 412"/>
              <p:cNvSpPr/>
              <p:nvPr/>
            </p:nvSpPr>
            <p:spPr bwMode="auto">
              <a:xfrm>
                <a:off x="7684112" y="4726868"/>
                <a:ext cx="1022562" cy="1494776"/>
              </a:xfrm>
              <a:custGeom>
                <a:avLst/>
                <a:gdLst>
                  <a:gd name="connsiteX0" fmla="*/ 1107658 w 1148370"/>
                  <a:gd name="connsiteY0" fmla="*/ 1005467 h 1678683"/>
                  <a:gd name="connsiteX1" fmla="*/ 1111162 w 1148370"/>
                  <a:gd name="connsiteY1" fmla="*/ 935895 h 1678683"/>
                  <a:gd name="connsiteX2" fmla="*/ 1122675 w 1148370"/>
                  <a:gd name="connsiteY2" fmla="*/ 892933 h 1678683"/>
                  <a:gd name="connsiteX3" fmla="*/ 1129766 w 1148370"/>
                  <a:gd name="connsiteY3" fmla="*/ 826530 h 1678683"/>
                  <a:gd name="connsiteX4" fmla="*/ 1104488 w 1148370"/>
                  <a:gd name="connsiteY4" fmla="*/ 783986 h 1678683"/>
                  <a:gd name="connsiteX5" fmla="*/ 1075706 w 1148370"/>
                  <a:gd name="connsiteY5" fmla="*/ 777813 h 1678683"/>
                  <a:gd name="connsiteX6" fmla="*/ 1071285 w 1148370"/>
                  <a:gd name="connsiteY6" fmla="*/ 778230 h 1678683"/>
                  <a:gd name="connsiteX7" fmla="*/ 1039415 w 1148370"/>
                  <a:gd name="connsiteY7" fmla="*/ 764465 h 1678683"/>
                  <a:gd name="connsiteX8" fmla="*/ 1091223 w 1148370"/>
                  <a:gd name="connsiteY8" fmla="*/ 640419 h 1678683"/>
                  <a:gd name="connsiteX9" fmla="*/ 1148370 w 1148370"/>
                  <a:gd name="connsiteY9" fmla="*/ 584194 h 1678683"/>
                  <a:gd name="connsiteX10" fmla="*/ 1139528 w 1148370"/>
                  <a:gd name="connsiteY10" fmla="*/ 570012 h 1678683"/>
                  <a:gd name="connsiteX11" fmla="*/ 1136023 w 1148370"/>
                  <a:gd name="connsiteY11" fmla="*/ 563839 h 1678683"/>
                  <a:gd name="connsiteX12" fmla="*/ 1101484 w 1148370"/>
                  <a:gd name="connsiteY12" fmla="*/ 525299 h 1678683"/>
                  <a:gd name="connsiteX13" fmla="*/ 1097063 w 1148370"/>
                  <a:gd name="connsiteY13" fmla="*/ 523047 h 1678683"/>
                  <a:gd name="connsiteX14" fmla="*/ 1078459 w 1148370"/>
                  <a:gd name="connsiteY14" fmla="*/ 507113 h 1678683"/>
                  <a:gd name="connsiteX15" fmla="*/ 1076206 w 1148370"/>
                  <a:gd name="connsiteY15" fmla="*/ 493349 h 1678683"/>
                  <a:gd name="connsiteX16" fmla="*/ 1075289 w 1148370"/>
                  <a:gd name="connsiteY16" fmla="*/ 485340 h 1678683"/>
                  <a:gd name="connsiteX17" fmla="*/ 1071785 w 1148370"/>
                  <a:gd name="connsiteY17" fmla="*/ 480502 h 1678683"/>
                  <a:gd name="connsiteX18" fmla="*/ 1063776 w 1148370"/>
                  <a:gd name="connsiteY18" fmla="*/ 466321 h 1678683"/>
                  <a:gd name="connsiteX19" fmla="*/ 1075706 w 1148370"/>
                  <a:gd name="connsiteY19" fmla="*/ 445966 h 1678683"/>
                  <a:gd name="connsiteX20" fmla="*/ 1080545 w 1148370"/>
                  <a:gd name="connsiteY20" fmla="*/ 441962 h 1678683"/>
                  <a:gd name="connsiteX21" fmla="*/ 1084049 w 1148370"/>
                  <a:gd name="connsiteY21" fmla="*/ 434871 h 1678683"/>
                  <a:gd name="connsiteX22" fmla="*/ 1065445 w 1148370"/>
                  <a:gd name="connsiteY22" fmla="*/ 417603 h 1678683"/>
                  <a:gd name="connsiteX23" fmla="*/ 1034410 w 1148370"/>
                  <a:gd name="connsiteY23" fmla="*/ 377728 h 1678683"/>
                  <a:gd name="connsiteX24" fmla="*/ 1036662 w 1148370"/>
                  <a:gd name="connsiteY24" fmla="*/ 367134 h 1678683"/>
                  <a:gd name="connsiteX25" fmla="*/ 1036245 w 1148370"/>
                  <a:gd name="connsiteY25" fmla="*/ 355204 h 1678683"/>
                  <a:gd name="connsiteX26" fmla="*/ 1029154 w 1148370"/>
                  <a:gd name="connsiteY26" fmla="*/ 345862 h 1678683"/>
                  <a:gd name="connsiteX27" fmla="*/ 1018976 w 1148370"/>
                  <a:gd name="connsiteY27" fmla="*/ 331680 h 1678683"/>
                  <a:gd name="connsiteX28" fmla="*/ 1015472 w 1148370"/>
                  <a:gd name="connsiteY28" fmla="*/ 323672 h 1678683"/>
                  <a:gd name="connsiteX29" fmla="*/ 988441 w 1148370"/>
                  <a:gd name="connsiteY29" fmla="*/ 302399 h 1678683"/>
                  <a:gd name="connsiteX30" fmla="*/ 980432 w 1148370"/>
                  <a:gd name="connsiteY30" fmla="*/ 305903 h 1678683"/>
                  <a:gd name="connsiteX31" fmla="*/ 941472 w 1148370"/>
                  <a:gd name="connsiteY31" fmla="*/ 299730 h 1678683"/>
                  <a:gd name="connsiteX32" fmla="*/ 931294 w 1148370"/>
                  <a:gd name="connsiteY32" fmla="*/ 277123 h 1678683"/>
                  <a:gd name="connsiteX33" fmla="*/ 917111 w 1148370"/>
                  <a:gd name="connsiteY33" fmla="*/ 253181 h 1678683"/>
                  <a:gd name="connsiteX34" fmla="*/ 874563 w 1148370"/>
                  <a:gd name="connsiteY34" fmla="*/ 274453 h 1678683"/>
                  <a:gd name="connsiteX35" fmla="*/ 835604 w 1148370"/>
                  <a:gd name="connsiteY35" fmla="*/ 304151 h 1678683"/>
                  <a:gd name="connsiteX36" fmla="*/ 834685 w 1148370"/>
                  <a:gd name="connsiteY36" fmla="*/ 304151 h 1678683"/>
                  <a:gd name="connsiteX37" fmla="*/ 808990 w 1148370"/>
                  <a:gd name="connsiteY37" fmla="*/ 283797 h 1678683"/>
                  <a:gd name="connsiteX38" fmla="*/ 817416 w 1148370"/>
                  <a:gd name="connsiteY38" fmla="*/ 248843 h 1678683"/>
                  <a:gd name="connsiteX39" fmla="*/ 823590 w 1148370"/>
                  <a:gd name="connsiteY39" fmla="*/ 244422 h 1678683"/>
                  <a:gd name="connsiteX40" fmla="*/ 831599 w 1148370"/>
                  <a:gd name="connsiteY40" fmla="*/ 237748 h 1678683"/>
                  <a:gd name="connsiteX41" fmla="*/ 828512 w 1148370"/>
                  <a:gd name="connsiteY41" fmla="*/ 232910 h 1678683"/>
                  <a:gd name="connsiteX42" fmla="*/ 795308 w 1148370"/>
                  <a:gd name="connsiteY42" fmla="*/ 223150 h 1678683"/>
                  <a:gd name="connsiteX43" fmla="*/ 752760 w 1148370"/>
                  <a:gd name="connsiteY43" fmla="*/ 209886 h 1678683"/>
                  <a:gd name="connsiteX44" fmla="*/ 733239 w 1148370"/>
                  <a:gd name="connsiteY44" fmla="*/ 182441 h 1678683"/>
                  <a:gd name="connsiteX45" fmla="*/ 731903 w 1148370"/>
                  <a:gd name="connsiteY45" fmla="*/ 179771 h 1678683"/>
                  <a:gd name="connsiteX46" fmla="*/ 727065 w 1148370"/>
                  <a:gd name="connsiteY46" fmla="*/ 169177 h 1678683"/>
                  <a:gd name="connsiteX47" fmla="*/ 724812 w 1148370"/>
                  <a:gd name="connsiteY47" fmla="*/ 164756 h 1678683"/>
                  <a:gd name="connsiteX48" fmla="*/ 705291 w 1148370"/>
                  <a:gd name="connsiteY48" fmla="*/ 141314 h 1678683"/>
                  <a:gd name="connsiteX49" fmla="*/ 687604 w 1148370"/>
                  <a:gd name="connsiteY49" fmla="*/ 121377 h 1678683"/>
                  <a:gd name="connsiteX50" fmla="*/ 653065 w 1148370"/>
                  <a:gd name="connsiteY50" fmla="*/ 91679 h 1678683"/>
                  <a:gd name="connsiteX51" fmla="*/ 606513 w 1148370"/>
                  <a:gd name="connsiteY51" fmla="*/ 54056 h 1678683"/>
                  <a:gd name="connsiteX52" fmla="*/ 598504 w 1148370"/>
                  <a:gd name="connsiteY52" fmla="*/ 32367 h 1678683"/>
                  <a:gd name="connsiteX53" fmla="*/ 586575 w 1148370"/>
                  <a:gd name="connsiteY53" fmla="*/ 0 h 1678683"/>
                  <a:gd name="connsiteX54" fmla="*/ 532513 w 1148370"/>
                  <a:gd name="connsiteY54" fmla="*/ 14181 h 1678683"/>
                  <a:gd name="connsiteX55" fmla="*/ 519249 w 1148370"/>
                  <a:gd name="connsiteY55" fmla="*/ 11512 h 1678683"/>
                  <a:gd name="connsiteX56" fmla="*/ 487380 w 1148370"/>
                  <a:gd name="connsiteY56" fmla="*/ 11929 h 1678683"/>
                  <a:gd name="connsiteX57" fmla="*/ 470110 w 1148370"/>
                  <a:gd name="connsiteY57" fmla="*/ 39875 h 1678683"/>
                  <a:gd name="connsiteX58" fmla="*/ 472363 w 1148370"/>
                  <a:gd name="connsiteY58" fmla="*/ 46548 h 1678683"/>
                  <a:gd name="connsiteX59" fmla="*/ 475033 w 1148370"/>
                  <a:gd name="connsiteY59" fmla="*/ 59396 h 1678683"/>
                  <a:gd name="connsiteX60" fmla="*/ 472363 w 1148370"/>
                  <a:gd name="connsiteY60" fmla="*/ 71325 h 1678683"/>
                  <a:gd name="connsiteX61" fmla="*/ 471028 w 1148370"/>
                  <a:gd name="connsiteY61" fmla="*/ 77998 h 1678683"/>
                  <a:gd name="connsiteX62" fmla="*/ 472363 w 1148370"/>
                  <a:gd name="connsiteY62" fmla="*/ 86841 h 1678683"/>
                  <a:gd name="connsiteX63" fmla="*/ 474616 w 1148370"/>
                  <a:gd name="connsiteY63" fmla="*/ 97435 h 1678683"/>
                  <a:gd name="connsiteX64" fmla="*/ 471946 w 1148370"/>
                  <a:gd name="connsiteY64" fmla="*/ 112534 h 1678683"/>
                  <a:gd name="connsiteX65" fmla="*/ 470194 w 1148370"/>
                  <a:gd name="connsiteY65" fmla="*/ 119625 h 1678683"/>
                  <a:gd name="connsiteX66" fmla="*/ 511407 w 1148370"/>
                  <a:gd name="connsiteY66" fmla="*/ 173682 h 1678683"/>
                  <a:gd name="connsiteX67" fmla="*/ 521168 w 1148370"/>
                  <a:gd name="connsiteY67" fmla="*/ 174599 h 1678683"/>
                  <a:gd name="connsiteX68" fmla="*/ 545528 w 1148370"/>
                  <a:gd name="connsiteY68" fmla="*/ 183025 h 1678683"/>
                  <a:gd name="connsiteX69" fmla="*/ 549033 w 1148370"/>
                  <a:gd name="connsiteY69" fmla="*/ 199375 h 1678683"/>
                  <a:gd name="connsiteX70" fmla="*/ 549033 w 1148370"/>
                  <a:gd name="connsiteY70" fmla="*/ 204714 h 1678683"/>
                  <a:gd name="connsiteX71" fmla="*/ 553037 w 1148370"/>
                  <a:gd name="connsiteY71" fmla="*/ 212222 h 1678683"/>
                  <a:gd name="connsiteX72" fmla="*/ 557875 w 1148370"/>
                  <a:gd name="connsiteY72" fmla="*/ 220230 h 1678683"/>
                  <a:gd name="connsiteX73" fmla="*/ 545946 w 1148370"/>
                  <a:gd name="connsiteY73" fmla="*/ 257853 h 1678683"/>
                  <a:gd name="connsiteX74" fmla="*/ 530845 w 1148370"/>
                  <a:gd name="connsiteY74" fmla="*/ 275121 h 1678683"/>
                  <a:gd name="connsiteX75" fmla="*/ 516245 w 1148370"/>
                  <a:gd name="connsiteY75" fmla="*/ 292389 h 1678683"/>
                  <a:gd name="connsiteX76" fmla="*/ 470194 w 1148370"/>
                  <a:gd name="connsiteY76" fmla="*/ 306987 h 1678683"/>
                  <a:gd name="connsiteX77" fmla="*/ 462686 w 1148370"/>
                  <a:gd name="connsiteY77" fmla="*/ 307405 h 1678683"/>
                  <a:gd name="connsiteX78" fmla="*/ 448503 w 1148370"/>
                  <a:gd name="connsiteY78" fmla="*/ 309657 h 1678683"/>
                  <a:gd name="connsiteX79" fmla="*/ 413047 w 1148370"/>
                  <a:gd name="connsiteY79" fmla="*/ 310992 h 1678683"/>
                  <a:gd name="connsiteX80" fmla="*/ 402451 w 1148370"/>
                  <a:gd name="connsiteY80" fmla="*/ 305653 h 1678683"/>
                  <a:gd name="connsiteX81" fmla="*/ 397613 w 1148370"/>
                  <a:gd name="connsiteY81" fmla="*/ 310992 h 1678683"/>
                  <a:gd name="connsiteX82" fmla="*/ 398030 w 1148370"/>
                  <a:gd name="connsiteY82" fmla="*/ 319834 h 1678683"/>
                  <a:gd name="connsiteX83" fmla="*/ 398947 w 1148370"/>
                  <a:gd name="connsiteY83" fmla="*/ 323338 h 1678683"/>
                  <a:gd name="connsiteX84" fmla="*/ 400699 w 1148370"/>
                  <a:gd name="connsiteY84" fmla="*/ 335768 h 1678683"/>
                  <a:gd name="connsiteX85" fmla="*/ 402451 w 1148370"/>
                  <a:gd name="connsiteY85" fmla="*/ 346862 h 1678683"/>
                  <a:gd name="connsiteX86" fmla="*/ 412212 w 1148370"/>
                  <a:gd name="connsiteY86" fmla="*/ 356206 h 1678683"/>
                  <a:gd name="connsiteX87" fmla="*/ 427730 w 1148370"/>
                  <a:gd name="connsiteY87" fmla="*/ 366383 h 1678683"/>
                  <a:gd name="connsiteX88" fmla="*/ 440578 w 1148370"/>
                  <a:gd name="connsiteY88" fmla="*/ 394329 h 1678683"/>
                  <a:gd name="connsiteX89" fmla="*/ 449421 w 1148370"/>
                  <a:gd name="connsiteY89" fmla="*/ 415601 h 1678683"/>
                  <a:gd name="connsiteX90" fmla="*/ 457846 w 1148370"/>
                  <a:gd name="connsiteY90" fmla="*/ 428031 h 1678683"/>
                  <a:gd name="connsiteX91" fmla="*/ 483125 w 1148370"/>
                  <a:gd name="connsiteY91" fmla="*/ 469240 h 1678683"/>
                  <a:gd name="connsiteX92" fmla="*/ 488881 w 1148370"/>
                  <a:gd name="connsiteY92" fmla="*/ 483422 h 1678683"/>
                  <a:gd name="connsiteX93" fmla="*/ 506151 w 1148370"/>
                  <a:gd name="connsiteY93" fmla="*/ 513120 h 1678683"/>
                  <a:gd name="connsiteX94" fmla="*/ 530512 w 1148370"/>
                  <a:gd name="connsiteY94" fmla="*/ 516623 h 1678683"/>
                  <a:gd name="connsiteX95" fmla="*/ 551785 w 1148370"/>
                  <a:gd name="connsiteY95" fmla="*/ 516206 h 1678683"/>
                  <a:gd name="connsiteX96" fmla="*/ 568137 w 1148370"/>
                  <a:gd name="connsiteY96" fmla="*/ 525549 h 1678683"/>
                  <a:gd name="connsiteX97" fmla="*/ 573476 w 1148370"/>
                  <a:gd name="connsiteY97" fmla="*/ 529970 h 1678683"/>
                  <a:gd name="connsiteX98" fmla="*/ 585907 w 1148370"/>
                  <a:gd name="connsiteY98" fmla="*/ 535310 h 1678683"/>
                  <a:gd name="connsiteX99" fmla="*/ 594750 w 1148370"/>
                  <a:gd name="connsiteY99" fmla="*/ 538396 h 1678683"/>
                  <a:gd name="connsiteX100" fmla="*/ 627537 w 1148370"/>
                  <a:gd name="connsiteY100" fmla="*/ 630075 h 1678683"/>
                  <a:gd name="connsiteX101" fmla="*/ 584155 w 1148370"/>
                  <a:gd name="connsiteY101" fmla="*/ 665946 h 1678683"/>
                  <a:gd name="connsiteX102" fmla="*/ 549616 w 1148370"/>
                  <a:gd name="connsiteY102" fmla="*/ 688970 h 1678683"/>
                  <a:gd name="connsiteX103" fmla="*/ 539021 w 1148370"/>
                  <a:gd name="connsiteY103" fmla="*/ 707990 h 1678683"/>
                  <a:gd name="connsiteX104" fmla="*/ 523921 w 1148370"/>
                  <a:gd name="connsiteY104" fmla="*/ 733683 h 1678683"/>
                  <a:gd name="connsiteX105" fmla="*/ 511991 w 1148370"/>
                  <a:gd name="connsiteY105" fmla="*/ 758960 h 1678683"/>
                  <a:gd name="connsiteX106" fmla="*/ 501395 w 1148370"/>
                  <a:gd name="connsiteY106" fmla="*/ 783319 h 1678683"/>
                  <a:gd name="connsiteX107" fmla="*/ 478370 w 1148370"/>
                  <a:gd name="connsiteY107" fmla="*/ 810764 h 1678683"/>
                  <a:gd name="connsiteX108" fmla="*/ 466440 w 1148370"/>
                  <a:gd name="connsiteY108" fmla="*/ 824028 h 1678683"/>
                  <a:gd name="connsiteX109" fmla="*/ 450088 w 1148370"/>
                  <a:gd name="connsiteY109" fmla="*/ 838626 h 1678683"/>
                  <a:gd name="connsiteX110" fmla="*/ 431901 w 1148370"/>
                  <a:gd name="connsiteY110" fmla="*/ 857229 h 1678683"/>
                  <a:gd name="connsiteX111" fmla="*/ 438575 w 1148370"/>
                  <a:gd name="connsiteY111" fmla="*/ 900608 h 1678683"/>
                  <a:gd name="connsiteX112" fmla="*/ 458514 w 1148370"/>
                  <a:gd name="connsiteY112" fmla="*/ 912120 h 1678683"/>
                  <a:gd name="connsiteX113" fmla="*/ 480622 w 1148370"/>
                  <a:gd name="connsiteY113" fmla="*/ 923632 h 1678683"/>
                  <a:gd name="connsiteX114" fmla="*/ 483709 w 1148370"/>
                  <a:gd name="connsiteY114" fmla="*/ 1018898 h 1678683"/>
                  <a:gd name="connsiteX115" fmla="*/ 477034 w 1148370"/>
                  <a:gd name="connsiteY115" fmla="*/ 1029993 h 1678683"/>
                  <a:gd name="connsiteX116" fmla="*/ 451756 w 1148370"/>
                  <a:gd name="connsiteY116" fmla="*/ 1063194 h 1678683"/>
                  <a:gd name="connsiteX117" fmla="*/ 431818 w 1148370"/>
                  <a:gd name="connsiteY117" fmla="*/ 1074706 h 1678683"/>
                  <a:gd name="connsiteX118" fmla="*/ 408374 w 1148370"/>
                  <a:gd name="connsiteY118" fmla="*/ 1090223 h 1678683"/>
                  <a:gd name="connsiteX119" fmla="*/ 385349 w 1148370"/>
                  <a:gd name="connsiteY119" fmla="*/ 1107491 h 1678683"/>
                  <a:gd name="connsiteX120" fmla="*/ 370749 w 1148370"/>
                  <a:gd name="connsiteY120" fmla="*/ 1117251 h 1678683"/>
                  <a:gd name="connsiteX121" fmla="*/ 365410 w 1148370"/>
                  <a:gd name="connsiteY121" fmla="*/ 1122089 h 1678683"/>
                  <a:gd name="connsiteX122" fmla="*/ 345471 w 1148370"/>
                  <a:gd name="connsiteY122" fmla="*/ 1132684 h 1678683"/>
                  <a:gd name="connsiteX123" fmla="*/ 337963 w 1148370"/>
                  <a:gd name="connsiteY123" fmla="*/ 1133601 h 1678683"/>
                  <a:gd name="connsiteX124" fmla="*/ 326032 w 1148370"/>
                  <a:gd name="connsiteY124" fmla="*/ 1137606 h 1678683"/>
                  <a:gd name="connsiteX125" fmla="*/ 311432 w 1148370"/>
                  <a:gd name="connsiteY125" fmla="*/ 1167303 h 1678683"/>
                  <a:gd name="connsiteX126" fmla="*/ 308346 w 1148370"/>
                  <a:gd name="connsiteY126" fmla="*/ 1177898 h 1678683"/>
                  <a:gd name="connsiteX127" fmla="*/ 272473 w 1148370"/>
                  <a:gd name="connsiteY127" fmla="*/ 1223529 h 1678683"/>
                  <a:gd name="connsiteX128" fmla="*/ 242355 w 1148370"/>
                  <a:gd name="connsiteY128" fmla="*/ 1265156 h 1678683"/>
                  <a:gd name="connsiteX129" fmla="*/ 240102 w 1148370"/>
                  <a:gd name="connsiteY129" fmla="*/ 1269994 h 1678683"/>
                  <a:gd name="connsiteX130" fmla="*/ 209068 w 1148370"/>
                  <a:gd name="connsiteY130" fmla="*/ 1305448 h 1678683"/>
                  <a:gd name="connsiteX131" fmla="*/ 186459 w 1148370"/>
                  <a:gd name="connsiteY131" fmla="*/ 1301026 h 1678683"/>
                  <a:gd name="connsiteX132" fmla="*/ 168272 w 1148370"/>
                  <a:gd name="connsiteY132" fmla="*/ 1297940 h 1678683"/>
                  <a:gd name="connsiteX133" fmla="*/ 144829 w 1148370"/>
                  <a:gd name="connsiteY133" fmla="*/ 1318795 h 1678683"/>
                  <a:gd name="connsiteX134" fmla="*/ 134234 w 1148370"/>
                  <a:gd name="connsiteY134" fmla="*/ 1331224 h 1678683"/>
                  <a:gd name="connsiteX135" fmla="*/ 89017 w 1148370"/>
                  <a:gd name="connsiteY135" fmla="*/ 1354249 h 1678683"/>
                  <a:gd name="connsiteX136" fmla="*/ 73500 w 1148370"/>
                  <a:gd name="connsiteY136" fmla="*/ 1348910 h 1678683"/>
                  <a:gd name="connsiteX137" fmla="*/ 66825 w 1148370"/>
                  <a:gd name="connsiteY137" fmla="*/ 1345823 h 1678683"/>
                  <a:gd name="connsiteX138" fmla="*/ 56647 w 1148370"/>
                  <a:gd name="connsiteY138" fmla="*/ 1350244 h 1678683"/>
                  <a:gd name="connsiteX139" fmla="*/ 49139 w 1148370"/>
                  <a:gd name="connsiteY139" fmla="*/ 1355083 h 1678683"/>
                  <a:gd name="connsiteX140" fmla="*/ 31452 w 1148370"/>
                  <a:gd name="connsiteY140" fmla="*/ 1360422 h 1678683"/>
                  <a:gd name="connsiteX141" fmla="*/ 17270 w 1148370"/>
                  <a:gd name="connsiteY141" fmla="*/ 1365761 h 1678683"/>
                  <a:gd name="connsiteX142" fmla="*/ 17687 w 1148370"/>
                  <a:gd name="connsiteY142" fmla="*/ 1375938 h 1678683"/>
                  <a:gd name="connsiteX143" fmla="*/ 25195 w 1148370"/>
                  <a:gd name="connsiteY143" fmla="*/ 1387867 h 1678683"/>
                  <a:gd name="connsiteX144" fmla="*/ 35373 w 1148370"/>
                  <a:gd name="connsiteY144" fmla="*/ 1419734 h 1678683"/>
                  <a:gd name="connsiteX145" fmla="*/ 24778 w 1148370"/>
                  <a:gd name="connsiteY145" fmla="*/ 1432163 h 1678683"/>
                  <a:gd name="connsiteX146" fmla="*/ 19939 w 1148370"/>
                  <a:gd name="connsiteY146" fmla="*/ 1436168 h 1678683"/>
                  <a:gd name="connsiteX147" fmla="*/ 12848 w 1148370"/>
                  <a:gd name="connsiteY147" fmla="*/ 1453853 h 1678683"/>
                  <a:gd name="connsiteX148" fmla="*/ 9761 w 1148370"/>
                  <a:gd name="connsiteY148" fmla="*/ 1464948 h 1678683"/>
                  <a:gd name="connsiteX149" fmla="*/ 7091 w 1148370"/>
                  <a:gd name="connsiteY149" fmla="*/ 1481798 h 1678683"/>
                  <a:gd name="connsiteX150" fmla="*/ 22192 w 1148370"/>
                  <a:gd name="connsiteY150" fmla="*/ 1486637 h 1678683"/>
                  <a:gd name="connsiteX151" fmla="*/ 28365 w 1148370"/>
                  <a:gd name="connsiteY151" fmla="*/ 1487054 h 1678683"/>
                  <a:gd name="connsiteX152" fmla="*/ 60234 w 1148370"/>
                  <a:gd name="connsiteY152" fmla="*/ 1497648 h 1678683"/>
                  <a:gd name="connsiteX153" fmla="*/ 62487 w 1148370"/>
                  <a:gd name="connsiteY153" fmla="*/ 1515834 h 1678683"/>
                  <a:gd name="connsiteX154" fmla="*/ 35039 w 1148370"/>
                  <a:gd name="connsiteY154" fmla="*/ 1543279 h 1678683"/>
                  <a:gd name="connsiteX155" fmla="*/ 25278 w 1148370"/>
                  <a:gd name="connsiteY155" fmla="*/ 1549453 h 1678683"/>
                  <a:gd name="connsiteX156" fmla="*/ 0 w 1148370"/>
                  <a:gd name="connsiteY156" fmla="*/ 1604844 h 1678683"/>
                  <a:gd name="connsiteX157" fmla="*/ 39461 w 1148370"/>
                  <a:gd name="connsiteY157" fmla="*/ 1629620 h 1678683"/>
                  <a:gd name="connsiteX158" fmla="*/ 128060 w 1148370"/>
                  <a:gd name="connsiteY158" fmla="*/ 1678337 h 1678683"/>
                  <a:gd name="connsiteX159" fmla="*/ 182538 w 1148370"/>
                  <a:gd name="connsiteY159" fmla="*/ 1671246 h 1678683"/>
                  <a:gd name="connsiteX160" fmla="*/ 244107 w 1148370"/>
                  <a:gd name="connsiteY160" fmla="*/ 1663238 h 1678683"/>
                  <a:gd name="connsiteX161" fmla="*/ 349558 w 1148370"/>
                  <a:gd name="connsiteY161" fmla="*/ 1630871 h 1678683"/>
                  <a:gd name="connsiteX162" fmla="*/ 373502 w 1148370"/>
                  <a:gd name="connsiteY162" fmla="*/ 1612685 h 1678683"/>
                  <a:gd name="connsiteX163" fmla="*/ 393024 w 1148370"/>
                  <a:gd name="connsiteY163" fmla="*/ 1597169 h 1678683"/>
                  <a:gd name="connsiteX164" fmla="*/ 424476 w 1148370"/>
                  <a:gd name="connsiteY164" fmla="*/ 1580318 h 1678683"/>
                  <a:gd name="connsiteX165" fmla="*/ 442663 w 1148370"/>
                  <a:gd name="connsiteY165" fmla="*/ 1571475 h 1678683"/>
                  <a:gd name="connsiteX166" fmla="*/ 478120 w 1148370"/>
                  <a:gd name="connsiteY166" fmla="*/ 1549369 h 1678683"/>
                  <a:gd name="connsiteX167" fmla="*/ 524171 w 1148370"/>
                  <a:gd name="connsiteY167" fmla="*/ 1521423 h 1678683"/>
                  <a:gd name="connsiteX168" fmla="*/ 563632 w 1148370"/>
                  <a:gd name="connsiteY168" fmla="*/ 1467784 h 1678683"/>
                  <a:gd name="connsiteX169" fmla="*/ 567637 w 1148370"/>
                  <a:gd name="connsiteY169" fmla="*/ 1455855 h 1678683"/>
                  <a:gd name="connsiteX170" fmla="*/ 632292 w 1148370"/>
                  <a:gd name="connsiteY170" fmla="*/ 1369014 h 1678683"/>
                  <a:gd name="connsiteX171" fmla="*/ 739079 w 1148370"/>
                  <a:gd name="connsiteY171" fmla="*/ 1352664 h 1678683"/>
                  <a:gd name="connsiteX172" fmla="*/ 829013 w 1148370"/>
                  <a:gd name="connsiteY172" fmla="*/ 1338482 h 1678683"/>
                  <a:gd name="connsiteX173" fmla="*/ 875064 w 1148370"/>
                  <a:gd name="connsiteY173" fmla="*/ 1320297 h 1678683"/>
                  <a:gd name="connsiteX174" fmla="*/ 904764 w 1148370"/>
                  <a:gd name="connsiteY174" fmla="*/ 1328305 h 1678683"/>
                  <a:gd name="connsiteX175" fmla="*/ 911438 w 1148370"/>
                  <a:gd name="connsiteY175" fmla="*/ 1331808 h 1678683"/>
                  <a:gd name="connsiteX176" fmla="*/ 918947 w 1148370"/>
                  <a:gd name="connsiteY176" fmla="*/ 1335312 h 1678683"/>
                  <a:gd name="connsiteX177" fmla="*/ 923785 w 1148370"/>
                  <a:gd name="connsiteY177" fmla="*/ 1337564 h 1678683"/>
                  <a:gd name="connsiteX178" fmla="*/ 1027485 w 1148370"/>
                  <a:gd name="connsiteY178" fmla="*/ 1327804 h 1678683"/>
                  <a:gd name="connsiteX179" fmla="*/ 1062441 w 1148370"/>
                  <a:gd name="connsiteY179" fmla="*/ 1284843 h 1678683"/>
                  <a:gd name="connsiteX180" fmla="*/ 1079710 w 1148370"/>
                  <a:gd name="connsiteY180" fmla="*/ 1251641 h 1678683"/>
                  <a:gd name="connsiteX181" fmla="*/ 1102736 w 1148370"/>
                  <a:gd name="connsiteY181" fmla="*/ 1228200 h 1678683"/>
                  <a:gd name="connsiteX182" fmla="*/ 1130184 w 1148370"/>
                  <a:gd name="connsiteY182" fmla="*/ 1174561 h 1678683"/>
                  <a:gd name="connsiteX183" fmla="*/ 1120840 w 1148370"/>
                  <a:gd name="connsiteY183" fmla="*/ 1153706 h 1678683"/>
                  <a:gd name="connsiteX184" fmla="*/ 1110661 w 1148370"/>
                  <a:gd name="connsiteY184" fmla="*/ 1131099 h 1678683"/>
                  <a:gd name="connsiteX185" fmla="*/ 1107575 w 1148370"/>
                  <a:gd name="connsiteY185" fmla="*/ 1059774 h 1678683"/>
                  <a:gd name="connsiteX186" fmla="*/ 1107658 w 1148370"/>
                  <a:gd name="connsiteY186" fmla="*/ 1005467 h 167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148370" h="1678683" extrusionOk="0">
                    <a:moveTo>
                      <a:pt x="1107658" y="1005467"/>
                    </a:moveTo>
                    <a:cubicBezTo>
                      <a:pt x="1108075" y="982444"/>
                      <a:pt x="1108576" y="958919"/>
                      <a:pt x="1111162" y="935895"/>
                    </a:cubicBezTo>
                    <a:cubicBezTo>
                      <a:pt x="1112914" y="920795"/>
                      <a:pt x="1117837" y="906697"/>
                      <a:pt x="1122675" y="892933"/>
                    </a:cubicBezTo>
                    <a:cubicBezTo>
                      <a:pt x="1130684" y="870326"/>
                      <a:pt x="1138192" y="849054"/>
                      <a:pt x="1129766" y="826530"/>
                    </a:cubicBezTo>
                    <a:cubicBezTo>
                      <a:pt x="1123092" y="808345"/>
                      <a:pt x="1113832" y="792828"/>
                      <a:pt x="1104488" y="783986"/>
                    </a:cubicBezTo>
                    <a:cubicBezTo>
                      <a:pt x="1096062" y="775978"/>
                      <a:pt x="1088136" y="776895"/>
                      <a:pt x="1075706" y="777813"/>
                    </a:cubicBezTo>
                    <a:lnTo>
                      <a:pt x="1071285" y="778230"/>
                    </a:lnTo>
                    <a:cubicBezTo>
                      <a:pt x="1051345" y="779982"/>
                      <a:pt x="1042502" y="771556"/>
                      <a:pt x="1039415" y="764465"/>
                    </a:cubicBezTo>
                    <a:cubicBezTo>
                      <a:pt x="1021228" y="729012"/>
                      <a:pt x="1090806" y="641337"/>
                      <a:pt x="1091223" y="640419"/>
                    </a:cubicBezTo>
                    <a:cubicBezTo>
                      <a:pt x="1107158" y="620899"/>
                      <a:pt x="1126679" y="601879"/>
                      <a:pt x="1148370" y="584194"/>
                    </a:cubicBezTo>
                    <a:cubicBezTo>
                      <a:pt x="1145283" y="579773"/>
                      <a:pt x="1142197" y="574851"/>
                      <a:pt x="1139528" y="570012"/>
                    </a:cubicBezTo>
                    <a:lnTo>
                      <a:pt x="1136023" y="563839"/>
                    </a:lnTo>
                    <a:cubicBezTo>
                      <a:pt x="1126262" y="547906"/>
                      <a:pt x="1117837" y="533724"/>
                      <a:pt x="1101484" y="525299"/>
                    </a:cubicBezTo>
                    <a:cubicBezTo>
                      <a:pt x="1100150" y="524381"/>
                      <a:pt x="1098398" y="523964"/>
                      <a:pt x="1097063" y="523047"/>
                    </a:cubicBezTo>
                    <a:cubicBezTo>
                      <a:pt x="1089972" y="519960"/>
                      <a:pt x="1082463" y="516874"/>
                      <a:pt x="1078459" y="507113"/>
                    </a:cubicBezTo>
                    <a:cubicBezTo>
                      <a:pt x="1076206" y="502275"/>
                      <a:pt x="1076206" y="497353"/>
                      <a:pt x="1076206" y="493349"/>
                    </a:cubicBezTo>
                    <a:cubicBezTo>
                      <a:pt x="1076206" y="490263"/>
                      <a:pt x="1076206" y="487176"/>
                      <a:pt x="1075289" y="485340"/>
                    </a:cubicBezTo>
                    <a:cubicBezTo>
                      <a:pt x="1074872" y="484006"/>
                      <a:pt x="1073036" y="482254"/>
                      <a:pt x="1071785" y="480502"/>
                    </a:cubicBezTo>
                    <a:cubicBezTo>
                      <a:pt x="1068698" y="476998"/>
                      <a:pt x="1064693" y="472494"/>
                      <a:pt x="1063776" y="466321"/>
                    </a:cubicBezTo>
                    <a:cubicBezTo>
                      <a:pt x="1062858" y="454809"/>
                      <a:pt x="1070450" y="449970"/>
                      <a:pt x="1075706" y="445966"/>
                    </a:cubicBezTo>
                    <a:cubicBezTo>
                      <a:pt x="1077458" y="444631"/>
                      <a:pt x="1079210" y="443714"/>
                      <a:pt x="1080545" y="441962"/>
                    </a:cubicBezTo>
                    <a:cubicBezTo>
                      <a:pt x="1082797" y="439710"/>
                      <a:pt x="1084549" y="437123"/>
                      <a:pt x="1084049" y="434871"/>
                    </a:cubicBezTo>
                    <a:cubicBezTo>
                      <a:pt x="1083632" y="430033"/>
                      <a:pt x="1073870" y="423776"/>
                      <a:pt x="1065445" y="417603"/>
                    </a:cubicBezTo>
                    <a:cubicBezTo>
                      <a:pt x="1051262" y="408260"/>
                      <a:pt x="1033575" y="396331"/>
                      <a:pt x="1034410" y="377728"/>
                    </a:cubicBezTo>
                    <a:cubicBezTo>
                      <a:pt x="1034827" y="373307"/>
                      <a:pt x="1035744" y="369720"/>
                      <a:pt x="1036662" y="367134"/>
                    </a:cubicBezTo>
                    <a:cubicBezTo>
                      <a:pt x="1037997" y="361795"/>
                      <a:pt x="1038914" y="359125"/>
                      <a:pt x="1036245" y="355204"/>
                    </a:cubicBezTo>
                    <a:cubicBezTo>
                      <a:pt x="1034493" y="352118"/>
                      <a:pt x="1031823" y="349031"/>
                      <a:pt x="1029154" y="345862"/>
                    </a:cubicBezTo>
                    <a:cubicBezTo>
                      <a:pt x="1025650" y="341857"/>
                      <a:pt x="1022063" y="337436"/>
                      <a:pt x="1018976" y="331680"/>
                    </a:cubicBezTo>
                    <a:cubicBezTo>
                      <a:pt x="1017640" y="329010"/>
                      <a:pt x="1016723" y="326341"/>
                      <a:pt x="1015472" y="323672"/>
                    </a:cubicBezTo>
                    <a:cubicBezTo>
                      <a:pt x="1006629" y="303734"/>
                      <a:pt x="1001706" y="296643"/>
                      <a:pt x="988441" y="302399"/>
                    </a:cubicBezTo>
                    <a:cubicBezTo>
                      <a:pt x="985772" y="303317"/>
                      <a:pt x="983102" y="304652"/>
                      <a:pt x="980432" y="305903"/>
                    </a:cubicBezTo>
                    <a:cubicBezTo>
                      <a:pt x="969337" y="311242"/>
                      <a:pt x="955154" y="318333"/>
                      <a:pt x="941472" y="299730"/>
                    </a:cubicBezTo>
                    <a:cubicBezTo>
                      <a:pt x="936133" y="292639"/>
                      <a:pt x="933963" y="284631"/>
                      <a:pt x="931294" y="277123"/>
                    </a:cubicBezTo>
                    <a:cubicBezTo>
                      <a:pt x="928207" y="266946"/>
                      <a:pt x="925538" y="258103"/>
                      <a:pt x="917111" y="253181"/>
                    </a:cubicBezTo>
                    <a:cubicBezTo>
                      <a:pt x="900760" y="243004"/>
                      <a:pt x="891833" y="251846"/>
                      <a:pt x="874563" y="274453"/>
                    </a:cubicBezTo>
                    <a:cubicBezTo>
                      <a:pt x="863468" y="289052"/>
                      <a:pt x="852455" y="304151"/>
                      <a:pt x="835604" y="304151"/>
                    </a:cubicBezTo>
                    <a:lnTo>
                      <a:pt x="834685" y="304151"/>
                    </a:lnTo>
                    <a:cubicBezTo>
                      <a:pt x="822756" y="303734"/>
                      <a:pt x="813412" y="295726"/>
                      <a:pt x="808990" y="283797"/>
                    </a:cubicBezTo>
                    <a:cubicBezTo>
                      <a:pt x="804569" y="270032"/>
                      <a:pt x="808073" y="255851"/>
                      <a:pt x="817416" y="248843"/>
                    </a:cubicBezTo>
                    <a:cubicBezTo>
                      <a:pt x="819168" y="247509"/>
                      <a:pt x="821421" y="245757"/>
                      <a:pt x="823590" y="244422"/>
                    </a:cubicBezTo>
                    <a:cubicBezTo>
                      <a:pt x="826260" y="242670"/>
                      <a:pt x="831599" y="239083"/>
                      <a:pt x="831599" y="237748"/>
                    </a:cubicBezTo>
                    <a:cubicBezTo>
                      <a:pt x="831599" y="237331"/>
                      <a:pt x="831181" y="235496"/>
                      <a:pt x="828512" y="232910"/>
                    </a:cubicBezTo>
                    <a:cubicBezTo>
                      <a:pt x="820503" y="224902"/>
                      <a:pt x="808990" y="224068"/>
                      <a:pt x="795308" y="223150"/>
                    </a:cubicBezTo>
                    <a:cubicBezTo>
                      <a:pt x="781125" y="222232"/>
                      <a:pt x="765191" y="220897"/>
                      <a:pt x="752760" y="209886"/>
                    </a:cubicBezTo>
                    <a:cubicBezTo>
                      <a:pt x="742166" y="201043"/>
                      <a:pt x="737660" y="191700"/>
                      <a:pt x="733239" y="182441"/>
                    </a:cubicBezTo>
                    <a:cubicBezTo>
                      <a:pt x="732822" y="181523"/>
                      <a:pt x="732321" y="180689"/>
                      <a:pt x="731903" y="179771"/>
                    </a:cubicBezTo>
                    <a:cubicBezTo>
                      <a:pt x="730569" y="176684"/>
                      <a:pt x="728817" y="173098"/>
                      <a:pt x="727065" y="169177"/>
                    </a:cubicBezTo>
                    <a:cubicBezTo>
                      <a:pt x="726648" y="167842"/>
                      <a:pt x="725730" y="166507"/>
                      <a:pt x="724812" y="164756"/>
                    </a:cubicBezTo>
                    <a:cubicBezTo>
                      <a:pt x="720391" y="156747"/>
                      <a:pt x="712882" y="149239"/>
                      <a:pt x="705291" y="141314"/>
                    </a:cubicBezTo>
                    <a:cubicBezTo>
                      <a:pt x="699117" y="135141"/>
                      <a:pt x="692860" y="128468"/>
                      <a:pt x="687604" y="121377"/>
                    </a:cubicBezTo>
                    <a:cubicBezTo>
                      <a:pt x="677426" y="107195"/>
                      <a:pt x="669000" y="96601"/>
                      <a:pt x="653065" y="91679"/>
                    </a:cubicBezTo>
                    <a:cubicBezTo>
                      <a:pt x="630457" y="84588"/>
                      <a:pt x="616274" y="79249"/>
                      <a:pt x="606513" y="54056"/>
                    </a:cubicBezTo>
                    <a:cubicBezTo>
                      <a:pt x="603843" y="47383"/>
                      <a:pt x="601174" y="39875"/>
                      <a:pt x="598504" y="32367"/>
                    </a:cubicBezTo>
                    <a:cubicBezTo>
                      <a:pt x="595000" y="21773"/>
                      <a:pt x="590996" y="10678"/>
                      <a:pt x="586575" y="0"/>
                    </a:cubicBezTo>
                    <a:cubicBezTo>
                      <a:pt x="571474" y="9760"/>
                      <a:pt x="555123" y="17685"/>
                      <a:pt x="532513" y="14181"/>
                    </a:cubicBezTo>
                    <a:cubicBezTo>
                      <a:pt x="527675" y="13264"/>
                      <a:pt x="523670" y="12430"/>
                      <a:pt x="519249" y="11512"/>
                    </a:cubicBezTo>
                    <a:cubicBezTo>
                      <a:pt x="507319" y="8843"/>
                      <a:pt x="497975" y="6674"/>
                      <a:pt x="487380" y="11929"/>
                    </a:cubicBezTo>
                    <a:cubicBezTo>
                      <a:pt x="474949" y="18102"/>
                      <a:pt x="468776" y="27862"/>
                      <a:pt x="470110" y="39875"/>
                    </a:cubicBezTo>
                    <a:cubicBezTo>
                      <a:pt x="470527" y="42544"/>
                      <a:pt x="471446" y="44713"/>
                      <a:pt x="472363" y="46548"/>
                    </a:cubicBezTo>
                    <a:cubicBezTo>
                      <a:pt x="473280" y="50052"/>
                      <a:pt x="475033" y="54557"/>
                      <a:pt x="475033" y="59396"/>
                    </a:cubicBezTo>
                    <a:cubicBezTo>
                      <a:pt x="475033" y="63817"/>
                      <a:pt x="473697" y="67821"/>
                      <a:pt x="472363" y="71325"/>
                    </a:cubicBezTo>
                    <a:cubicBezTo>
                      <a:pt x="471446" y="73577"/>
                      <a:pt x="471028" y="75746"/>
                      <a:pt x="471028" y="77998"/>
                    </a:cubicBezTo>
                    <a:cubicBezTo>
                      <a:pt x="470611" y="80668"/>
                      <a:pt x="471446" y="83337"/>
                      <a:pt x="472363" y="86841"/>
                    </a:cubicBezTo>
                    <a:cubicBezTo>
                      <a:pt x="473280" y="89927"/>
                      <a:pt x="474616" y="93514"/>
                      <a:pt x="474616" y="97435"/>
                    </a:cubicBezTo>
                    <a:cubicBezTo>
                      <a:pt x="475033" y="103608"/>
                      <a:pt x="473697" y="108530"/>
                      <a:pt x="471946" y="112534"/>
                    </a:cubicBezTo>
                    <a:cubicBezTo>
                      <a:pt x="471028" y="114787"/>
                      <a:pt x="470611" y="116956"/>
                      <a:pt x="470194" y="119625"/>
                    </a:cubicBezTo>
                    <a:cubicBezTo>
                      <a:pt x="467941" y="135141"/>
                      <a:pt x="495889" y="168342"/>
                      <a:pt x="511407" y="173682"/>
                    </a:cubicBezTo>
                    <a:cubicBezTo>
                      <a:pt x="514076" y="174599"/>
                      <a:pt x="517580" y="174599"/>
                      <a:pt x="521168" y="174599"/>
                    </a:cubicBezTo>
                    <a:cubicBezTo>
                      <a:pt x="529176" y="174599"/>
                      <a:pt x="538854" y="175016"/>
                      <a:pt x="545528" y="183025"/>
                    </a:cubicBezTo>
                    <a:cubicBezTo>
                      <a:pt x="549950" y="188780"/>
                      <a:pt x="549033" y="194954"/>
                      <a:pt x="549033" y="199375"/>
                    </a:cubicBezTo>
                    <a:cubicBezTo>
                      <a:pt x="548615" y="201628"/>
                      <a:pt x="548615" y="203379"/>
                      <a:pt x="549033" y="204714"/>
                    </a:cubicBezTo>
                    <a:cubicBezTo>
                      <a:pt x="549950" y="207383"/>
                      <a:pt x="551284" y="209552"/>
                      <a:pt x="553037" y="212222"/>
                    </a:cubicBezTo>
                    <a:cubicBezTo>
                      <a:pt x="554788" y="214891"/>
                      <a:pt x="556541" y="217060"/>
                      <a:pt x="557875" y="220230"/>
                    </a:cubicBezTo>
                    <a:cubicBezTo>
                      <a:pt x="566301" y="238833"/>
                      <a:pt x="555206" y="249010"/>
                      <a:pt x="545946" y="257853"/>
                    </a:cubicBezTo>
                    <a:cubicBezTo>
                      <a:pt x="539772" y="263609"/>
                      <a:pt x="535350" y="268948"/>
                      <a:pt x="530845" y="275121"/>
                    </a:cubicBezTo>
                    <a:cubicBezTo>
                      <a:pt x="526423" y="280877"/>
                      <a:pt x="522002" y="287050"/>
                      <a:pt x="516245" y="292389"/>
                    </a:cubicBezTo>
                    <a:cubicBezTo>
                      <a:pt x="502981" y="305236"/>
                      <a:pt x="485211" y="306153"/>
                      <a:pt x="470194" y="306987"/>
                    </a:cubicBezTo>
                    <a:lnTo>
                      <a:pt x="462686" y="307405"/>
                    </a:lnTo>
                    <a:cubicBezTo>
                      <a:pt x="458263" y="307822"/>
                      <a:pt x="453342" y="308739"/>
                      <a:pt x="448503" y="309657"/>
                    </a:cubicBezTo>
                    <a:cubicBezTo>
                      <a:pt x="436990" y="312326"/>
                      <a:pt x="424142" y="314996"/>
                      <a:pt x="413047" y="310992"/>
                    </a:cubicBezTo>
                    <a:cubicBezTo>
                      <a:pt x="408624" y="309657"/>
                      <a:pt x="405037" y="307488"/>
                      <a:pt x="402451" y="305653"/>
                    </a:cubicBezTo>
                    <a:cubicBezTo>
                      <a:pt x="400199" y="306987"/>
                      <a:pt x="398447" y="308739"/>
                      <a:pt x="397613" y="310992"/>
                    </a:cubicBezTo>
                    <a:cubicBezTo>
                      <a:pt x="396277" y="313661"/>
                      <a:pt x="396695" y="315413"/>
                      <a:pt x="398030" y="319834"/>
                    </a:cubicBezTo>
                    <a:lnTo>
                      <a:pt x="398947" y="323338"/>
                    </a:lnTo>
                    <a:cubicBezTo>
                      <a:pt x="399865" y="327342"/>
                      <a:pt x="400282" y="331346"/>
                      <a:pt x="400699" y="335768"/>
                    </a:cubicBezTo>
                    <a:cubicBezTo>
                      <a:pt x="401116" y="339271"/>
                      <a:pt x="401617" y="343275"/>
                      <a:pt x="402451" y="346862"/>
                    </a:cubicBezTo>
                    <a:cubicBezTo>
                      <a:pt x="403786" y="353036"/>
                      <a:pt x="406456" y="353953"/>
                      <a:pt x="412212" y="356206"/>
                    </a:cubicBezTo>
                    <a:cubicBezTo>
                      <a:pt x="417051" y="358458"/>
                      <a:pt x="422390" y="360627"/>
                      <a:pt x="427730" y="366383"/>
                    </a:cubicBezTo>
                    <a:cubicBezTo>
                      <a:pt x="434404" y="373891"/>
                      <a:pt x="437491" y="384068"/>
                      <a:pt x="440578" y="394329"/>
                    </a:cubicBezTo>
                    <a:cubicBezTo>
                      <a:pt x="443247" y="401837"/>
                      <a:pt x="445416" y="409845"/>
                      <a:pt x="449421" y="415601"/>
                    </a:cubicBezTo>
                    <a:cubicBezTo>
                      <a:pt x="452090" y="420022"/>
                      <a:pt x="454760" y="424026"/>
                      <a:pt x="457846" y="428031"/>
                    </a:cubicBezTo>
                    <a:cubicBezTo>
                      <a:pt x="466690" y="440877"/>
                      <a:pt x="476034" y="454141"/>
                      <a:pt x="483125" y="469240"/>
                    </a:cubicBezTo>
                    <a:cubicBezTo>
                      <a:pt x="485377" y="473661"/>
                      <a:pt x="486629" y="478083"/>
                      <a:pt x="488881" y="483422"/>
                    </a:cubicBezTo>
                    <a:cubicBezTo>
                      <a:pt x="493303" y="494934"/>
                      <a:pt x="498225" y="506863"/>
                      <a:pt x="506151" y="513120"/>
                    </a:cubicBezTo>
                    <a:cubicBezTo>
                      <a:pt x="513242" y="518876"/>
                      <a:pt x="520750" y="517958"/>
                      <a:pt x="530512" y="516623"/>
                    </a:cubicBezTo>
                    <a:cubicBezTo>
                      <a:pt x="536685" y="515706"/>
                      <a:pt x="544277" y="514872"/>
                      <a:pt x="551785" y="516206"/>
                    </a:cubicBezTo>
                    <a:cubicBezTo>
                      <a:pt x="560628" y="517958"/>
                      <a:pt x="564633" y="521962"/>
                      <a:pt x="568137" y="525549"/>
                    </a:cubicBezTo>
                    <a:cubicBezTo>
                      <a:pt x="569472" y="526884"/>
                      <a:pt x="571224" y="528636"/>
                      <a:pt x="573476" y="529970"/>
                    </a:cubicBezTo>
                    <a:cubicBezTo>
                      <a:pt x="576980" y="532640"/>
                      <a:pt x="581485" y="533474"/>
                      <a:pt x="585907" y="535310"/>
                    </a:cubicBezTo>
                    <a:cubicBezTo>
                      <a:pt x="588993" y="536227"/>
                      <a:pt x="592080" y="537061"/>
                      <a:pt x="594750" y="538396"/>
                    </a:cubicBezTo>
                    <a:cubicBezTo>
                      <a:pt x="628454" y="552995"/>
                      <a:pt x="639968" y="598626"/>
                      <a:pt x="627537" y="630075"/>
                    </a:cubicBezTo>
                    <a:cubicBezTo>
                      <a:pt x="619111" y="650930"/>
                      <a:pt x="601424" y="658438"/>
                      <a:pt x="584155" y="665946"/>
                    </a:cubicBezTo>
                    <a:cubicBezTo>
                      <a:pt x="570389" y="671702"/>
                      <a:pt x="558042" y="677041"/>
                      <a:pt x="549616" y="688970"/>
                    </a:cubicBezTo>
                    <a:cubicBezTo>
                      <a:pt x="545194" y="695143"/>
                      <a:pt x="542525" y="701400"/>
                      <a:pt x="539021" y="707990"/>
                    </a:cubicBezTo>
                    <a:cubicBezTo>
                      <a:pt x="535016" y="716415"/>
                      <a:pt x="530595" y="725258"/>
                      <a:pt x="523921" y="733683"/>
                    </a:cubicBezTo>
                    <a:cubicBezTo>
                      <a:pt x="517747" y="741191"/>
                      <a:pt x="515078" y="749617"/>
                      <a:pt x="511991" y="758960"/>
                    </a:cubicBezTo>
                    <a:cubicBezTo>
                      <a:pt x="509321" y="766968"/>
                      <a:pt x="506651" y="775310"/>
                      <a:pt x="501395" y="783319"/>
                    </a:cubicBezTo>
                    <a:cubicBezTo>
                      <a:pt x="495222" y="793079"/>
                      <a:pt x="486796" y="801921"/>
                      <a:pt x="478370" y="810764"/>
                    </a:cubicBezTo>
                    <a:cubicBezTo>
                      <a:pt x="474365" y="815185"/>
                      <a:pt x="469943" y="819607"/>
                      <a:pt x="466440" y="824028"/>
                    </a:cubicBezTo>
                    <a:cubicBezTo>
                      <a:pt x="461601" y="829784"/>
                      <a:pt x="455845" y="834205"/>
                      <a:pt x="450088" y="838626"/>
                    </a:cubicBezTo>
                    <a:cubicBezTo>
                      <a:pt x="442579" y="844383"/>
                      <a:pt x="435488" y="849721"/>
                      <a:pt x="431901" y="857229"/>
                    </a:cubicBezTo>
                    <a:cubicBezTo>
                      <a:pt x="426144" y="869158"/>
                      <a:pt x="429231" y="889096"/>
                      <a:pt x="438575" y="900608"/>
                    </a:cubicBezTo>
                    <a:cubicBezTo>
                      <a:pt x="443414" y="906781"/>
                      <a:pt x="450505" y="909033"/>
                      <a:pt x="458514" y="912120"/>
                    </a:cubicBezTo>
                    <a:cubicBezTo>
                      <a:pt x="466023" y="914789"/>
                      <a:pt x="474031" y="917459"/>
                      <a:pt x="480622" y="923632"/>
                    </a:cubicBezTo>
                    <a:cubicBezTo>
                      <a:pt x="508570" y="947991"/>
                      <a:pt x="501896" y="990034"/>
                      <a:pt x="483709" y="1018898"/>
                    </a:cubicBezTo>
                    <a:cubicBezTo>
                      <a:pt x="481457" y="1022402"/>
                      <a:pt x="479287" y="1025989"/>
                      <a:pt x="477034" y="1029993"/>
                    </a:cubicBezTo>
                    <a:cubicBezTo>
                      <a:pt x="470360" y="1041922"/>
                      <a:pt x="462852" y="1055269"/>
                      <a:pt x="451756" y="1063194"/>
                    </a:cubicBezTo>
                    <a:cubicBezTo>
                      <a:pt x="445082" y="1068033"/>
                      <a:pt x="437991" y="1071620"/>
                      <a:pt x="431818" y="1074706"/>
                    </a:cubicBezTo>
                    <a:cubicBezTo>
                      <a:pt x="423391" y="1078711"/>
                      <a:pt x="415466" y="1082715"/>
                      <a:pt x="408374" y="1090223"/>
                    </a:cubicBezTo>
                    <a:cubicBezTo>
                      <a:pt x="401283" y="1097730"/>
                      <a:pt x="392857" y="1102652"/>
                      <a:pt x="385349" y="1107491"/>
                    </a:cubicBezTo>
                    <a:cubicBezTo>
                      <a:pt x="380510" y="1110577"/>
                      <a:pt x="375588" y="1113664"/>
                      <a:pt x="370749" y="1117251"/>
                    </a:cubicBezTo>
                    <a:cubicBezTo>
                      <a:pt x="368497" y="1118586"/>
                      <a:pt x="367245" y="1120337"/>
                      <a:pt x="365410" y="1122089"/>
                    </a:cubicBezTo>
                    <a:cubicBezTo>
                      <a:pt x="360571" y="1126511"/>
                      <a:pt x="355648" y="1130932"/>
                      <a:pt x="345471" y="1132684"/>
                    </a:cubicBezTo>
                    <a:cubicBezTo>
                      <a:pt x="342801" y="1133101"/>
                      <a:pt x="340632" y="1133601"/>
                      <a:pt x="337963" y="1133601"/>
                    </a:cubicBezTo>
                    <a:cubicBezTo>
                      <a:pt x="332623" y="1134018"/>
                      <a:pt x="329536" y="1134519"/>
                      <a:pt x="326032" y="1137606"/>
                    </a:cubicBezTo>
                    <a:cubicBezTo>
                      <a:pt x="317606" y="1144279"/>
                      <a:pt x="314936" y="1155791"/>
                      <a:pt x="311432" y="1167303"/>
                    </a:cubicBezTo>
                    <a:cubicBezTo>
                      <a:pt x="310515" y="1170807"/>
                      <a:pt x="309180" y="1174394"/>
                      <a:pt x="308346" y="1177898"/>
                    </a:cubicBezTo>
                    <a:cubicBezTo>
                      <a:pt x="301255" y="1199587"/>
                      <a:pt x="287990" y="1210682"/>
                      <a:pt x="272473" y="1223529"/>
                    </a:cubicBezTo>
                    <a:cubicBezTo>
                      <a:pt x="257873" y="1235458"/>
                      <a:pt x="249863" y="1246970"/>
                      <a:pt x="242355" y="1265156"/>
                    </a:cubicBezTo>
                    <a:lnTo>
                      <a:pt x="240102" y="1269994"/>
                    </a:lnTo>
                    <a:cubicBezTo>
                      <a:pt x="235264" y="1283258"/>
                      <a:pt x="227255" y="1302778"/>
                      <a:pt x="209068" y="1305448"/>
                    </a:cubicBezTo>
                    <a:cubicBezTo>
                      <a:pt x="200642" y="1306365"/>
                      <a:pt x="193133" y="1303696"/>
                      <a:pt x="186459" y="1301026"/>
                    </a:cubicBezTo>
                    <a:cubicBezTo>
                      <a:pt x="179785" y="1298357"/>
                      <a:pt x="174529" y="1296188"/>
                      <a:pt x="168272" y="1297940"/>
                    </a:cubicBezTo>
                    <a:cubicBezTo>
                      <a:pt x="158928" y="1300609"/>
                      <a:pt x="151921" y="1309869"/>
                      <a:pt x="144829" y="1318795"/>
                    </a:cubicBezTo>
                    <a:cubicBezTo>
                      <a:pt x="141325" y="1323216"/>
                      <a:pt x="137738" y="1327637"/>
                      <a:pt x="134234" y="1331224"/>
                    </a:cubicBezTo>
                    <a:cubicBezTo>
                      <a:pt x="125390" y="1340067"/>
                      <a:pt x="107203" y="1354666"/>
                      <a:pt x="89017" y="1354249"/>
                    </a:cubicBezTo>
                    <a:cubicBezTo>
                      <a:pt x="82342" y="1354249"/>
                      <a:pt x="77504" y="1351162"/>
                      <a:pt x="73500" y="1348910"/>
                    </a:cubicBezTo>
                    <a:cubicBezTo>
                      <a:pt x="70830" y="1347575"/>
                      <a:pt x="68660" y="1346240"/>
                      <a:pt x="66825" y="1345823"/>
                    </a:cubicBezTo>
                    <a:cubicBezTo>
                      <a:pt x="62820" y="1345406"/>
                      <a:pt x="60651" y="1346741"/>
                      <a:pt x="56647" y="1350244"/>
                    </a:cubicBezTo>
                    <a:cubicBezTo>
                      <a:pt x="54394" y="1351996"/>
                      <a:pt x="51809" y="1353748"/>
                      <a:pt x="49139" y="1355083"/>
                    </a:cubicBezTo>
                    <a:cubicBezTo>
                      <a:pt x="43799" y="1358169"/>
                      <a:pt x="37209" y="1359504"/>
                      <a:pt x="31452" y="1360422"/>
                    </a:cubicBezTo>
                    <a:cubicBezTo>
                      <a:pt x="25278" y="1361339"/>
                      <a:pt x="18604" y="1363091"/>
                      <a:pt x="17270" y="1365761"/>
                    </a:cubicBezTo>
                    <a:cubicBezTo>
                      <a:pt x="15935" y="1367512"/>
                      <a:pt x="16352" y="1371100"/>
                      <a:pt x="17687" y="1375938"/>
                    </a:cubicBezTo>
                    <a:cubicBezTo>
                      <a:pt x="18604" y="1379442"/>
                      <a:pt x="22108" y="1383946"/>
                      <a:pt x="25195" y="1387867"/>
                    </a:cubicBezTo>
                    <a:cubicBezTo>
                      <a:pt x="31869" y="1396709"/>
                      <a:pt x="39795" y="1407388"/>
                      <a:pt x="35373" y="1419734"/>
                    </a:cubicBezTo>
                    <a:cubicBezTo>
                      <a:pt x="33121" y="1425072"/>
                      <a:pt x="28699" y="1428576"/>
                      <a:pt x="24778" y="1432163"/>
                    </a:cubicBezTo>
                    <a:cubicBezTo>
                      <a:pt x="22525" y="1433498"/>
                      <a:pt x="20774" y="1434833"/>
                      <a:pt x="19939" y="1436168"/>
                    </a:cubicBezTo>
                    <a:cubicBezTo>
                      <a:pt x="15935" y="1441006"/>
                      <a:pt x="14600" y="1447262"/>
                      <a:pt x="12848" y="1453853"/>
                    </a:cubicBezTo>
                    <a:cubicBezTo>
                      <a:pt x="11930" y="1457356"/>
                      <a:pt x="11096" y="1461360"/>
                      <a:pt x="9761" y="1464948"/>
                    </a:cubicBezTo>
                    <a:cubicBezTo>
                      <a:pt x="8427" y="1468952"/>
                      <a:pt x="4923" y="1478712"/>
                      <a:pt x="7091" y="1481798"/>
                    </a:cubicBezTo>
                    <a:cubicBezTo>
                      <a:pt x="8009" y="1483133"/>
                      <a:pt x="10595" y="1485302"/>
                      <a:pt x="22192" y="1486637"/>
                    </a:cubicBezTo>
                    <a:cubicBezTo>
                      <a:pt x="23944" y="1487054"/>
                      <a:pt x="25695" y="1487054"/>
                      <a:pt x="28365" y="1487054"/>
                    </a:cubicBezTo>
                    <a:cubicBezTo>
                      <a:pt x="39461" y="1487972"/>
                      <a:pt x="53643" y="1488389"/>
                      <a:pt x="60234" y="1497648"/>
                    </a:cubicBezTo>
                    <a:cubicBezTo>
                      <a:pt x="63738" y="1502487"/>
                      <a:pt x="64656" y="1508243"/>
                      <a:pt x="62487" y="1515834"/>
                    </a:cubicBezTo>
                    <a:cubicBezTo>
                      <a:pt x="59400" y="1528264"/>
                      <a:pt x="45635" y="1536189"/>
                      <a:pt x="35039" y="1543279"/>
                    </a:cubicBezTo>
                    <a:cubicBezTo>
                      <a:pt x="31535" y="1545532"/>
                      <a:pt x="27948" y="1547283"/>
                      <a:pt x="25278" y="1549453"/>
                    </a:cubicBezTo>
                    <a:cubicBezTo>
                      <a:pt x="8009" y="1562299"/>
                      <a:pt x="1836" y="1582654"/>
                      <a:pt x="0" y="1604844"/>
                    </a:cubicBezTo>
                    <a:cubicBezTo>
                      <a:pt x="19522" y="1606596"/>
                      <a:pt x="29199" y="1616773"/>
                      <a:pt x="39461" y="1629620"/>
                    </a:cubicBezTo>
                    <a:cubicBezTo>
                      <a:pt x="62487" y="1657065"/>
                      <a:pt x="88599" y="1681925"/>
                      <a:pt x="128060" y="1678337"/>
                    </a:cubicBezTo>
                    <a:cubicBezTo>
                      <a:pt x="146247" y="1677002"/>
                      <a:pt x="164852" y="1673916"/>
                      <a:pt x="182538" y="1671246"/>
                    </a:cubicBezTo>
                    <a:cubicBezTo>
                      <a:pt x="202477" y="1668160"/>
                      <a:pt x="223334" y="1664573"/>
                      <a:pt x="244107" y="1663238"/>
                    </a:cubicBezTo>
                    <a:cubicBezTo>
                      <a:pt x="287990" y="1659735"/>
                      <a:pt x="321610" y="1649474"/>
                      <a:pt x="349558" y="1630871"/>
                    </a:cubicBezTo>
                    <a:cubicBezTo>
                      <a:pt x="357985" y="1625532"/>
                      <a:pt x="365493" y="1619359"/>
                      <a:pt x="373502" y="1612685"/>
                    </a:cubicBezTo>
                    <a:cubicBezTo>
                      <a:pt x="379676" y="1607346"/>
                      <a:pt x="385933" y="1602091"/>
                      <a:pt x="393024" y="1597169"/>
                    </a:cubicBezTo>
                    <a:cubicBezTo>
                      <a:pt x="403202" y="1590078"/>
                      <a:pt x="413881" y="1585240"/>
                      <a:pt x="424476" y="1580318"/>
                    </a:cubicBezTo>
                    <a:cubicBezTo>
                      <a:pt x="430649" y="1577232"/>
                      <a:pt x="436907" y="1574562"/>
                      <a:pt x="442663" y="1571475"/>
                    </a:cubicBezTo>
                    <a:cubicBezTo>
                      <a:pt x="455093" y="1564802"/>
                      <a:pt x="466606" y="1556877"/>
                      <a:pt x="478120" y="1549369"/>
                    </a:cubicBezTo>
                    <a:cubicBezTo>
                      <a:pt x="492302" y="1539609"/>
                      <a:pt x="507319" y="1529432"/>
                      <a:pt x="524171" y="1521423"/>
                    </a:cubicBezTo>
                    <a:cubicBezTo>
                      <a:pt x="549867" y="1508994"/>
                      <a:pt x="555206" y="1492643"/>
                      <a:pt x="563632" y="1467784"/>
                    </a:cubicBezTo>
                    <a:cubicBezTo>
                      <a:pt x="564967" y="1464280"/>
                      <a:pt x="566301" y="1459775"/>
                      <a:pt x="567637" y="1455855"/>
                    </a:cubicBezTo>
                    <a:cubicBezTo>
                      <a:pt x="579566" y="1421319"/>
                      <a:pt x="601340" y="1392038"/>
                      <a:pt x="632292" y="1369014"/>
                    </a:cubicBezTo>
                    <a:cubicBezTo>
                      <a:pt x="664162" y="1344655"/>
                      <a:pt x="695196" y="1339817"/>
                      <a:pt x="739079" y="1352664"/>
                    </a:cubicBezTo>
                    <a:cubicBezTo>
                      <a:pt x="775369" y="1363258"/>
                      <a:pt x="795809" y="1360171"/>
                      <a:pt x="829013" y="1338482"/>
                    </a:cubicBezTo>
                    <a:cubicBezTo>
                      <a:pt x="841444" y="1330474"/>
                      <a:pt x="856460" y="1320297"/>
                      <a:pt x="875064" y="1320297"/>
                    </a:cubicBezTo>
                    <a:cubicBezTo>
                      <a:pt x="886994" y="1319880"/>
                      <a:pt x="896338" y="1323800"/>
                      <a:pt x="904764" y="1328305"/>
                    </a:cubicBezTo>
                    <a:cubicBezTo>
                      <a:pt x="907017" y="1329639"/>
                      <a:pt x="909185" y="1330557"/>
                      <a:pt x="911438" y="1331808"/>
                    </a:cubicBezTo>
                    <a:cubicBezTo>
                      <a:pt x="914108" y="1333143"/>
                      <a:pt x="916277" y="1334478"/>
                      <a:pt x="918947" y="1335312"/>
                    </a:cubicBezTo>
                    <a:cubicBezTo>
                      <a:pt x="920282" y="1336230"/>
                      <a:pt x="922034" y="1336647"/>
                      <a:pt x="923785" y="1337564"/>
                    </a:cubicBezTo>
                    <a:cubicBezTo>
                      <a:pt x="950816" y="1348660"/>
                      <a:pt x="995115" y="1340234"/>
                      <a:pt x="1027485" y="1327804"/>
                    </a:cubicBezTo>
                    <a:cubicBezTo>
                      <a:pt x="1048342" y="1319796"/>
                      <a:pt x="1054932" y="1303446"/>
                      <a:pt x="1062441" y="1284843"/>
                    </a:cubicBezTo>
                    <a:cubicBezTo>
                      <a:pt x="1066862" y="1273748"/>
                      <a:pt x="1071285" y="1261819"/>
                      <a:pt x="1079710" y="1251641"/>
                    </a:cubicBezTo>
                    <a:cubicBezTo>
                      <a:pt x="1085884" y="1243216"/>
                      <a:pt x="1094310" y="1235708"/>
                      <a:pt x="1102736" y="1228200"/>
                    </a:cubicBezTo>
                    <a:cubicBezTo>
                      <a:pt x="1120923" y="1212267"/>
                      <a:pt x="1136441" y="1198503"/>
                      <a:pt x="1130184" y="1174561"/>
                    </a:cubicBezTo>
                    <a:cubicBezTo>
                      <a:pt x="1127931" y="1167470"/>
                      <a:pt x="1124844" y="1160796"/>
                      <a:pt x="1120840" y="1153706"/>
                    </a:cubicBezTo>
                    <a:cubicBezTo>
                      <a:pt x="1116835" y="1146615"/>
                      <a:pt x="1113331" y="1139524"/>
                      <a:pt x="1110661" y="1131099"/>
                    </a:cubicBezTo>
                    <a:cubicBezTo>
                      <a:pt x="1103987" y="1108992"/>
                      <a:pt x="1105323" y="1084550"/>
                      <a:pt x="1107575" y="1059774"/>
                    </a:cubicBezTo>
                    <a:cubicBezTo>
                      <a:pt x="1106741" y="1042673"/>
                      <a:pt x="1107241" y="1024070"/>
                      <a:pt x="1107658" y="100546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2680792" name="Полилиния 413"/>
              <p:cNvSpPr/>
              <p:nvPr/>
            </p:nvSpPr>
            <p:spPr bwMode="auto">
              <a:xfrm>
                <a:off x="8347792" y="4530567"/>
                <a:ext cx="1406020" cy="940556"/>
              </a:xfrm>
              <a:custGeom>
                <a:avLst/>
                <a:gdLst>
                  <a:gd name="connsiteX0" fmla="*/ 1575266 w 1579008"/>
                  <a:gd name="connsiteY0" fmla="*/ 942874 h 1056276"/>
                  <a:gd name="connsiteX1" fmla="*/ 1569926 w 1579008"/>
                  <a:gd name="connsiteY1" fmla="*/ 973907 h 1056276"/>
                  <a:gd name="connsiteX2" fmla="*/ 1565087 w 1579008"/>
                  <a:gd name="connsiteY2" fmla="*/ 993427 h 1056276"/>
                  <a:gd name="connsiteX3" fmla="*/ 1562418 w 1579008"/>
                  <a:gd name="connsiteY3" fmla="*/ 1001853 h 1056276"/>
                  <a:gd name="connsiteX4" fmla="*/ 1546901 w 1579008"/>
                  <a:gd name="connsiteY4" fmla="*/ 1002770 h 1056276"/>
                  <a:gd name="connsiteX5" fmla="*/ 1528296 w 1579008"/>
                  <a:gd name="connsiteY5" fmla="*/ 1016952 h 1056276"/>
                  <a:gd name="connsiteX6" fmla="*/ 1512779 w 1579008"/>
                  <a:gd name="connsiteY6" fmla="*/ 1028464 h 1056276"/>
                  <a:gd name="connsiteX7" fmla="*/ 1469397 w 1579008"/>
                  <a:gd name="connsiteY7" fmla="*/ 1019621 h 1056276"/>
                  <a:gd name="connsiteX8" fmla="*/ 1464975 w 1579008"/>
                  <a:gd name="connsiteY8" fmla="*/ 1017869 h 1056276"/>
                  <a:gd name="connsiteX9" fmla="*/ 1406493 w 1579008"/>
                  <a:gd name="connsiteY9" fmla="*/ 1010362 h 1056276"/>
                  <a:gd name="connsiteX10" fmla="*/ 1386971 w 1579008"/>
                  <a:gd name="connsiteY10" fmla="*/ 1017452 h 1056276"/>
                  <a:gd name="connsiteX11" fmla="*/ 1357271 w 1579008"/>
                  <a:gd name="connsiteY11" fmla="*/ 1026295 h 1056276"/>
                  <a:gd name="connsiteX12" fmla="*/ 1347093 w 1579008"/>
                  <a:gd name="connsiteY12" fmla="*/ 1027213 h 1056276"/>
                  <a:gd name="connsiteX13" fmla="*/ 1296119 w 1579008"/>
                  <a:gd name="connsiteY13" fmla="*/ 1038307 h 1056276"/>
                  <a:gd name="connsiteX14" fmla="*/ 1285524 w 1579008"/>
                  <a:gd name="connsiteY14" fmla="*/ 1043146 h 1056276"/>
                  <a:gd name="connsiteX15" fmla="*/ 1251403 w 1579008"/>
                  <a:gd name="connsiteY15" fmla="*/ 1055576 h 1056276"/>
                  <a:gd name="connsiteX16" fmla="*/ 1179655 w 1579008"/>
                  <a:gd name="connsiteY16" fmla="*/ 1010862 h 1056276"/>
                  <a:gd name="connsiteX17" fmla="*/ 1157046 w 1579008"/>
                  <a:gd name="connsiteY17" fmla="*/ 987838 h 1056276"/>
                  <a:gd name="connsiteX18" fmla="*/ 1139778 w 1579008"/>
                  <a:gd name="connsiteY18" fmla="*/ 971905 h 1056276"/>
                  <a:gd name="connsiteX19" fmla="*/ 1131768 w 1579008"/>
                  <a:gd name="connsiteY19" fmla="*/ 961728 h 1056276"/>
                  <a:gd name="connsiteX20" fmla="*/ 1103820 w 1579008"/>
                  <a:gd name="connsiteY20" fmla="*/ 934699 h 1056276"/>
                  <a:gd name="connsiteX21" fmla="*/ 1079877 w 1579008"/>
                  <a:gd name="connsiteY21" fmla="*/ 924105 h 1056276"/>
                  <a:gd name="connsiteX22" fmla="*/ 1061690 w 1579008"/>
                  <a:gd name="connsiteY22" fmla="*/ 916096 h 1056276"/>
                  <a:gd name="connsiteX23" fmla="*/ 1019643 w 1579008"/>
                  <a:gd name="connsiteY23" fmla="*/ 882895 h 1056276"/>
                  <a:gd name="connsiteX24" fmla="*/ 985521 w 1579008"/>
                  <a:gd name="connsiteY24" fmla="*/ 848359 h 1056276"/>
                  <a:gd name="connsiteX25" fmla="*/ 935882 w 1579008"/>
                  <a:gd name="connsiteY25" fmla="*/ 799224 h 1056276"/>
                  <a:gd name="connsiteX26" fmla="*/ 750257 w 1579008"/>
                  <a:gd name="connsiteY26" fmla="*/ 690694 h 1056276"/>
                  <a:gd name="connsiteX27" fmla="*/ 690857 w 1579008"/>
                  <a:gd name="connsiteY27" fmla="*/ 702623 h 1056276"/>
                  <a:gd name="connsiteX28" fmla="*/ 643471 w 1579008"/>
                  <a:gd name="connsiteY28" fmla="*/ 714552 h 1056276"/>
                  <a:gd name="connsiteX29" fmla="*/ 619527 w 1579008"/>
                  <a:gd name="connsiteY29" fmla="*/ 714552 h 1056276"/>
                  <a:gd name="connsiteX30" fmla="*/ 529176 w 1579008"/>
                  <a:gd name="connsiteY30" fmla="*/ 727399 h 1056276"/>
                  <a:gd name="connsiteX31" fmla="*/ 414464 w 1579008"/>
                  <a:gd name="connsiteY31" fmla="*/ 795137 h 1056276"/>
                  <a:gd name="connsiteX32" fmla="*/ 406039 w 1579008"/>
                  <a:gd name="connsiteY32" fmla="*/ 782707 h 1056276"/>
                  <a:gd name="connsiteX33" fmla="*/ 402534 w 1579008"/>
                  <a:gd name="connsiteY33" fmla="*/ 776534 h 1056276"/>
                  <a:gd name="connsiteX34" fmla="*/ 362239 w 1579008"/>
                  <a:gd name="connsiteY34" fmla="*/ 732655 h 1056276"/>
                  <a:gd name="connsiteX35" fmla="*/ 356900 w 1579008"/>
                  <a:gd name="connsiteY35" fmla="*/ 729985 h 1056276"/>
                  <a:gd name="connsiteX36" fmla="*/ 345387 w 1579008"/>
                  <a:gd name="connsiteY36" fmla="*/ 721143 h 1056276"/>
                  <a:gd name="connsiteX37" fmla="*/ 344469 w 1579008"/>
                  <a:gd name="connsiteY37" fmla="*/ 713134 h 1056276"/>
                  <a:gd name="connsiteX38" fmla="*/ 342717 w 1579008"/>
                  <a:gd name="connsiteY38" fmla="*/ 699370 h 1056276"/>
                  <a:gd name="connsiteX39" fmla="*/ 336043 w 1579008"/>
                  <a:gd name="connsiteY39" fmla="*/ 690527 h 1056276"/>
                  <a:gd name="connsiteX40" fmla="*/ 332039 w 1579008"/>
                  <a:gd name="connsiteY40" fmla="*/ 685189 h 1056276"/>
                  <a:gd name="connsiteX41" fmla="*/ 337795 w 1579008"/>
                  <a:gd name="connsiteY41" fmla="*/ 677681 h 1056276"/>
                  <a:gd name="connsiteX42" fmla="*/ 344886 w 1579008"/>
                  <a:gd name="connsiteY42" fmla="*/ 671508 h 1056276"/>
                  <a:gd name="connsiteX43" fmla="*/ 352896 w 1579008"/>
                  <a:gd name="connsiteY43" fmla="*/ 653322 h 1056276"/>
                  <a:gd name="connsiteX44" fmla="*/ 327617 w 1579008"/>
                  <a:gd name="connsiteY44" fmla="*/ 625876 h 1056276"/>
                  <a:gd name="connsiteX45" fmla="*/ 303257 w 1579008"/>
                  <a:gd name="connsiteY45" fmla="*/ 598848 h 1056276"/>
                  <a:gd name="connsiteX46" fmla="*/ 305008 w 1579008"/>
                  <a:gd name="connsiteY46" fmla="*/ 590840 h 1056276"/>
                  <a:gd name="connsiteX47" fmla="*/ 303674 w 1579008"/>
                  <a:gd name="connsiteY47" fmla="*/ 567816 h 1056276"/>
                  <a:gd name="connsiteX48" fmla="*/ 294830 w 1579008"/>
                  <a:gd name="connsiteY48" fmla="*/ 556304 h 1056276"/>
                  <a:gd name="connsiteX49" fmla="*/ 286404 w 1579008"/>
                  <a:gd name="connsiteY49" fmla="*/ 545209 h 1056276"/>
                  <a:gd name="connsiteX50" fmla="*/ 283317 w 1579008"/>
                  <a:gd name="connsiteY50" fmla="*/ 538118 h 1056276"/>
                  <a:gd name="connsiteX51" fmla="*/ 237683 w 1579008"/>
                  <a:gd name="connsiteY51" fmla="*/ 509338 h 1056276"/>
                  <a:gd name="connsiteX52" fmla="*/ 229257 w 1579008"/>
                  <a:gd name="connsiteY52" fmla="*/ 513342 h 1056276"/>
                  <a:gd name="connsiteX53" fmla="*/ 207983 w 1579008"/>
                  <a:gd name="connsiteY53" fmla="*/ 511590 h 1056276"/>
                  <a:gd name="connsiteX54" fmla="*/ 199974 w 1579008"/>
                  <a:gd name="connsiteY54" fmla="*/ 493405 h 1056276"/>
                  <a:gd name="connsiteX55" fmla="*/ 180035 w 1579008"/>
                  <a:gd name="connsiteY55" fmla="*/ 461538 h 1056276"/>
                  <a:gd name="connsiteX56" fmla="*/ 118883 w 1579008"/>
                  <a:gd name="connsiteY56" fmla="*/ 486814 h 1056276"/>
                  <a:gd name="connsiteX57" fmla="*/ 90935 w 1579008"/>
                  <a:gd name="connsiteY57" fmla="*/ 510756 h 1056276"/>
                  <a:gd name="connsiteX58" fmla="*/ 90518 w 1579008"/>
                  <a:gd name="connsiteY58" fmla="*/ 510756 h 1056276"/>
                  <a:gd name="connsiteX59" fmla="*/ 78087 w 1579008"/>
                  <a:gd name="connsiteY59" fmla="*/ 500162 h 1056276"/>
                  <a:gd name="connsiteX60" fmla="*/ 81591 w 1579008"/>
                  <a:gd name="connsiteY60" fmla="*/ 480641 h 1056276"/>
                  <a:gd name="connsiteX61" fmla="*/ 86931 w 1579008"/>
                  <a:gd name="connsiteY61" fmla="*/ 477138 h 1056276"/>
                  <a:gd name="connsiteX62" fmla="*/ 101531 w 1579008"/>
                  <a:gd name="connsiteY62" fmla="*/ 459870 h 1056276"/>
                  <a:gd name="connsiteX63" fmla="*/ 94439 w 1579008"/>
                  <a:gd name="connsiteY63" fmla="*/ 443519 h 1056276"/>
                  <a:gd name="connsiteX64" fmla="*/ 51892 w 1579008"/>
                  <a:gd name="connsiteY64" fmla="*/ 429338 h 1056276"/>
                  <a:gd name="connsiteX65" fmla="*/ 18187 w 1579008"/>
                  <a:gd name="connsiteY65" fmla="*/ 419578 h 1056276"/>
                  <a:gd name="connsiteX66" fmla="*/ 917 w 1579008"/>
                  <a:gd name="connsiteY66" fmla="*/ 393884 h 1056276"/>
                  <a:gd name="connsiteX67" fmla="*/ 0 w 1579008"/>
                  <a:gd name="connsiteY67" fmla="*/ 392549 h 1056276"/>
                  <a:gd name="connsiteX68" fmla="*/ 18604 w 1579008"/>
                  <a:gd name="connsiteY68" fmla="*/ 374364 h 1056276"/>
                  <a:gd name="connsiteX69" fmla="*/ 94773 w 1579008"/>
                  <a:gd name="connsiteY69" fmla="*/ 323894 h 1056276"/>
                  <a:gd name="connsiteX70" fmla="*/ 130229 w 1579008"/>
                  <a:gd name="connsiteY70" fmla="*/ 330067 h 1056276"/>
                  <a:gd name="connsiteX71" fmla="*/ 180702 w 1579008"/>
                  <a:gd name="connsiteY71" fmla="*/ 333571 h 1056276"/>
                  <a:gd name="connsiteX72" fmla="*/ 218328 w 1579008"/>
                  <a:gd name="connsiteY72" fmla="*/ 335823 h 1056276"/>
                  <a:gd name="connsiteX73" fmla="*/ 269302 w 1579008"/>
                  <a:gd name="connsiteY73" fmla="*/ 334489 h 1056276"/>
                  <a:gd name="connsiteX74" fmla="*/ 307428 w 1579008"/>
                  <a:gd name="connsiteY74" fmla="*/ 322559 h 1056276"/>
                  <a:gd name="connsiteX75" fmla="*/ 337128 w 1579008"/>
                  <a:gd name="connsiteY75" fmla="*/ 316386 h 1056276"/>
                  <a:gd name="connsiteX76" fmla="*/ 354814 w 1579008"/>
                  <a:gd name="connsiteY76" fmla="*/ 311548 h 1056276"/>
                  <a:gd name="connsiteX77" fmla="*/ 400032 w 1579008"/>
                  <a:gd name="connsiteY77" fmla="*/ 329233 h 1056276"/>
                  <a:gd name="connsiteX78" fmla="*/ 435488 w 1579008"/>
                  <a:gd name="connsiteY78" fmla="*/ 348753 h 1056276"/>
                  <a:gd name="connsiteX79" fmla="*/ 485544 w 1579008"/>
                  <a:gd name="connsiteY79" fmla="*/ 339911 h 1056276"/>
                  <a:gd name="connsiteX80" fmla="*/ 498391 w 1579008"/>
                  <a:gd name="connsiteY80" fmla="*/ 329734 h 1056276"/>
                  <a:gd name="connsiteX81" fmla="*/ 510322 w 1579008"/>
                  <a:gd name="connsiteY81" fmla="*/ 321308 h 1056276"/>
                  <a:gd name="connsiteX82" fmla="*/ 517413 w 1579008"/>
                  <a:gd name="connsiteY82" fmla="*/ 323561 h 1056276"/>
                  <a:gd name="connsiteX83" fmla="*/ 530678 w 1579008"/>
                  <a:gd name="connsiteY83" fmla="*/ 326647 h 1056276"/>
                  <a:gd name="connsiteX84" fmla="*/ 548364 w 1579008"/>
                  <a:gd name="connsiteY84" fmla="*/ 321308 h 1056276"/>
                  <a:gd name="connsiteX85" fmla="*/ 556790 w 1579008"/>
                  <a:gd name="connsiteY85" fmla="*/ 315969 h 1056276"/>
                  <a:gd name="connsiteX86" fmla="*/ 574477 w 1579008"/>
                  <a:gd name="connsiteY86" fmla="*/ 310213 h 1056276"/>
                  <a:gd name="connsiteX87" fmla="*/ 581568 w 1579008"/>
                  <a:gd name="connsiteY87" fmla="*/ 315052 h 1056276"/>
                  <a:gd name="connsiteX88" fmla="*/ 597920 w 1579008"/>
                  <a:gd name="connsiteY88" fmla="*/ 323894 h 1056276"/>
                  <a:gd name="connsiteX89" fmla="*/ 631124 w 1579008"/>
                  <a:gd name="connsiteY89" fmla="*/ 307544 h 1056276"/>
                  <a:gd name="connsiteX90" fmla="*/ 635963 w 1579008"/>
                  <a:gd name="connsiteY90" fmla="*/ 302706 h 1056276"/>
                  <a:gd name="connsiteX91" fmla="*/ 651897 w 1579008"/>
                  <a:gd name="connsiteY91" fmla="*/ 291610 h 1056276"/>
                  <a:gd name="connsiteX92" fmla="*/ 671836 w 1579008"/>
                  <a:gd name="connsiteY92" fmla="*/ 277012 h 1056276"/>
                  <a:gd name="connsiteX93" fmla="*/ 676258 w 1579008"/>
                  <a:gd name="connsiteY93" fmla="*/ 271673 h 1056276"/>
                  <a:gd name="connsiteX94" fmla="*/ 684267 w 1579008"/>
                  <a:gd name="connsiteY94" fmla="*/ 264999 h 1056276"/>
                  <a:gd name="connsiteX95" fmla="*/ 691775 w 1579008"/>
                  <a:gd name="connsiteY95" fmla="*/ 263664 h 1056276"/>
                  <a:gd name="connsiteX96" fmla="*/ 702370 w 1579008"/>
                  <a:gd name="connsiteY96" fmla="*/ 261412 h 1056276"/>
                  <a:gd name="connsiteX97" fmla="*/ 716970 w 1579008"/>
                  <a:gd name="connsiteY97" fmla="*/ 249900 h 1056276"/>
                  <a:gd name="connsiteX98" fmla="*/ 721809 w 1579008"/>
                  <a:gd name="connsiteY98" fmla="*/ 244561 h 1056276"/>
                  <a:gd name="connsiteX99" fmla="*/ 731152 w 1579008"/>
                  <a:gd name="connsiteY99" fmla="*/ 240140 h 1056276"/>
                  <a:gd name="connsiteX100" fmla="*/ 739579 w 1579008"/>
                  <a:gd name="connsiteY100" fmla="*/ 237471 h 1056276"/>
                  <a:gd name="connsiteX101" fmla="*/ 753344 w 1579008"/>
                  <a:gd name="connsiteY101" fmla="*/ 229462 h 1056276"/>
                  <a:gd name="connsiteX102" fmla="*/ 771531 w 1579008"/>
                  <a:gd name="connsiteY102" fmla="*/ 221037 h 1056276"/>
                  <a:gd name="connsiteX103" fmla="*/ 787465 w 1579008"/>
                  <a:gd name="connsiteY103" fmla="*/ 219702 h 1056276"/>
                  <a:gd name="connsiteX104" fmla="*/ 843278 w 1579008"/>
                  <a:gd name="connsiteY104" fmla="*/ 178492 h 1056276"/>
                  <a:gd name="connsiteX105" fmla="*/ 881405 w 1579008"/>
                  <a:gd name="connsiteY105" fmla="*/ 135114 h 1056276"/>
                  <a:gd name="connsiteX106" fmla="*/ 929708 w 1579008"/>
                  <a:gd name="connsiteY106" fmla="*/ 106751 h 1056276"/>
                  <a:gd name="connsiteX107" fmla="*/ 957656 w 1579008"/>
                  <a:gd name="connsiteY107" fmla="*/ 88148 h 1056276"/>
                  <a:gd name="connsiteX108" fmla="*/ 962496 w 1579008"/>
                  <a:gd name="connsiteY108" fmla="*/ 85479 h 1056276"/>
                  <a:gd name="connsiteX109" fmla="*/ 976261 w 1579008"/>
                  <a:gd name="connsiteY109" fmla="*/ 81057 h 1056276"/>
                  <a:gd name="connsiteX110" fmla="*/ 982017 w 1579008"/>
                  <a:gd name="connsiteY110" fmla="*/ 79722 h 1056276"/>
                  <a:gd name="connsiteX111" fmla="*/ 1000204 w 1579008"/>
                  <a:gd name="connsiteY111" fmla="*/ 74383 h 1056276"/>
                  <a:gd name="connsiteX112" fmla="*/ 1019726 w 1579008"/>
                  <a:gd name="connsiteY112" fmla="*/ 60202 h 1056276"/>
                  <a:gd name="connsiteX113" fmla="*/ 1030321 w 1579008"/>
                  <a:gd name="connsiteY113" fmla="*/ 51359 h 1056276"/>
                  <a:gd name="connsiteX114" fmla="*/ 1040917 w 1579008"/>
                  <a:gd name="connsiteY114" fmla="*/ 45603 h 1056276"/>
                  <a:gd name="connsiteX115" fmla="*/ 1067947 w 1579008"/>
                  <a:gd name="connsiteY115" fmla="*/ 22579 h 1056276"/>
                  <a:gd name="connsiteX116" fmla="*/ 1069282 w 1579008"/>
                  <a:gd name="connsiteY116" fmla="*/ 20327 h 1056276"/>
                  <a:gd name="connsiteX117" fmla="*/ 1090973 w 1579008"/>
                  <a:gd name="connsiteY117" fmla="*/ 390 h 1056276"/>
                  <a:gd name="connsiteX118" fmla="*/ 1128598 w 1579008"/>
                  <a:gd name="connsiteY118" fmla="*/ 20744 h 1056276"/>
                  <a:gd name="connsiteX119" fmla="*/ 1129515 w 1579008"/>
                  <a:gd name="connsiteY119" fmla="*/ 48690 h 1056276"/>
                  <a:gd name="connsiteX120" fmla="*/ 1127264 w 1579008"/>
                  <a:gd name="connsiteY120" fmla="*/ 57116 h 1056276"/>
                  <a:gd name="connsiteX121" fmla="*/ 1126345 w 1579008"/>
                  <a:gd name="connsiteY121" fmla="*/ 74383 h 1056276"/>
                  <a:gd name="connsiteX122" fmla="*/ 1125011 w 1579008"/>
                  <a:gd name="connsiteY122" fmla="*/ 88148 h 1056276"/>
                  <a:gd name="connsiteX123" fmla="*/ 1120589 w 1579008"/>
                  <a:gd name="connsiteY123" fmla="*/ 93487 h 1056276"/>
                  <a:gd name="connsiteX124" fmla="*/ 1112163 w 1579008"/>
                  <a:gd name="connsiteY124" fmla="*/ 106334 h 1056276"/>
                  <a:gd name="connsiteX125" fmla="*/ 1113498 w 1579008"/>
                  <a:gd name="connsiteY125" fmla="*/ 120932 h 1056276"/>
                  <a:gd name="connsiteX126" fmla="*/ 1114833 w 1579008"/>
                  <a:gd name="connsiteY126" fmla="*/ 127105 h 1056276"/>
                  <a:gd name="connsiteX127" fmla="*/ 1101067 w 1579008"/>
                  <a:gd name="connsiteY127" fmla="*/ 158972 h 1056276"/>
                  <a:gd name="connsiteX128" fmla="*/ 1085967 w 1579008"/>
                  <a:gd name="connsiteY128" fmla="*/ 205938 h 1056276"/>
                  <a:gd name="connsiteX129" fmla="*/ 1092140 w 1579008"/>
                  <a:gd name="connsiteY129" fmla="*/ 223206 h 1056276"/>
                  <a:gd name="connsiteX130" fmla="*/ 1096979 w 1579008"/>
                  <a:gd name="connsiteY130" fmla="*/ 246230 h 1056276"/>
                  <a:gd name="connsiteX131" fmla="*/ 1086802 w 1579008"/>
                  <a:gd name="connsiteY131" fmla="*/ 263498 h 1056276"/>
                  <a:gd name="connsiteX132" fmla="*/ 1075288 w 1579008"/>
                  <a:gd name="connsiteY132" fmla="*/ 280766 h 1056276"/>
                  <a:gd name="connsiteX133" fmla="*/ 1077541 w 1579008"/>
                  <a:gd name="connsiteY133" fmla="*/ 324144 h 1056276"/>
                  <a:gd name="connsiteX134" fmla="*/ 1110744 w 1579008"/>
                  <a:gd name="connsiteY134" fmla="*/ 344499 h 1056276"/>
                  <a:gd name="connsiteX135" fmla="*/ 1152792 w 1579008"/>
                  <a:gd name="connsiteY135" fmla="*/ 336491 h 1056276"/>
                  <a:gd name="connsiteX136" fmla="*/ 1160801 w 1579008"/>
                  <a:gd name="connsiteY136" fmla="*/ 330735 h 1056276"/>
                  <a:gd name="connsiteX137" fmla="*/ 1179405 w 1579008"/>
                  <a:gd name="connsiteY137" fmla="*/ 322726 h 1056276"/>
                  <a:gd name="connsiteX138" fmla="*/ 1203765 w 1579008"/>
                  <a:gd name="connsiteY138" fmla="*/ 347502 h 1056276"/>
                  <a:gd name="connsiteX139" fmla="*/ 1228126 w 1579008"/>
                  <a:gd name="connsiteY139" fmla="*/ 377200 h 1056276"/>
                  <a:gd name="connsiteX140" fmla="*/ 1280435 w 1579008"/>
                  <a:gd name="connsiteY140" fmla="*/ 370109 h 1056276"/>
                  <a:gd name="connsiteX141" fmla="*/ 1299957 w 1579008"/>
                  <a:gd name="connsiteY141" fmla="*/ 351089 h 1056276"/>
                  <a:gd name="connsiteX142" fmla="*/ 1306631 w 1579008"/>
                  <a:gd name="connsiteY142" fmla="*/ 342247 h 1056276"/>
                  <a:gd name="connsiteX143" fmla="*/ 1330991 w 1579008"/>
                  <a:gd name="connsiteY143" fmla="*/ 323227 h 1056276"/>
                  <a:gd name="connsiteX144" fmla="*/ 1369117 w 1579008"/>
                  <a:gd name="connsiteY144" fmla="*/ 268753 h 1056276"/>
                  <a:gd name="connsiteX145" fmla="*/ 1369117 w 1579008"/>
                  <a:gd name="connsiteY145" fmla="*/ 262580 h 1056276"/>
                  <a:gd name="connsiteX146" fmla="*/ 1379296 w 1579008"/>
                  <a:gd name="connsiteY146" fmla="*/ 232882 h 1056276"/>
                  <a:gd name="connsiteX147" fmla="*/ 1393895 w 1579008"/>
                  <a:gd name="connsiteY147" fmla="*/ 229379 h 1056276"/>
                  <a:gd name="connsiteX148" fmla="*/ 1420008 w 1579008"/>
                  <a:gd name="connsiteY148" fmla="*/ 220036 h 1056276"/>
                  <a:gd name="connsiteX149" fmla="*/ 1439029 w 1579008"/>
                  <a:gd name="connsiteY149" fmla="*/ 192090 h 1056276"/>
                  <a:gd name="connsiteX150" fmla="*/ 1471399 w 1579008"/>
                  <a:gd name="connsiteY150" fmla="*/ 165062 h 1056276"/>
                  <a:gd name="connsiteX151" fmla="*/ 1517450 w 1579008"/>
                  <a:gd name="connsiteY151" fmla="*/ 234134 h 1056276"/>
                  <a:gd name="connsiteX152" fmla="*/ 1541811 w 1579008"/>
                  <a:gd name="connsiteY152" fmla="*/ 273592 h 1056276"/>
                  <a:gd name="connsiteX153" fmla="*/ 1552406 w 1579008"/>
                  <a:gd name="connsiteY153" fmla="*/ 303289 h 1056276"/>
                  <a:gd name="connsiteX154" fmla="*/ 1522707 w 1579008"/>
                  <a:gd name="connsiteY154" fmla="*/ 321892 h 1056276"/>
                  <a:gd name="connsiteX155" fmla="*/ 1516533 w 1579008"/>
                  <a:gd name="connsiteY155" fmla="*/ 323644 h 1056276"/>
                  <a:gd name="connsiteX156" fmla="*/ 1497011 w 1579008"/>
                  <a:gd name="connsiteY156" fmla="*/ 330735 h 1056276"/>
                  <a:gd name="connsiteX157" fmla="*/ 1474903 w 1579008"/>
                  <a:gd name="connsiteY157" fmla="*/ 338243 h 1056276"/>
                  <a:gd name="connsiteX158" fmla="*/ 1466060 w 1579008"/>
                  <a:gd name="connsiteY158" fmla="*/ 339160 h 1056276"/>
                  <a:gd name="connsiteX159" fmla="*/ 1435025 w 1579008"/>
                  <a:gd name="connsiteY159" fmla="*/ 353759 h 1056276"/>
                  <a:gd name="connsiteX160" fmla="*/ 1454964 w 1579008"/>
                  <a:gd name="connsiteY160" fmla="*/ 386543 h 1056276"/>
                  <a:gd name="connsiteX161" fmla="*/ 1457634 w 1579008"/>
                  <a:gd name="connsiteY161" fmla="*/ 388295 h 1056276"/>
                  <a:gd name="connsiteX162" fmla="*/ 1471816 w 1579008"/>
                  <a:gd name="connsiteY162" fmla="*/ 404645 h 1056276"/>
                  <a:gd name="connsiteX163" fmla="*/ 1459886 w 1579008"/>
                  <a:gd name="connsiteY163" fmla="*/ 429004 h 1056276"/>
                  <a:gd name="connsiteX164" fmla="*/ 1452794 w 1579008"/>
                  <a:gd name="connsiteY164" fmla="*/ 436095 h 1056276"/>
                  <a:gd name="connsiteX165" fmla="*/ 1435109 w 1579008"/>
                  <a:gd name="connsiteY165" fmla="*/ 457784 h 1056276"/>
                  <a:gd name="connsiteX166" fmla="*/ 1430269 w 1579008"/>
                  <a:gd name="connsiteY166" fmla="*/ 492737 h 1056276"/>
                  <a:gd name="connsiteX167" fmla="*/ 1429852 w 1579008"/>
                  <a:gd name="connsiteY167" fmla="*/ 508671 h 1056276"/>
                  <a:gd name="connsiteX168" fmla="*/ 1405492 w 1579008"/>
                  <a:gd name="connsiteY168" fmla="*/ 551215 h 1056276"/>
                  <a:gd name="connsiteX169" fmla="*/ 1382049 w 1579008"/>
                  <a:gd name="connsiteY169" fmla="*/ 584917 h 1056276"/>
                  <a:gd name="connsiteX170" fmla="*/ 1383384 w 1579008"/>
                  <a:gd name="connsiteY170" fmla="*/ 615950 h 1056276"/>
                  <a:gd name="connsiteX171" fmla="*/ 1387805 w 1579008"/>
                  <a:gd name="connsiteY171" fmla="*/ 628796 h 1056276"/>
                  <a:gd name="connsiteX172" fmla="*/ 1382466 w 1579008"/>
                  <a:gd name="connsiteY172" fmla="*/ 650068 h 1056276"/>
                  <a:gd name="connsiteX173" fmla="*/ 1375375 w 1579008"/>
                  <a:gd name="connsiteY173" fmla="*/ 667337 h 1056276"/>
                  <a:gd name="connsiteX174" fmla="*/ 1375792 w 1579008"/>
                  <a:gd name="connsiteY174" fmla="*/ 716471 h 1056276"/>
                  <a:gd name="connsiteX175" fmla="*/ 1377127 w 1579008"/>
                  <a:gd name="connsiteY175" fmla="*/ 730653 h 1056276"/>
                  <a:gd name="connsiteX176" fmla="*/ 1377544 w 1579008"/>
                  <a:gd name="connsiteY176" fmla="*/ 762102 h 1056276"/>
                  <a:gd name="connsiteX177" fmla="*/ 1381047 w 1579008"/>
                  <a:gd name="connsiteY177" fmla="*/ 782040 h 1056276"/>
                  <a:gd name="connsiteX178" fmla="*/ 1400570 w 1579008"/>
                  <a:gd name="connsiteY178" fmla="*/ 789548 h 1056276"/>
                  <a:gd name="connsiteX179" fmla="*/ 1426265 w 1579008"/>
                  <a:gd name="connsiteY179" fmla="*/ 793969 h 1056276"/>
                  <a:gd name="connsiteX180" fmla="*/ 1440865 w 1579008"/>
                  <a:gd name="connsiteY180" fmla="*/ 796638 h 1056276"/>
                  <a:gd name="connsiteX181" fmla="*/ 1463891 w 1579008"/>
                  <a:gd name="connsiteY181" fmla="*/ 796638 h 1056276"/>
                  <a:gd name="connsiteX182" fmla="*/ 1484748 w 1579008"/>
                  <a:gd name="connsiteY182" fmla="*/ 796638 h 1056276"/>
                  <a:gd name="connsiteX183" fmla="*/ 1502016 w 1579008"/>
                  <a:gd name="connsiteY183" fmla="*/ 812154 h 1056276"/>
                  <a:gd name="connsiteX184" fmla="*/ 1508690 w 1579008"/>
                  <a:gd name="connsiteY184" fmla="*/ 820997 h 1056276"/>
                  <a:gd name="connsiteX185" fmla="*/ 1521121 w 1579008"/>
                  <a:gd name="connsiteY185" fmla="*/ 833844 h 1056276"/>
                  <a:gd name="connsiteX186" fmla="*/ 1537473 w 1579008"/>
                  <a:gd name="connsiteY186" fmla="*/ 852447 h 1056276"/>
                  <a:gd name="connsiteX187" fmla="*/ 1562752 w 1579008"/>
                  <a:gd name="connsiteY187" fmla="*/ 882562 h 1056276"/>
                  <a:gd name="connsiteX188" fmla="*/ 1578269 w 1579008"/>
                  <a:gd name="connsiteY188" fmla="*/ 918849 h 1056276"/>
                  <a:gd name="connsiteX189" fmla="*/ 1577351 w 1579008"/>
                  <a:gd name="connsiteY189" fmla="*/ 922854 h 1056276"/>
                  <a:gd name="connsiteX190" fmla="*/ 1573847 w 1579008"/>
                  <a:gd name="connsiteY190" fmla="*/ 940122 h 1056276"/>
                  <a:gd name="connsiteX191" fmla="*/ 1575266 w 1579008"/>
                  <a:gd name="connsiteY191" fmla="*/ 942874 h 1056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</a:cxnLst>
                <a:rect l="l" t="t" r="r" b="b"/>
                <a:pathLst>
                  <a:path w="1579008" h="1056276" extrusionOk="0">
                    <a:moveTo>
                      <a:pt x="1575266" y="942874"/>
                    </a:moveTo>
                    <a:cubicBezTo>
                      <a:pt x="1573013" y="952635"/>
                      <a:pt x="1570843" y="962812"/>
                      <a:pt x="1569926" y="973907"/>
                    </a:cubicBezTo>
                    <a:cubicBezTo>
                      <a:pt x="1569009" y="980581"/>
                      <a:pt x="1567256" y="986754"/>
                      <a:pt x="1565087" y="993427"/>
                    </a:cubicBezTo>
                    <a:cubicBezTo>
                      <a:pt x="1564169" y="996097"/>
                      <a:pt x="1563335" y="998766"/>
                      <a:pt x="1562418" y="1001853"/>
                    </a:cubicBezTo>
                    <a:cubicBezTo>
                      <a:pt x="1557996" y="1000101"/>
                      <a:pt x="1552657" y="1000518"/>
                      <a:pt x="1546901" y="1002770"/>
                    </a:cubicBezTo>
                    <a:cubicBezTo>
                      <a:pt x="1538474" y="1005857"/>
                      <a:pt x="1533135" y="1011613"/>
                      <a:pt x="1528296" y="1016952"/>
                    </a:cubicBezTo>
                    <a:cubicBezTo>
                      <a:pt x="1523457" y="1022291"/>
                      <a:pt x="1518953" y="1026712"/>
                      <a:pt x="1512779" y="1028464"/>
                    </a:cubicBezTo>
                    <a:cubicBezTo>
                      <a:pt x="1499013" y="1031967"/>
                      <a:pt x="1483579" y="1025377"/>
                      <a:pt x="1469397" y="1019621"/>
                    </a:cubicBezTo>
                    <a:lnTo>
                      <a:pt x="1464975" y="1017869"/>
                    </a:lnTo>
                    <a:cubicBezTo>
                      <a:pt x="1446371" y="1010362"/>
                      <a:pt x="1428184" y="1004105"/>
                      <a:pt x="1406493" y="1010362"/>
                    </a:cubicBezTo>
                    <a:cubicBezTo>
                      <a:pt x="1399818" y="1012614"/>
                      <a:pt x="1393645" y="1015200"/>
                      <a:pt x="1386971" y="1017452"/>
                    </a:cubicBezTo>
                    <a:cubicBezTo>
                      <a:pt x="1376793" y="1021457"/>
                      <a:pt x="1367449" y="1025461"/>
                      <a:pt x="1357271" y="1026295"/>
                    </a:cubicBezTo>
                    <a:lnTo>
                      <a:pt x="1347093" y="1027213"/>
                    </a:lnTo>
                    <a:cubicBezTo>
                      <a:pt x="1329824" y="1029465"/>
                      <a:pt x="1313389" y="1030716"/>
                      <a:pt x="1296119" y="1038307"/>
                    </a:cubicBezTo>
                    <a:cubicBezTo>
                      <a:pt x="1292615" y="1040059"/>
                      <a:pt x="1289028" y="1041811"/>
                      <a:pt x="1285524" y="1043146"/>
                    </a:cubicBezTo>
                    <a:cubicBezTo>
                      <a:pt x="1274011" y="1048485"/>
                      <a:pt x="1263416" y="1053740"/>
                      <a:pt x="1251403" y="1055576"/>
                    </a:cubicBezTo>
                    <a:cubicBezTo>
                      <a:pt x="1215112" y="1060414"/>
                      <a:pt x="1200011" y="1039642"/>
                      <a:pt x="1179655" y="1010862"/>
                    </a:cubicBezTo>
                    <a:cubicBezTo>
                      <a:pt x="1172981" y="1002019"/>
                      <a:pt x="1165056" y="994929"/>
                      <a:pt x="1157046" y="987838"/>
                    </a:cubicBezTo>
                    <a:cubicBezTo>
                      <a:pt x="1150873" y="982499"/>
                      <a:pt x="1145116" y="977661"/>
                      <a:pt x="1139778" y="971905"/>
                    </a:cubicBezTo>
                    <a:cubicBezTo>
                      <a:pt x="1136691" y="968818"/>
                      <a:pt x="1134438" y="965231"/>
                      <a:pt x="1131768" y="961728"/>
                    </a:cubicBezTo>
                    <a:cubicBezTo>
                      <a:pt x="1124677" y="951967"/>
                      <a:pt x="1116668" y="942207"/>
                      <a:pt x="1103820" y="934699"/>
                    </a:cubicBezTo>
                    <a:cubicBezTo>
                      <a:pt x="1095812" y="930278"/>
                      <a:pt x="1087886" y="927609"/>
                      <a:pt x="1079877" y="924105"/>
                    </a:cubicBezTo>
                    <a:cubicBezTo>
                      <a:pt x="1073703" y="921852"/>
                      <a:pt x="1067446" y="919267"/>
                      <a:pt x="1061690" y="916096"/>
                    </a:cubicBezTo>
                    <a:cubicBezTo>
                      <a:pt x="1045755" y="908088"/>
                      <a:pt x="1032490" y="895241"/>
                      <a:pt x="1019643" y="882895"/>
                    </a:cubicBezTo>
                    <a:cubicBezTo>
                      <a:pt x="1008129" y="871800"/>
                      <a:pt x="996617" y="859871"/>
                      <a:pt x="985521" y="848359"/>
                    </a:cubicBezTo>
                    <a:cubicBezTo>
                      <a:pt x="969587" y="832009"/>
                      <a:pt x="952734" y="815158"/>
                      <a:pt x="935882" y="799224"/>
                    </a:cubicBezTo>
                    <a:cubicBezTo>
                      <a:pt x="889330" y="755845"/>
                      <a:pt x="825175" y="696450"/>
                      <a:pt x="750257" y="690694"/>
                    </a:cubicBezTo>
                    <a:cubicBezTo>
                      <a:pt x="728984" y="688942"/>
                      <a:pt x="709461" y="696033"/>
                      <a:pt x="690857" y="702623"/>
                    </a:cubicBezTo>
                    <a:cubicBezTo>
                      <a:pt x="674923" y="708379"/>
                      <a:pt x="659822" y="713718"/>
                      <a:pt x="643471" y="714552"/>
                    </a:cubicBezTo>
                    <a:lnTo>
                      <a:pt x="619527" y="714552"/>
                    </a:lnTo>
                    <a:cubicBezTo>
                      <a:pt x="589828" y="714552"/>
                      <a:pt x="558876" y="714552"/>
                      <a:pt x="529176" y="727399"/>
                    </a:cubicBezTo>
                    <a:cubicBezTo>
                      <a:pt x="488881" y="744667"/>
                      <a:pt x="449421" y="768192"/>
                      <a:pt x="414464" y="795137"/>
                    </a:cubicBezTo>
                    <a:cubicBezTo>
                      <a:pt x="411377" y="790716"/>
                      <a:pt x="408708" y="786711"/>
                      <a:pt x="406039" y="782707"/>
                    </a:cubicBezTo>
                    <a:lnTo>
                      <a:pt x="402534" y="776534"/>
                    </a:lnTo>
                    <a:cubicBezTo>
                      <a:pt x="391939" y="759266"/>
                      <a:pt x="382178" y="742832"/>
                      <a:pt x="362239" y="732655"/>
                    </a:cubicBezTo>
                    <a:cubicBezTo>
                      <a:pt x="360487" y="731737"/>
                      <a:pt x="358735" y="730903"/>
                      <a:pt x="356900" y="729985"/>
                    </a:cubicBezTo>
                    <a:cubicBezTo>
                      <a:pt x="350726" y="727316"/>
                      <a:pt x="347139" y="725564"/>
                      <a:pt x="345387" y="721143"/>
                    </a:cubicBezTo>
                    <a:cubicBezTo>
                      <a:pt x="344469" y="718890"/>
                      <a:pt x="344469" y="716304"/>
                      <a:pt x="344469" y="713134"/>
                    </a:cubicBezTo>
                    <a:cubicBezTo>
                      <a:pt x="344469" y="709130"/>
                      <a:pt x="344886" y="704292"/>
                      <a:pt x="342717" y="699370"/>
                    </a:cubicBezTo>
                    <a:cubicBezTo>
                      <a:pt x="341383" y="695866"/>
                      <a:pt x="338713" y="693197"/>
                      <a:pt x="336043" y="690527"/>
                    </a:cubicBezTo>
                    <a:cubicBezTo>
                      <a:pt x="334709" y="689193"/>
                      <a:pt x="332039" y="686106"/>
                      <a:pt x="332039" y="685189"/>
                    </a:cubicBezTo>
                    <a:cubicBezTo>
                      <a:pt x="331622" y="682102"/>
                      <a:pt x="332956" y="681184"/>
                      <a:pt x="337795" y="677681"/>
                    </a:cubicBezTo>
                    <a:cubicBezTo>
                      <a:pt x="340465" y="675929"/>
                      <a:pt x="342634" y="674177"/>
                      <a:pt x="344886" y="671508"/>
                    </a:cubicBezTo>
                    <a:cubicBezTo>
                      <a:pt x="350643" y="665334"/>
                      <a:pt x="353313" y="659578"/>
                      <a:pt x="352896" y="653322"/>
                    </a:cubicBezTo>
                    <a:cubicBezTo>
                      <a:pt x="351560" y="641810"/>
                      <a:pt x="340047" y="633801"/>
                      <a:pt x="327617" y="625876"/>
                    </a:cubicBezTo>
                    <a:cubicBezTo>
                      <a:pt x="315186" y="617868"/>
                      <a:pt x="302338" y="609526"/>
                      <a:pt x="303257" y="598848"/>
                    </a:cubicBezTo>
                    <a:cubicBezTo>
                      <a:pt x="303674" y="596179"/>
                      <a:pt x="304174" y="593510"/>
                      <a:pt x="305008" y="590840"/>
                    </a:cubicBezTo>
                    <a:cubicBezTo>
                      <a:pt x="306344" y="584667"/>
                      <a:pt x="308512" y="577576"/>
                      <a:pt x="303674" y="567816"/>
                    </a:cubicBezTo>
                    <a:cubicBezTo>
                      <a:pt x="301004" y="563395"/>
                      <a:pt x="297917" y="559807"/>
                      <a:pt x="294830" y="556304"/>
                    </a:cubicBezTo>
                    <a:cubicBezTo>
                      <a:pt x="291744" y="552800"/>
                      <a:pt x="288657" y="549213"/>
                      <a:pt x="286404" y="545209"/>
                    </a:cubicBezTo>
                    <a:cubicBezTo>
                      <a:pt x="285487" y="542957"/>
                      <a:pt x="284151" y="540370"/>
                      <a:pt x="283317" y="538118"/>
                    </a:cubicBezTo>
                    <a:cubicBezTo>
                      <a:pt x="276226" y="522185"/>
                      <a:pt x="265631" y="497826"/>
                      <a:pt x="237683" y="509338"/>
                    </a:cubicBezTo>
                    <a:cubicBezTo>
                      <a:pt x="234596" y="510673"/>
                      <a:pt x="231927" y="512007"/>
                      <a:pt x="229257" y="513342"/>
                    </a:cubicBezTo>
                    <a:cubicBezTo>
                      <a:pt x="217327" y="519515"/>
                      <a:pt x="214657" y="520433"/>
                      <a:pt x="207983" y="511590"/>
                    </a:cubicBezTo>
                    <a:cubicBezTo>
                      <a:pt x="204479" y="506752"/>
                      <a:pt x="202643" y="500079"/>
                      <a:pt x="199974" y="493405"/>
                    </a:cubicBezTo>
                    <a:cubicBezTo>
                      <a:pt x="196470" y="482310"/>
                      <a:pt x="192883" y="469463"/>
                      <a:pt x="180035" y="461538"/>
                    </a:cubicBezTo>
                    <a:cubicBezTo>
                      <a:pt x="150836" y="443853"/>
                      <a:pt x="132232" y="468629"/>
                      <a:pt x="118883" y="486814"/>
                    </a:cubicBezTo>
                    <a:cubicBezTo>
                      <a:pt x="109539" y="499244"/>
                      <a:pt x="100696" y="510756"/>
                      <a:pt x="90935" y="510756"/>
                    </a:cubicBezTo>
                    <a:cubicBezTo>
                      <a:pt x="90518" y="510756"/>
                      <a:pt x="90518" y="510756"/>
                      <a:pt x="90518" y="510756"/>
                    </a:cubicBezTo>
                    <a:cubicBezTo>
                      <a:pt x="82509" y="510756"/>
                      <a:pt x="79423" y="503248"/>
                      <a:pt x="78087" y="500162"/>
                    </a:cubicBezTo>
                    <a:cubicBezTo>
                      <a:pt x="75417" y="492654"/>
                      <a:pt x="77170" y="484229"/>
                      <a:pt x="81591" y="480641"/>
                    </a:cubicBezTo>
                    <a:cubicBezTo>
                      <a:pt x="83343" y="479306"/>
                      <a:pt x="85095" y="477972"/>
                      <a:pt x="86931" y="477138"/>
                    </a:cubicBezTo>
                    <a:cubicBezTo>
                      <a:pt x="93104" y="473133"/>
                      <a:pt x="100696" y="468295"/>
                      <a:pt x="101531" y="459870"/>
                    </a:cubicBezTo>
                    <a:cubicBezTo>
                      <a:pt x="101948" y="454531"/>
                      <a:pt x="99278" y="449275"/>
                      <a:pt x="94439" y="443519"/>
                    </a:cubicBezTo>
                    <a:cubicBezTo>
                      <a:pt x="82509" y="431590"/>
                      <a:pt x="66992" y="430672"/>
                      <a:pt x="51892" y="429338"/>
                    </a:cubicBezTo>
                    <a:cubicBezTo>
                      <a:pt x="39044" y="428420"/>
                      <a:pt x="26613" y="428003"/>
                      <a:pt x="18187" y="419578"/>
                    </a:cubicBezTo>
                    <a:cubicBezTo>
                      <a:pt x="8843" y="411152"/>
                      <a:pt x="5339" y="403227"/>
                      <a:pt x="917" y="393884"/>
                    </a:cubicBezTo>
                    <a:cubicBezTo>
                      <a:pt x="500" y="393467"/>
                      <a:pt x="500" y="392966"/>
                      <a:pt x="0" y="392549"/>
                    </a:cubicBezTo>
                    <a:cubicBezTo>
                      <a:pt x="6674" y="387210"/>
                      <a:pt x="12847" y="381454"/>
                      <a:pt x="18604" y="374364"/>
                    </a:cubicBezTo>
                    <a:cubicBezTo>
                      <a:pt x="38126" y="351340"/>
                      <a:pt x="60651" y="329650"/>
                      <a:pt x="94773" y="323894"/>
                    </a:cubicBezTo>
                    <a:cubicBezTo>
                      <a:pt x="108538" y="321225"/>
                      <a:pt x="116881" y="322977"/>
                      <a:pt x="130229" y="330067"/>
                    </a:cubicBezTo>
                    <a:cubicBezTo>
                      <a:pt x="151503" y="341580"/>
                      <a:pt x="161681" y="339411"/>
                      <a:pt x="180702" y="333571"/>
                    </a:cubicBezTo>
                    <a:cubicBezTo>
                      <a:pt x="193133" y="330067"/>
                      <a:pt x="205063" y="332653"/>
                      <a:pt x="218328" y="335823"/>
                    </a:cubicBezTo>
                    <a:cubicBezTo>
                      <a:pt x="234680" y="339828"/>
                      <a:pt x="251532" y="343832"/>
                      <a:pt x="269302" y="334489"/>
                    </a:cubicBezTo>
                    <a:cubicBezTo>
                      <a:pt x="283901" y="326480"/>
                      <a:pt x="290993" y="322977"/>
                      <a:pt x="307428" y="322559"/>
                    </a:cubicBezTo>
                    <a:cubicBezTo>
                      <a:pt x="319358" y="322142"/>
                      <a:pt x="328285" y="319473"/>
                      <a:pt x="337128" y="316386"/>
                    </a:cubicBezTo>
                    <a:cubicBezTo>
                      <a:pt x="342884" y="314634"/>
                      <a:pt x="348223" y="312883"/>
                      <a:pt x="354814" y="311548"/>
                    </a:cubicBezTo>
                    <a:cubicBezTo>
                      <a:pt x="371667" y="308461"/>
                      <a:pt x="385849" y="318639"/>
                      <a:pt x="400032" y="329233"/>
                    </a:cubicBezTo>
                    <a:cubicBezTo>
                      <a:pt x="411127" y="337242"/>
                      <a:pt x="422140" y="345166"/>
                      <a:pt x="435488" y="348753"/>
                    </a:cubicBezTo>
                    <a:cubicBezTo>
                      <a:pt x="454092" y="353592"/>
                      <a:pt x="473113" y="346084"/>
                      <a:pt x="485544" y="339911"/>
                    </a:cubicBezTo>
                    <a:cubicBezTo>
                      <a:pt x="489966" y="337659"/>
                      <a:pt x="494387" y="333738"/>
                      <a:pt x="498391" y="329734"/>
                    </a:cubicBezTo>
                    <a:cubicBezTo>
                      <a:pt x="502397" y="326230"/>
                      <a:pt x="507235" y="321725"/>
                      <a:pt x="510322" y="321308"/>
                    </a:cubicBezTo>
                    <a:cubicBezTo>
                      <a:pt x="512074" y="320891"/>
                      <a:pt x="514744" y="322226"/>
                      <a:pt x="517413" y="323561"/>
                    </a:cubicBezTo>
                    <a:cubicBezTo>
                      <a:pt x="520917" y="324895"/>
                      <a:pt x="525839" y="326647"/>
                      <a:pt x="530678" y="326647"/>
                    </a:cubicBezTo>
                    <a:cubicBezTo>
                      <a:pt x="537769" y="326230"/>
                      <a:pt x="543109" y="323561"/>
                      <a:pt x="548364" y="321308"/>
                    </a:cubicBezTo>
                    <a:cubicBezTo>
                      <a:pt x="551451" y="319973"/>
                      <a:pt x="554121" y="317805"/>
                      <a:pt x="556790" y="315969"/>
                    </a:cubicBezTo>
                    <a:cubicBezTo>
                      <a:pt x="563882" y="311131"/>
                      <a:pt x="568721" y="308461"/>
                      <a:pt x="574477" y="310213"/>
                    </a:cubicBezTo>
                    <a:cubicBezTo>
                      <a:pt x="577147" y="311131"/>
                      <a:pt x="579315" y="312883"/>
                      <a:pt x="581568" y="315052"/>
                    </a:cubicBezTo>
                    <a:cubicBezTo>
                      <a:pt x="585990" y="318555"/>
                      <a:pt x="590412" y="323060"/>
                      <a:pt x="597920" y="323894"/>
                    </a:cubicBezTo>
                    <a:cubicBezTo>
                      <a:pt x="612520" y="326147"/>
                      <a:pt x="622697" y="315469"/>
                      <a:pt x="631124" y="307544"/>
                    </a:cubicBezTo>
                    <a:cubicBezTo>
                      <a:pt x="632876" y="305792"/>
                      <a:pt x="634628" y="304040"/>
                      <a:pt x="635963" y="302706"/>
                    </a:cubicBezTo>
                    <a:cubicBezTo>
                      <a:pt x="640801" y="298284"/>
                      <a:pt x="646141" y="294697"/>
                      <a:pt x="651897" y="291610"/>
                    </a:cubicBezTo>
                    <a:cubicBezTo>
                      <a:pt x="658571" y="287189"/>
                      <a:pt x="665662" y="283185"/>
                      <a:pt x="671836" y="277012"/>
                    </a:cubicBezTo>
                    <a:cubicBezTo>
                      <a:pt x="673588" y="275260"/>
                      <a:pt x="674923" y="273508"/>
                      <a:pt x="676258" y="271673"/>
                    </a:cubicBezTo>
                    <a:cubicBezTo>
                      <a:pt x="678927" y="268587"/>
                      <a:pt x="680679" y="266334"/>
                      <a:pt x="684267" y="264999"/>
                    </a:cubicBezTo>
                    <a:cubicBezTo>
                      <a:pt x="686519" y="264082"/>
                      <a:pt x="688689" y="263664"/>
                      <a:pt x="691775" y="263664"/>
                    </a:cubicBezTo>
                    <a:cubicBezTo>
                      <a:pt x="694862" y="263247"/>
                      <a:pt x="698867" y="262747"/>
                      <a:pt x="702370" y="261412"/>
                    </a:cubicBezTo>
                    <a:cubicBezTo>
                      <a:pt x="710380" y="258743"/>
                      <a:pt x="713884" y="253404"/>
                      <a:pt x="716970" y="249900"/>
                    </a:cubicBezTo>
                    <a:cubicBezTo>
                      <a:pt x="718305" y="247648"/>
                      <a:pt x="720057" y="245896"/>
                      <a:pt x="721809" y="244561"/>
                    </a:cubicBezTo>
                    <a:cubicBezTo>
                      <a:pt x="724478" y="242309"/>
                      <a:pt x="727148" y="241475"/>
                      <a:pt x="731152" y="240140"/>
                    </a:cubicBezTo>
                    <a:cubicBezTo>
                      <a:pt x="733822" y="239222"/>
                      <a:pt x="736492" y="238805"/>
                      <a:pt x="739579" y="237471"/>
                    </a:cubicBezTo>
                    <a:cubicBezTo>
                      <a:pt x="744918" y="235218"/>
                      <a:pt x="749340" y="232132"/>
                      <a:pt x="753344" y="229462"/>
                    </a:cubicBezTo>
                    <a:cubicBezTo>
                      <a:pt x="759517" y="225458"/>
                      <a:pt x="764440" y="221954"/>
                      <a:pt x="771531" y="221037"/>
                    </a:cubicBezTo>
                    <a:cubicBezTo>
                      <a:pt x="776370" y="220119"/>
                      <a:pt x="782127" y="220119"/>
                      <a:pt x="787465" y="219702"/>
                    </a:cubicBezTo>
                    <a:cubicBezTo>
                      <a:pt x="810909" y="218367"/>
                      <a:pt x="840191" y="217032"/>
                      <a:pt x="843278" y="178492"/>
                    </a:cubicBezTo>
                    <a:cubicBezTo>
                      <a:pt x="845030" y="152799"/>
                      <a:pt x="854374" y="145291"/>
                      <a:pt x="881405" y="135114"/>
                    </a:cubicBezTo>
                    <a:cubicBezTo>
                      <a:pt x="900426" y="128023"/>
                      <a:pt x="915526" y="117428"/>
                      <a:pt x="929708" y="106751"/>
                    </a:cubicBezTo>
                    <a:cubicBezTo>
                      <a:pt x="938552" y="100077"/>
                      <a:pt x="947896" y="93904"/>
                      <a:pt x="957656" y="88148"/>
                    </a:cubicBezTo>
                    <a:cubicBezTo>
                      <a:pt x="959409" y="87230"/>
                      <a:pt x="960743" y="86396"/>
                      <a:pt x="962496" y="85479"/>
                    </a:cubicBezTo>
                    <a:cubicBezTo>
                      <a:pt x="966917" y="83226"/>
                      <a:pt x="971338" y="81975"/>
                      <a:pt x="976261" y="81057"/>
                    </a:cubicBezTo>
                    <a:cubicBezTo>
                      <a:pt x="978013" y="80640"/>
                      <a:pt x="979764" y="80139"/>
                      <a:pt x="982017" y="79722"/>
                    </a:cubicBezTo>
                    <a:cubicBezTo>
                      <a:pt x="988191" y="78388"/>
                      <a:pt x="993947" y="76636"/>
                      <a:pt x="1000204" y="74383"/>
                    </a:cubicBezTo>
                    <a:cubicBezTo>
                      <a:pt x="1008630" y="71297"/>
                      <a:pt x="1014386" y="65541"/>
                      <a:pt x="1019726" y="60202"/>
                    </a:cubicBezTo>
                    <a:cubicBezTo>
                      <a:pt x="1023230" y="57116"/>
                      <a:pt x="1026400" y="53528"/>
                      <a:pt x="1030321" y="51359"/>
                    </a:cubicBezTo>
                    <a:cubicBezTo>
                      <a:pt x="1033826" y="48690"/>
                      <a:pt x="1037413" y="46938"/>
                      <a:pt x="1040917" y="45603"/>
                    </a:cubicBezTo>
                    <a:cubicBezTo>
                      <a:pt x="1050677" y="40765"/>
                      <a:pt x="1059521" y="36260"/>
                      <a:pt x="1067947" y="22579"/>
                    </a:cubicBezTo>
                    <a:lnTo>
                      <a:pt x="1069282" y="20327"/>
                    </a:lnTo>
                    <a:cubicBezTo>
                      <a:pt x="1076373" y="8398"/>
                      <a:pt x="1080378" y="2141"/>
                      <a:pt x="1090973" y="390"/>
                    </a:cubicBezTo>
                    <a:cubicBezTo>
                      <a:pt x="1106907" y="-2280"/>
                      <a:pt x="1121507" y="9232"/>
                      <a:pt x="1128598" y="20744"/>
                    </a:cubicBezTo>
                    <a:cubicBezTo>
                      <a:pt x="1134772" y="30921"/>
                      <a:pt x="1133020" y="37095"/>
                      <a:pt x="1129515" y="48690"/>
                    </a:cubicBezTo>
                    <a:cubicBezTo>
                      <a:pt x="1128598" y="51359"/>
                      <a:pt x="1128181" y="54029"/>
                      <a:pt x="1127264" y="57116"/>
                    </a:cubicBezTo>
                    <a:cubicBezTo>
                      <a:pt x="1125511" y="63289"/>
                      <a:pt x="1125928" y="69045"/>
                      <a:pt x="1126345" y="74383"/>
                    </a:cubicBezTo>
                    <a:cubicBezTo>
                      <a:pt x="1126763" y="79722"/>
                      <a:pt x="1126763" y="84144"/>
                      <a:pt x="1125011" y="88148"/>
                    </a:cubicBezTo>
                    <a:cubicBezTo>
                      <a:pt x="1124093" y="89900"/>
                      <a:pt x="1122341" y="91652"/>
                      <a:pt x="1120589" y="93487"/>
                    </a:cubicBezTo>
                    <a:cubicBezTo>
                      <a:pt x="1117502" y="96573"/>
                      <a:pt x="1113498" y="100577"/>
                      <a:pt x="1112163" y="106334"/>
                    </a:cubicBezTo>
                    <a:cubicBezTo>
                      <a:pt x="1110828" y="111673"/>
                      <a:pt x="1112580" y="116928"/>
                      <a:pt x="1113498" y="120932"/>
                    </a:cubicBezTo>
                    <a:cubicBezTo>
                      <a:pt x="1114416" y="123184"/>
                      <a:pt x="1114833" y="125353"/>
                      <a:pt x="1114833" y="127105"/>
                    </a:cubicBezTo>
                    <a:cubicBezTo>
                      <a:pt x="1114416" y="137699"/>
                      <a:pt x="1108159" y="148378"/>
                      <a:pt x="1101067" y="158972"/>
                    </a:cubicBezTo>
                    <a:cubicBezTo>
                      <a:pt x="1092224" y="173153"/>
                      <a:pt x="1082463" y="188169"/>
                      <a:pt x="1085967" y="205938"/>
                    </a:cubicBezTo>
                    <a:cubicBezTo>
                      <a:pt x="1087302" y="212111"/>
                      <a:pt x="1089471" y="217867"/>
                      <a:pt x="1092140" y="223206"/>
                    </a:cubicBezTo>
                    <a:cubicBezTo>
                      <a:pt x="1095644" y="231631"/>
                      <a:pt x="1098815" y="238722"/>
                      <a:pt x="1096979" y="246230"/>
                    </a:cubicBezTo>
                    <a:cubicBezTo>
                      <a:pt x="1095644" y="252403"/>
                      <a:pt x="1091223" y="257742"/>
                      <a:pt x="1086802" y="263498"/>
                    </a:cubicBezTo>
                    <a:cubicBezTo>
                      <a:pt x="1082379" y="268837"/>
                      <a:pt x="1077958" y="274092"/>
                      <a:pt x="1075288" y="280766"/>
                    </a:cubicBezTo>
                    <a:cubicBezTo>
                      <a:pt x="1069115" y="295865"/>
                      <a:pt x="1069949" y="311798"/>
                      <a:pt x="1077541" y="324144"/>
                    </a:cubicBezTo>
                    <a:cubicBezTo>
                      <a:pt x="1084632" y="336074"/>
                      <a:pt x="1096145" y="342747"/>
                      <a:pt x="1110744" y="344499"/>
                    </a:cubicBezTo>
                    <a:cubicBezTo>
                      <a:pt x="1123592" y="345834"/>
                      <a:pt x="1138692" y="345834"/>
                      <a:pt x="1152792" y="336491"/>
                    </a:cubicBezTo>
                    <a:cubicBezTo>
                      <a:pt x="1155462" y="334739"/>
                      <a:pt x="1158132" y="332987"/>
                      <a:pt x="1160801" y="330735"/>
                    </a:cubicBezTo>
                    <a:cubicBezTo>
                      <a:pt x="1167475" y="325396"/>
                      <a:pt x="1171396" y="322309"/>
                      <a:pt x="1179405" y="322726"/>
                    </a:cubicBezTo>
                    <a:cubicBezTo>
                      <a:pt x="1192670" y="324061"/>
                      <a:pt x="1197091" y="332903"/>
                      <a:pt x="1203765" y="347502"/>
                    </a:cubicBezTo>
                    <a:cubicBezTo>
                      <a:pt x="1209105" y="358597"/>
                      <a:pt x="1214862" y="371861"/>
                      <a:pt x="1228126" y="377200"/>
                    </a:cubicBezTo>
                    <a:cubicBezTo>
                      <a:pt x="1238722" y="381621"/>
                      <a:pt x="1273344" y="373696"/>
                      <a:pt x="1280435" y="370109"/>
                    </a:cubicBezTo>
                    <a:cubicBezTo>
                      <a:pt x="1289278" y="365688"/>
                      <a:pt x="1294617" y="358180"/>
                      <a:pt x="1299957" y="351089"/>
                    </a:cubicBezTo>
                    <a:cubicBezTo>
                      <a:pt x="1302209" y="348003"/>
                      <a:pt x="1304379" y="344916"/>
                      <a:pt x="1306631" y="342247"/>
                    </a:cubicBezTo>
                    <a:cubicBezTo>
                      <a:pt x="1313723" y="334238"/>
                      <a:pt x="1322565" y="328983"/>
                      <a:pt x="1330991" y="323227"/>
                    </a:cubicBezTo>
                    <a:cubicBezTo>
                      <a:pt x="1349179" y="311298"/>
                      <a:pt x="1368200" y="298868"/>
                      <a:pt x="1369117" y="268753"/>
                    </a:cubicBezTo>
                    <a:lnTo>
                      <a:pt x="1369117" y="262580"/>
                    </a:lnTo>
                    <a:cubicBezTo>
                      <a:pt x="1369117" y="247481"/>
                      <a:pt x="1370036" y="237304"/>
                      <a:pt x="1379296" y="232882"/>
                    </a:cubicBezTo>
                    <a:cubicBezTo>
                      <a:pt x="1384134" y="230630"/>
                      <a:pt x="1389057" y="230213"/>
                      <a:pt x="1393895" y="229379"/>
                    </a:cubicBezTo>
                    <a:cubicBezTo>
                      <a:pt x="1402321" y="228461"/>
                      <a:pt x="1411582" y="227627"/>
                      <a:pt x="1420008" y="220036"/>
                    </a:cubicBezTo>
                    <a:cubicBezTo>
                      <a:pt x="1428434" y="212945"/>
                      <a:pt x="1433773" y="202350"/>
                      <a:pt x="1439029" y="192090"/>
                    </a:cubicBezTo>
                    <a:cubicBezTo>
                      <a:pt x="1449207" y="173070"/>
                      <a:pt x="1456299" y="161558"/>
                      <a:pt x="1471399" y="165062"/>
                    </a:cubicBezTo>
                    <a:cubicBezTo>
                      <a:pt x="1495759" y="170818"/>
                      <a:pt x="1510860" y="193425"/>
                      <a:pt x="1517450" y="234134"/>
                    </a:cubicBezTo>
                    <a:cubicBezTo>
                      <a:pt x="1520954" y="255406"/>
                      <a:pt x="1527628" y="261579"/>
                      <a:pt x="1541811" y="273592"/>
                    </a:cubicBezTo>
                    <a:cubicBezTo>
                      <a:pt x="1545315" y="276678"/>
                      <a:pt x="1557746" y="288190"/>
                      <a:pt x="1552406" y="303289"/>
                    </a:cubicBezTo>
                    <a:cubicBezTo>
                      <a:pt x="1548402" y="314801"/>
                      <a:pt x="1536055" y="318388"/>
                      <a:pt x="1522707" y="321892"/>
                    </a:cubicBezTo>
                    <a:lnTo>
                      <a:pt x="1516533" y="323644"/>
                    </a:lnTo>
                    <a:cubicBezTo>
                      <a:pt x="1509859" y="325896"/>
                      <a:pt x="1503685" y="328065"/>
                      <a:pt x="1497011" y="330735"/>
                    </a:cubicBezTo>
                    <a:cubicBezTo>
                      <a:pt x="1489002" y="333404"/>
                      <a:pt x="1482411" y="336491"/>
                      <a:pt x="1474903" y="338243"/>
                    </a:cubicBezTo>
                    <a:cubicBezTo>
                      <a:pt x="1472234" y="338660"/>
                      <a:pt x="1469564" y="339160"/>
                      <a:pt x="1466060" y="339160"/>
                    </a:cubicBezTo>
                    <a:cubicBezTo>
                      <a:pt x="1454964" y="340078"/>
                      <a:pt x="1439947" y="341413"/>
                      <a:pt x="1435025" y="353759"/>
                    </a:cubicBezTo>
                    <a:cubicBezTo>
                      <a:pt x="1427933" y="371444"/>
                      <a:pt x="1446120" y="381704"/>
                      <a:pt x="1454964" y="386543"/>
                    </a:cubicBezTo>
                    <a:lnTo>
                      <a:pt x="1457634" y="388295"/>
                    </a:lnTo>
                    <a:cubicBezTo>
                      <a:pt x="1466060" y="393133"/>
                      <a:pt x="1470898" y="398889"/>
                      <a:pt x="1471816" y="404645"/>
                    </a:cubicBezTo>
                    <a:cubicBezTo>
                      <a:pt x="1472734" y="411319"/>
                      <a:pt x="1468729" y="419244"/>
                      <a:pt x="1459886" y="429004"/>
                    </a:cubicBezTo>
                    <a:cubicBezTo>
                      <a:pt x="1457634" y="431674"/>
                      <a:pt x="1455464" y="433842"/>
                      <a:pt x="1452794" y="436095"/>
                    </a:cubicBezTo>
                    <a:cubicBezTo>
                      <a:pt x="1446120" y="442768"/>
                      <a:pt x="1439530" y="448942"/>
                      <a:pt x="1435109" y="457784"/>
                    </a:cubicBezTo>
                    <a:cubicBezTo>
                      <a:pt x="1429352" y="469296"/>
                      <a:pt x="1429769" y="481225"/>
                      <a:pt x="1430269" y="492737"/>
                    </a:cubicBezTo>
                    <a:cubicBezTo>
                      <a:pt x="1430686" y="498076"/>
                      <a:pt x="1430686" y="503332"/>
                      <a:pt x="1429852" y="508671"/>
                    </a:cubicBezTo>
                    <a:cubicBezTo>
                      <a:pt x="1428518" y="524187"/>
                      <a:pt x="1417422" y="537451"/>
                      <a:pt x="1405492" y="551215"/>
                    </a:cubicBezTo>
                    <a:cubicBezTo>
                      <a:pt x="1396648" y="561393"/>
                      <a:pt x="1387805" y="572487"/>
                      <a:pt x="1382049" y="584917"/>
                    </a:cubicBezTo>
                    <a:cubicBezTo>
                      <a:pt x="1375876" y="599098"/>
                      <a:pt x="1379379" y="607524"/>
                      <a:pt x="1383384" y="615950"/>
                    </a:cubicBezTo>
                    <a:cubicBezTo>
                      <a:pt x="1384718" y="619453"/>
                      <a:pt x="1386470" y="623958"/>
                      <a:pt x="1387805" y="628796"/>
                    </a:cubicBezTo>
                    <a:cubicBezTo>
                      <a:pt x="1389140" y="636805"/>
                      <a:pt x="1386470" y="642561"/>
                      <a:pt x="1382466" y="650068"/>
                    </a:cubicBezTo>
                    <a:cubicBezTo>
                      <a:pt x="1379796" y="654907"/>
                      <a:pt x="1376710" y="660663"/>
                      <a:pt x="1375375" y="667337"/>
                    </a:cubicBezTo>
                    <a:cubicBezTo>
                      <a:pt x="1372288" y="681101"/>
                      <a:pt x="1374040" y="700538"/>
                      <a:pt x="1375792" y="716471"/>
                    </a:cubicBezTo>
                    <a:lnTo>
                      <a:pt x="1377127" y="730653"/>
                    </a:lnTo>
                    <a:cubicBezTo>
                      <a:pt x="1378044" y="741748"/>
                      <a:pt x="1378879" y="750590"/>
                      <a:pt x="1377544" y="762102"/>
                    </a:cubicBezTo>
                    <a:cubicBezTo>
                      <a:pt x="1376626" y="768776"/>
                      <a:pt x="1376626" y="776701"/>
                      <a:pt x="1381047" y="782040"/>
                    </a:cubicBezTo>
                    <a:cubicBezTo>
                      <a:pt x="1385470" y="787379"/>
                      <a:pt x="1391643" y="788713"/>
                      <a:pt x="1400570" y="789548"/>
                    </a:cubicBezTo>
                    <a:cubicBezTo>
                      <a:pt x="1409412" y="790465"/>
                      <a:pt x="1417839" y="792217"/>
                      <a:pt x="1426265" y="793969"/>
                    </a:cubicBezTo>
                    <a:cubicBezTo>
                      <a:pt x="1431103" y="794887"/>
                      <a:pt x="1436026" y="796221"/>
                      <a:pt x="1440865" y="796638"/>
                    </a:cubicBezTo>
                    <a:cubicBezTo>
                      <a:pt x="1448874" y="797973"/>
                      <a:pt x="1456382" y="797056"/>
                      <a:pt x="1463891" y="796638"/>
                    </a:cubicBezTo>
                    <a:cubicBezTo>
                      <a:pt x="1471399" y="795721"/>
                      <a:pt x="1478491" y="795304"/>
                      <a:pt x="1484748" y="796638"/>
                    </a:cubicBezTo>
                    <a:cubicBezTo>
                      <a:pt x="1492756" y="798891"/>
                      <a:pt x="1496677" y="804646"/>
                      <a:pt x="1502016" y="812154"/>
                    </a:cubicBezTo>
                    <a:cubicBezTo>
                      <a:pt x="1504269" y="815241"/>
                      <a:pt x="1506021" y="818328"/>
                      <a:pt x="1508690" y="820997"/>
                    </a:cubicBezTo>
                    <a:cubicBezTo>
                      <a:pt x="1512696" y="825836"/>
                      <a:pt x="1517117" y="829840"/>
                      <a:pt x="1521121" y="833844"/>
                    </a:cubicBezTo>
                    <a:cubicBezTo>
                      <a:pt x="1527295" y="839600"/>
                      <a:pt x="1533552" y="844939"/>
                      <a:pt x="1537473" y="852447"/>
                    </a:cubicBezTo>
                    <a:cubicBezTo>
                      <a:pt x="1544564" y="866211"/>
                      <a:pt x="1549904" y="873302"/>
                      <a:pt x="1562752" y="882562"/>
                    </a:cubicBezTo>
                    <a:cubicBezTo>
                      <a:pt x="1576517" y="892322"/>
                      <a:pt x="1580939" y="902499"/>
                      <a:pt x="1578269" y="918849"/>
                    </a:cubicBezTo>
                    <a:cubicBezTo>
                      <a:pt x="1577852" y="920184"/>
                      <a:pt x="1577852" y="921519"/>
                      <a:pt x="1577351" y="922854"/>
                    </a:cubicBezTo>
                    <a:cubicBezTo>
                      <a:pt x="1576016" y="928609"/>
                      <a:pt x="1574682" y="933948"/>
                      <a:pt x="1573847" y="940122"/>
                    </a:cubicBezTo>
                    <a:cubicBezTo>
                      <a:pt x="1575266" y="941540"/>
                      <a:pt x="1575266" y="942374"/>
                      <a:pt x="1575266" y="9428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76374358" name="Полилиния 414"/>
              <p:cNvSpPr/>
              <p:nvPr/>
            </p:nvSpPr>
            <p:spPr bwMode="auto">
              <a:xfrm>
                <a:off x="9749739" y="5246932"/>
                <a:ext cx="361553" cy="293904"/>
              </a:xfrm>
              <a:custGeom>
                <a:avLst/>
                <a:gdLst>
                  <a:gd name="connsiteX0" fmla="*/ 394192 w 406037"/>
                  <a:gd name="connsiteY0" fmla="*/ 35099 h 330064"/>
                  <a:gd name="connsiteX1" fmla="*/ 343719 w 406037"/>
                  <a:gd name="connsiteY1" fmla="*/ 67883 h 330064"/>
                  <a:gd name="connsiteX2" fmla="*/ 321610 w 406037"/>
                  <a:gd name="connsiteY2" fmla="*/ 105506 h 330064"/>
                  <a:gd name="connsiteX3" fmla="*/ 287489 w 406037"/>
                  <a:gd name="connsiteY3" fmla="*/ 156893 h 330064"/>
                  <a:gd name="connsiteX4" fmla="*/ 260458 w 406037"/>
                  <a:gd name="connsiteY4" fmla="*/ 203859 h 330064"/>
                  <a:gd name="connsiteX5" fmla="*/ 259123 w 406037"/>
                  <a:gd name="connsiteY5" fmla="*/ 219792 h 330064"/>
                  <a:gd name="connsiteX6" fmla="*/ 253784 w 406037"/>
                  <a:gd name="connsiteY6" fmla="*/ 248989 h 330064"/>
                  <a:gd name="connsiteX7" fmla="*/ 193133 w 406037"/>
                  <a:gd name="connsiteY7" fmla="*/ 296789 h 330064"/>
                  <a:gd name="connsiteX8" fmla="*/ 171859 w 406037"/>
                  <a:gd name="connsiteY8" fmla="*/ 308301 h 330064"/>
                  <a:gd name="connsiteX9" fmla="*/ 83677 w 406037"/>
                  <a:gd name="connsiteY9" fmla="*/ 320230 h 330064"/>
                  <a:gd name="connsiteX10" fmla="*/ 68159 w 406037"/>
                  <a:gd name="connsiteY10" fmla="*/ 294120 h 330064"/>
                  <a:gd name="connsiteX11" fmla="*/ 61068 w 406037"/>
                  <a:gd name="connsiteY11" fmla="*/ 277769 h 330064"/>
                  <a:gd name="connsiteX12" fmla="*/ 30534 w 406037"/>
                  <a:gd name="connsiteY12" fmla="*/ 249824 h 330064"/>
                  <a:gd name="connsiteX13" fmla="*/ 26112 w 406037"/>
                  <a:gd name="connsiteY13" fmla="*/ 247154 h 330064"/>
                  <a:gd name="connsiteX14" fmla="*/ 4421 w 406037"/>
                  <a:gd name="connsiteY14" fmla="*/ 218374 h 330064"/>
                  <a:gd name="connsiteX15" fmla="*/ 0 w 406037"/>
                  <a:gd name="connsiteY15" fmla="*/ 208197 h 330064"/>
                  <a:gd name="connsiteX16" fmla="*/ 4004 w 406037"/>
                  <a:gd name="connsiteY16" fmla="*/ 194015 h 330064"/>
                  <a:gd name="connsiteX17" fmla="*/ 9343 w 406037"/>
                  <a:gd name="connsiteY17" fmla="*/ 171909 h 330064"/>
                  <a:gd name="connsiteX18" fmla="*/ 15100 w 406037"/>
                  <a:gd name="connsiteY18" fmla="*/ 140459 h 330064"/>
                  <a:gd name="connsiteX19" fmla="*/ 17770 w 406037"/>
                  <a:gd name="connsiteY19" fmla="*/ 129364 h 330064"/>
                  <a:gd name="connsiteX20" fmla="*/ 31034 w 406037"/>
                  <a:gd name="connsiteY20" fmla="*/ 120021 h 330064"/>
                  <a:gd name="connsiteX21" fmla="*/ 60234 w 406037"/>
                  <a:gd name="connsiteY21" fmla="*/ 85485 h 330064"/>
                  <a:gd name="connsiteX22" fmla="*/ 63320 w 406037"/>
                  <a:gd name="connsiteY22" fmla="*/ 77477 h 330064"/>
                  <a:gd name="connsiteX23" fmla="*/ 78838 w 406037"/>
                  <a:gd name="connsiteY23" fmla="*/ 62878 h 330064"/>
                  <a:gd name="connsiteX24" fmla="*/ 99194 w 406037"/>
                  <a:gd name="connsiteY24" fmla="*/ 61543 h 330064"/>
                  <a:gd name="connsiteX25" fmla="*/ 128393 w 406037"/>
                  <a:gd name="connsiteY25" fmla="*/ 58457 h 330064"/>
                  <a:gd name="connsiteX26" fmla="*/ 147916 w 406037"/>
                  <a:gd name="connsiteY26" fmla="*/ 49614 h 330064"/>
                  <a:gd name="connsiteX27" fmla="*/ 171358 w 406037"/>
                  <a:gd name="connsiteY27" fmla="*/ 39854 h 330064"/>
                  <a:gd name="connsiteX28" fmla="*/ 198806 w 406037"/>
                  <a:gd name="connsiteY28" fmla="*/ 50949 h 330064"/>
                  <a:gd name="connsiteX29" fmla="*/ 214740 w 406037"/>
                  <a:gd name="connsiteY29" fmla="*/ 65131 h 330064"/>
                  <a:gd name="connsiteX30" fmla="*/ 301087 w 406037"/>
                  <a:gd name="connsiteY30" fmla="*/ 56705 h 330064"/>
                  <a:gd name="connsiteX31" fmla="*/ 315687 w 406037"/>
                  <a:gd name="connsiteY31" fmla="*/ 39437 h 330064"/>
                  <a:gd name="connsiteX32" fmla="*/ 328535 w 406037"/>
                  <a:gd name="connsiteY32" fmla="*/ 25255 h 330064"/>
                  <a:gd name="connsiteX33" fmla="*/ 342717 w 406037"/>
                  <a:gd name="connsiteY33" fmla="*/ 24838 h 330064"/>
                  <a:gd name="connsiteX34" fmla="*/ 365326 w 406037"/>
                  <a:gd name="connsiteY34" fmla="*/ 22586 h 330064"/>
                  <a:gd name="connsiteX35" fmla="*/ 377757 w 406037"/>
                  <a:gd name="connsiteY35" fmla="*/ 9322 h 330064"/>
                  <a:gd name="connsiteX36" fmla="*/ 384848 w 406037"/>
                  <a:gd name="connsiteY36" fmla="*/ 897 h 330064"/>
                  <a:gd name="connsiteX37" fmla="*/ 391021 w 406037"/>
                  <a:gd name="connsiteY37" fmla="*/ 480 h 330064"/>
                  <a:gd name="connsiteX38" fmla="*/ 401199 w 406037"/>
                  <a:gd name="connsiteY38" fmla="*/ 13326 h 330064"/>
                  <a:gd name="connsiteX39" fmla="*/ 406038 w 406037"/>
                  <a:gd name="connsiteY39" fmla="*/ 39937 h 330064"/>
                  <a:gd name="connsiteX40" fmla="*/ 394192 w 406037"/>
                  <a:gd name="connsiteY40" fmla="*/ 35099 h 330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6037" h="330064" extrusionOk="0">
                    <a:moveTo>
                      <a:pt x="394192" y="35099"/>
                    </a:moveTo>
                    <a:cubicBezTo>
                      <a:pt x="376004" y="33764"/>
                      <a:pt x="355231" y="51950"/>
                      <a:pt x="343719" y="67883"/>
                    </a:cubicBezTo>
                    <a:cubicBezTo>
                      <a:pt x="334875" y="80313"/>
                      <a:pt x="328201" y="93160"/>
                      <a:pt x="321610" y="105506"/>
                    </a:cubicBezTo>
                    <a:cubicBezTo>
                      <a:pt x="311849" y="124109"/>
                      <a:pt x="303006" y="141794"/>
                      <a:pt x="287489" y="156893"/>
                    </a:cubicBezTo>
                    <a:cubicBezTo>
                      <a:pt x="272889" y="171075"/>
                      <a:pt x="263545" y="183504"/>
                      <a:pt x="260458" y="203859"/>
                    </a:cubicBezTo>
                    <a:cubicBezTo>
                      <a:pt x="259541" y="209198"/>
                      <a:pt x="259123" y="214453"/>
                      <a:pt x="259123" y="219792"/>
                    </a:cubicBezTo>
                    <a:cubicBezTo>
                      <a:pt x="258206" y="230386"/>
                      <a:pt x="257789" y="240147"/>
                      <a:pt x="253784" y="248989"/>
                    </a:cubicBezTo>
                    <a:cubicBezTo>
                      <a:pt x="243606" y="270679"/>
                      <a:pt x="216576" y="284443"/>
                      <a:pt x="193133" y="296789"/>
                    </a:cubicBezTo>
                    <a:cubicBezTo>
                      <a:pt x="185625" y="300794"/>
                      <a:pt x="178533" y="304798"/>
                      <a:pt x="171859" y="308301"/>
                    </a:cubicBezTo>
                    <a:cubicBezTo>
                      <a:pt x="142660" y="325569"/>
                      <a:pt x="108955" y="340668"/>
                      <a:pt x="83677" y="320230"/>
                    </a:cubicBezTo>
                    <a:cubicBezTo>
                      <a:pt x="75250" y="313557"/>
                      <a:pt x="71747" y="304297"/>
                      <a:pt x="68159" y="294120"/>
                    </a:cubicBezTo>
                    <a:cubicBezTo>
                      <a:pt x="65907" y="288781"/>
                      <a:pt x="64155" y="283025"/>
                      <a:pt x="61068" y="277769"/>
                    </a:cubicBezTo>
                    <a:cubicBezTo>
                      <a:pt x="53559" y="263171"/>
                      <a:pt x="42464" y="256497"/>
                      <a:pt x="30534" y="249824"/>
                    </a:cubicBezTo>
                    <a:lnTo>
                      <a:pt x="26112" y="247154"/>
                    </a:lnTo>
                    <a:cubicBezTo>
                      <a:pt x="13682" y="239646"/>
                      <a:pt x="10177" y="233890"/>
                      <a:pt x="4421" y="218374"/>
                    </a:cubicBezTo>
                    <a:cubicBezTo>
                      <a:pt x="3503" y="214870"/>
                      <a:pt x="1752" y="211700"/>
                      <a:pt x="0" y="208197"/>
                    </a:cubicBezTo>
                    <a:cubicBezTo>
                      <a:pt x="917" y="203358"/>
                      <a:pt x="2669" y="198436"/>
                      <a:pt x="4004" y="194015"/>
                    </a:cubicBezTo>
                    <a:cubicBezTo>
                      <a:pt x="6257" y="186925"/>
                      <a:pt x="8843" y="179834"/>
                      <a:pt x="9343" y="171909"/>
                    </a:cubicBezTo>
                    <a:cubicBezTo>
                      <a:pt x="10261" y="160814"/>
                      <a:pt x="12847" y="151054"/>
                      <a:pt x="15100" y="140459"/>
                    </a:cubicBezTo>
                    <a:cubicBezTo>
                      <a:pt x="16017" y="136955"/>
                      <a:pt x="16852" y="132951"/>
                      <a:pt x="17770" y="129364"/>
                    </a:cubicBezTo>
                    <a:cubicBezTo>
                      <a:pt x="22191" y="126695"/>
                      <a:pt x="26613" y="123191"/>
                      <a:pt x="31034" y="120021"/>
                    </a:cubicBezTo>
                    <a:cubicBezTo>
                      <a:pt x="44299" y="109844"/>
                      <a:pt x="53142" y="98749"/>
                      <a:pt x="60234" y="85485"/>
                    </a:cubicBezTo>
                    <a:cubicBezTo>
                      <a:pt x="61569" y="82816"/>
                      <a:pt x="62486" y="80146"/>
                      <a:pt x="63320" y="77477"/>
                    </a:cubicBezTo>
                    <a:cubicBezTo>
                      <a:pt x="67325" y="68634"/>
                      <a:pt x="68660" y="65047"/>
                      <a:pt x="78838" y="62878"/>
                    </a:cubicBezTo>
                    <a:cubicBezTo>
                      <a:pt x="85513" y="61126"/>
                      <a:pt x="92103" y="61543"/>
                      <a:pt x="99194" y="61543"/>
                    </a:cubicBezTo>
                    <a:cubicBezTo>
                      <a:pt x="108538" y="61960"/>
                      <a:pt x="117798" y="61960"/>
                      <a:pt x="128393" y="58457"/>
                    </a:cubicBezTo>
                    <a:cubicBezTo>
                      <a:pt x="135485" y="56204"/>
                      <a:pt x="141659" y="53118"/>
                      <a:pt x="147916" y="49614"/>
                    </a:cubicBezTo>
                    <a:cubicBezTo>
                      <a:pt x="155924" y="45193"/>
                      <a:pt x="163433" y="41606"/>
                      <a:pt x="171358" y="39854"/>
                    </a:cubicBezTo>
                    <a:cubicBezTo>
                      <a:pt x="185124" y="36768"/>
                      <a:pt x="190379" y="42106"/>
                      <a:pt x="198806" y="50949"/>
                    </a:cubicBezTo>
                    <a:cubicBezTo>
                      <a:pt x="203227" y="55787"/>
                      <a:pt x="207649" y="60709"/>
                      <a:pt x="214740" y="65131"/>
                    </a:cubicBezTo>
                    <a:cubicBezTo>
                      <a:pt x="237766" y="80229"/>
                      <a:pt x="278562" y="73139"/>
                      <a:pt x="301087" y="56705"/>
                    </a:cubicBezTo>
                    <a:cubicBezTo>
                      <a:pt x="307761" y="51866"/>
                      <a:pt x="311682" y="45610"/>
                      <a:pt x="315687" y="39437"/>
                    </a:cubicBezTo>
                    <a:cubicBezTo>
                      <a:pt x="319191" y="33264"/>
                      <a:pt x="323195" y="27508"/>
                      <a:pt x="328535" y="25255"/>
                    </a:cubicBezTo>
                    <a:cubicBezTo>
                      <a:pt x="332039" y="23503"/>
                      <a:pt x="336961" y="23921"/>
                      <a:pt x="342717" y="24838"/>
                    </a:cubicBezTo>
                    <a:cubicBezTo>
                      <a:pt x="349391" y="25756"/>
                      <a:pt x="357317" y="26590"/>
                      <a:pt x="365326" y="22586"/>
                    </a:cubicBezTo>
                    <a:cubicBezTo>
                      <a:pt x="372000" y="19499"/>
                      <a:pt x="375087" y="13744"/>
                      <a:pt x="377757" y="9322"/>
                    </a:cubicBezTo>
                    <a:cubicBezTo>
                      <a:pt x="380426" y="4901"/>
                      <a:pt x="382178" y="2231"/>
                      <a:pt x="384848" y="897"/>
                    </a:cubicBezTo>
                    <a:cubicBezTo>
                      <a:pt x="387935" y="-438"/>
                      <a:pt x="389686" y="-21"/>
                      <a:pt x="391021" y="480"/>
                    </a:cubicBezTo>
                    <a:cubicBezTo>
                      <a:pt x="394525" y="1814"/>
                      <a:pt x="398112" y="6653"/>
                      <a:pt x="401199" y="13326"/>
                    </a:cubicBezTo>
                    <a:cubicBezTo>
                      <a:pt x="404286" y="21335"/>
                      <a:pt x="406038" y="30594"/>
                      <a:pt x="406038" y="39937"/>
                    </a:cubicBezTo>
                    <a:cubicBezTo>
                      <a:pt x="402200" y="36017"/>
                      <a:pt x="397695" y="35099"/>
                      <a:pt x="394192" y="3509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796178" name="Полилиния 415"/>
              <p:cNvSpPr/>
              <p:nvPr/>
            </p:nvSpPr>
            <p:spPr bwMode="auto">
              <a:xfrm>
                <a:off x="9058794" y="3178800"/>
                <a:ext cx="1465980" cy="2338497"/>
              </a:xfrm>
              <a:custGeom>
                <a:avLst/>
                <a:gdLst>
                  <a:gd name="connsiteX0" fmla="*/ 1646346 w 1646345"/>
                  <a:gd name="connsiteY0" fmla="*/ 2188919 h 2626209"/>
                  <a:gd name="connsiteX1" fmla="*/ 1645427 w 1646345"/>
                  <a:gd name="connsiteY1" fmla="*/ 2198679 h 2626209"/>
                  <a:gd name="connsiteX2" fmla="*/ 1645427 w 1646345"/>
                  <a:gd name="connsiteY2" fmla="*/ 2199096 h 2626209"/>
                  <a:gd name="connsiteX3" fmla="*/ 1599794 w 1646345"/>
                  <a:gd name="connsiteY3" fmla="*/ 2196010 h 2626209"/>
                  <a:gd name="connsiteX4" fmla="*/ 1590950 w 1646345"/>
                  <a:gd name="connsiteY4" fmla="*/ 2171651 h 2626209"/>
                  <a:gd name="connsiteX5" fmla="*/ 1577184 w 1646345"/>
                  <a:gd name="connsiteY5" fmla="*/ 2139784 h 2626209"/>
                  <a:gd name="connsiteX6" fmla="*/ 1561667 w 1646345"/>
                  <a:gd name="connsiteY6" fmla="*/ 2134446 h 2626209"/>
                  <a:gd name="connsiteX7" fmla="*/ 1552323 w 1646345"/>
                  <a:gd name="connsiteY7" fmla="*/ 2131776 h 2626209"/>
                  <a:gd name="connsiteX8" fmla="*/ 1539892 w 1646345"/>
                  <a:gd name="connsiteY8" fmla="*/ 2122933 h 2626209"/>
                  <a:gd name="connsiteX9" fmla="*/ 1535054 w 1646345"/>
                  <a:gd name="connsiteY9" fmla="*/ 2118929 h 2626209"/>
                  <a:gd name="connsiteX10" fmla="*/ 1493841 w 1646345"/>
                  <a:gd name="connsiteY10" fmla="*/ 2101661 h 2626209"/>
                  <a:gd name="connsiteX11" fmla="*/ 1472985 w 1646345"/>
                  <a:gd name="connsiteY11" fmla="*/ 2115425 h 2626209"/>
                  <a:gd name="connsiteX12" fmla="*/ 1460137 w 1646345"/>
                  <a:gd name="connsiteY12" fmla="*/ 2143371 h 2626209"/>
                  <a:gd name="connsiteX13" fmla="*/ 1453045 w 1646345"/>
                  <a:gd name="connsiteY13" fmla="*/ 2161557 h 2626209"/>
                  <a:gd name="connsiteX14" fmla="*/ 1440614 w 1646345"/>
                  <a:gd name="connsiteY14" fmla="*/ 2174404 h 2626209"/>
                  <a:gd name="connsiteX15" fmla="*/ 1421093 w 1646345"/>
                  <a:gd name="connsiteY15" fmla="*/ 2218283 h 2626209"/>
                  <a:gd name="connsiteX16" fmla="*/ 1448540 w 1646345"/>
                  <a:gd name="connsiteY16" fmla="*/ 2231130 h 2626209"/>
                  <a:gd name="connsiteX17" fmla="*/ 1461388 w 1646345"/>
                  <a:gd name="connsiteY17" fmla="*/ 2233800 h 2626209"/>
                  <a:gd name="connsiteX18" fmla="*/ 1471566 w 1646345"/>
                  <a:gd name="connsiteY18" fmla="*/ 2242642 h 2626209"/>
                  <a:gd name="connsiteX19" fmla="*/ 1507440 w 1646345"/>
                  <a:gd name="connsiteY19" fmla="*/ 2246146 h 2626209"/>
                  <a:gd name="connsiteX20" fmla="*/ 1516784 w 1646345"/>
                  <a:gd name="connsiteY20" fmla="*/ 2239472 h 2626209"/>
                  <a:gd name="connsiteX21" fmla="*/ 1538058 w 1646345"/>
                  <a:gd name="connsiteY21" fmla="*/ 2236385 h 2626209"/>
                  <a:gd name="connsiteX22" fmla="*/ 1541561 w 1646345"/>
                  <a:gd name="connsiteY22" fmla="*/ 2276678 h 2626209"/>
                  <a:gd name="connsiteX23" fmla="*/ 1518118 w 1646345"/>
                  <a:gd name="connsiteY23" fmla="*/ 2323226 h 2626209"/>
                  <a:gd name="connsiteX24" fmla="*/ 1505270 w 1646345"/>
                  <a:gd name="connsiteY24" fmla="*/ 2327230 h 2626209"/>
                  <a:gd name="connsiteX25" fmla="*/ 1477823 w 1646345"/>
                  <a:gd name="connsiteY25" fmla="*/ 2346250 h 2626209"/>
                  <a:gd name="connsiteX26" fmla="*/ 1484497 w 1646345"/>
                  <a:gd name="connsiteY26" fmla="*/ 2367522 h 2626209"/>
                  <a:gd name="connsiteX27" fmla="*/ 1488502 w 1646345"/>
                  <a:gd name="connsiteY27" fmla="*/ 2373695 h 2626209"/>
                  <a:gd name="connsiteX28" fmla="*/ 1492506 w 1646345"/>
                  <a:gd name="connsiteY28" fmla="*/ 2395385 h 2626209"/>
                  <a:gd name="connsiteX29" fmla="*/ 1493424 w 1646345"/>
                  <a:gd name="connsiteY29" fmla="*/ 2405562 h 2626209"/>
                  <a:gd name="connsiteX30" fmla="*/ 1483663 w 1646345"/>
                  <a:gd name="connsiteY30" fmla="*/ 2448524 h 2626209"/>
                  <a:gd name="connsiteX31" fmla="*/ 1429603 w 1646345"/>
                  <a:gd name="connsiteY31" fmla="*/ 2480390 h 2626209"/>
                  <a:gd name="connsiteX32" fmla="*/ 1415420 w 1646345"/>
                  <a:gd name="connsiteY32" fmla="*/ 2479973 h 2626209"/>
                  <a:gd name="connsiteX33" fmla="*/ 1396815 w 1646345"/>
                  <a:gd name="connsiteY33" fmla="*/ 2479556 h 2626209"/>
                  <a:gd name="connsiteX34" fmla="*/ 1383968 w 1646345"/>
                  <a:gd name="connsiteY34" fmla="*/ 2484895 h 2626209"/>
                  <a:gd name="connsiteX35" fmla="*/ 1370703 w 1646345"/>
                  <a:gd name="connsiteY35" fmla="*/ 2488399 h 2626209"/>
                  <a:gd name="connsiteX36" fmla="*/ 1358773 w 1646345"/>
                  <a:gd name="connsiteY36" fmla="*/ 2485729 h 2626209"/>
                  <a:gd name="connsiteX37" fmla="*/ 1332160 w 1646345"/>
                  <a:gd name="connsiteY37" fmla="*/ 2484395 h 2626209"/>
                  <a:gd name="connsiteX38" fmla="*/ 1302960 w 1646345"/>
                  <a:gd name="connsiteY38" fmla="*/ 2507419 h 2626209"/>
                  <a:gd name="connsiteX39" fmla="*/ 1284773 w 1646345"/>
                  <a:gd name="connsiteY39" fmla="*/ 2575657 h 2626209"/>
                  <a:gd name="connsiteX40" fmla="*/ 1289612 w 1646345"/>
                  <a:gd name="connsiteY40" fmla="*/ 2586751 h 2626209"/>
                  <a:gd name="connsiteX41" fmla="*/ 1288277 w 1646345"/>
                  <a:gd name="connsiteY41" fmla="*/ 2620454 h 2626209"/>
                  <a:gd name="connsiteX42" fmla="*/ 1281603 w 1646345"/>
                  <a:gd name="connsiteY42" fmla="*/ 2626209 h 2626209"/>
                  <a:gd name="connsiteX43" fmla="*/ 1245730 w 1646345"/>
                  <a:gd name="connsiteY43" fmla="*/ 2540286 h 2626209"/>
                  <a:gd name="connsiteX44" fmla="*/ 1242226 w 1646345"/>
                  <a:gd name="connsiteY44" fmla="*/ 2492903 h 2626209"/>
                  <a:gd name="connsiteX45" fmla="*/ 1243978 w 1646345"/>
                  <a:gd name="connsiteY45" fmla="*/ 2487564 h 2626209"/>
                  <a:gd name="connsiteX46" fmla="*/ 1246230 w 1646345"/>
                  <a:gd name="connsiteY46" fmla="*/ 2444186 h 2626209"/>
                  <a:gd name="connsiteX47" fmla="*/ 1221870 w 1646345"/>
                  <a:gd name="connsiteY47" fmla="*/ 2419410 h 2626209"/>
                  <a:gd name="connsiteX48" fmla="*/ 1207270 w 1646345"/>
                  <a:gd name="connsiteY48" fmla="*/ 2408315 h 2626209"/>
                  <a:gd name="connsiteX49" fmla="*/ 1199261 w 1646345"/>
                  <a:gd name="connsiteY49" fmla="*/ 2391047 h 2626209"/>
                  <a:gd name="connsiteX50" fmla="*/ 1194839 w 1646345"/>
                  <a:gd name="connsiteY50" fmla="*/ 2379952 h 2626209"/>
                  <a:gd name="connsiteX51" fmla="*/ 1194839 w 1646345"/>
                  <a:gd name="connsiteY51" fmla="*/ 2379535 h 2626209"/>
                  <a:gd name="connsiteX52" fmla="*/ 1190001 w 1646345"/>
                  <a:gd name="connsiteY52" fmla="*/ 2330817 h 2626209"/>
                  <a:gd name="connsiteX53" fmla="*/ 1171814 w 1646345"/>
                  <a:gd name="connsiteY53" fmla="*/ 2309962 h 2626209"/>
                  <a:gd name="connsiteX54" fmla="*/ 1154544 w 1646345"/>
                  <a:gd name="connsiteY54" fmla="*/ 2310880 h 2626209"/>
                  <a:gd name="connsiteX55" fmla="*/ 1140779 w 1646345"/>
                  <a:gd name="connsiteY55" fmla="*/ 2324644 h 2626209"/>
                  <a:gd name="connsiteX56" fmla="*/ 1134105 w 1646345"/>
                  <a:gd name="connsiteY56" fmla="*/ 2332653 h 2626209"/>
                  <a:gd name="connsiteX57" fmla="*/ 1119505 w 1646345"/>
                  <a:gd name="connsiteY57" fmla="*/ 2333570 h 2626209"/>
                  <a:gd name="connsiteX58" fmla="*/ 1097397 w 1646345"/>
                  <a:gd name="connsiteY58" fmla="*/ 2335322 h 2626209"/>
                  <a:gd name="connsiteX59" fmla="*/ 1078793 w 1646345"/>
                  <a:gd name="connsiteY59" fmla="*/ 2354842 h 2626209"/>
                  <a:gd name="connsiteX60" fmla="*/ 1068198 w 1646345"/>
                  <a:gd name="connsiteY60" fmla="*/ 2368607 h 2626209"/>
                  <a:gd name="connsiteX61" fmla="*/ 997285 w 1646345"/>
                  <a:gd name="connsiteY61" fmla="*/ 2376615 h 2626209"/>
                  <a:gd name="connsiteX62" fmla="*/ 984020 w 1646345"/>
                  <a:gd name="connsiteY62" fmla="*/ 2364686 h 2626209"/>
                  <a:gd name="connsiteX63" fmla="*/ 943224 w 1646345"/>
                  <a:gd name="connsiteY63" fmla="*/ 2349170 h 2626209"/>
                  <a:gd name="connsiteX64" fmla="*/ 916194 w 1646345"/>
                  <a:gd name="connsiteY64" fmla="*/ 2360265 h 2626209"/>
                  <a:gd name="connsiteX65" fmla="*/ 898507 w 1646345"/>
                  <a:gd name="connsiteY65" fmla="*/ 2368690 h 2626209"/>
                  <a:gd name="connsiteX66" fmla="*/ 874563 w 1646345"/>
                  <a:gd name="connsiteY66" fmla="*/ 2370943 h 2626209"/>
                  <a:gd name="connsiteX67" fmla="*/ 850203 w 1646345"/>
                  <a:gd name="connsiteY67" fmla="*/ 2372695 h 2626209"/>
                  <a:gd name="connsiteX68" fmla="*/ 825425 w 1646345"/>
                  <a:gd name="connsiteY68" fmla="*/ 2395718 h 2626209"/>
                  <a:gd name="connsiteX69" fmla="*/ 822338 w 1646345"/>
                  <a:gd name="connsiteY69" fmla="*/ 2402809 h 2626209"/>
                  <a:gd name="connsiteX70" fmla="*/ 797060 w 1646345"/>
                  <a:gd name="connsiteY70" fmla="*/ 2432507 h 2626209"/>
                  <a:gd name="connsiteX71" fmla="*/ 795725 w 1646345"/>
                  <a:gd name="connsiteY71" fmla="*/ 2433425 h 2626209"/>
                  <a:gd name="connsiteX72" fmla="*/ 773534 w 1646345"/>
                  <a:gd name="connsiteY72" fmla="*/ 2392215 h 2626209"/>
                  <a:gd name="connsiteX73" fmla="*/ 752260 w 1646345"/>
                  <a:gd name="connsiteY73" fmla="*/ 2366938 h 2626209"/>
                  <a:gd name="connsiteX74" fmla="*/ 733239 w 1646345"/>
                  <a:gd name="connsiteY74" fmla="*/ 2344332 h 2626209"/>
                  <a:gd name="connsiteX75" fmla="*/ 722143 w 1646345"/>
                  <a:gd name="connsiteY75" fmla="*/ 2333237 h 2626209"/>
                  <a:gd name="connsiteX76" fmla="*/ 715969 w 1646345"/>
                  <a:gd name="connsiteY76" fmla="*/ 2325228 h 2626209"/>
                  <a:gd name="connsiteX77" fmla="*/ 690274 w 1646345"/>
                  <a:gd name="connsiteY77" fmla="*/ 2304373 h 2626209"/>
                  <a:gd name="connsiteX78" fmla="*/ 664996 w 1646345"/>
                  <a:gd name="connsiteY78" fmla="*/ 2303956 h 2626209"/>
                  <a:gd name="connsiteX79" fmla="*/ 645474 w 1646345"/>
                  <a:gd name="connsiteY79" fmla="*/ 2304373 h 2626209"/>
                  <a:gd name="connsiteX80" fmla="*/ 631291 w 1646345"/>
                  <a:gd name="connsiteY80" fmla="*/ 2301704 h 2626209"/>
                  <a:gd name="connsiteX81" fmla="*/ 603843 w 1646345"/>
                  <a:gd name="connsiteY81" fmla="*/ 2297282 h 2626209"/>
                  <a:gd name="connsiteX82" fmla="*/ 594083 w 1646345"/>
                  <a:gd name="connsiteY82" fmla="*/ 2294613 h 2626209"/>
                  <a:gd name="connsiteX83" fmla="*/ 593666 w 1646345"/>
                  <a:gd name="connsiteY83" fmla="*/ 2285270 h 2626209"/>
                  <a:gd name="connsiteX84" fmla="*/ 593249 w 1646345"/>
                  <a:gd name="connsiteY84" fmla="*/ 2250734 h 2626209"/>
                  <a:gd name="connsiteX85" fmla="*/ 591913 w 1646345"/>
                  <a:gd name="connsiteY85" fmla="*/ 2236552 h 2626209"/>
                  <a:gd name="connsiteX86" fmla="*/ 590996 w 1646345"/>
                  <a:gd name="connsiteY86" fmla="*/ 2191839 h 2626209"/>
                  <a:gd name="connsiteX87" fmla="*/ 597169 w 1646345"/>
                  <a:gd name="connsiteY87" fmla="*/ 2177657 h 2626209"/>
                  <a:gd name="connsiteX88" fmla="*/ 604260 w 1646345"/>
                  <a:gd name="connsiteY88" fmla="*/ 2147125 h 2626209"/>
                  <a:gd name="connsiteX89" fmla="*/ 598922 w 1646345"/>
                  <a:gd name="connsiteY89" fmla="*/ 2131192 h 2626209"/>
                  <a:gd name="connsiteX90" fmla="*/ 597586 w 1646345"/>
                  <a:gd name="connsiteY90" fmla="*/ 2111672 h 2626209"/>
                  <a:gd name="connsiteX91" fmla="*/ 618860 w 1646345"/>
                  <a:gd name="connsiteY91" fmla="*/ 2081140 h 2626209"/>
                  <a:gd name="connsiteX92" fmla="*/ 646308 w 1646345"/>
                  <a:gd name="connsiteY92" fmla="*/ 2031088 h 2626209"/>
                  <a:gd name="connsiteX93" fmla="*/ 646725 w 1646345"/>
                  <a:gd name="connsiteY93" fmla="*/ 2013402 h 2626209"/>
                  <a:gd name="connsiteX94" fmla="*/ 650229 w 1646345"/>
                  <a:gd name="connsiteY94" fmla="*/ 1984622 h 2626209"/>
                  <a:gd name="connsiteX95" fmla="*/ 664829 w 1646345"/>
                  <a:gd name="connsiteY95" fmla="*/ 1966437 h 2626209"/>
                  <a:gd name="connsiteX96" fmla="*/ 672337 w 1646345"/>
                  <a:gd name="connsiteY96" fmla="*/ 1958428 h 2626209"/>
                  <a:gd name="connsiteX97" fmla="*/ 687854 w 1646345"/>
                  <a:gd name="connsiteY97" fmla="*/ 1922140 h 2626209"/>
                  <a:gd name="connsiteX98" fmla="*/ 666998 w 1646345"/>
                  <a:gd name="connsiteY98" fmla="*/ 1896029 h 2626209"/>
                  <a:gd name="connsiteX99" fmla="*/ 663911 w 1646345"/>
                  <a:gd name="connsiteY99" fmla="*/ 1894278 h 2626209"/>
                  <a:gd name="connsiteX100" fmla="*/ 650145 w 1646345"/>
                  <a:gd name="connsiteY100" fmla="*/ 1878762 h 2626209"/>
                  <a:gd name="connsiteX101" fmla="*/ 668750 w 1646345"/>
                  <a:gd name="connsiteY101" fmla="*/ 1873423 h 2626209"/>
                  <a:gd name="connsiteX102" fmla="*/ 679846 w 1646345"/>
                  <a:gd name="connsiteY102" fmla="*/ 1872088 h 2626209"/>
                  <a:gd name="connsiteX103" fmla="*/ 704206 w 1646345"/>
                  <a:gd name="connsiteY103" fmla="*/ 1863662 h 2626209"/>
                  <a:gd name="connsiteX104" fmla="*/ 722393 w 1646345"/>
                  <a:gd name="connsiteY104" fmla="*/ 1856989 h 2626209"/>
                  <a:gd name="connsiteX105" fmla="*/ 728149 w 1646345"/>
                  <a:gd name="connsiteY105" fmla="*/ 1855654 h 2626209"/>
                  <a:gd name="connsiteX106" fmla="*/ 767611 w 1646345"/>
                  <a:gd name="connsiteY106" fmla="*/ 1828209 h 2626209"/>
                  <a:gd name="connsiteX107" fmla="*/ 753011 w 1646345"/>
                  <a:gd name="connsiteY107" fmla="*/ 1782578 h 2626209"/>
                  <a:gd name="connsiteX108" fmla="*/ 733489 w 1646345"/>
                  <a:gd name="connsiteY108" fmla="*/ 1751545 h 2626209"/>
                  <a:gd name="connsiteX109" fmla="*/ 676342 w 1646345"/>
                  <a:gd name="connsiteY109" fmla="*/ 1670961 h 2626209"/>
                  <a:gd name="connsiteX110" fmla="*/ 628037 w 1646345"/>
                  <a:gd name="connsiteY110" fmla="*/ 1705080 h 2626209"/>
                  <a:gd name="connsiteX111" fmla="*/ 612103 w 1646345"/>
                  <a:gd name="connsiteY111" fmla="*/ 1728521 h 2626209"/>
                  <a:gd name="connsiteX112" fmla="*/ 593916 w 1646345"/>
                  <a:gd name="connsiteY112" fmla="*/ 1734694 h 2626209"/>
                  <a:gd name="connsiteX113" fmla="*/ 573977 w 1646345"/>
                  <a:gd name="connsiteY113" fmla="*/ 1739533 h 2626209"/>
                  <a:gd name="connsiteX114" fmla="*/ 555790 w 1646345"/>
                  <a:gd name="connsiteY114" fmla="*/ 1782077 h 2626209"/>
                  <a:gd name="connsiteX115" fmla="*/ 555790 w 1646345"/>
                  <a:gd name="connsiteY115" fmla="*/ 1788250 h 2626209"/>
                  <a:gd name="connsiteX116" fmla="*/ 524338 w 1646345"/>
                  <a:gd name="connsiteY116" fmla="*/ 1831212 h 2626209"/>
                  <a:gd name="connsiteX117" fmla="*/ 497308 w 1646345"/>
                  <a:gd name="connsiteY117" fmla="*/ 1852484 h 2626209"/>
                  <a:gd name="connsiteX118" fmla="*/ 488881 w 1646345"/>
                  <a:gd name="connsiteY118" fmla="*/ 1862661 h 2626209"/>
                  <a:gd name="connsiteX119" fmla="*/ 475116 w 1646345"/>
                  <a:gd name="connsiteY119" fmla="*/ 1877260 h 2626209"/>
                  <a:gd name="connsiteX120" fmla="*/ 434321 w 1646345"/>
                  <a:gd name="connsiteY120" fmla="*/ 1883934 h 2626209"/>
                  <a:gd name="connsiteX121" fmla="*/ 417468 w 1646345"/>
                  <a:gd name="connsiteY121" fmla="*/ 1861827 h 2626209"/>
                  <a:gd name="connsiteX122" fmla="*/ 381178 w 1646345"/>
                  <a:gd name="connsiteY122" fmla="*/ 1828626 h 2626209"/>
                  <a:gd name="connsiteX123" fmla="*/ 351978 w 1646345"/>
                  <a:gd name="connsiteY123" fmla="*/ 1839721 h 2626209"/>
                  <a:gd name="connsiteX124" fmla="*/ 345304 w 1646345"/>
                  <a:gd name="connsiteY124" fmla="*/ 1844559 h 2626209"/>
                  <a:gd name="connsiteX125" fmla="*/ 312100 w 1646345"/>
                  <a:gd name="connsiteY125" fmla="*/ 1850315 h 2626209"/>
                  <a:gd name="connsiteX126" fmla="*/ 289992 w 1646345"/>
                  <a:gd name="connsiteY126" fmla="*/ 1836551 h 2626209"/>
                  <a:gd name="connsiteX127" fmla="*/ 289074 w 1646345"/>
                  <a:gd name="connsiteY127" fmla="*/ 1806019 h 2626209"/>
                  <a:gd name="connsiteX128" fmla="*/ 298418 w 1646345"/>
                  <a:gd name="connsiteY128" fmla="*/ 1792254 h 2626209"/>
                  <a:gd name="connsiteX129" fmla="*/ 311683 w 1646345"/>
                  <a:gd name="connsiteY129" fmla="*/ 1769230 h 2626209"/>
                  <a:gd name="connsiteX130" fmla="*/ 305926 w 1646345"/>
                  <a:gd name="connsiteY130" fmla="*/ 1737781 h 2626209"/>
                  <a:gd name="connsiteX131" fmla="*/ 301088 w 1646345"/>
                  <a:gd name="connsiteY131" fmla="*/ 1723600 h 2626209"/>
                  <a:gd name="connsiteX132" fmla="*/ 313935 w 1646345"/>
                  <a:gd name="connsiteY132" fmla="*/ 1686811 h 2626209"/>
                  <a:gd name="connsiteX133" fmla="*/ 329870 w 1646345"/>
                  <a:gd name="connsiteY133" fmla="*/ 1648271 h 2626209"/>
                  <a:gd name="connsiteX134" fmla="*/ 327617 w 1646345"/>
                  <a:gd name="connsiteY134" fmla="*/ 1637176 h 2626209"/>
                  <a:gd name="connsiteX135" fmla="*/ 326283 w 1646345"/>
                  <a:gd name="connsiteY135" fmla="*/ 1630502 h 2626209"/>
                  <a:gd name="connsiteX136" fmla="*/ 331121 w 1646345"/>
                  <a:gd name="connsiteY136" fmla="*/ 1624329 h 2626209"/>
                  <a:gd name="connsiteX137" fmla="*/ 338213 w 1646345"/>
                  <a:gd name="connsiteY137" fmla="*/ 1614569 h 2626209"/>
                  <a:gd name="connsiteX138" fmla="*/ 340465 w 1646345"/>
                  <a:gd name="connsiteY138" fmla="*/ 1593714 h 2626209"/>
                  <a:gd name="connsiteX139" fmla="*/ 340883 w 1646345"/>
                  <a:gd name="connsiteY139" fmla="*/ 1581284 h 2626209"/>
                  <a:gd name="connsiteX140" fmla="*/ 343134 w 1646345"/>
                  <a:gd name="connsiteY140" fmla="*/ 1573276 h 2626209"/>
                  <a:gd name="connsiteX141" fmla="*/ 340883 w 1646345"/>
                  <a:gd name="connsiteY141" fmla="*/ 1534318 h 2626209"/>
                  <a:gd name="connsiteX142" fmla="*/ 288574 w 1646345"/>
                  <a:gd name="connsiteY142" fmla="*/ 1506873 h 2626209"/>
                  <a:gd name="connsiteX143" fmla="*/ 256705 w 1646345"/>
                  <a:gd name="connsiteY143" fmla="*/ 1533484 h 2626209"/>
                  <a:gd name="connsiteX144" fmla="*/ 255370 w 1646345"/>
                  <a:gd name="connsiteY144" fmla="*/ 1535736 h 2626209"/>
                  <a:gd name="connsiteX145" fmla="*/ 234513 w 1646345"/>
                  <a:gd name="connsiteY145" fmla="*/ 1553422 h 2626209"/>
                  <a:gd name="connsiteX146" fmla="*/ 223000 w 1646345"/>
                  <a:gd name="connsiteY146" fmla="*/ 1559595 h 2626209"/>
                  <a:gd name="connsiteX147" fmla="*/ 209735 w 1646345"/>
                  <a:gd name="connsiteY147" fmla="*/ 1570689 h 2626209"/>
                  <a:gd name="connsiteX148" fmla="*/ 195136 w 1646345"/>
                  <a:gd name="connsiteY148" fmla="*/ 1581284 h 2626209"/>
                  <a:gd name="connsiteX149" fmla="*/ 178784 w 1646345"/>
                  <a:gd name="connsiteY149" fmla="*/ 1586122 h 2626209"/>
                  <a:gd name="connsiteX150" fmla="*/ 170358 w 1646345"/>
                  <a:gd name="connsiteY150" fmla="*/ 1588375 h 2626209"/>
                  <a:gd name="connsiteX151" fmla="*/ 161515 w 1646345"/>
                  <a:gd name="connsiteY151" fmla="*/ 1572441 h 2626209"/>
                  <a:gd name="connsiteX152" fmla="*/ 143828 w 1646345"/>
                  <a:gd name="connsiteY152" fmla="*/ 1534819 h 2626209"/>
                  <a:gd name="connsiteX153" fmla="*/ 138990 w 1646345"/>
                  <a:gd name="connsiteY153" fmla="*/ 1521972 h 2626209"/>
                  <a:gd name="connsiteX154" fmla="*/ 130563 w 1646345"/>
                  <a:gd name="connsiteY154" fmla="*/ 1474589 h 2626209"/>
                  <a:gd name="connsiteX155" fmla="*/ 141659 w 1646345"/>
                  <a:gd name="connsiteY155" fmla="*/ 1460408 h 2626209"/>
                  <a:gd name="connsiteX156" fmla="*/ 150502 w 1646345"/>
                  <a:gd name="connsiteY156" fmla="*/ 1418364 h 2626209"/>
                  <a:gd name="connsiteX157" fmla="*/ 98694 w 1646345"/>
                  <a:gd name="connsiteY157" fmla="*/ 1380741 h 2626209"/>
                  <a:gd name="connsiteX158" fmla="*/ 94272 w 1646345"/>
                  <a:gd name="connsiteY158" fmla="*/ 1379824 h 2626209"/>
                  <a:gd name="connsiteX159" fmla="*/ 61903 w 1646345"/>
                  <a:gd name="connsiteY159" fmla="*/ 1363890 h 2626209"/>
                  <a:gd name="connsiteX160" fmla="*/ 66324 w 1646345"/>
                  <a:gd name="connsiteY160" fmla="*/ 1357717 h 2626209"/>
                  <a:gd name="connsiteX161" fmla="*/ 77420 w 1646345"/>
                  <a:gd name="connsiteY161" fmla="*/ 1343536 h 2626209"/>
                  <a:gd name="connsiteX162" fmla="*/ 72581 w 1646345"/>
                  <a:gd name="connsiteY162" fmla="*/ 1321846 h 2626209"/>
                  <a:gd name="connsiteX163" fmla="*/ 69077 w 1646345"/>
                  <a:gd name="connsiteY163" fmla="*/ 1313421 h 2626209"/>
                  <a:gd name="connsiteX164" fmla="*/ 73500 w 1646345"/>
                  <a:gd name="connsiteY164" fmla="*/ 1296570 h 2626209"/>
                  <a:gd name="connsiteX165" fmla="*/ 77504 w 1646345"/>
                  <a:gd name="connsiteY165" fmla="*/ 1269541 h 2626209"/>
                  <a:gd name="connsiteX166" fmla="*/ 65574 w 1646345"/>
                  <a:gd name="connsiteY166" fmla="*/ 1258947 h 2626209"/>
                  <a:gd name="connsiteX167" fmla="*/ 38126 w 1646345"/>
                  <a:gd name="connsiteY167" fmla="*/ 1253608 h 2626209"/>
                  <a:gd name="connsiteX168" fmla="*/ 31035 w 1646345"/>
                  <a:gd name="connsiteY168" fmla="*/ 1247435 h 2626209"/>
                  <a:gd name="connsiteX169" fmla="*/ 17270 w 1646345"/>
                  <a:gd name="connsiteY169" fmla="*/ 1236340 h 2626209"/>
                  <a:gd name="connsiteX170" fmla="*/ 10178 w 1646345"/>
                  <a:gd name="connsiteY170" fmla="*/ 1233671 h 2626209"/>
                  <a:gd name="connsiteX171" fmla="*/ 0 w 1646345"/>
                  <a:gd name="connsiteY171" fmla="*/ 1228832 h 2626209"/>
                  <a:gd name="connsiteX172" fmla="*/ 0 w 1646345"/>
                  <a:gd name="connsiteY172" fmla="*/ 1227915 h 2626209"/>
                  <a:gd name="connsiteX173" fmla="*/ 8844 w 1646345"/>
                  <a:gd name="connsiteY173" fmla="*/ 1226163 h 2626209"/>
                  <a:gd name="connsiteX174" fmla="*/ 21691 w 1646345"/>
                  <a:gd name="connsiteY174" fmla="*/ 1166351 h 2626209"/>
                  <a:gd name="connsiteX175" fmla="*/ 22609 w 1646345"/>
                  <a:gd name="connsiteY175" fmla="*/ 1138405 h 2626209"/>
                  <a:gd name="connsiteX176" fmla="*/ 24861 w 1646345"/>
                  <a:gd name="connsiteY176" fmla="*/ 1109625 h 2626209"/>
                  <a:gd name="connsiteX177" fmla="*/ 17770 w 1646345"/>
                  <a:gd name="connsiteY177" fmla="*/ 1095026 h 2626209"/>
                  <a:gd name="connsiteX178" fmla="*/ 12431 w 1646345"/>
                  <a:gd name="connsiteY178" fmla="*/ 1083931 h 2626209"/>
                  <a:gd name="connsiteX179" fmla="*/ 15935 w 1646345"/>
                  <a:gd name="connsiteY179" fmla="*/ 1076840 h 2626209"/>
                  <a:gd name="connsiteX180" fmla="*/ 22108 w 1646345"/>
                  <a:gd name="connsiteY180" fmla="*/ 1057320 h 2626209"/>
                  <a:gd name="connsiteX181" fmla="*/ 15935 w 1646345"/>
                  <a:gd name="connsiteY181" fmla="*/ 1035630 h 2626209"/>
                  <a:gd name="connsiteX182" fmla="*/ 15518 w 1646345"/>
                  <a:gd name="connsiteY182" fmla="*/ 1012606 h 2626209"/>
                  <a:gd name="connsiteX183" fmla="*/ 17770 w 1646345"/>
                  <a:gd name="connsiteY183" fmla="*/ 1007768 h 2626209"/>
                  <a:gd name="connsiteX184" fmla="*/ 29700 w 1646345"/>
                  <a:gd name="connsiteY184" fmla="*/ 990500 h 2626209"/>
                  <a:gd name="connsiteX185" fmla="*/ 37709 w 1646345"/>
                  <a:gd name="connsiteY185" fmla="*/ 987831 h 2626209"/>
                  <a:gd name="connsiteX186" fmla="*/ 51892 w 1646345"/>
                  <a:gd name="connsiteY186" fmla="*/ 982075 h 2626209"/>
                  <a:gd name="connsiteX187" fmla="*/ 60735 w 1646345"/>
                  <a:gd name="connsiteY187" fmla="*/ 973232 h 2626209"/>
                  <a:gd name="connsiteX188" fmla="*/ 70079 w 1646345"/>
                  <a:gd name="connsiteY188" fmla="*/ 965224 h 2626209"/>
                  <a:gd name="connsiteX189" fmla="*/ 79840 w 1646345"/>
                  <a:gd name="connsiteY189" fmla="*/ 964806 h 2626209"/>
                  <a:gd name="connsiteX190" fmla="*/ 98444 w 1646345"/>
                  <a:gd name="connsiteY190" fmla="*/ 961720 h 2626209"/>
                  <a:gd name="connsiteX191" fmla="*/ 109956 w 1646345"/>
                  <a:gd name="connsiteY191" fmla="*/ 949791 h 2626209"/>
                  <a:gd name="connsiteX192" fmla="*/ 120135 w 1646345"/>
                  <a:gd name="connsiteY192" fmla="*/ 940948 h 2626209"/>
                  <a:gd name="connsiteX193" fmla="*/ 128561 w 1646345"/>
                  <a:gd name="connsiteY193" fmla="*/ 939613 h 2626209"/>
                  <a:gd name="connsiteX194" fmla="*/ 149835 w 1646345"/>
                  <a:gd name="connsiteY194" fmla="*/ 930771 h 2626209"/>
                  <a:gd name="connsiteX195" fmla="*/ 158261 w 1646345"/>
                  <a:gd name="connsiteY195" fmla="*/ 889144 h 2626209"/>
                  <a:gd name="connsiteX196" fmla="*/ 155591 w 1646345"/>
                  <a:gd name="connsiteY196" fmla="*/ 873211 h 2626209"/>
                  <a:gd name="connsiteX197" fmla="*/ 186626 w 1646345"/>
                  <a:gd name="connsiteY197" fmla="*/ 840426 h 2626209"/>
                  <a:gd name="connsiteX198" fmla="*/ 239352 w 1646345"/>
                  <a:gd name="connsiteY198" fmla="*/ 812481 h 2626209"/>
                  <a:gd name="connsiteX199" fmla="*/ 263713 w 1646345"/>
                  <a:gd name="connsiteY199" fmla="*/ 745160 h 2626209"/>
                  <a:gd name="connsiteX200" fmla="*/ 264130 w 1646345"/>
                  <a:gd name="connsiteY200" fmla="*/ 737152 h 2626209"/>
                  <a:gd name="connsiteX201" fmla="*/ 267216 w 1646345"/>
                  <a:gd name="connsiteY201" fmla="*/ 713210 h 2626209"/>
                  <a:gd name="connsiteX202" fmla="*/ 274724 w 1646345"/>
                  <a:gd name="connsiteY202" fmla="*/ 707871 h 2626209"/>
                  <a:gd name="connsiteX203" fmla="*/ 284486 w 1646345"/>
                  <a:gd name="connsiteY203" fmla="*/ 702532 h 2626209"/>
                  <a:gd name="connsiteX204" fmla="*/ 295081 w 1646345"/>
                  <a:gd name="connsiteY204" fmla="*/ 683012 h 2626209"/>
                  <a:gd name="connsiteX205" fmla="*/ 268050 w 1646345"/>
                  <a:gd name="connsiteY205" fmla="*/ 641802 h 2626209"/>
                  <a:gd name="connsiteX206" fmla="*/ 251699 w 1646345"/>
                  <a:gd name="connsiteY206" fmla="*/ 614357 h 2626209"/>
                  <a:gd name="connsiteX207" fmla="*/ 244191 w 1646345"/>
                  <a:gd name="connsiteY207" fmla="*/ 596672 h 2626209"/>
                  <a:gd name="connsiteX208" fmla="*/ 238851 w 1646345"/>
                  <a:gd name="connsiteY208" fmla="*/ 586494 h 2626209"/>
                  <a:gd name="connsiteX209" fmla="*/ 230008 w 1646345"/>
                  <a:gd name="connsiteY209" fmla="*/ 568809 h 2626209"/>
                  <a:gd name="connsiteX210" fmla="*/ 213657 w 1646345"/>
                  <a:gd name="connsiteY210" fmla="*/ 548455 h 2626209"/>
                  <a:gd name="connsiteX211" fmla="*/ 195469 w 1646345"/>
                  <a:gd name="connsiteY211" fmla="*/ 540947 h 2626209"/>
                  <a:gd name="connsiteX212" fmla="*/ 173361 w 1646345"/>
                  <a:gd name="connsiteY212" fmla="*/ 527683 h 2626209"/>
                  <a:gd name="connsiteX213" fmla="*/ 172944 w 1646345"/>
                  <a:gd name="connsiteY213" fmla="*/ 500238 h 2626209"/>
                  <a:gd name="connsiteX214" fmla="*/ 173361 w 1646345"/>
                  <a:gd name="connsiteY214" fmla="*/ 497568 h 2626209"/>
                  <a:gd name="connsiteX215" fmla="*/ 173361 w 1646345"/>
                  <a:gd name="connsiteY215" fmla="*/ 474127 h 2626209"/>
                  <a:gd name="connsiteX216" fmla="*/ 172443 w 1646345"/>
                  <a:gd name="connsiteY216" fmla="*/ 471458 h 2626209"/>
                  <a:gd name="connsiteX217" fmla="*/ 181286 w 1646345"/>
                  <a:gd name="connsiteY217" fmla="*/ 430248 h 2626209"/>
                  <a:gd name="connsiteX218" fmla="*/ 189296 w 1646345"/>
                  <a:gd name="connsiteY218" fmla="*/ 410727 h 2626209"/>
                  <a:gd name="connsiteX219" fmla="*/ 192383 w 1646345"/>
                  <a:gd name="connsiteY219" fmla="*/ 403637 h 2626209"/>
                  <a:gd name="connsiteX220" fmla="*/ 198139 w 1646345"/>
                  <a:gd name="connsiteY220" fmla="*/ 374439 h 2626209"/>
                  <a:gd name="connsiteX221" fmla="*/ 193717 w 1646345"/>
                  <a:gd name="connsiteY221" fmla="*/ 361593 h 2626209"/>
                  <a:gd name="connsiteX222" fmla="*/ 190630 w 1646345"/>
                  <a:gd name="connsiteY222" fmla="*/ 352750 h 2626209"/>
                  <a:gd name="connsiteX223" fmla="*/ 190213 w 1646345"/>
                  <a:gd name="connsiteY223" fmla="*/ 343908 h 2626209"/>
                  <a:gd name="connsiteX224" fmla="*/ 185792 w 1646345"/>
                  <a:gd name="connsiteY224" fmla="*/ 323553 h 2626209"/>
                  <a:gd name="connsiteX225" fmla="*/ 180035 w 1646345"/>
                  <a:gd name="connsiteY225" fmla="*/ 315545 h 2626209"/>
                  <a:gd name="connsiteX226" fmla="*/ 175196 w 1646345"/>
                  <a:gd name="connsiteY226" fmla="*/ 306702 h 2626209"/>
                  <a:gd name="connsiteX227" fmla="*/ 176115 w 1646345"/>
                  <a:gd name="connsiteY227" fmla="*/ 295190 h 2626209"/>
                  <a:gd name="connsiteX228" fmla="*/ 175196 w 1646345"/>
                  <a:gd name="connsiteY228" fmla="*/ 273083 h 2626209"/>
                  <a:gd name="connsiteX229" fmla="*/ 162766 w 1646345"/>
                  <a:gd name="connsiteY229" fmla="*/ 255399 h 2626209"/>
                  <a:gd name="connsiteX230" fmla="*/ 154757 w 1646345"/>
                  <a:gd name="connsiteY230" fmla="*/ 245221 h 2626209"/>
                  <a:gd name="connsiteX231" fmla="*/ 151253 w 1646345"/>
                  <a:gd name="connsiteY231" fmla="*/ 221780 h 2626209"/>
                  <a:gd name="connsiteX232" fmla="*/ 171609 w 1646345"/>
                  <a:gd name="connsiteY232" fmla="*/ 207181 h 2626209"/>
                  <a:gd name="connsiteX233" fmla="*/ 217661 w 1646345"/>
                  <a:gd name="connsiteY233" fmla="*/ 208516 h 2626209"/>
                  <a:gd name="connsiteX234" fmla="*/ 240269 w 1646345"/>
                  <a:gd name="connsiteY234" fmla="*/ 211603 h 2626209"/>
                  <a:gd name="connsiteX235" fmla="*/ 248696 w 1646345"/>
                  <a:gd name="connsiteY235" fmla="*/ 212937 h 2626209"/>
                  <a:gd name="connsiteX236" fmla="*/ 273056 w 1646345"/>
                  <a:gd name="connsiteY236" fmla="*/ 213354 h 2626209"/>
                  <a:gd name="connsiteX237" fmla="*/ 285904 w 1646345"/>
                  <a:gd name="connsiteY237" fmla="*/ 203594 h 2626209"/>
                  <a:gd name="connsiteX238" fmla="*/ 291244 w 1646345"/>
                  <a:gd name="connsiteY238" fmla="*/ 198255 h 2626209"/>
                  <a:gd name="connsiteX239" fmla="*/ 308929 w 1646345"/>
                  <a:gd name="connsiteY239" fmla="*/ 192916 h 2626209"/>
                  <a:gd name="connsiteX240" fmla="*/ 342134 w 1646345"/>
                  <a:gd name="connsiteY240" fmla="*/ 174731 h 2626209"/>
                  <a:gd name="connsiteX241" fmla="*/ 352311 w 1646345"/>
                  <a:gd name="connsiteY241" fmla="*/ 150372 h 2626209"/>
                  <a:gd name="connsiteX242" fmla="*/ 354981 w 1646345"/>
                  <a:gd name="connsiteY242" fmla="*/ 141530 h 2626209"/>
                  <a:gd name="connsiteX243" fmla="*/ 358068 w 1646345"/>
                  <a:gd name="connsiteY243" fmla="*/ 134856 h 2626209"/>
                  <a:gd name="connsiteX244" fmla="*/ 362490 w 1646345"/>
                  <a:gd name="connsiteY244" fmla="*/ 134439 h 2626209"/>
                  <a:gd name="connsiteX245" fmla="*/ 370499 w 1646345"/>
                  <a:gd name="connsiteY245" fmla="*/ 133521 h 2626209"/>
                  <a:gd name="connsiteX246" fmla="*/ 386850 w 1646345"/>
                  <a:gd name="connsiteY246" fmla="*/ 126847 h 2626209"/>
                  <a:gd name="connsiteX247" fmla="*/ 399281 w 1646345"/>
                  <a:gd name="connsiteY247" fmla="*/ 122009 h 2626209"/>
                  <a:gd name="connsiteX248" fmla="*/ 399698 w 1646345"/>
                  <a:gd name="connsiteY248" fmla="*/ 122009 h 2626209"/>
                  <a:gd name="connsiteX249" fmla="*/ 405872 w 1646345"/>
                  <a:gd name="connsiteY249" fmla="*/ 125513 h 2626209"/>
                  <a:gd name="connsiteX250" fmla="*/ 421807 w 1646345"/>
                  <a:gd name="connsiteY250" fmla="*/ 132603 h 2626209"/>
                  <a:gd name="connsiteX251" fmla="*/ 439075 w 1646345"/>
                  <a:gd name="connsiteY251" fmla="*/ 124595 h 2626209"/>
                  <a:gd name="connsiteX252" fmla="*/ 446167 w 1646345"/>
                  <a:gd name="connsiteY252" fmla="*/ 91394 h 2626209"/>
                  <a:gd name="connsiteX253" fmla="*/ 441745 w 1646345"/>
                  <a:gd name="connsiteY253" fmla="*/ 45346 h 2626209"/>
                  <a:gd name="connsiteX254" fmla="*/ 468776 w 1646345"/>
                  <a:gd name="connsiteY254" fmla="*/ 37838 h 2626209"/>
                  <a:gd name="connsiteX255" fmla="*/ 486462 w 1646345"/>
                  <a:gd name="connsiteY255" fmla="*/ 23656 h 2626209"/>
                  <a:gd name="connsiteX256" fmla="*/ 491801 w 1646345"/>
                  <a:gd name="connsiteY256" fmla="*/ 16566 h 2626209"/>
                  <a:gd name="connsiteX257" fmla="*/ 500645 w 1646345"/>
                  <a:gd name="connsiteY257" fmla="*/ 5971 h 2626209"/>
                  <a:gd name="connsiteX258" fmla="*/ 532096 w 1646345"/>
                  <a:gd name="connsiteY258" fmla="*/ 215 h 2626209"/>
                  <a:gd name="connsiteX259" fmla="*/ 573727 w 1646345"/>
                  <a:gd name="connsiteY259" fmla="*/ 6388 h 2626209"/>
                  <a:gd name="connsiteX260" fmla="*/ 599839 w 1646345"/>
                  <a:gd name="connsiteY260" fmla="*/ 19652 h 2626209"/>
                  <a:gd name="connsiteX261" fmla="*/ 653482 w 1646345"/>
                  <a:gd name="connsiteY261" fmla="*/ 58609 h 2626209"/>
                  <a:gd name="connsiteX262" fmla="*/ 660574 w 1646345"/>
                  <a:gd name="connsiteY262" fmla="*/ 69204 h 2626209"/>
                  <a:gd name="connsiteX263" fmla="*/ 659656 w 1646345"/>
                  <a:gd name="connsiteY263" fmla="*/ 72291 h 2626209"/>
                  <a:gd name="connsiteX264" fmla="*/ 658322 w 1646345"/>
                  <a:gd name="connsiteY264" fmla="*/ 78464 h 2626209"/>
                  <a:gd name="connsiteX265" fmla="*/ 668499 w 1646345"/>
                  <a:gd name="connsiteY265" fmla="*/ 99319 h 2626209"/>
                  <a:gd name="connsiteX266" fmla="*/ 675173 w 1646345"/>
                  <a:gd name="connsiteY266" fmla="*/ 109496 h 2626209"/>
                  <a:gd name="connsiteX267" fmla="*/ 666747 w 1646345"/>
                  <a:gd name="connsiteY267" fmla="*/ 125012 h 2626209"/>
                  <a:gd name="connsiteX268" fmla="*/ 664996 w 1646345"/>
                  <a:gd name="connsiteY268" fmla="*/ 127265 h 2626209"/>
                  <a:gd name="connsiteX269" fmla="*/ 651731 w 1646345"/>
                  <a:gd name="connsiteY269" fmla="*/ 188829 h 2626209"/>
                  <a:gd name="connsiteX270" fmla="*/ 678761 w 1646345"/>
                  <a:gd name="connsiteY270" fmla="*/ 214522 h 2626209"/>
                  <a:gd name="connsiteX271" fmla="*/ 709295 w 1646345"/>
                  <a:gd name="connsiteY271" fmla="*/ 212771 h 2626209"/>
                  <a:gd name="connsiteX272" fmla="*/ 726982 w 1646345"/>
                  <a:gd name="connsiteY272" fmla="*/ 196420 h 2626209"/>
                  <a:gd name="connsiteX273" fmla="*/ 739829 w 1646345"/>
                  <a:gd name="connsiteY273" fmla="*/ 183990 h 2626209"/>
                  <a:gd name="connsiteX274" fmla="*/ 761103 w 1646345"/>
                  <a:gd name="connsiteY274" fmla="*/ 182239 h 2626209"/>
                  <a:gd name="connsiteX275" fmla="*/ 767277 w 1646345"/>
                  <a:gd name="connsiteY275" fmla="*/ 185325 h 2626209"/>
                  <a:gd name="connsiteX276" fmla="*/ 788551 w 1646345"/>
                  <a:gd name="connsiteY276" fmla="*/ 191081 h 2626209"/>
                  <a:gd name="connsiteX277" fmla="*/ 802733 w 1646345"/>
                  <a:gd name="connsiteY277" fmla="*/ 183990 h 2626209"/>
                  <a:gd name="connsiteX278" fmla="*/ 808073 w 1646345"/>
                  <a:gd name="connsiteY278" fmla="*/ 180487 h 2626209"/>
                  <a:gd name="connsiteX279" fmla="*/ 828930 w 1646345"/>
                  <a:gd name="connsiteY279" fmla="*/ 182739 h 2626209"/>
                  <a:gd name="connsiteX280" fmla="*/ 847116 w 1646345"/>
                  <a:gd name="connsiteY280" fmla="*/ 201342 h 2626209"/>
                  <a:gd name="connsiteX281" fmla="*/ 862633 w 1646345"/>
                  <a:gd name="connsiteY281" fmla="*/ 223949 h 2626209"/>
                  <a:gd name="connsiteX282" fmla="*/ 850203 w 1646345"/>
                  <a:gd name="connsiteY282" fmla="*/ 231040 h 2626209"/>
                  <a:gd name="connsiteX283" fmla="*/ 828095 w 1646345"/>
                  <a:gd name="connsiteY283" fmla="*/ 238130 h 2626209"/>
                  <a:gd name="connsiteX284" fmla="*/ 843195 w 1646345"/>
                  <a:gd name="connsiteY284" fmla="*/ 282844 h 2626209"/>
                  <a:gd name="connsiteX285" fmla="*/ 821087 w 1646345"/>
                  <a:gd name="connsiteY285" fmla="*/ 299695 h 2626209"/>
                  <a:gd name="connsiteX286" fmla="*/ 798979 w 1646345"/>
                  <a:gd name="connsiteY286" fmla="*/ 290352 h 2626209"/>
                  <a:gd name="connsiteX287" fmla="*/ 761771 w 1646345"/>
                  <a:gd name="connsiteY287" fmla="*/ 319549 h 2626209"/>
                  <a:gd name="connsiteX288" fmla="*/ 706375 w 1646345"/>
                  <a:gd name="connsiteY288" fmla="*/ 375774 h 2626209"/>
                  <a:gd name="connsiteX289" fmla="*/ 673589 w 1646345"/>
                  <a:gd name="connsiteY289" fmla="*/ 408559 h 2626209"/>
                  <a:gd name="connsiteX290" fmla="*/ 658071 w 1646345"/>
                  <a:gd name="connsiteY290" fmla="*/ 432917 h 2626209"/>
                  <a:gd name="connsiteX291" fmla="*/ 633294 w 1646345"/>
                  <a:gd name="connsiteY291" fmla="*/ 457276 h 2626209"/>
                  <a:gd name="connsiteX292" fmla="*/ 624867 w 1646345"/>
                  <a:gd name="connsiteY292" fmla="*/ 486473 h 2626209"/>
                  <a:gd name="connsiteX293" fmla="*/ 610684 w 1646345"/>
                  <a:gd name="connsiteY293" fmla="*/ 556463 h 2626209"/>
                  <a:gd name="connsiteX294" fmla="*/ 626619 w 1646345"/>
                  <a:gd name="connsiteY294" fmla="*/ 630874 h 2626209"/>
                  <a:gd name="connsiteX295" fmla="*/ 608933 w 1646345"/>
                  <a:gd name="connsiteY295" fmla="*/ 693773 h 2626209"/>
                  <a:gd name="connsiteX296" fmla="*/ 614272 w 1646345"/>
                  <a:gd name="connsiteY296" fmla="*/ 724305 h 2626209"/>
                  <a:gd name="connsiteX297" fmla="*/ 620446 w 1646345"/>
                  <a:gd name="connsiteY297" fmla="*/ 732730 h 2626209"/>
                  <a:gd name="connsiteX298" fmla="*/ 623115 w 1646345"/>
                  <a:gd name="connsiteY298" fmla="*/ 748664 h 2626209"/>
                  <a:gd name="connsiteX299" fmla="*/ 641302 w 1646345"/>
                  <a:gd name="connsiteY299" fmla="*/ 783200 h 2626209"/>
                  <a:gd name="connsiteX300" fmla="*/ 632459 w 1646345"/>
                  <a:gd name="connsiteY300" fmla="*/ 812397 h 2626209"/>
                  <a:gd name="connsiteX301" fmla="*/ 628454 w 1646345"/>
                  <a:gd name="connsiteY301" fmla="*/ 834503 h 2626209"/>
                  <a:gd name="connsiteX302" fmla="*/ 623616 w 1646345"/>
                  <a:gd name="connsiteY302" fmla="*/ 868623 h 2626209"/>
                  <a:gd name="connsiteX303" fmla="*/ 626703 w 1646345"/>
                  <a:gd name="connsiteY303" fmla="*/ 900990 h 2626209"/>
                  <a:gd name="connsiteX304" fmla="*/ 617860 w 1646345"/>
                  <a:gd name="connsiteY304" fmla="*/ 926266 h 2626209"/>
                  <a:gd name="connsiteX305" fmla="*/ 610768 w 1646345"/>
                  <a:gd name="connsiteY305" fmla="*/ 1002429 h 2626209"/>
                  <a:gd name="connsiteX306" fmla="*/ 625368 w 1646345"/>
                  <a:gd name="connsiteY306" fmla="*/ 1157007 h 2626209"/>
                  <a:gd name="connsiteX307" fmla="*/ 611603 w 1646345"/>
                  <a:gd name="connsiteY307" fmla="*/ 1238092 h 2626209"/>
                  <a:gd name="connsiteX308" fmla="*/ 602759 w 1646345"/>
                  <a:gd name="connsiteY308" fmla="*/ 1273045 h 2626209"/>
                  <a:gd name="connsiteX309" fmla="*/ 593415 w 1646345"/>
                  <a:gd name="connsiteY309" fmla="*/ 1306747 h 2626209"/>
                  <a:gd name="connsiteX310" fmla="*/ 596502 w 1646345"/>
                  <a:gd name="connsiteY310" fmla="*/ 1347957 h 2626209"/>
                  <a:gd name="connsiteX311" fmla="*/ 584072 w 1646345"/>
                  <a:gd name="connsiteY311" fmla="*/ 1374068 h 2626209"/>
                  <a:gd name="connsiteX312" fmla="*/ 581819 w 1646345"/>
                  <a:gd name="connsiteY312" fmla="*/ 1389167 h 2626209"/>
                  <a:gd name="connsiteX313" fmla="*/ 572975 w 1646345"/>
                  <a:gd name="connsiteY313" fmla="*/ 1400262 h 2626209"/>
                  <a:gd name="connsiteX314" fmla="*/ 566802 w 1646345"/>
                  <a:gd name="connsiteY314" fmla="*/ 1432128 h 2626209"/>
                  <a:gd name="connsiteX315" fmla="*/ 587158 w 1646345"/>
                  <a:gd name="connsiteY315" fmla="*/ 1473755 h 2626209"/>
                  <a:gd name="connsiteX316" fmla="*/ 614606 w 1646345"/>
                  <a:gd name="connsiteY316" fmla="*/ 1467999 h 2626209"/>
                  <a:gd name="connsiteX317" fmla="*/ 646058 w 1646345"/>
                  <a:gd name="connsiteY317" fmla="*/ 1462660 h 2626209"/>
                  <a:gd name="connsiteX318" fmla="*/ 694361 w 1646345"/>
                  <a:gd name="connsiteY318" fmla="*/ 1415694 h 2626209"/>
                  <a:gd name="connsiteX319" fmla="*/ 734657 w 1646345"/>
                  <a:gd name="connsiteY319" fmla="*/ 1413442 h 2626209"/>
                  <a:gd name="connsiteX320" fmla="*/ 759935 w 1646345"/>
                  <a:gd name="connsiteY320" fmla="*/ 1452399 h 2626209"/>
                  <a:gd name="connsiteX321" fmla="*/ 772365 w 1646345"/>
                  <a:gd name="connsiteY321" fmla="*/ 1471419 h 2626209"/>
                  <a:gd name="connsiteX322" fmla="*/ 794474 w 1646345"/>
                  <a:gd name="connsiteY322" fmla="*/ 1505121 h 2626209"/>
                  <a:gd name="connsiteX323" fmla="*/ 818417 w 1646345"/>
                  <a:gd name="connsiteY323" fmla="*/ 1475924 h 2626209"/>
                  <a:gd name="connsiteX324" fmla="*/ 819753 w 1646345"/>
                  <a:gd name="connsiteY324" fmla="*/ 1446226 h 2626209"/>
                  <a:gd name="connsiteX325" fmla="*/ 856961 w 1646345"/>
                  <a:gd name="connsiteY325" fmla="*/ 1428541 h 2626209"/>
                  <a:gd name="connsiteX326" fmla="*/ 856543 w 1646345"/>
                  <a:gd name="connsiteY326" fmla="*/ 1508708 h 2626209"/>
                  <a:gd name="connsiteX327" fmla="*/ 912774 w 1646345"/>
                  <a:gd name="connsiteY327" fmla="*/ 1436967 h 2626209"/>
                  <a:gd name="connsiteX328" fmla="*/ 928291 w 1646345"/>
                  <a:gd name="connsiteY328" fmla="*/ 1418364 h 2626209"/>
                  <a:gd name="connsiteX329" fmla="*/ 941139 w 1646345"/>
                  <a:gd name="connsiteY329" fmla="*/ 1445392 h 2626209"/>
                  <a:gd name="connsiteX330" fmla="*/ 945560 w 1646345"/>
                  <a:gd name="connsiteY330" fmla="*/ 1408604 h 2626209"/>
                  <a:gd name="connsiteX331" fmla="*/ 915025 w 1646345"/>
                  <a:gd name="connsiteY331" fmla="*/ 1351878 h 2626209"/>
                  <a:gd name="connsiteX332" fmla="*/ 917278 w 1646345"/>
                  <a:gd name="connsiteY332" fmla="*/ 1315590 h 2626209"/>
                  <a:gd name="connsiteX333" fmla="*/ 945643 w 1646345"/>
                  <a:gd name="connsiteY333" fmla="*/ 1298739 h 2626209"/>
                  <a:gd name="connsiteX334" fmla="*/ 964247 w 1646345"/>
                  <a:gd name="connsiteY334" fmla="*/ 1278384 h 2626209"/>
                  <a:gd name="connsiteX335" fmla="*/ 1029821 w 1646345"/>
                  <a:gd name="connsiteY335" fmla="*/ 1265955 h 2626209"/>
                  <a:gd name="connsiteX336" fmla="*/ 1079460 w 1646345"/>
                  <a:gd name="connsiteY336" fmla="*/ 1291231 h 2626209"/>
                  <a:gd name="connsiteX337" fmla="*/ 1145450 w 1646345"/>
                  <a:gd name="connsiteY337" fmla="*/ 1288979 h 2626209"/>
                  <a:gd name="connsiteX338" fmla="*/ 1176903 w 1646345"/>
                  <a:gd name="connsiteY338" fmla="*/ 1289396 h 2626209"/>
                  <a:gd name="connsiteX339" fmla="*/ 1193254 w 1646345"/>
                  <a:gd name="connsiteY339" fmla="*/ 1278801 h 2626209"/>
                  <a:gd name="connsiteX340" fmla="*/ 1212276 w 1646345"/>
                  <a:gd name="connsiteY340" fmla="*/ 1302743 h 2626209"/>
                  <a:gd name="connsiteX341" fmla="*/ 1206519 w 1646345"/>
                  <a:gd name="connsiteY341" fmla="*/ 1328854 h 2626209"/>
                  <a:gd name="connsiteX342" fmla="*/ 1245980 w 1646345"/>
                  <a:gd name="connsiteY342" fmla="*/ 1357634 h 2626209"/>
                  <a:gd name="connsiteX343" fmla="*/ 1277432 w 1646345"/>
                  <a:gd name="connsiteY343" fmla="*/ 1402848 h 2626209"/>
                  <a:gd name="connsiteX344" fmla="*/ 1322148 w 1646345"/>
                  <a:gd name="connsiteY344" fmla="*/ 1417947 h 2626209"/>
                  <a:gd name="connsiteX345" fmla="*/ 1324818 w 1646345"/>
                  <a:gd name="connsiteY345" fmla="*/ 1437884 h 2626209"/>
                  <a:gd name="connsiteX346" fmla="*/ 1333662 w 1646345"/>
                  <a:gd name="connsiteY346" fmla="*/ 1453401 h 2626209"/>
                  <a:gd name="connsiteX347" fmla="*/ 1341671 w 1646345"/>
                  <a:gd name="connsiteY347" fmla="*/ 1487937 h 2626209"/>
                  <a:gd name="connsiteX348" fmla="*/ 1354519 w 1646345"/>
                  <a:gd name="connsiteY348" fmla="*/ 1554840 h 2626209"/>
                  <a:gd name="connsiteX349" fmla="*/ 1384635 w 1646345"/>
                  <a:gd name="connsiteY349" fmla="*/ 1620825 h 2626209"/>
                  <a:gd name="connsiteX350" fmla="*/ 1416087 w 1646345"/>
                  <a:gd name="connsiteY350" fmla="*/ 1679720 h 2626209"/>
                  <a:gd name="connsiteX351" fmla="*/ 1514447 w 1646345"/>
                  <a:gd name="connsiteY351" fmla="*/ 1767896 h 2626209"/>
                  <a:gd name="connsiteX352" fmla="*/ 1549904 w 1646345"/>
                  <a:gd name="connsiteY352" fmla="*/ 1838303 h 2626209"/>
                  <a:gd name="connsiteX353" fmla="*/ 1583108 w 1646345"/>
                  <a:gd name="connsiteY353" fmla="*/ 1890607 h 2626209"/>
                  <a:gd name="connsiteX354" fmla="*/ 1619399 w 1646345"/>
                  <a:gd name="connsiteY354" fmla="*/ 1947333 h 2626209"/>
                  <a:gd name="connsiteX355" fmla="*/ 1633164 w 1646345"/>
                  <a:gd name="connsiteY355" fmla="*/ 2001807 h 2626209"/>
                  <a:gd name="connsiteX356" fmla="*/ 1634082 w 1646345"/>
                  <a:gd name="connsiteY356" fmla="*/ 2147959 h 2626209"/>
                  <a:gd name="connsiteX357" fmla="*/ 1646346 w 1646345"/>
                  <a:gd name="connsiteY357" fmla="*/ 2188919 h 2626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</a:cxnLst>
                <a:rect l="l" t="t" r="r" b="b"/>
                <a:pathLst>
                  <a:path w="1646345" h="2626209" extrusionOk="0">
                    <a:moveTo>
                      <a:pt x="1646346" y="2188919"/>
                    </a:moveTo>
                    <a:cubicBezTo>
                      <a:pt x="1646346" y="2192006"/>
                      <a:pt x="1645928" y="2195092"/>
                      <a:pt x="1645427" y="2198679"/>
                    </a:cubicBezTo>
                    <a:lnTo>
                      <a:pt x="1645427" y="2199096"/>
                    </a:lnTo>
                    <a:cubicBezTo>
                      <a:pt x="1628159" y="2203518"/>
                      <a:pt x="1612224" y="2204852"/>
                      <a:pt x="1599794" y="2196010"/>
                    </a:cubicBezTo>
                    <a:cubicBezTo>
                      <a:pt x="1591367" y="2189837"/>
                      <a:pt x="1590950" y="2182746"/>
                      <a:pt x="1590950" y="2171651"/>
                    </a:cubicBezTo>
                    <a:cubicBezTo>
                      <a:pt x="1590533" y="2161057"/>
                      <a:pt x="1590533" y="2147709"/>
                      <a:pt x="1577184" y="2139784"/>
                    </a:cubicBezTo>
                    <a:cubicBezTo>
                      <a:pt x="1572346" y="2136698"/>
                      <a:pt x="1566589" y="2135363"/>
                      <a:pt x="1561667" y="2134446"/>
                    </a:cubicBezTo>
                    <a:cubicBezTo>
                      <a:pt x="1558580" y="2133528"/>
                      <a:pt x="1554993" y="2133111"/>
                      <a:pt x="1552323" y="2131776"/>
                    </a:cubicBezTo>
                    <a:cubicBezTo>
                      <a:pt x="1547902" y="2129524"/>
                      <a:pt x="1543898" y="2126437"/>
                      <a:pt x="1539892" y="2122933"/>
                    </a:cubicBezTo>
                    <a:cubicBezTo>
                      <a:pt x="1538558" y="2121599"/>
                      <a:pt x="1536806" y="2120264"/>
                      <a:pt x="1535054" y="2118929"/>
                    </a:cubicBezTo>
                    <a:cubicBezTo>
                      <a:pt x="1519120" y="2105666"/>
                      <a:pt x="1505854" y="2100327"/>
                      <a:pt x="1493841" y="2101661"/>
                    </a:cubicBezTo>
                    <a:cubicBezTo>
                      <a:pt x="1485415" y="2102579"/>
                      <a:pt x="1478324" y="2107417"/>
                      <a:pt x="1472985" y="2115425"/>
                    </a:cubicBezTo>
                    <a:cubicBezTo>
                      <a:pt x="1466811" y="2123851"/>
                      <a:pt x="1463224" y="2133611"/>
                      <a:pt x="1460137" y="2143371"/>
                    </a:cubicBezTo>
                    <a:cubicBezTo>
                      <a:pt x="1457884" y="2150045"/>
                      <a:pt x="1455715" y="2155801"/>
                      <a:pt x="1453045" y="2161557"/>
                    </a:cubicBezTo>
                    <a:cubicBezTo>
                      <a:pt x="1451294" y="2164644"/>
                      <a:pt x="1445954" y="2169983"/>
                      <a:pt x="1440614" y="2174404"/>
                    </a:cubicBezTo>
                    <a:cubicBezTo>
                      <a:pt x="1428685" y="2185499"/>
                      <a:pt x="1411832" y="2201015"/>
                      <a:pt x="1421093" y="2218283"/>
                    </a:cubicBezTo>
                    <a:cubicBezTo>
                      <a:pt x="1426849" y="2228460"/>
                      <a:pt x="1438780" y="2230212"/>
                      <a:pt x="1448540" y="2231130"/>
                    </a:cubicBezTo>
                    <a:cubicBezTo>
                      <a:pt x="1453379" y="2231547"/>
                      <a:pt x="1458718" y="2232465"/>
                      <a:pt x="1461388" y="2233800"/>
                    </a:cubicBezTo>
                    <a:cubicBezTo>
                      <a:pt x="1465810" y="2236469"/>
                      <a:pt x="1468896" y="2239555"/>
                      <a:pt x="1471566" y="2242642"/>
                    </a:cubicBezTo>
                    <a:cubicBezTo>
                      <a:pt x="1479992" y="2251484"/>
                      <a:pt x="1487918" y="2258158"/>
                      <a:pt x="1507440" y="2246146"/>
                    </a:cubicBezTo>
                    <a:cubicBezTo>
                      <a:pt x="1510527" y="2243893"/>
                      <a:pt x="1513613" y="2241724"/>
                      <a:pt x="1516784" y="2239472"/>
                    </a:cubicBezTo>
                    <a:cubicBezTo>
                      <a:pt x="1528714" y="2230629"/>
                      <a:pt x="1531884" y="2229294"/>
                      <a:pt x="1538058" y="2236385"/>
                    </a:cubicBezTo>
                    <a:cubicBezTo>
                      <a:pt x="1545149" y="2245228"/>
                      <a:pt x="1545566" y="2264331"/>
                      <a:pt x="1541561" y="2276678"/>
                    </a:cubicBezTo>
                    <a:cubicBezTo>
                      <a:pt x="1536722" y="2292194"/>
                      <a:pt x="1525627" y="2317470"/>
                      <a:pt x="1518118" y="2323226"/>
                    </a:cubicBezTo>
                    <a:cubicBezTo>
                      <a:pt x="1515031" y="2325479"/>
                      <a:pt x="1510110" y="2326313"/>
                      <a:pt x="1505270" y="2327230"/>
                    </a:cubicBezTo>
                    <a:cubicBezTo>
                      <a:pt x="1495093" y="2328982"/>
                      <a:pt x="1481327" y="2331652"/>
                      <a:pt x="1477823" y="2346250"/>
                    </a:cubicBezTo>
                    <a:cubicBezTo>
                      <a:pt x="1475571" y="2355593"/>
                      <a:pt x="1480910" y="2362601"/>
                      <a:pt x="1484497" y="2367522"/>
                    </a:cubicBezTo>
                    <a:cubicBezTo>
                      <a:pt x="1485832" y="2369775"/>
                      <a:pt x="1487584" y="2371944"/>
                      <a:pt x="1488502" y="2373695"/>
                    </a:cubicBezTo>
                    <a:cubicBezTo>
                      <a:pt x="1491172" y="2380369"/>
                      <a:pt x="1491589" y="2387877"/>
                      <a:pt x="1492506" y="2395385"/>
                    </a:cubicBezTo>
                    <a:lnTo>
                      <a:pt x="1493424" y="2405562"/>
                    </a:lnTo>
                    <a:cubicBezTo>
                      <a:pt x="1495176" y="2423247"/>
                      <a:pt x="1496510" y="2438346"/>
                      <a:pt x="1483663" y="2448524"/>
                    </a:cubicBezTo>
                    <a:cubicBezTo>
                      <a:pt x="1467728" y="2461370"/>
                      <a:pt x="1445120" y="2476470"/>
                      <a:pt x="1429603" y="2480390"/>
                    </a:cubicBezTo>
                    <a:cubicBezTo>
                      <a:pt x="1425180" y="2481308"/>
                      <a:pt x="1420759" y="2480807"/>
                      <a:pt x="1415420" y="2479973"/>
                    </a:cubicBezTo>
                    <a:cubicBezTo>
                      <a:pt x="1410081" y="2479056"/>
                      <a:pt x="1403490" y="2477721"/>
                      <a:pt x="1396815" y="2479556"/>
                    </a:cubicBezTo>
                    <a:cubicBezTo>
                      <a:pt x="1391477" y="2480891"/>
                      <a:pt x="1387055" y="2483060"/>
                      <a:pt x="1383968" y="2484895"/>
                    </a:cubicBezTo>
                    <a:cubicBezTo>
                      <a:pt x="1379547" y="2487564"/>
                      <a:pt x="1375959" y="2489316"/>
                      <a:pt x="1370703" y="2488399"/>
                    </a:cubicBezTo>
                    <a:cubicBezTo>
                      <a:pt x="1367199" y="2487982"/>
                      <a:pt x="1362694" y="2487064"/>
                      <a:pt x="1358773" y="2485729"/>
                    </a:cubicBezTo>
                    <a:cubicBezTo>
                      <a:pt x="1351265" y="2483477"/>
                      <a:pt x="1342839" y="2480891"/>
                      <a:pt x="1332160" y="2484395"/>
                    </a:cubicBezTo>
                    <a:cubicBezTo>
                      <a:pt x="1320230" y="2487898"/>
                      <a:pt x="1311804" y="2497658"/>
                      <a:pt x="1302960" y="2507419"/>
                    </a:cubicBezTo>
                    <a:cubicBezTo>
                      <a:pt x="1288360" y="2523769"/>
                      <a:pt x="1272843" y="2546376"/>
                      <a:pt x="1284773" y="2575657"/>
                    </a:cubicBezTo>
                    <a:cubicBezTo>
                      <a:pt x="1286109" y="2579661"/>
                      <a:pt x="1287860" y="2583164"/>
                      <a:pt x="1289612" y="2586751"/>
                    </a:cubicBezTo>
                    <a:cubicBezTo>
                      <a:pt x="1296703" y="2601350"/>
                      <a:pt x="1299790" y="2608024"/>
                      <a:pt x="1288277" y="2620454"/>
                    </a:cubicBezTo>
                    <a:cubicBezTo>
                      <a:pt x="1286025" y="2622706"/>
                      <a:pt x="1283856" y="2624875"/>
                      <a:pt x="1281603" y="2626209"/>
                    </a:cubicBezTo>
                    <a:cubicBezTo>
                      <a:pt x="1271008" y="2597012"/>
                      <a:pt x="1259495" y="2567732"/>
                      <a:pt x="1245730" y="2540286"/>
                    </a:cubicBezTo>
                    <a:cubicBezTo>
                      <a:pt x="1237304" y="2524353"/>
                      <a:pt x="1236386" y="2512340"/>
                      <a:pt x="1242226" y="2492903"/>
                    </a:cubicBezTo>
                    <a:lnTo>
                      <a:pt x="1243978" y="2487564"/>
                    </a:lnTo>
                    <a:cubicBezTo>
                      <a:pt x="1247982" y="2474718"/>
                      <a:pt x="1252821" y="2459619"/>
                      <a:pt x="1246230" y="2444186"/>
                    </a:cubicBezTo>
                    <a:cubicBezTo>
                      <a:pt x="1240891" y="2431756"/>
                      <a:pt x="1230713" y="2425166"/>
                      <a:pt x="1221870" y="2419410"/>
                    </a:cubicBezTo>
                    <a:cubicBezTo>
                      <a:pt x="1216530" y="2415906"/>
                      <a:pt x="1211275" y="2412736"/>
                      <a:pt x="1207270" y="2408315"/>
                    </a:cubicBezTo>
                    <a:cubicBezTo>
                      <a:pt x="1202848" y="2403477"/>
                      <a:pt x="1201096" y="2397721"/>
                      <a:pt x="1199261" y="2391047"/>
                    </a:cubicBezTo>
                    <a:cubicBezTo>
                      <a:pt x="1197926" y="2387543"/>
                      <a:pt x="1196591" y="2383956"/>
                      <a:pt x="1194839" y="2379952"/>
                    </a:cubicBezTo>
                    <a:lnTo>
                      <a:pt x="1194839" y="2379535"/>
                    </a:lnTo>
                    <a:cubicBezTo>
                      <a:pt x="1197092" y="2362267"/>
                      <a:pt x="1195757" y="2345416"/>
                      <a:pt x="1190001" y="2330817"/>
                    </a:cubicBezTo>
                    <a:cubicBezTo>
                      <a:pt x="1186914" y="2323727"/>
                      <a:pt x="1181157" y="2313549"/>
                      <a:pt x="1171814" y="2309962"/>
                    </a:cubicBezTo>
                    <a:cubicBezTo>
                      <a:pt x="1166474" y="2307710"/>
                      <a:pt x="1160717" y="2307710"/>
                      <a:pt x="1154544" y="2310880"/>
                    </a:cubicBezTo>
                    <a:cubicBezTo>
                      <a:pt x="1147453" y="2313966"/>
                      <a:pt x="1143949" y="2319723"/>
                      <a:pt x="1140779" y="2324644"/>
                    </a:cubicBezTo>
                    <a:cubicBezTo>
                      <a:pt x="1138526" y="2328148"/>
                      <a:pt x="1137275" y="2331318"/>
                      <a:pt x="1134105" y="2332653"/>
                    </a:cubicBezTo>
                    <a:cubicBezTo>
                      <a:pt x="1130100" y="2334905"/>
                      <a:pt x="1125261" y="2333987"/>
                      <a:pt x="1119505" y="2333570"/>
                    </a:cubicBezTo>
                    <a:cubicBezTo>
                      <a:pt x="1112831" y="2332653"/>
                      <a:pt x="1105323" y="2331819"/>
                      <a:pt x="1097397" y="2335322"/>
                    </a:cubicBezTo>
                    <a:cubicBezTo>
                      <a:pt x="1088553" y="2339744"/>
                      <a:pt x="1083214" y="2347752"/>
                      <a:pt x="1078793" y="2354842"/>
                    </a:cubicBezTo>
                    <a:cubicBezTo>
                      <a:pt x="1075706" y="2360182"/>
                      <a:pt x="1072119" y="2365437"/>
                      <a:pt x="1068198" y="2368607"/>
                    </a:cubicBezTo>
                    <a:cubicBezTo>
                      <a:pt x="1049594" y="2381454"/>
                      <a:pt x="1014554" y="2388127"/>
                      <a:pt x="997285" y="2376615"/>
                    </a:cubicBezTo>
                    <a:cubicBezTo>
                      <a:pt x="991945" y="2373112"/>
                      <a:pt x="987524" y="2368607"/>
                      <a:pt x="984020" y="2364686"/>
                    </a:cubicBezTo>
                    <a:cubicBezTo>
                      <a:pt x="975177" y="2354926"/>
                      <a:pt x="964998" y="2344332"/>
                      <a:pt x="943224" y="2349170"/>
                    </a:cubicBezTo>
                    <a:cubicBezTo>
                      <a:pt x="933463" y="2351422"/>
                      <a:pt x="924619" y="2355844"/>
                      <a:pt x="916194" y="2360265"/>
                    </a:cubicBezTo>
                    <a:cubicBezTo>
                      <a:pt x="910020" y="2363351"/>
                      <a:pt x="904264" y="2366438"/>
                      <a:pt x="898507" y="2368690"/>
                    </a:cubicBezTo>
                    <a:cubicBezTo>
                      <a:pt x="890999" y="2371360"/>
                      <a:pt x="882990" y="2371360"/>
                      <a:pt x="874563" y="2370943"/>
                    </a:cubicBezTo>
                    <a:cubicBezTo>
                      <a:pt x="866555" y="2370526"/>
                      <a:pt x="858629" y="2370526"/>
                      <a:pt x="850203" y="2372695"/>
                    </a:cubicBezTo>
                    <a:cubicBezTo>
                      <a:pt x="833851" y="2376699"/>
                      <a:pt x="829847" y="2385958"/>
                      <a:pt x="825425" y="2395718"/>
                    </a:cubicBezTo>
                    <a:cubicBezTo>
                      <a:pt x="824507" y="2397971"/>
                      <a:pt x="823673" y="2400140"/>
                      <a:pt x="822338" y="2402809"/>
                    </a:cubicBezTo>
                    <a:cubicBezTo>
                      <a:pt x="816582" y="2414321"/>
                      <a:pt x="808573" y="2423664"/>
                      <a:pt x="797060" y="2432507"/>
                    </a:cubicBezTo>
                    <a:cubicBezTo>
                      <a:pt x="796643" y="2432924"/>
                      <a:pt x="796142" y="2433425"/>
                      <a:pt x="795725" y="2433425"/>
                    </a:cubicBezTo>
                    <a:cubicBezTo>
                      <a:pt x="796142" y="2416156"/>
                      <a:pt x="789051" y="2403727"/>
                      <a:pt x="773534" y="2392215"/>
                    </a:cubicBezTo>
                    <a:cubicBezTo>
                      <a:pt x="762938" y="2384707"/>
                      <a:pt x="759351" y="2379368"/>
                      <a:pt x="752260" y="2366938"/>
                    </a:cubicBezTo>
                    <a:cubicBezTo>
                      <a:pt x="746920" y="2357178"/>
                      <a:pt x="739829" y="2350588"/>
                      <a:pt x="733239" y="2344332"/>
                    </a:cubicBezTo>
                    <a:cubicBezTo>
                      <a:pt x="729735" y="2340828"/>
                      <a:pt x="725229" y="2337241"/>
                      <a:pt x="722143" y="2333237"/>
                    </a:cubicBezTo>
                    <a:cubicBezTo>
                      <a:pt x="719891" y="2330567"/>
                      <a:pt x="718138" y="2327898"/>
                      <a:pt x="715969" y="2325228"/>
                    </a:cubicBezTo>
                    <a:cubicBezTo>
                      <a:pt x="710212" y="2316803"/>
                      <a:pt x="703538" y="2307543"/>
                      <a:pt x="690274" y="2304373"/>
                    </a:cubicBezTo>
                    <a:cubicBezTo>
                      <a:pt x="681847" y="2302121"/>
                      <a:pt x="673004" y="2303039"/>
                      <a:pt x="664996" y="2303956"/>
                    </a:cubicBezTo>
                    <a:cubicBezTo>
                      <a:pt x="657905" y="2304874"/>
                      <a:pt x="651731" y="2305291"/>
                      <a:pt x="645474" y="2304373"/>
                    </a:cubicBezTo>
                    <a:cubicBezTo>
                      <a:pt x="640635" y="2303456"/>
                      <a:pt x="635712" y="2302621"/>
                      <a:pt x="631291" y="2301704"/>
                    </a:cubicBezTo>
                    <a:cubicBezTo>
                      <a:pt x="622448" y="2299952"/>
                      <a:pt x="613604" y="2298200"/>
                      <a:pt x="603843" y="2297282"/>
                    </a:cubicBezTo>
                    <a:cubicBezTo>
                      <a:pt x="596752" y="2296365"/>
                      <a:pt x="595000" y="2295531"/>
                      <a:pt x="594083" y="2294613"/>
                    </a:cubicBezTo>
                    <a:cubicBezTo>
                      <a:pt x="593666" y="2294196"/>
                      <a:pt x="592748" y="2292360"/>
                      <a:pt x="593666" y="2285270"/>
                    </a:cubicBezTo>
                    <a:cubicBezTo>
                      <a:pt x="595000" y="2272423"/>
                      <a:pt x="594083" y="2262246"/>
                      <a:pt x="593249" y="2250734"/>
                    </a:cubicBezTo>
                    <a:lnTo>
                      <a:pt x="591913" y="2236552"/>
                    </a:lnTo>
                    <a:cubicBezTo>
                      <a:pt x="590579" y="2222371"/>
                      <a:pt x="588826" y="2203351"/>
                      <a:pt x="590996" y="2191839"/>
                    </a:cubicBezTo>
                    <a:cubicBezTo>
                      <a:pt x="592331" y="2187001"/>
                      <a:pt x="594500" y="2182496"/>
                      <a:pt x="597169" y="2177657"/>
                    </a:cubicBezTo>
                    <a:cubicBezTo>
                      <a:pt x="601591" y="2169232"/>
                      <a:pt x="606513" y="2159972"/>
                      <a:pt x="604260" y="2147125"/>
                    </a:cubicBezTo>
                    <a:cubicBezTo>
                      <a:pt x="602926" y="2140452"/>
                      <a:pt x="600757" y="2136031"/>
                      <a:pt x="598922" y="2131192"/>
                    </a:cubicBezTo>
                    <a:cubicBezTo>
                      <a:pt x="595835" y="2124102"/>
                      <a:pt x="594083" y="2120097"/>
                      <a:pt x="597586" y="2111672"/>
                    </a:cubicBezTo>
                    <a:cubicBezTo>
                      <a:pt x="602426" y="2101077"/>
                      <a:pt x="610434" y="2091734"/>
                      <a:pt x="618860" y="2081140"/>
                    </a:cubicBezTo>
                    <a:cubicBezTo>
                      <a:pt x="631291" y="2066541"/>
                      <a:pt x="644556" y="2051025"/>
                      <a:pt x="646308" y="2031088"/>
                    </a:cubicBezTo>
                    <a:cubicBezTo>
                      <a:pt x="646725" y="2025331"/>
                      <a:pt x="646725" y="2019158"/>
                      <a:pt x="646725" y="2013402"/>
                    </a:cubicBezTo>
                    <a:cubicBezTo>
                      <a:pt x="646308" y="2002808"/>
                      <a:pt x="645808" y="1993465"/>
                      <a:pt x="650229" y="1984622"/>
                    </a:cubicBezTo>
                    <a:cubicBezTo>
                      <a:pt x="653316" y="1977949"/>
                      <a:pt x="659072" y="1972693"/>
                      <a:pt x="664829" y="1966437"/>
                    </a:cubicBezTo>
                    <a:cubicBezTo>
                      <a:pt x="667499" y="1963767"/>
                      <a:pt x="670168" y="1961598"/>
                      <a:pt x="672337" y="1958428"/>
                    </a:cubicBezTo>
                    <a:cubicBezTo>
                      <a:pt x="684267" y="1945582"/>
                      <a:pt x="689607" y="1933152"/>
                      <a:pt x="687854" y="1922140"/>
                    </a:cubicBezTo>
                    <a:cubicBezTo>
                      <a:pt x="686520" y="1911963"/>
                      <a:pt x="679428" y="1903537"/>
                      <a:pt x="666998" y="1896029"/>
                    </a:cubicBezTo>
                    <a:lnTo>
                      <a:pt x="663911" y="1894278"/>
                    </a:lnTo>
                    <a:cubicBezTo>
                      <a:pt x="653316" y="1888105"/>
                      <a:pt x="647976" y="1884101"/>
                      <a:pt x="650145" y="1878762"/>
                    </a:cubicBezTo>
                    <a:cubicBezTo>
                      <a:pt x="651480" y="1874340"/>
                      <a:pt x="661659" y="1873923"/>
                      <a:pt x="668750" y="1873423"/>
                    </a:cubicBezTo>
                    <a:cubicBezTo>
                      <a:pt x="673171" y="1873006"/>
                      <a:pt x="676759" y="1872505"/>
                      <a:pt x="679846" y="1872088"/>
                    </a:cubicBezTo>
                    <a:cubicBezTo>
                      <a:pt x="688271" y="1869836"/>
                      <a:pt x="696197" y="1866749"/>
                      <a:pt x="704206" y="1863662"/>
                    </a:cubicBezTo>
                    <a:cubicBezTo>
                      <a:pt x="709962" y="1861410"/>
                      <a:pt x="716136" y="1859241"/>
                      <a:pt x="722393" y="1856989"/>
                    </a:cubicBezTo>
                    <a:lnTo>
                      <a:pt x="728149" y="1855654"/>
                    </a:lnTo>
                    <a:cubicBezTo>
                      <a:pt x="742749" y="1851650"/>
                      <a:pt x="761354" y="1846811"/>
                      <a:pt x="767611" y="1828209"/>
                    </a:cubicBezTo>
                    <a:cubicBezTo>
                      <a:pt x="773367" y="1812275"/>
                      <a:pt x="767611" y="1794507"/>
                      <a:pt x="753011" y="1782578"/>
                    </a:cubicBezTo>
                    <a:cubicBezTo>
                      <a:pt x="739246" y="1771483"/>
                      <a:pt x="736159" y="1768396"/>
                      <a:pt x="733489" y="1751545"/>
                    </a:cubicBezTo>
                    <a:cubicBezTo>
                      <a:pt x="725480" y="1704997"/>
                      <a:pt x="706458" y="1678052"/>
                      <a:pt x="676342" y="1670961"/>
                    </a:cubicBezTo>
                    <a:cubicBezTo>
                      <a:pt x="649311" y="1664788"/>
                      <a:pt x="637798" y="1686895"/>
                      <a:pt x="628037" y="1705080"/>
                    </a:cubicBezTo>
                    <a:cubicBezTo>
                      <a:pt x="623198" y="1713923"/>
                      <a:pt x="618277" y="1723266"/>
                      <a:pt x="612103" y="1728521"/>
                    </a:cubicBezTo>
                    <a:cubicBezTo>
                      <a:pt x="606763" y="1733359"/>
                      <a:pt x="601007" y="1733860"/>
                      <a:pt x="593916" y="1734694"/>
                    </a:cubicBezTo>
                    <a:cubicBezTo>
                      <a:pt x="587742" y="1735111"/>
                      <a:pt x="581068" y="1736029"/>
                      <a:pt x="573977" y="1739533"/>
                    </a:cubicBezTo>
                    <a:cubicBezTo>
                      <a:pt x="555790" y="1748375"/>
                      <a:pt x="555790" y="1767896"/>
                      <a:pt x="555790" y="1782077"/>
                    </a:cubicBezTo>
                    <a:lnTo>
                      <a:pt x="555790" y="1788250"/>
                    </a:lnTo>
                    <a:cubicBezTo>
                      <a:pt x="554872" y="1811275"/>
                      <a:pt x="541607" y="1820117"/>
                      <a:pt x="524338" y="1831212"/>
                    </a:cubicBezTo>
                    <a:cubicBezTo>
                      <a:pt x="514994" y="1837385"/>
                      <a:pt x="505734" y="1843642"/>
                      <a:pt x="497308" y="1852484"/>
                    </a:cubicBezTo>
                    <a:cubicBezTo>
                      <a:pt x="494221" y="1855571"/>
                      <a:pt x="491968" y="1859158"/>
                      <a:pt x="488881" y="1862661"/>
                    </a:cubicBezTo>
                    <a:cubicBezTo>
                      <a:pt x="484460" y="1868835"/>
                      <a:pt x="480455" y="1874591"/>
                      <a:pt x="475116" y="1877260"/>
                    </a:cubicBezTo>
                    <a:cubicBezTo>
                      <a:pt x="468025" y="1880764"/>
                      <a:pt x="439659" y="1886103"/>
                      <a:pt x="434321" y="1883934"/>
                    </a:cubicBezTo>
                    <a:cubicBezTo>
                      <a:pt x="425894" y="1880430"/>
                      <a:pt x="421890" y="1871504"/>
                      <a:pt x="417468" y="1861827"/>
                    </a:cubicBezTo>
                    <a:cubicBezTo>
                      <a:pt x="411294" y="1847646"/>
                      <a:pt x="403703" y="1830378"/>
                      <a:pt x="381178" y="1828626"/>
                    </a:cubicBezTo>
                    <a:cubicBezTo>
                      <a:pt x="367412" y="1827291"/>
                      <a:pt x="359487" y="1833965"/>
                      <a:pt x="351978" y="1839721"/>
                    </a:cubicBezTo>
                    <a:cubicBezTo>
                      <a:pt x="349725" y="1841055"/>
                      <a:pt x="347557" y="1843224"/>
                      <a:pt x="345304" y="1844559"/>
                    </a:cubicBezTo>
                    <a:cubicBezTo>
                      <a:pt x="336877" y="1850315"/>
                      <a:pt x="327117" y="1851650"/>
                      <a:pt x="312100" y="1850315"/>
                    </a:cubicBezTo>
                    <a:cubicBezTo>
                      <a:pt x="302339" y="1849397"/>
                      <a:pt x="294414" y="1844559"/>
                      <a:pt x="289992" y="1836551"/>
                    </a:cubicBezTo>
                    <a:cubicBezTo>
                      <a:pt x="284653" y="1828125"/>
                      <a:pt x="284653" y="1816613"/>
                      <a:pt x="289074" y="1806019"/>
                    </a:cubicBezTo>
                    <a:cubicBezTo>
                      <a:pt x="291327" y="1801181"/>
                      <a:pt x="294414" y="1797176"/>
                      <a:pt x="298418" y="1792254"/>
                    </a:cubicBezTo>
                    <a:cubicBezTo>
                      <a:pt x="303758" y="1785581"/>
                      <a:pt x="309514" y="1778490"/>
                      <a:pt x="311683" y="1769230"/>
                    </a:cubicBezTo>
                    <a:cubicBezTo>
                      <a:pt x="314352" y="1756801"/>
                      <a:pt x="309931" y="1746624"/>
                      <a:pt x="305926" y="1737781"/>
                    </a:cubicBezTo>
                    <a:cubicBezTo>
                      <a:pt x="303674" y="1732942"/>
                      <a:pt x="301505" y="1728021"/>
                      <a:pt x="301088" y="1723600"/>
                    </a:cubicBezTo>
                    <a:cubicBezTo>
                      <a:pt x="298418" y="1711170"/>
                      <a:pt x="305926" y="1699658"/>
                      <a:pt x="313935" y="1686811"/>
                    </a:cubicBezTo>
                    <a:cubicBezTo>
                      <a:pt x="321443" y="1674882"/>
                      <a:pt x="329453" y="1662869"/>
                      <a:pt x="329870" y="1648271"/>
                    </a:cubicBezTo>
                    <a:cubicBezTo>
                      <a:pt x="330287" y="1643849"/>
                      <a:pt x="328952" y="1640263"/>
                      <a:pt x="327617" y="1637176"/>
                    </a:cubicBezTo>
                    <a:cubicBezTo>
                      <a:pt x="326700" y="1634506"/>
                      <a:pt x="325866" y="1632338"/>
                      <a:pt x="326283" y="1630502"/>
                    </a:cubicBezTo>
                    <a:cubicBezTo>
                      <a:pt x="326700" y="1628250"/>
                      <a:pt x="328952" y="1626498"/>
                      <a:pt x="331121" y="1624329"/>
                    </a:cubicBezTo>
                    <a:cubicBezTo>
                      <a:pt x="333791" y="1621660"/>
                      <a:pt x="336460" y="1618990"/>
                      <a:pt x="338213" y="1614569"/>
                    </a:cubicBezTo>
                    <a:cubicBezTo>
                      <a:pt x="341300" y="1607478"/>
                      <a:pt x="340883" y="1599970"/>
                      <a:pt x="340465" y="1593714"/>
                    </a:cubicBezTo>
                    <a:cubicBezTo>
                      <a:pt x="340048" y="1589293"/>
                      <a:pt x="340048" y="1584871"/>
                      <a:pt x="340883" y="1581284"/>
                    </a:cubicBezTo>
                    <a:cubicBezTo>
                      <a:pt x="341300" y="1578614"/>
                      <a:pt x="342217" y="1575945"/>
                      <a:pt x="343134" y="1573276"/>
                    </a:cubicBezTo>
                    <a:cubicBezTo>
                      <a:pt x="346639" y="1561347"/>
                      <a:pt x="349809" y="1549834"/>
                      <a:pt x="340883" y="1534318"/>
                    </a:cubicBezTo>
                    <a:cubicBezTo>
                      <a:pt x="331121" y="1517968"/>
                      <a:pt x="311182" y="1503286"/>
                      <a:pt x="288574" y="1506873"/>
                    </a:cubicBezTo>
                    <a:cubicBezTo>
                      <a:pt x="270887" y="1509542"/>
                      <a:pt x="263796" y="1521471"/>
                      <a:pt x="256705" y="1533484"/>
                    </a:cubicBezTo>
                    <a:lnTo>
                      <a:pt x="255370" y="1535736"/>
                    </a:lnTo>
                    <a:cubicBezTo>
                      <a:pt x="249196" y="1545914"/>
                      <a:pt x="243439" y="1548583"/>
                      <a:pt x="234513" y="1553422"/>
                    </a:cubicBezTo>
                    <a:cubicBezTo>
                      <a:pt x="231009" y="1555174"/>
                      <a:pt x="227422" y="1556925"/>
                      <a:pt x="223000" y="1559595"/>
                    </a:cubicBezTo>
                    <a:cubicBezTo>
                      <a:pt x="217661" y="1562681"/>
                      <a:pt x="213657" y="1566685"/>
                      <a:pt x="209735" y="1570689"/>
                    </a:cubicBezTo>
                    <a:cubicBezTo>
                      <a:pt x="205314" y="1575528"/>
                      <a:pt x="201309" y="1579115"/>
                      <a:pt x="195136" y="1581284"/>
                    </a:cubicBezTo>
                    <a:cubicBezTo>
                      <a:pt x="189796" y="1583537"/>
                      <a:pt x="184040" y="1584788"/>
                      <a:pt x="178784" y="1586122"/>
                    </a:cubicBezTo>
                    <a:cubicBezTo>
                      <a:pt x="176115" y="1587040"/>
                      <a:pt x="173028" y="1587457"/>
                      <a:pt x="170358" y="1588375"/>
                    </a:cubicBezTo>
                    <a:cubicBezTo>
                      <a:pt x="167688" y="1583036"/>
                      <a:pt x="164601" y="1577780"/>
                      <a:pt x="161515" y="1572441"/>
                    </a:cubicBezTo>
                    <a:cubicBezTo>
                      <a:pt x="154424" y="1560012"/>
                      <a:pt x="147749" y="1548500"/>
                      <a:pt x="143828" y="1534819"/>
                    </a:cubicBezTo>
                    <a:cubicBezTo>
                      <a:pt x="142493" y="1531315"/>
                      <a:pt x="141158" y="1526811"/>
                      <a:pt x="138990" y="1521972"/>
                    </a:cubicBezTo>
                    <a:cubicBezTo>
                      <a:pt x="133233" y="1506456"/>
                      <a:pt x="125224" y="1485183"/>
                      <a:pt x="130563" y="1474589"/>
                    </a:cubicBezTo>
                    <a:cubicBezTo>
                      <a:pt x="133650" y="1468833"/>
                      <a:pt x="137654" y="1464412"/>
                      <a:pt x="141659" y="1460408"/>
                    </a:cubicBezTo>
                    <a:cubicBezTo>
                      <a:pt x="150502" y="1451565"/>
                      <a:pt x="161181" y="1440888"/>
                      <a:pt x="150502" y="1418364"/>
                    </a:cubicBezTo>
                    <a:cubicBezTo>
                      <a:pt x="139907" y="1395340"/>
                      <a:pt x="124390" y="1383828"/>
                      <a:pt x="98694" y="1380741"/>
                    </a:cubicBezTo>
                    <a:lnTo>
                      <a:pt x="94272" y="1379824"/>
                    </a:lnTo>
                    <a:cubicBezTo>
                      <a:pt x="78338" y="1378072"/>
                      <a:pt x="61486" y="1374985"/>
                      <a:pt x="61903" y="1363890"/>
                    </a:cubicBezTo>
                    <a:cubicBezTo>
                      <a:pt x="61903" y="1360804"/>
                      <a:pt x="62820" y="1360387"/>
                      <a:pt x="66324" y="1357717"/>
                    </a:cubicBezTo>
                    <a:cubicBezTo>
                      <a:pt x="69828" y="1355465"/>
                      <a:pt x="75668" y="1351544"/>
                      <a:pt x="77420" y="1343536"/>
                    </a:cubicBezTo>
                    <a:cubicBezTo>
                      <a:pt x="79673" y="1334693"/>
                      <a:pt x="75668" y="1327602"/>
                      <a:pt x="72581" y="1321846"/>
                    </a:cubicBezTo>
                    <a:cubicBezTo>
                      <a:pt x="71247" y="1319177"/>
                      <a:pt x="69494" y="1316090"/>
                      <a:pt x="69077" y="1313421"/>
                    </a:cubicBezTo>
                    <a:cubicBezTo>
                      <a:pt x="68160" y="1309417"/>
                      <a:pt x="70830" y="1302827"/>
                      <a:pt x="73500" y="1296570"/>
                    </a:cubicBezTo>
                    <a:cubicBezTo>
                      <a:pt x="77003" y="1287727"/>
                      <a:pt x="81508" y="1278384"/>
                      <a:pt x="77504" y="1269541"/>
                    </a:cubicBezTo>
                    <a:cubicBezTo>
                      <a:pt x="75251" y="1264703"/>
                      <a:pt x="71330" y="1261116"/>
                      <a:pt x="65574" y="1258947"/>
                    </a:cubicBezTo>
                    <a:cubicBezTo>
                      <a:pt x="53643" y="1254109"/>
                      <a:pt x="45635" y="1258947"/>
                      <a:pt x="38126" y="1253608"/>
                    </a:cubicBezTo>
                    <a:cubicBezTo>
                      <a:pt x="35456" y="1251857"/>
                      <a:pt x="33288" y="1249604"/>
                      <a:pt x="31035" y="1247435"/>
                    </a:cubicBezTo>
                    <a:cubicBezTo>
                      <a:pt x="27531" y="1243932"/>
                      <a:pt x="23527" y="1239427"/>
                      <a:pt x="17270" y="1236340"/>
                    </a:cubicBezTo>
                    <a:cubicBezTo>
                      <a:pt x="15017" y="1235423"/>
                      <a:pt x="12848" y="1234588"/>
                      <a:pt x="10178" y="1233671"/>
                    </a:cubicBezTo>
                    <a:cubicBezTo>
                      <a:pt x="6674" y="1232336"/>
                      <a:pt x="417" y="1230584"/>
                      <a:pt x="0" y="1228832"/>
                    </a:cubicBezTo>
                    <a:lnTo>
                      <a:pt x="0" y="1227915"/>
                    </a:lnTo>
                    <a:cubicBezTo>
                      <a:pt x="2253" y="1227915"/>
                      <a:pt x="5340" y="1227498"/>
                      <a:pt x="8844" y="1226163"/>
                    </a:cubicBezTo>
                    <a:cubicBezTo>
                      <a:pt x="38043" y="1211564"/>
                      <a:pt x="29199" y="1186705"/>
                      <a:pt x="21691" y="1166351"/>
                    </a:cubicBezTo>
                    <a:cubicBezTo>
                      <a:pt x="18604" y="1157007"/>
                      <a:pt x="20356" y="1148165"/>
                      <a:pt x="22609" y="1138405"/>
                    </a:cubicBezTo>
                    <a:cubicBezTo>
                      <a:pt x="24861" y="1129562"/>
                      <a:pt x="26613" y="1120219"/>
                      <a:pt x="24861" y="1109625"/>
                    </a:cubicBezTo>
                    <a:cubicBezTo>
                      <a:pt x="23527" y="1104286"/>
                      <a:pt x="20440" y="1099447"/>
                      <a:pt x="17770" y="1095026"/>
                    </a:cubicBezTo>
                    <a:cubicBezTo>
                      <a:pt x="15101" y="1091522"/>
                      <a:pt x="12431" y="1086600"/>
                      <a:pt x="12431" y="1083931"/>
                    </a:cubicBezTo>
                    <a:cubicBezTo>
                      <a:pt x="12848" y="1081262"/>
                      <a:pt x="13765" y="1079510"/>
                      <a:pt x="15935" y="1076840"/>
                    </a:cubicBezTo>
                    <a:cubicBezTo>
                      <a:pt x="19021" y="1072836"/>
                      <a:pt x="23026" y="1067080"/>
                      <a:pt x="22108" y="1057320"/>
                    </a:cubicBezTo>
                    <a:cubicBezTo>
                      <a:pt x="21691" y="1047560"/>
                      <a:pt x="18604" y="1040969"/>
                      <a:pt x="15935" y="1035630"/>
                    </a:cubicBezTo>
                    <a:cubicBezTo>
                      <a:pt x="12431" y="1027622"/>
                      <a:pt x="10595" y="1023201"/>
                      <a:pt x="15518" y="1012606"/>
                    </a:cubicBezTo>
                    <a:lnTo>
                      <a:pt x="17770" y="1007768"/>
                    </a:lnTo>
                    <a:cubicBezTo>
                      <a:pt x="20857" y="1000677"/>
                      <a:pt x="23944" y="994004"/>
                      <a:pt x="29700" y="990500"/>
                    </a:cubicBezTo>
                    <a:cubicBezTo>
                      <a:pt x="31952" y="989165"/>
                      <a:pt x="34539" y="988748"/>
                      <a:pt x="37709" y="987831"/>
                    </a:cubicBezTo>
                    <a:cubicBezTo>
                      <a:pt x="42131" y="986913"/>
                      <a:pt x="47470" y="985578"/>
                      <a:pt x="51892" y="982075"/>
                    </a:cubicBezTo>
                    <a:cubicBezTo>
                      <a:pt x="55396" y="979405"/>
                      <a:pt x="58566" y="975901"/>
                      <a:pt x="60735" y="973232"/>
                    </a:cubicBezTo>
                    <a:cubicBezTo>
                      <a:pt x="63822" y="969728"/>
                      <a:pt x="65574" y="966558"/>
                      <a:pt x="70079" y="965224"/>
                    </a:cubicBezTo>
                    <a:cubicBezTo>
                      <a:pt x="72748" y="964306"/>
                      <a:pt x="76252" y="964306"/>
                      <a:pt x="79840" y="964806"/>
                    </a:cubicBezTo>
                    <a:cubicBezTo>
                      <a:pt x="85596" y="964806"/>
                      <a:pt x="92271" y="965224"/>
                      <a:pt x="98444" y="961720"/>
                    </a:cubicBezTo>
                    <a:cubicBezTo>
                      <a:pt x="104200" y="958216"/>
                      <a:pt x="107287" y="953712"/>
                      <a:pt x="109956" y="949791"/>
                    </a:cubicBezTo>
                    <a:cubicBezTo>
                      <a:pt x="113043" y="945787"/>
                      <a:pt x="114796" y="942700"/>
                      <a:pt x="120135" y="940948"/>
                    </a:cubicBezTo>
                    <a:cubicBezTo>
                      <a:pt x="123222" y="940030"/>
                      <a:pt x="125891" y="939613"/>
                      <a:pt x="128561" y="939613"/>
                    </a:cubicBezTo>
                    <a:cubicBezTo>
                      <a:pt x="135235" y="938696"/>
                      <a:pt x="142744" y="937361"/>
                      <a:pt x="149835" y="930771"/>
                    </a:cubicBezTo>
                    <a:cubicBezTo>
                      <a:pt x="165352" y="917007"/>
                      <a:pt x="160931" y="901574"/>
                      <a:pt x="158261" y="889144"/>
                    </a:cubicBezTo>
                    <a:cubicBezTo>
                      <a:pt x="156926" y="883805"/>
                      <a:pt x="155591" y="878550"/>
                      <a:pt x="155591" y="873211"/>
                    </a:cubicBezTo>
                    <a:cubicBezTo>
                      <a:pt x="155174" y="851522"/>
                      <a:pt x="162682" y="844014"/>
                      <a:pt x="186626" y="840426"/>
                    </a:cubicBezTo>
                    <a:cubicBezTo>
                      <a:pt x="204313" y="837757"/>
                      <a:pt x="221165" y="828497"/>
                      <a:pt x="239352" y="812481"/>
                    </a:cubicBezTo>
                    <a:cubicBezTo>
                      <a:pt x="261960" y="792960"/>
                      <a:pt x="262795" y="770854"/>
                      <a:pt x="263713" y="745160"/>
                    </a:cubicBezTo>
                    <a:cubicBezTo>
                      <a:pt x="264130" y="742908"/>
                      <a:pt x="264130" y="740322"/>
                      <a:pt x="264130" y="737152"/>
                    </a:cubicBezTo>
                    <a:cubicBezTo>
                      <a:pt x="264130" y="729144"/>
                      <a:pt x="263713" y="718966"/>
                      <a:pt x="267216" y="713210"/>
                    </a:cubicBezTo>
                    <a:cubicBezTo>
                      <a:pt x="268968" y="710541"/>
                      <a:pt x="270720" y="709707"/>
                      <a:pt x="274724" y="707871"/>
                    </a:cubicBezTo>
                    <a:cubicBezTo>
                      <a:pt x="277811" y="706536"/>
                      <a:pt x="280898" y="705202"/>
                      <a:pt x="284486" y="702532"/>
                    </a:cubicBezTo>
                    <a:cubicBezTo>
                      <a:pt x="291160" y="696777"/>
                      <a:pt x="294664" y="690103"/>
                      <a:pt x="295081" y="683012"/>
                    </a:cubicBezTo>
                    <a:cubicBezTo>
                      <a:pt x="295498" y="667079"/>
                      <a:pt x="280481" y="652897"/>
                      <a:pt x="268050" y="641802"/>
                    </a:cubicBezTo>
                    <a:cubicBezTo>
                      <a:pt x="258290" y="632960"/>
                      <a:pt x="255203" y="624534"/>
                      <a:pt x="251699" y="614357"/>
                    </a:cubicBezTo>
                    <a:cubicBezTo>
                      <a:pt x="249446" y="609018"/>
                      <a:pt x="247277" y="603262"/>
                      <a:pt x="244191" y="596672"/>
                    </a:cubicBezTo>
                    <a:cubicBezTo>
                      <a:pt x="241938" y="593168"/>
                      <a:pt x="240686" y="589998"/>
                      <a:pt x="238851" y="586494"/>
                    </a:cubicBezTo>
                    <a:cubicBezTo>
                      <a:pt x="235348" y="580739"/>
                      <a:pt x="232678" y="575900"/>
                      <a:pt x="230008" y="568809"/>
                    </a:cubicBezTo>
                    <a:cubicBezTo>
                      <a:pt x="226504" y="559466"/>
                      <a:pt x="223334" y="554211"/>
                      <a:pt x="213657" y="548455"/>
                    </a:cubicBezTo>
                    <a:cubicBezTo>
                      <a:pt x="207900" y="544951"/>
                      <a:pt x="201726" y="543116"/>
                      <a:pt x="195469" y="540947"/>
                    </a:cubicBezTo>
                    <a:cubicBezTo>
                      <a:pt x="186126" y="538278"/>
                      <a:pt x="178200" y="535608"/>
                      <a:pt x="173361" y="527683"/>
                    </a:cubicBezTo>
                    <a:cubicBezTo>
                      <a:pt x="168939" y="519675"/>
                      <a:pt x="170275" y="509497"/>
                      <a:pt x="172944" y="500238"/>
                    </a:cubicBezTo>
                    <a:lnTo>
                      <a:pt x="173361" y="497568"/>
                    </a:lnTo>
                    <a:cubicBezTo>
                      <a:pt x="176448" y="486473"/>
                      <a:pt x="176448" y="485139"/>
                      <a:pt x="173361" y="474127"/>
                    </a:cubicBezTo>
                    <a:lnTo>
                      <a:pt x="172443" y="471458"/>
                    </a:lnTo>
                    <a:cubicBezTo>
                      <a:pt x="168939" y="458611"/>
                      <a:pt x="175113" y="444429"/>
                      <a:pt x="181286" y="430248"/>
                    </a:cubicBezTo>
                    <a:cubicBezTo>
                      <a:pt x="184373" y="423574"/>
                      <a:pt x="187460" y="417401"/>
                      <a:pt x="189296" y="410727"/>
                    </a:cubicBezTo>
                    <a:cubicBezTo>
                      <a:pt x="190213" y="408475"/>
                      <a:pt x="191549" y="405889"/>
                      <a:pt x="192383" y="403637"/>
                    </a:cubicBezTo>
                    <a:cubicBezTo>
                      <a:pt x="195886" y="394794"/>
                      <a:pt x="199474" y="385034"/>
                      <a:pt x="198139" y="374439"/>
                    </a:cubicBezTo>
                    <a:cubicBezTo>
                      <a:pt x="197221" y="369601"/>
                      <a:pt x="195469" y="365097"/>
                      <a:pt x="193717" y="361593"/>
                    </a:cubicBezTo>
                    <a:cubicBezTo>
                      <a:pt x="192383" y="358506"/>
                      <a:pt x="191047" y="355420"/>
                      <a:pt x="190630" y="352750"/>
                    </a:cubicBezTo>
                    <a:cubicBezTo>
                      <a:pt x="189713" y="349664"/>
                      <a:pt x="190213" y="346577"/>
                      <a:pt x="190213" y="343908"/>
                    </a:cubicBezTo>
                    <a:cubicBezTo>
                      <a:pt x="190213" y="337734"/>
                      <a:pt x="190213" y="331061"/>
                      <a:pt x="185792" y="323553"/>
                    </a:cubicBezTo>
                    <a:cubicBezTo>
                      <a:pt x="183539" y="320049"/>
                      <a:pt x="181370" y="317380"/>
                      <a:pt x="180035" y="315545"/>
                    </a:cubicBezTo>
                    <a:cubicBezTo>
                      <a:pt x="177366" y="312458"/>
                      <a:pt x="176031" y="311123"/>
                      <a:pt x="175196" y="306702"/>
                    </a:cubicBezTo>
                    <a:cubicBezTo>
                      <a:pt x="174779" y="303198"/>
                      <a:pt x="175613" y="299611"/>
                      <a:pt x="176115" y="295190"/>
                    </a:cubicBezTo>
                    <a:cubicBezTo>
                      <a:pt x="177032" y="288516"/>
                      <a:pt x="178366" y="281008"/>
                      <a:pt x="175196" y="273083"/>
                    </a:cubicBezTo>
                    <a:cubicBezTo>
                      <a:pt x="172527" y="265993"/>
                      <a:pt x="167688" y="260654"/>
                      <a:pt x="162766" y="255399"/>
                    </a:cubicBezTo>
                    <a:cubicBezTo>
                      <a:pt x="159679" y="251895"/>
                      <a:pt x="156592" y="248725"/>
                      <a:pt x="154757" y="245221"/>
                    </a:cubicBezTo>
                    <a:cubicBezTo>
                      <a:pt x="151253" y="239048"/>
                      <a:pt x="147666" y="229705"/>
                      <a:pt x="151253" y="221780"/>
                    </a:cubicBezTo>
                    <a:cubicBezTo>
                      <a:pt x="153923" y="215106"/>
                      <a:pt x="161014" y="209851"/>
                      <a:pt x="171609" y="207181"/>
                    </a:cubicBezTo>
                    <a:cubicBezTo>
                      <a:pt x="187543" y="202760"/>
                      <a:pt x="202143" y="205847"/>
                      <a:pt x="217661" y="208516"/>
                    </a:cubicBezTo>
                    <a:cubicBezTo>
                      <a:pt x="224752" y="209851"/>
                      <a:pt x="232261" y="211186"/>
                      <a:pt x="240269" y="211603"/>
                    </a:cubicBezTo>
                    <a:cubicBezTo>
                      <a:pt x="242939" y="212020"/>
                      <a:pt x="246026" y="212520"/>
                      <a:pt x="248696" y="212937"/>
                    </a:cubicBezTo>
                    <a:cubicBezTo>
                      <a:pt x="256705" y="214272"/>
                      <a:pt x="265047" y="216024"/>
                      <a:pt x="273056" y="213354"/>
                    </a:cubicBezTo>
                    <a:cubicBezTo>
                      <a:pt x="279230" y="211102"/>
                      <a:pt x="283234" y="207181"/>
                      <a:pt x="285904" y="203594"/>
                    </a:cubicBezTo>
                    <a:cubicBezTo>
                      <a:pt x="288157" y="201342"/>
                      <a:pt x="289408" y="199173"/>
                      <a:pt x="291244" y="198255"/>
                    </a:cubicBezTo>
                    <a:cubicBezTo>
                      <a:pt x="297000" y="195169"/>
                      <a:pt x="302756" y="194251"/>
                      <a:pt x="308929" y="192916"/>
                    </a:cubicBezTo>
                    <a:cubicBezTo>
                      <a:pt x="319525" y="190664"/>
                      <a:pt x="331956" y="188495"/>
                      <a:pt x="342134" y="174731"/>
                    </a:cubicBezTo>
                    <a:cubicBezTo>
                      <a:pt x="348307" y="166722"/>
                      <a:pt x="350560" y="158380"/>
                      <a:pt x="352311" y="150372"/>
                    </a:cubicBezTo>
                    <a:cubicBezTo>
                      <a:pt x="353230" y="147285"/>
                      <a:pt x="353647" y="144199"/>
                      <a:pt x="354981" y="141530"/>
                    </a:cubicBezTo>
                    <a:cubicBezTo>
                      <a:pt x="356734" y="136190"/>
                      <a:pt x="357651" y="134856"/>
                      <a:pt x="358068" y="134856"/>
                    </a:cubicBezTo>
                    <a:cubicBezTo>
                      <a:pt x="358485" y="134439"/>
                      <a:pt x="360738" y="134439"/>
                      <a:pt x="362490" y="134439"/>
                    </a:cubicBezTo>
                    <a:cubicBezTo>
                      <a:pt x="364742" y="134022"/>
                      <a:pt x="367328" y="134022"/>
                      <a:pt x="370499" y="133521"/>
                    </a:cubicBezTo>
                    <a:cubicBezTo>
                      <a:pt x="376672" y="132603"/>
                      <a:pt x="381595" y="130017"/>
                      <a:pt x="386850" y="126847"/>
                    </a:cubicBezTo>
                    <a:cubicBezTo>
                      <a:pt x="391272" y="124595"/>
                      <a:pt x="395693" y="122009"/>
                      <a:pt x="399281" y="122009"/>
                    </a:cubicBezTo>
                    <a:cubicBezTo>
                      <a:pt x="399698" y="122009"/>
                      <a:pt x="399698" y="122009"/>
                      <a:pt x="399698" y="122009"/>
                    </a:cubicBezTo>
                    <a:cubicBezTo>
                      <a:pt x="401450" y="122009"/>
                      <a:pt x="403202" y="123344"/>
                      <a:pt x="405872" y="125513"/>
                    </a:cubicBezTo>
                    <a:cubicBezTo>
                      <a:pt x="409376" y="128599"/>
                      <a:pt x="414298" y="133020"/>
                      <a:pt x="421807" y="132603"/>
                    </a:cubicBezTo>
                    <a:cubicBezTo>
                      <a:pt x="428898" y="132186"/>
                      <a:pt x="434654" y="129517"/>
                      <a:pt x="439075" y="124595"/>
                    </a:cubicBezTo>
                    <a:cubicBezTo>
                      <a:pt x="447919" y="114001"/>
                      <a:pt x="447085" y="96649"/>
                      <a:pt x="446167" y="91394"/>
                    </a:cubicBezTo>
                    <a:cubicBezTo>
                      <a:pt x="444415" y="75877"/>
                      <a:pt x="443080" y="61279"/>
                      <a:pt x="441745" y="45346"/>
                    </a:cubicBezTo>
                    <a:cubicBezTo>
                      <a:pt x="451089" y="44428"/>
                      <a:pt x="460349" y="42259"/>
                      <a:pt x="468776" y="37838"/>
                    </a:cubicBezTo>
                    <a:cubicBezTo>
                      <a:pt x="475450" y="34334"/>
                      <a:pt x="481623" y="29412"/>
                      <a:pt x="486462" y="23656"/>
                    </a:cubicBezTo>
                    <a:cubicBezTo>
                      <a:pt x="488714" y="21404"/>
                      <a:pt x="489966" y="18818"/>
                      <a:pt x="491801" y="16566"/>
                    </a:cubicBezTo>
                    <a:cubicBezTo>
                      <a:pt x="494888" y="12561"/>
                      <a:pt x="497558" y="8557"/>
                      <a:pt x="500645" y="5971"/>
                    </a:cubicBezTo>
                    <a:cubicBezTo>
                      <a:pt x="509071" y="-702"/>
                      <a:pt x="521919" y="-202"/>
                      <a:pt x="532096" y="215"/>
                    </a:cubicBezTo>
                    <a:cubicBezTo>
                      <a:pt x="544944" y="632"/>
                      <a:pt x="560044" y="1550"/>
                      <a:pt x="573727" y="6388"/>
                    </a:cubicBezTo>
                    <a:cubicBezTo>
                      <a:pt x="583070" y="9475"/>
                      <a:pt x="591913" y="14814"/>
                      <a:pt x="599839" y="19652"/>
                    </a:cubicBezTo>
                    <a:cubicBezTo>
                      <a:pt x="621530" y="33416"/>
                      <a:pt x="638799" y="45763"/>
                      <a:pt x="653482" y="58609"/>
                    </a:cubicBezTo>
                    <a:cubicBezTo>
                      <a:pt x="656569" y="61696"/>
                      <a:pt x="660574" y="65700"/>
                      <a:pt x="660574" y="69204"/>
                    </a:cubicBezTo>
                    <a:cubicBezTo>
                      <a:pt x="660574" y="70121"/>
                      <a:pt x="660156" y="71456"/>
                      <a:pt x="659656" y="72291"/>
                    </a:cubicBezTo>
                    <a:cubicBezTo>
                      <a:pt x="659239" y="74042"/>
                      <a:pt x="658739" y="75794"/>
                      <a:pt x="658322" y="78464"/>
                    </a:cubicBezTo>
                    <a:cubicBezTo>
                      <a:pt x="657403" y="87306"/>
                      <a:pt x="663660" y="94397"/>
                      <a:pt x="668499" y="99319"/>
                    </a:cubicBezTo>
                    <a:cubicBezTo>
                      <a:pt x="671586" y="102822"/>
                      <a:pt x="674673" y="105992"/>
                      <a:pt x="675173" y="109496"/>
                    </a:cubicBezTo>
                    <a:cubicBezTo>
                      <a:pt x="676091" y="114334"/>
                      <a:pt x="671169" y="119673"/>
                      <a:pt x="666747" y="125012"/>
                    </a:cubicBezTo>
                    <a:lnTo>
                      <a:pt x="664996" y="127265"/>
                    </a:lnTo>
                    <a:cubicBezTo>
                      <a:pt x="649478" y="145867"/>
                      <a:pt x="644639" y="169809"/>
                      <a:pt x="651731" y="188829"/>
                    </a:cubicBezTo>
                    <a:cubicBezTo>
                      <a:pt x="656152" y="200341"/>
                      <a:pt x="666330" y="210101"/>
                      <a:pt x="678761" y="214522"/>
                    </a:cubicBezTo>
                    <a:cubicBezTo>
                      <a:pt x="689356" y="218526"/>
                      <a:pt x="700452" y="217609"/>
                      <a:pt x="709295" y="212771"/>
                    </a:cubicBezTo>
                    <a:cubicBezTo>
                      <a:pt x="716804" y="208766"/>
                      <a:pt x="722143" y="202593"/>
                      <a:pt x="726982" y="196420"/>
                    </a:cubicBezTo>
                    <a:cubicBezTo>
                      <a:pt x="730986" y="191582"/>
                      <a:pt x="734990" y="186660"/>
                      <a:pt x="739829" y="183990"/>
                    </a:cubicBezTo>
                    <a:cubicBezTo>
                      <a:pt x="746003" y="180487"/>
                      <a:pt x="754012" y="179569"/>
                      <a:pt x="761103" y="182239"/>
                    </a:cubicBezTo>
                    <a:cubicBezTo>
                      <a:pt x="763356" y="183156"/>
                      <a:pt x="765108" y="184491"/>
                      <a:pt x="767277" y="185325"/>
                    </a:cubicBezTo>
                    <a:cubicBezTo>
                      <a:pt x="773451" y="188412"/>
                      <a:pt x="780125" y="192416"/>
                      <a:pt x="788551" y="191081"/>
                    </a:cubicBezTo>
                    <a:cubicBezTo>
                      <a:pt x="794725" y="190164"/>
                      <a:pt x="798729" y="186660"/>
                      <a:pt x="802733" y="183990"/>
                    </a:cubicBezTo>
                    <a:cubicBezTo>
                      <a:pt x="804485" y="182656"/>
                      <a:pt x="806237" y="181321"/>
                      <a:pt x="808073" y="180487"/>
                    </a:cubicBezTo>
                    <a:cubicBezTo>
                      <a:pt x="813412" y="177400"/>
                      <a:pt x="821838" y="178235"/>
                      <a:pt x="828930" y="182739"/>
                    </a:cubicBezTo>
                    <a:cubicBezTo>
                      <a:pt x="835604" y="187161"/>
                      <a:pt x="841360" y="193334"/>
                      <a:pt x="847116" y="201342"/>
                    </a:cubicBezTo>
                    <a:cubicBezTo>
                      <a:pt x="852455" y="208433"/>
                      <a:pt x="857712" y="215941"/>
                      <a:pt x="862633" y="223949"/>
                    </a:cubicBezTo>
                    <a:cubicBezTo>
                      <a:pt x="858629" y="227036"/>
                      <a:pt x="854625" y="229705"/>
                      <a:pt x="850203" y="231040"/>
                    </a:cubicBezTo>
                    <a:cubicBezTo>
                      <a:pt x="842194" y="233709"/>
                      <a:pt x="833351" y="230122"/>
                      <a:pt x="828095" y="238130"/>
                    </a:cubicBezTo>
                    <a:cubicBezTo>
                      <a:pt x="817917" y="253647"/>
                      <a:pt x="849369" y="263407"/>
                      <a:pt x="843195" y="282844"/>
                    </a:cubicBezTo>
                    <a:cubicBezTo>
                      <a:pt x="840108" y="291686"/>
                      <a:pt x="830347" y="298777"/>
                      <a:pt x="821087" y="299695"/>
                    </a:cubicBezTo>
                    <a:cubicBezTo>
                      <a:pt x="809991" y="301029"/>
                      <a:pt x="807322" y="294356"/>
                      <a:pt x="798979" y="290352"/>
                    </a:cubicBezTo>
                    <a:cubicBezTo>
                      <a:pt x="782628" y="282343"/>
                      <a:pt x="771531" y="308037"/>
                      <a:pt x="761771" y="319549"/>
                    </a:cubicBezTo>
                    <a:cubicBezTo>
                      <a:pt x="744501" y="339486"/>
                      <a:pt x="724562" y="356754"/>
                      <a:pt x="706375" y="375774"/>
                    </a:cubicBezTo>
                    <a:cubicBezTo>
                      <a:pt x="695780" y="386869"/>
                      <a:pt x="682933" y="395712"/>
                      <a:pt x="673589" y="408559"/>
                    </a:cubicBezTo>
                    <a:cubicBezTo>
                      <a:pt x="667832" y="416567"/>
                      <a:pt x="663828" y="425409"/>
                      <a:pt x="658071" y="432917"/>
                    </a:cubicBezTo>
                    <a:cubicBezTo>
                      <a:pt x="650979" y="442678"/>
                      <a:pt x="639467" y="447099"/>
                      <a:pt x="633294" y="457276"/>
                    </a:cubicBezTo>
                    <a:cubicBezTo>
                      <a:pt x="627954" y="466119"/>
                      <a:pt x="627954" y="476796"/>
                      <a:pt x="624867" y="486473"/>
                    </a:cubicBezTo>
                    <a:cubicBezTo>
                      <a:pt x="618193" y="509497"/>
                      <a:pt x="604928" y="531187"/>
                      <a:pt x="610684" y="556463"/>
                    </a:cubicBezTo>
                    <a:cubicBezTo>
                      <a:pt x="616858" y="581239"/>
                      <a:pt x="629706" y="603846"/>
                      <a:pt x="626619" y="630874"/>
                    </a:cubicBezTo>
                    <a:cubicBezTo>
                      <a:pt x="623950" y="653481"/>
                      <a:pt x="609350" y="670332"/>
                      <a:pt x="608933" y="693773"/>
                    </a:cubicBezTo>
                    <a:cubicBezTo>
                      <a:pt x="608516" y="703950"/>
                      <a:pt x="610267" y="715046"/>
                      <a:pt x="614272" y="724305"/>
                    </a:cubicBezTo>
                    <a:cubicBezTo>
                      <a:pt x="615607" y="726975"/>
                      <a:pt x="619111" y="729644"/>
                      <a:pt x="620446" y="732730"/>
                    </a:cubicBezTo>
                    <a:cubicBezTo>
                      <a:pt x="622698" y="738487"/>
                      <a:pt x="621363" y="743325"/>
                      <a:pt x="623115" y="748664"/>
                    </a:cubicBezTo>
                    <a:cubicBezTo>
                      <a:pt x="626619" y="761093"/>
                      <a:pt x="639467" y="769936"/>
                      <a:pt x="641302" y="783200"/>
                    </a:cubicBezTo>
                    <a:cubicBezTo>
                      <a:pt x="642637" y="793794"/>
                      <a:pt x="635963" y="802721"/>
                      <a:pt x="632459" y="812397"/>
                    </a:cubicBezTo>
                    <a:cubicBezTo>
                      <a:pt x="629372" y="820823"/>
                      <a:pt x="628955" y="825244"/>
                      <a:pt x="628454" y="834503"/>
                    </a:cubicBezTo>
                    <a:cubicBezTo>
                      <a:pt x="628454" y="846433"/>
                      <a:pt x="624951" y="856610"/>
                      <a:pt x="623616" y="868623"/>
                    </a:cubicBezTo>
                    <a:cubicBezTo>
                      <a:pt x="622698" y="879718"/>
                      <a:pt x="628037" y="889895"/>
                      <a:pt x="626703" y="900990"/>
                    </a:cubicBezTo>
                    <a:cubicBezTo>
                      <a:pt x="625785" y="909832"/>
                      <a:pt x="620529" y="917841"/>
                      <a:pt x="617860" y="926266"/>
                    </a:cubicBezTo>
                    <a:cubicBezTo>
                      <a:pt x="611185" y="949707"/>
                      <a:pt x="612520" y="977653"/>
                      <a:pt x="610768" y="1002429"/>
                    </a:cubicBezTo>
                    <a:cubicBezTo>
                      <a:pt x="607264" y="1055151"/>
                      <a:pt x="629790" y="1104286"/>
                      <a:pt x="625368" y="1157007"/>
                    </a:cubicBezTo>
                    <a:cubicBezTo>
                      <a:pt x="623115" y="1184953"/>
                      <a:pt x="620028" y="1211064"/>
                      <a:pt x="611603" y="1238092"/>
                    </a:cubicBezTo>
                    <a:cubicBezTo>
                      <a:pt x="608516" y="1249187"/>
                      <a:pt x="607597" y="1262451"/>
                      <a:pt x="602759" y="1273045"/>
                    </a:cubicBezTo>
                    <a:cubicBezTo>
                      <a:pt x="597003" y="1285892"/>
                      <a:pt x="591246" y="1290731"/>
                      <a:pt x="593415" y="1306747"/>
                    </a:cubicBezTo>
                    <a:cubicBezTo>
                      <a:pt x="595668" y="1320511"/>
                      <a:pt x="599172" y="1334192"/>
                      <a:pt x="596502" y="1347957"/>
                    </a:cubicBezTo>
                    <a:cubicBezTo>
                      <a:pt x="594249" y="1358134"/>
                      <a:pt x="587158" y="1364808"/>
                      <a:pt x="584072" y="1374068"/>
                    </a:cubicBezTo>
                    <a:cubicBezTo>
                      <a:pt x="582319" y="1378906"/>
                      <a:pt x="584072" y="1384245"/>
                      <a:pt x="581819" y="1389167"/>
                    </a:cubicBezTo>
                    <a:cubicBezTo>
                      <a:pt x="579566" y="1394005"/>
                      <a:pt x="575145" y="1395840"/>
                      <a:pt x="572975" y="1400262"/>
                    </a:cubicBezTo>
                    <a:cubicBezTo>
                      <a:pt x="567219" y="1410439"/>
                      <a:pt x="566301" y="1421117"/>
                      <a:pt x="566802" y="1432128"/>
                    </a:cubicBezTo>
                    <a:cubicBezTo>
                      <a:pt x="567219" y="1445392"/>
                      <a:pt x="570306" y="1471586"/>
                      <a:pt x="587158" y="1473755"/>
                    </a:cubicBezTo>
                    <a:cubicBezTo>
                      <a:pt x="595167" y="1475090"/>
                      <a:pt x="606180" y="1468416"/>
                      <a:pt x="614606" y="1467999"/>
                    </a:cubicBezTo>
                    <a:cubicBezTo>
                      <a:pt x="626118" y="1467582"/>
                      <a:pt x="635462" y="1468416"/>
                      <a:pt x="646058" y="1462660"/>
                    </a:cubicBezTo>
                    <a:cubicBezTo>
                      <a:pt x="663327" y="1452483"/>
                      <a:pt x="681514" y="1430794"/>
                      <a:pt x="694361" y="1415694"/>
                    </a:cubicBezTo>
                    <a:cubicBezTo>
                      <a:pt x="708544" y="1399761"/>
                      <a:pt x="719640" y="1393588"/>
                      <a:pt x="734657" y="1413442"/>
                    </a:cubicBezTo>
                    <a:cubicBezTo>
                      <a:pt x="744418" y="1426289"/>
                      <a:pt x="749757" y="1440470"/>
                      <a:pt x="759935" y="1452399"/>
                    </a:cubicBezTo>
                    <a:cubicBezTo>
                      <a:pt x="764774" y="1458572"/>
                      <a:pt x="770114" y="1463494"/>
                      <a:pt x="772365" y="1471419"/>
                    </a:cubicBezTo>
                    <a:cubicBezTo>
                      <a:pt x="775870" y="1484266"/>
                      <a:pt x="771948" y="1523223"/>
                      <a:pt x="794474" y="1505121"/>
                    </a:cubicBezTo>
                    <a:cubicBezTo>
                      <a:pt x="802900" y="1498448"/>
                      <a:pt x="816165" y="1486518"/>
                      <a:pt x="818417" y="1475924"/>
                    </a:cubicBezTo>
                    <a:cubicBezTo>
                      <a:pt x="820670" y="1466164"/>
                      <a:pt x="813996" y="1455069"/>
                      <a:pt x="819753" y="1446226"/>
                    </a:cubicBezTo>
                    <a:cubicBezTo>
                      <a:pt x="823256" y="1440470"/>
                      <a:pt x="851204" y="1425872"/>
                      <a:pt x="856961" y="1428541"/>
                    </a:cubicBezTo>
                    <a:cubicBezTo>
                      <a:pt x="878652" y="1438301"/>
                      <a:pt x="844113" y="1494110"/>
                      <a:pt x="856543" y="1508708"/>
                    </a:cubicBezTo>
                    <a:cubicBezTo>
                      <a:pt x="872895" y="1528229"/>
                      <a:pt x="912356" y="1449813"/>
                      <a:pt x="912774" y="1436967"/>
                    </a:cubicBezTo>
                    <a:cubicBezTo>
                      <a:pt x="913191" y="1425455"/>
                      <a:pt x="912356" y="1400679"/>
                      <a:pt x="928291" y="1418364"/>
                    </a:cubicBezTo>
                    <a:cubicBezTo>
                      <a:pt x="932712" y="1423202"/>
                      <a:pt x="933129" y="1444057"/>
                      <a:pt x="941139" y="1445392"/>
                    </a:cubicBezTo>
                    <a:cubicBezTo>
                      <a:pt x="960660" y="1448061"/>
                      <a:pt x="949982" y="1414860"/>
                      <a:pt x="945560" y="1408604"/>
                    </a:cubicBezTo>
                    <a:cubicBezTo>
                      <a:pt x="932712" y="1390918"/>
                      <a:pt x="927873" y="1369646"/>
                      <a:pt x="915025" y="1351878"/>
                    </a:cubicBezTo>
                    <a:cubicBezTo>
                      <a:pt x="901761" y="1332858"/>
                      <a:pt x="889747" y="1328436"/>
                      <a:pt x="917278" y="1315590"/>
                    </a:cubicBezTo>
                    <a:cubicBezTo>
                      <a:pt x="927456" y="1310752"/>
                      <a:pt x="937217" y="1306246"/>
                      <a:pt x="945643" y="1298739"/>
                    </a:cubicBezTo>
                    <a:cubicBezTo>
                      <a:pt x="952317" y="1292566"/>
                      <a:pt x="956739" y="1284140"/>
                      <a:pt x="964247" y="1278384"/>
                    </a:cubicBezTo>
                    <a:cubicBezTo>
                      <a:pt x="980182" y="1265537"/>
                      <a:pt x="1010299" y="1264203"/>
                      <a:pt x="1029821" y="1265955"/>
                    </a:cubicBezTo>
                    <a:cubicBezTo>
                      <a:pt x="1052430" y="1267706"/>
                      <a:pt x="1056851" y="1288979"/>
                      <a:pt x="1079460" y="1291231"/>
                    </a:cubicBezTo>
                    <a:cubicBezTo>
                      <a:pt x="1101568" y="1292983"/>
                      <a:pt x="1123342" y="1286393"/>
                      <a:pt x="1145450" y="1288979"/>
                    </a:cubicBezTo>
                    <a:cubicBezTo>
                      <a:pt x="1156046" y="1290313"/>
                      <a:pt x="1167141" y="1293817"/>
                      <a:pt x="1176903" y="1289396"/>
                    </a:cubicBezTo>
                    <a:cubicBezTo>
                      <a:pt x="1183076" y="1286726"/>
                      <a:pt x="1185745" y="1278801"/>
                      <a:pt x="1193254" y="1278801"/>
                    </a:cubicBezTo>
                    <a:cubicBezTo>
                      <a:pt x="1203849" y="1278801"/>
                      <a:pt x="1210941" y="1294318"/>
                      <a:pt x="1212276" y="1302743"/>
                    </a:cubicBezTo>
                    <a:cubicBezTo>
                      <a:pt x="1214028" y="1313337"/>
                      <a:pt x="1208772" y="1319094"/>
                      <a:pt x="1206519" y="1328854"/>
                    </a:cubicBezTo>
                    <a:cubicBezTo>
                      <a:pt x="1200762" y="1355465"/>
                      <a:pt x="1230463" y="1348374"/>
                      <a:pt x="1245980" y="1357634"/>
                    </a:cubicBezTo>
                    <a:cubicBezTo>
                      <a:pt x="1265919" y="1369563"/>
                      <a:pt x="1262332" y="1389500"/>
                      <a:pt x="1277432" y="1402848"/>
                    </a:cubicBezTo>
                    <a:cubicBezTo>
                      <a:pt x="1291197" y="1414777"/>
                      <a:pt x="1314223" y="1400178"/>
                      <a:pt x="1322148" y="1417947"/>
                    </a:cubicBezTo>
                    <a:cubicBezTo>
                      <a:pt x="1324818" y="1423703"/>
                      <a:pt x="1323067" y="1431711"/>
                      <a:pt x="1324818" y="1437884"/>
                    </a:cubicBezTo>
                    <a:cubicBezTo>
                      <a:pt x="1327071" y="1443223"/>
                      <a:pt x="1330992" y="1448061"/>
                      <a:pt x="1333662" y="1453401"/>
                    </a:cubicBezTo>
                    <a:cubicBezTo>
                      <a:pt x="1339835" y="1465330"/>
                      <a:pt x="1341671" y="1474256"/>
                      <a:pt x="1341671" y="1487937"/>
                    </a:cubicBezTo>
                    <a:cubicBezTo>
                      <a:pt x="1341671" y="1511878"/>
                      <a:pt x="1351015" y="1530898"/>
                      <a:pt x="1354519" y="1554840"/>
                    </a:cubicBezTo>
                    <a:cubicBezTo>
                      <a:pt x="1358523" y="1580950"/>
                      <a:pt x="1380214" y="1594715"/>
                      <a:pt x="1384635" y="1620825"/>
                    </a:cubicBezTo>
                    <a:cubicBezTo>
                      <a:pt x="1389057" y="1645184"/>
                      <a:pt x="1399235" y="1661618"/>
                      <a:pt x="1416087" y="1679720"/>
                    </a:cubicBezTo>
                    <a:cubicBezTo>
                      <a:pt x="1445787" y="1711170"/>
                      <a:pt x="1492756" y="1729355"/>
                      <a:pt x="1514447" y="1767896"/>
                    </a:cubicBezTo>
                    <a:cubicBezTo>
                      <a:pt x="1527295" y="1790503"/>
                      <a:pt x="1538391" y="1814861"/>
                      <a:pt x="1549904" y="1838303"/>
                    </a:cubicBezTo>
                    <a:cubicBezTo>
                      <a:pt x="1559665" y="1856905"/>
                      <a:pt x="1575183" y="1870169"/>
                      <a:pt x="1583108" y="1890607"/>
                    </a:cubicBezTo>
                    <a:cubicBezTo>
                      <a:pt x="1591534" y="1911462"/>
                      <a:pt x="1603464" y="1931400"/>
                      <a:pt x="1619399" y="1947333"/>
                    </a:cubicBezTo>
                    <a:cubicBezTo>
                      <a:pt x="1635750" y="1964184"/>
                      <a:pt x="1642424" y="1979200"/>
                      <a:pt x="1633164" y="2001807"/>
                    </a:cubicBezTo>
                    <a:cubicBezTo>
                      <a:pt x="1612308" y="2050942"/>
                      <a:pt x="1619399" y="2098408"/>
                      <a:pt x="1634082" y="2147959"/>
                    </a:cubicBezTo>
                    <a:cubicBezTo>
                      <a:pt x="1641507" y="2159722"/>
                      <a:pt x="1646346" y="2172986"/>
                      <a:pt x="1646346" y="218891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13043922" name="Полилиния 416"/>
              <p:cNvSpPr/>
              <p:nvPr/>
            </p:nvSpPr>
            <p:spPr bwMode="auto">
              <a:xfrm>
                <a:off x="10099570" y="5060956"/>
                <a:ext cx="466781" cy="1185636"/>
              </a:xfrm>
              <a:custGeom>
                <a:avLst/>
                <a:gdLst>
                  <a:gd name="connsiteX0" fmla="*/ 513893 w 524212"/>
                  <a:gd name="connsiteY0" fmla="*/ 811466 h 1331509"/>
                  <a:gd name="connsiteX1" fmla="*/ 515228 w 524212"/>
                  <a:gd name="connsiteY1" fmla="*/ 852258 h 1331509"/>
                  <a:gd name="connsiteX2" fmla="*/ 504132 w 524212"/>
                  <a:gd name="connsiteY2" fmla="*/ 875699 h 1331509"/>
                  <a:gd name="connsiteX3" fmla="*/ 501463 w 524212"/>
                  <a:gd name="connsiteY3" fmla="*/ 901810 h 1331509"/>
                  <a:gd name="connsiteX4" fmla="*/ 488198 w 524212"/>
                  <a:gd name="connsiteY4" fmla="*/ 923916 h 1331509"/>
                  <a:gd name="connsiteX5" fmla="*/ 479355 w 524212"/>
                  <a:gd name="connsiteY5" fmla="*/ 959370 h 1331509"/>
                  <a:gd name="connsiteX6" fmla="*/ 470011 w 524212"/>
                  <a:gd name="connsiteY6" fmla="*/ 983312 h 1331509"/>
                  <a:gd name="connsiteX7" fmla="*/ 468258 w 524212"/>
                  <a:gd name="connsiteY7" fmla="*/ 1009422 h 1331509"/>
                  <a:gd name="connsiteX8" fmla="*/ 451907 w 524212"/>
                  <a:gd name="connsiteY8" fmla="*/ 1027108 h 1331509"/>
                  <a:gd name="connsiteX9" fmla="*/ 406272 w 524212"/>
                  <a:gd name="connsiteY9" fmla="*/ 1090924 h 1331509"/>
                  <a:gd name="connsiteX10" fmla="*/ 384164 w 524212"/>
                  <a:gd name="connsiteY10" fmla="*/ 1090507 h 1331509"/>
                  <a:gd name="connsiteX11" fmla="*/ 367312 w 524212"/>
                  <a:gd name="connsiteY11" fmla="*/ 1102937 h 1331509"/>
                  <a:gd name="connsiteX12" fmla="*/ 346455 w 524212"/>
                  <a:gd name="connsiteY12" fmla="*/ 1100685 h 1331509"/>
                  <a:gd name="connsiteX13" fmla="*/ 308830 w 524212"/>
                  <a:gd name="connsiteY13" fmla="*/ 1120622 h 1331509"/>
                  <a:gd name="connsiteX14" fmla="*/ 260526 w 524212"/>
                  <a:gd name="connsiteY14" fmla="*/ 1088255 h 1331509"/>
                  <a:gd name="connsiteX15" fmla="*/ 243257 w 524212"/>
                  <a:gd name="connsiteY15" fmla="*/ 1100685 h 1331509"/>
                  <a:gd name="connsiteX16" fmla="*/ 214892 w 524212"/>
                  <a:gd name="connsiteY16" fmla="*/ 1113531 h 1331509"/>
                  <a:gd name="connsiteX17" fmla="*/ 212639 w 524212"/>
                  <a:gd name="connsiteY17" fmla="*/ 1169757 h 1331509"/>
                  <a:gd name="connsiteX18" fmla="*/ 205965 w 524212"/>
                  <a:gd name="connsiteY18" fmla="*/ 1204293 h 1331509"/>
                  <a:gd name="connsiteX19" fmla="*/ 209052 w 524212"/>
                  <a:gd name="connsiteY19" fmla="*/ 1229987 h 1331509"/>
                  <a:gd name="connsiteX20" fmla="*/ 175347 w 524212"/>
                  <a:gd name="connsiteY20" fmla="*/ 1261019 h 1331509"/>
                  <a:gd name="connsiteX21" fmla="*/ 167338 w 524212"/>
                  <a:gd name="connsiteY21" fmla="*/ 1288965 h 1331509"/>
                  <a:gd name="connsiteX22" fmla="*/ 182855 w 524212"/>
                  <a:gd name="connsiteY22" fmla="*/ 1311989 h 1331509"/>
                  <a:gd name="connsiteX23" fmla="*/ 177099 w 524212"/>
                  <a:gd name="connsiteY23" fmla="*/ 1331509 h 1331509"/>
                  <a:gd name="connsiteX24" fmla="*/ 174847 w 524212"/>
                  <a:gd name="connsiteY24" fmla="*/ 1330174 h 1331509"/>
                  <a:gd name="connsiteX25" fmla="*/ 149151 w 524212"/>
                  <a:gd name="connsiteY25" fmla="*/ 1315576 h 1331509"/>
                  <a:gd name="connsiteX26" fmla="*/ 133634 w 524212"/>
                  <a:gd name="connsiteY26" fmla="*/ 1309820 h 1331509"/>
                  <a:gd name="connsiteX27" fmla="*/ 145146 w 524212"/>
                  <a:gd name="connsiteY27" fmla="*/ 1272197 h 1331509"/>
                  <a:gd name="connsiteX28" fmla="*/ 158912 w 524212"/>
                  <a:gd name="connsiteY28" fmla="*/ 1252260 h 1331509"/>
                  <a:gd name="connsiteX29" fmla="*/ 178434 w 524212"/>
                  <a:gd name="connsiteY29" fmla="*/ 1199121 h 1331509"/>
                  <a:gd name="connsiteX30" fmla="*/ 138973 w 524212"/>
                  <a:gd name="connsiteY30" fmla="*/ 1122457 h 1331509"/>
                  <a:gd name="connsiteX31" fmla="*/ 123038 w 524212"/>
                  <a:gd name="connsiteY31" fmla="*/ 1099851 h 1331509"/>
                  <a:gd name="connsiteX32" fmla="*/ 106186 w 524212"/>
                  <a:gd name="connsiteY32" fmla="*/ 1070653 h 1331509"/>
                  <a:gd name="connsiteX33" fmla="*/ 61469 w 524212"/>
                  <a:gd name="connsiteY33" fmla="*/ 1009089 h 1331509"/>
                  <a:gd name="connsiteX34" fmla="*/ 25179 w 524212"/>
                  <a:gd name="connsiteY34" fmla="*/ 974970 h 1331509"/>
                  <a:gd name="connsiteX35" fmla="*/ 13666 w 524212"/>
                  <a:gd name="connsiteY35" fmla="*/ 963875 h 1331509"/>
                  <a:gd name="connsiteX36" fmla="*/ 2570 w 524212"/>
                  <a:gd name="connsiteY36" fmla="*/ 935929 h 1331509"/>
                  <a:gd name="connsiteX37" fmla="*/ 15001 w 524212"/>
                  <a:gd name="connsiteY37" fmla="*/ 923499 h 1331509"/>
                  <a:gd name="connsiteX38" fmla="*/ 31853 w 524212"/>
                  <a:gd name="connsiteY38" fmla="*/ 903979 h 1331509"/>
                  <a:gd name="connsiteX39" fmla="*/ 32270 w 524212"/>
                  <a:gd name="connsiteY39" fmla="*/ 873447 h 1331509"/>
                  <a:gd name="connsiteX40" fmla="*/ 31353 w 524212"/>
                  <a:gd name="connsiteY40" fmla="*/ 853510 h 1331509"/>
                  <a:gd name="connsiteX41" fmla="*/ 80073 w 524212"/>
                  <a:gd name="connsiteY41" fmla="*/ 831820 h 1331509"/>
                  <a:gd name="connsiteX42" fmla="*/ 94256 w 524212"/>
                  <a:gd name="connsiteY42" fmla="*/ 829568 h 1331509"/>
                  <a:gd name="connsiteX43" fmla="*/ 97760 w 524212"/>
                  <a:gd name="connsiteY43" fmla="*/ 829151 h 1331509"/>
                  <a:gd name="connsiteX44" fmla="*/ 160664 w 524212"/>
                  <a:gd name="connsiteY44" fmla="*/ 805209 h 1331509"/>
                  <a:gd name="connsiteX45" fmla="*/ 163333 w 524212"/>
                  <a:gd name="connsiteY45" fmla="*/ 750736 h 1331509"/>
                  <a:gd name="connsiteX46" fmla="*/ 155325 w 524212"/>
                  <a:gd name="connsiteY46" fmla="*/ 725960 h 1331509"/>
                  <a:gd name="connsiteX47" fmla="*/ 156659 w 524212"/>
                  <a:gd name="connsiteY47" fmla="*/ 706940 h 1331509"/>
                  <a:gd name="connsiteX48" fmla="*/ 153156 w 524212"/>
                  <a:gd name="connsiteY48" fmla="*/ 667482 h 1331509"/>
                  <a:gd name="connsiteX49" fmla="*/ 146982 w 524212"/>
                  <a:gd name="connsiteY49" fmla="*/ 628024 h 1331509"/>
                  <a:gd name="connsiteX50" fmla="*/ 127460 w 524212"/>
                  <a:gd name="connsiteY50" fmla="*/ 548775 h 1331509"/>
                  <a:gd name="connsiteX51" fmla="*/ 119034 w 524212"/>
                  <a:gd name="connsiteY51" fmla="*/ 527919 h 1331509"/>
                  <a:gd name="connsiteX52" fmla="*/ 118117 w 524212"/>
                  <a:gd name="connsiteY52" fmla="*/ 525667 h 1331509"/>
                  <a:gd name="connsiteX53" fmla="*/ 129629 w 524212"/>
                  <a:gd name="connsiteY53" fmla="*/ 515490 h 1331509"/>
                  <a:gd name="connsiteX54" fmla="*/ 134051 w 524212"/>
                  <a:gd name="connsiteY54" fmla="*/ 465855 h 1331509"/>
                  <a:gd name="connsiteX55" fmla="*/ 129212 w 524212"/>
                  <a:gd name="connsiteY55" fmla="*/ 455677 h 1331509"/>
                  <a:gd name="connsiteX56" fmla="*/ 146065 w 524212"/>
                  <a:gd name="connsiteY56" fmla="*/ 401204 h 1331509"/>
                  <a:gd name="connsiteX57" fmla="*/ 168173 w 524212"/>
                  <a:gd name="connsiteY57" fmla="*/ 383518 h 1331509"/>
                  <a:gd name="connsiteX58" fmla="*/ 186360 w 524212"/>
                  <a:gd name="connsiteY58" fmla="*/ 384853 h 1331509"/>
                  <a:gd name="connsiteX59" fmla="*/ 201459 w 524212"/>
                  <a:gd name="connsiteY59" fmla="*/ 387940 h 1331509"/>
                  <a:gd name="connsiteX60" fmla="*/ 222316 w 524212"/>
                  <a:gd name="connsiteY60" fmla="*/ 382601 h 1331509"/>
                  <a:gd name="connsiteX61" fmla="*/ 232077 w 524212"/>
                  <a:gd name="connsiteY61" fmla="*/ 378597 h 1331509"/>
                  <a:gd name="connsiteX62" fmla="*/ 245342 w 524212"/>
                  <a:gd name="connsiteY62" fmla="*/ 379014 h 1331509"/>
                  <a:gd name="connsiteX63" fmla="*/ 264864 w 524212"/>
                  <a:gd name="connsiteY63" fmla="*/ 379014 h 1331509"/>
                  <a:gd name="connsiteX64" fmla="*/ 324264 w 524212"/>
                  <a:gd name="connsiteY64" fmla="*/ 344478 h 1331509"/>
                  <a:gd name="connsiteX65" fmla="*/ 339364 w 524212"/>
                  <a:gd name="connsiteY65" fmla="*/ 289086 h 1331509"/>
                  <a:gd name="connsiteX66" fmla="*/ 338447 w 524212"/>
                  <a:gd name="connsiteY66" fmla="*/ 279326 h 1331509"/>
                  <a:gd name="connsiteX67" fmla="*/ 333107 w 524212"/>
                  <a:gd name="connsiteY67" fmla="*/ 252715 h 1331509"/>
                  <a:gd name="connsiteX68" fmla="*/ 327768 w 524212"/>
                  <a:gd name="connsiteY68" fmla="*/ 243873 h 1331509"/>
                  <a:gd name="connsiteX69" fmla="*/ 323347 w 524212"/>
                  <a:gd name="connsiteY69" fmla="*/ 234112 h 1331509"/>
                  <a:gd name="connsiteX70" fmla="*/ 339281 w 524212"/>
                  <a:gd name="connsiteY70" fmla="*/ 225687 h 1331509"/>
                  <a:gd name="connsiteX71" fmla="*/ 357885 w 524212"/>
                  <a:gd name="connsiteY71" fmla="*/ 219013 h 1331509"/>
                  <a:gd name="connsiteX72" fmla="*/ 386667 w 524212"/>
                  <a:gd name="connsiteY72" fmla="*/ 164957 h 1331509"/>
                  <a:gd name="connsiteX73" fmla="*/ 379993 w 524212"/>
                  <a:gd name="connsiteY73" fmla="*/ 111318 h 1331509"/>
                  <a:gd name="connsiteX74" fmla="*/ 339198 w 524212"/>
                  <a:gd name="connsiteY74" fmla="*/ 112235 h 1331509"/>
                  <a:gd name="connsiteX75" fmla="*/ 331188 w 524212"/>
                  <a:gd name="connsiteY75" fmla="*/ 117991 h 1331509"/>
                  <a:gd name="connsiteX76" fmla="*/ 313001 w 524212"/>
                  <a:gd name="connsiteY76" fmla="*/ 117073 h 1331509"/>
                  <a:gd name="connsiteX77" fmla="*/ 299236 w 524212"/>
                  <a:gd name="connsiteY77" fmla="*/ 105144 h 1331509"/>
                  <a:gd name="connsiteX78" fmla="*/ 281049 w 524212"/>
                  <a:gd name="connsiteY78" fmla="*/ 100723 h 1331509"/>
                  <a:gd name="connsiteX79" fmla="*/ 264697 w 524212"/>
                  <a:gd name="connsiteY79" fmla="*/ 95384 h 1331509"/>
                  <a:gd name="connsiteX80" fmla="*/ 281049 w 524212"/>
                  <a:gd name="connsiteY80" fmla="*/ 69273 h 1331509"/>
                  <a:gd name="connsiteX81" fmla="*/ 296566 w 524212"/>
                  <a:gd name="connsiteY81" fmla="*/ 52423 h 1331509"/>
                  <a:gd name="connsiteX82" fmla="*/ 304993 w 524212"/>
                  <a:gd name="connsiteY82" fmla="*/ 32485 h 1331509"/>
                  <a:gd name="connsiteX83" fmla="*/ 316088 w 524212"/>
                  <a:gd name="connsiteY83" fmla="*/ 8126 h 1331509"/>
                  <a:gd name="connsiteX84" fmla="*/ 327184 w 524212"/>
                  <a:gd name="connsiteY84" fmla="*/ 118 h 1331509"/>
                  <a:gd name="connsiteX85" fmla="*/ 357718 w 524212"/>
                  <a:gd name="connsiteY85" fmla="*/ 14299 h 1331509"/>
                  <a:gd name="connsiteX86" fmla="*/ 362140 w 524212"/>
                  <a:gd name="connsiteY86" fmla="*/ 17803 h 1331509"/>
                  <a:gd name="connsiteX87" fmla="*/ 378074 w 524212"/>
                  <a:gd name="connsiteY87" fmla="*/ 28898 h 1331509"/>
                  <a:gd name="connsiteX88" fmla="*/ 390004 w 524212"/>
                  <a:gd name="connsiteY88" fmla="*/ 32402 h 1331509"/>
                  <a:gd name="connsiteX89" fmla="*/ 401100 w 524212"/>
                  <a:gd name="connsiteY89" fmla="*/ 35905 h 1331509"/>
                  <a:gd name="connsiteX90" fmla="*/ 407774 w 524212"/>
                  <a:gd name="connsiteY90" fmla="*/ 55843 h 1331509"/>
                  <a:gd name="connsiteX91" fmla="*/ 422374 w 524212"/>
                  <a:gd name="connsiteY91" fmla="*/ 92131 h 1331509"/>
                  <a:gd name="connsiteX92" fmla="*/ 474182 w 524212"/>
                  <a:gd name="connsiteY92" fmla="*/ 99222 h 1331509"/>
                  <a:gd name="connsiteX93" fmla="*/ 473765 w 524212"/>
                  <a:gd name="connsiteY93" fmla="*/ 111651 h 1331509"/>
                  <a:gd name="connsiteX94" fmla="*/ 486612 w 524212"/>
                  <a:gd name="connsiteY94" fmla="*/ 136010 h 1331509"/>
                  <a:gd name="connsiteX95" fmla="*/ 479104 w 524212"/>
                  <a:gd name="connsiteY95" fmla="*/ 158116 h 1331509"/>
                  <a:gd name="connsiteX96" fmla="*/ 505217 w 524212"/>
                  <a:gd name="connsiteY96" fmla="*/ 221933 h 1331509"/>
                  <a:gd name="connsiteX97" fmla="*/ 508303 w 524212"/>
                  <a:gd name="connsiteY97" fmla="*/ 251130 h 1331509"/>
                  <a:gd name="connsiteX98" fmla="*/ 519817 w 524212"/>
                  <a:gd name="connsiteY98" fmla="*/ 278159 h 1331509"/>
                  <a:gd name="connsiteX99" fmla="*/ 519400 w 524212"/>
                  <a:gd name="connsiteY99" fmla="*/ 360578 h 1331509"/>
                  <a:gd name="connsiteX100" fmla="*/ 519817 w 524212"/>
                  <a:gd name="connsiteY100" fmla="*/ 438576 h 1331509"/>
                  <a:gd name="connsiteX101" fmla="*/ 508720 w 524212"/>
                  <a:gd name="connsiteY101" fmla="*/ 513404 h 1331509"/>
                  <a:gd name="connsiteX102" fmla="*/ 511807 w 524212"/>
                  <a:gd name="connsiteY102" fmla="*/ 582977 h 1331509"/>
                  <a:gd name="connsiteX103" fmla="*/ 512725 w 524212"/>
                  <a:gd name="connsiteY103" fmla="*/ 614426 h 1331509"/>
                  <a:gd name="connsiteX104" fmla="*/ 518064 w 524212"/>
                  <a:gd name="connsiteY104" fmla="*/ 642789 h 1331509"/>
                  <a:gd name="connsiteX105" fmla="*/ 503882 w 524212"/>
                  <a:gd name="connsiteY105" fmla="*/ 665396 h 1331509"/>
                  <a:gd name="connsiteX106" fmla="*/ 508720 w 524212"/>
                  <a:gd name="connsiteY106" fmla="*/ 686669 h 1331509"/>
                  <a:gd name="connsiteX107" fmla="*/ 509639 w 524212"/>
                  <a:gd name="connsiteY107" fmla="*/ 723457 h 1331509"/>
                  <a:gd name="connsiteX108" fmla="*/ 518064 w 524212"/>
                  <a:gd name="connsiteY108" fmla="*/ 754490 h 1331509"/>
                  <a:gd name="connsiteX109" fmla="*/ 523404 w 524212"/>
                  <a:gd name="connsiteY109" fmla="*/ 784187 h 1331509"/>
                  <a:gd name="connsiteX110" fmla="*/ 513893 w 524212"/>
                  <a:gd name="connsiteY110" fmla="*/ 811466 h 1331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524212" h="1331509" extrusionOk="0">
                    <a:moveTo>
                      <a:pt x="513893" y="811466"/>
                    </a:moveTo>
                    <a:cubicBezTo>
                      <a:pt x="511223" y="825230"/>
                      <a:pt x="517897" y="838494"/>
                      <a:pt x="515228" y="852258"/>
                    </a:cubicBezTo>
                    <a:cubicBezTo>
                      <a:pt x="513476" y="861602"/>
                      <a:pt x="506802" y="867357"/>
                      <a:pt x="504132" y="875699"/>
                    </a:cubicBezTo>
                    <a:cubicBezTo>
                      <a:pt x="501046" y="884125"/>
                      <a:pt x="503715" y="893385"/>
                      <a:pt x="501463" y="901810"/>
                    </a:cubicBezTo>
                    <a:cubicBezTo>
                      <a:pt x="498793" y="910236"/>
                      <a:pt x="491285" y="915991"/>
                      <a:pt x="488198" y="923916"/>
                    </a:cubicBezTo>
                    <a:cubicBezTo>
                      <a:pt x="483776" y="935429"/>
                      <a:pt x="484193" y="947858"/>
                      <a:pt x="479355" y="959370"/>
                    </a:cubicBezTo>
                    <a:cubicBezTo>
                      <a:pt x="475851" y="967796"/>
                      <a:pt x="471345" y="974469"/>
                      <a:pt x="470011" y="983312"/>
                    </a:cubicBezTo>
                    <a:cubicBezTo>
                      <a:pt x="468675" y="991738"/>
                      <a:pt x="471762" y="1001915"/>
                      <a:pt x="468258" y="1009422"/>
                    </a:cubicBezTo>
                    <a:cubicBezTo>
                      <a:pt x="465172" y="1016513"/>
                      <a:pt x="457664" y="1021352"/>
                      <a:pt x="451907" y="1027108"/>
                    </a:cubicBezTo>
                    <a:cubicBezTo>
                      <a:pt x="433303" y="1046628"/>
                      <a:pt x="420872" y="1068735"/>
                      <a:pt x="406272" y="1090924"/>
                    </a:cubicBezTo>
                    <a:cubicBezTo>
                      <a:pt x="393842" y="1109527"/>
                      <a:pt x="399181" y="1089590"/>
                      <a:pt x="384164" y="1090507"/>
                    </a:cubicBezTo>
                    <a:cubicBezTo>
                      <a:pt x="377073" y="1090924"/>
                      <a:pt x="373569" y="1100685"/>
                      <a:pt x="367312" y="1102937"/>
                    </a:cubicBezTo>
                    <a:cubicBezTo>
                      <a:pt x="357134" y="1107358"/>
                      <a:pt x="355799" y="1101185"/>
                      <a:pt x="346455" y="1100685"/>
                    </a:cubicBezTo>
                    <a:cubicBezTo>
                      <a:pt x="330104" y="1099767"/>
                      <a:pt x="325181" y="1116201"/>
                      <a:pt x="308830" y="1120622"/>
                    </a:cubicBezTo>
                    <a:cubicBezTo>
                      <a:pt x="276043" y="1130382"/>
                      <a:pt x="291143" y="1058641"/>
                      <a:pt x="260526" y="1088255"/>
                    </a:cubicBezTo>
                    <a:cubicBezTo>
                      <a:pt x="253434" y="1095346"/>
                      <a:pt x="253434" y="1097097"/>
                      <a:pt x="243257" y="1100685"/>
                    </a:cubicBezTo>
                    <a:cubicBezTo>
                      <a:pt x="233913" y="1104188"/>
                      <a:pt x="221566" y="1104689"/>
                      <a:pt x="214892" y="1113531"/>
                    </a:cubicBezTo>
                    <a:cubicBezTo>
                      <a:pt x="203795" y="1127713"/>
                      <a:pt x="218395" y="1151654"/>
                      <a:pt x="212639" y="1169757"/>
                    </a:cubicBezTo>
                    <a:cubicBezTo>
                      <a:pt x="208218" y="1183021"/>
                      <a:pt x="203795" y="1190111"/>
                      <a:pt x="205965" y="1204293"/>
                    </a:cubicBezTo>
                    <a:cubicBezTo>
                      <a:pt x="207299" y="1212718"/>
                      <a:pt x="211721" y="1221561"/>
                      <a:pt x="209052" y="1229987"/>
                    </a:cubicBezTo>
                    <a:cubicBezTo>
                      <a:pt x="204630" y="1245920"/>
                      <a:pt x="185608" y="1249924"/>
                      <a:pt x="175347" y="1261019"/>
                    </a:cubicBezTo>
                    <a:cubicBezTo>
                      <a:pt x="168256" y="1268527"/>
                      <a:pt x="163417" y="1278704"/>
                      <a:pt x="167338" y="1288965"/>
                    </a:cubicBezTo>
                    <a:cubicBezTo>
                      <a:pt x="171343" y="1297807"/>
                      <a:pt x="181938" y="1300477"/>
                      <a:pt x="182855" y="1311989"/>
                    </a:cubicBezTo>
                    <a:cubicBezTo>
                      <a:pt x="183773" y="1319497"/>
                      <a:pt x="181104" y="1325753"/>
                      <a:pt x="177099" y="1331509"/>
                    </a:cubicBezTo>
                    <a:cubicBezTo>
                      <a:pt x="176181" y="1331092"/>
                      <a:pt x="175764" y="1330591"/>
                      <a:pt x="174847" y="1330174"/>
                    </a:cubicBezTo>
                    <a:cubicBezTo>
                      <a:pt x="166837" y="1324835"/>
                      <a:pt x="158495" y="1319997"/>
                      <a:pt x="149151" y="1315576"/>
                    </a:cubicBezTo>
                    <a:cubicBezTo>
                      <a:pt x="144312" y="1313324"/>
                      <a:pt x="138973" y="1311572"/>
                      <a:pt x="133634" y="1309820"/>
                    </a:cubicBezTo>
                    <a:cubicBezTo>
                      <a:pt x="135886" y="1296556"/>
                      <a:pt x="139390" y="1283709"/>
                      <a:pt x="145146" y="1272197"/>
                    </a:cubicBezTo>
                    <a:cubicBezTo>
                      <a:pt x="148650" y="1265106"/>
                      <a:pt x="153573" y="1258933"/>
                      <a:pt x="158912" y="1252260"/>
                    </a:cubicBezTo>
                    <a:cubicBezTo>
                      <a:pt x="170007" y="1237160"/>
                      <a:pt x="181938" y="1221728"/>
                      <a:pt x="178434" y="1199121"/>
                    </a:cubicBezTo>
                    <a:cubicBezTo>
                      <a:pt x="174013" y="1171175"/>
                      <a:pt x="155408" y="1145481"/>
                      <a:pt x="138973" y="1122457"/>
                    </a:cubicBezTo>
                    <a:cubicBezTo>
                      <a:pt x="133634" y="1114949"/>
                      <a:pt x="127877" y="1106941"/>
                      <a:pt x="123038" y="1099851"/>
                    </a:cubicBezTo>
                    <a:cubicBezTo>
                      <a:pt x="116865" y="1090090"/>
                      <a:pt x="111526" y="1079913"/>
                      <a:pt x="106186" y="1070653"/>
                    </a:cubicBezTo>
                    <a:cubicBezTo>
                      <a:pt x="94256" y="1048463"/>
                      <a:pt x="83160" y="1027692"/>
                      <a:pt x="61469" y="1009089"/>
                    </a:cubicBezTo>
                    <a:cubicBezTo>
                      <a:pt x="49038" y="998495"/>
                      <a:pt x="37526" y="986982"/>
                      <a:pt x="25179" y="974970"/>
                    </a:cubicBezTo>
                    <a:lnTo>
                      <a:pt x="13666" y="963875"/>
                    </a:lnTo>
                    <a:cubicBezTo>
                      <a:pt x="818" y="951946"/>
                      <a:pt x="-3186" y="946190"/>
                      <a:pt x="2570" y="935929"/>
                    </a:cubicBezTo>
                    <a:cubicBezTo>
                      <a:pt x="5239" y="931091"/>
                      <a:pt x="9662" y="927504"/>
                      <a:pt x="15001" y="923499"/>
                    </a:cubicBezTo>
                    <a:cubicBezTo>
                      <a:pt x="21174" y="918661"/>
                      <a:pt x="27849" y="912905"/>
                      <a:pt x="31853" y="903979"/>
                    </a:cubicBezTo>
                    <a:cubicBezTo>
                      <a:pt x="36691" y="893385"/>
                      <a:pt x="34523" y="882707"/>
                      <a:pt x="32270" y="873447"/>
                    </a:cubicBezTo>
                    <a:cubicBezTo>
                      <a:pt x="30936" y="865939"/>
                      <a:pt x="29183" y="859683"/>
                      <a:pt x="31353" y="853510"/>
                    </a:cubicBezTo>
                    <a:cubicBezTo>
                      <a:pt x="37109" y="837159"/>
                      <a:pt x="60135" y="833989"/>
                      <a:pt x="80073" y="831820"/>
                    </a:cubicBezTo>
                    <a:cubicBezTo>
                      <a:pt x="85413" y="831403"/>
                      <a:pt x="90252" y="830485"/>
                      <a:pt x="94256" y="829568"/>
                    </a:cubicBezTo>
                    <a:lnTo>
                      <a:pt x="97760" y="829151"/>
                    </a:lnTo>
                    <a:cubicBezTo>
                      <a:pt x="118617" y="825147"/>
                      <a:pt x="144312" y="820308"/>
                      <a:pt x="160664" y="805209"/>
                    </a:cubicBezTo>
                    <a:cubicBezTo>
                      <a:pt x="180186" y="787024"/>
                      <a:pt x="170842" y="766669"/>
                      <a:pt x="163333" y="750736"/>
                    </a:cubicBezTo>
                    <a:cubicBezTo>
                      <a:pt x="159329" y="741893"/>
                      <a:pt x="155325" y="733468"/>
                      <a:pt x="155325" y="725960"/>
                    </a:cubicBezTo>
                    <a:cubicBezTo>
                      <a:pt x="154907" y="718869"/>
                      <a:pt x="156242" y="713113"/>
                      <a:pt x="156659" y="706940"/>
                    </a:cubicBezTo>
                    <a:cubicBezTo>
                      <a:pt x="158412" y="695428"/>
                      <a:pt x="160163" y="683499"/>
                      <a:pt x="153156" y="667482"/>
                    </a:cubicBezTo>
                    <a:cubicBezTo>
                      <a:pt x="146482" y="652883"/>
                      <a:pt x="146482" y="644458"/>
                      <a:pt x="146982" y="628024"/>
                    </a:cubicBezTo>
                    <a:cubicBezTo>
                      <a:pt x="147899" y="598326"/>
                      <a:pt x="138139" y="573967"/>
                      <a:pt x="127460" y="548775"/>
                    </a:cubicBezTo>
                    <a:cubicBezTo>
                      <a:pt x="124791" y="542101"/>
                      <a:pt x="122121" y="535010"/>
                      <a:pt x="119034" y="527919"/>
                    </a:cubicBezTo>
                    <a:lnTo>
                      <a:pt x="118117" y="525667"/>
                    </a:lnTo>
                    <a:cubicBezTo>
                      <a:pt x="122121" y="522581"/>
                      <a:pt x="126125" y="518993"/>
                      <a:pt x="129629" y="515490"/>
                    </a:cubicBezTo>
                    <a:cubicBezTo>
                      <a:pt x="147816" y="495969"/>
                      <a:pt x="140725" y="480536"/>
                      <a:pt x="134051" y="465855"/>
                    </a:cubicBezTo>
                    <a:cubicBezTo>
                      <a:pt x="132716" y="462768"/>
                      <a:pt x="130964" y="459181"/>
                      <a:pt x="129212" y="455677"/>
                    </a:cubicBezTo>
                    <a:cubicBezTo>
                      <a:pt x="122121" y="438409"/>
                      <a:pt x="126959" y="422476"/>
                      <a:pt x="146065" y="401204"/>
                    </a:cubicBezTo>
                    <a:cubicBezTo>
                      <a:pt x="152739" y="393696"/>
                      <a:pt x="159830" y="385687"/>
                      <a:pt x="168173" y="383518"/>
                    </a:cubicBezTo>
                    <a:cubicBezTo>
                      <a:pt x="174346" y="381266"/>
                      <a:pt x="179685" y="383101"/>
                      <a:pt x="186360" y="384853"/>
                    </a:cubicBezTo>
                    <a:cubicBezTo>
                      <a:pt x="190781" y="386188"/>
                      <a:pt x="196121" y="387523"/>
                      <a:pt x="201459" y="387940"/>
                    </a:cubicBezTo>
                    <a:cubicBezTo>
                      <a:pt x="210803" y="388857"/>
                      <a:pt x="216977" y="385270"/>
                      <a:pt x="222316" y="382601"/>
                    </a:cubicBezTo>
                    <a:cubicBezTo>
                      <a:pt x="225403" y="380849"/>
                      <a:pt x="228490" y="379514"/>
                      <a:pt x="232077" y="378597"/>
                    </a:cubicBezTo>
                    <a:cubicBezTo>
                      <a:pt x="236082" y="377679"/>
                      <a:pt x="240503" y="378180"/>
                      <a:pt x="245342" y="379014"/>
                    </a:cubicBezTo>
                    <a:cubicBezTo>
                      <a:pt x="251098" y="379932"/>
                      <a:pt x="257773" y="380766"/>
                      <a:pt x="264864" y="379014"/>
                    </a:cubicBezTo>
                    <a:cubicBezTo>
                      <a:pt x="288808" y="372841"/>
                      <a:pt x="318507" y="349316"/>
                      <a:pt x="324264" y="344478"/>
                    </a:cubicBezTo>
                    <a:cubicBezTo>
                      <a:pt x="342868" y="328962"/>
                      <a:pt x="341116" y="307689"/>
                      <a:pt x="339364" y="289086"/>
                    </a:cubicBezTo>
                    <a:lnTo>
                      <a:pt x="338447" y="279326"/>
                    </a:lnTo>
                    <a:cubicBezTo>
                      <a:pt x="338029" y="270484"/>
                      <a:pt x="337112" y="261641"/>
                      <a:pt x="333107" y="252715"/>
                    </a:cubicBezTo>
                    <a:cubicBezTo>
                      <a:pt x="331772" y="249629"/>
                      <a:pt x="329604" y="246542"/>
                      <a:pt x="327768" y="243873"/>
                    </a:cubicBezTo>
                    <a:cubicBezTo>
                      <a:pt x="324264" y="239451"/>
                      <a:pt x="322929" y="236782"/>
                      <a:pt x="323347" y="234112"/>
                    </a:cubicBezTo>
                    <a:cubicBezTo>
                      <a:pt x="324681" y="228773"/>
                      <a:pt x="329103" y="227439"/>
                      <a:pt x="339281" y="225687"/>
                    </a:cubicBezTo>
                    <a:cubicBezTo>
                      <a:pt x="345955" y="224352"/>
                      <a:pt x="353046" y="223017"/>
                      <a:pt x="357885" y="219013"/>
                    </a:cubicBezTo>
                    <a:cubicBezTo>
                      <a:pt x="372986" y="207918"/>
                      <a:pt x="386250" y="165374"/>
                      <a:pt x="386667" y="164957"/>
                    </a:cubicBezTo>
                    <a:cubicBezTo>
                      <a:pt x="391506" y="149023"/>
                      <a:pt x="391089" y="124665"/>
                      <a:pt x="379993" y="111318"/>
                    </a:cubicBezTo>
                    <a:cubicBezTo>
                      <a:pt x="364476" y="92714"/>
                      <a:pt x="348958" y="104644"/>
                      <a:pt x="339198" y="112235"/>
                    </a:cubicBezTo>
                    <a:cubicBezTo>
                      <a:pt x="336528" y="114487"/>
                      <a:pt x="333858" y="116239"/>
                      <a:pt x="331188" y="117991"/>
                    </a:cubicBezTo>
                    <a:cubicBezTo>
                      <a:pt x="320093" y="124665"/>
                      <a:pt x="318758" y="123330"/>
                      <a:pt x="313001" y="117073"/>
                    </a:cubicBezTo>
                    <a:cubicBezTo>
                      <a:pt x="309914" y="113570"/>
                      <a:pt x="305910" y="109065"/>
                      <a:pt x="299236" y="105144"/>
                    </a:cubicBezTo>
                    <a:cubicBezTo>
                      <a:pt x="293896" y="102058"/>
                      <a:pt x="287306" y="101641"/>
                      <a:pt x="281049" y="100723"/>
                    </a:cubicBezTo>
                    <a:cubicBezTo>
                      <a:pt x="273958" y="99805"/>
                      <a:pt x="266866" y="98971"/>
                      <a:pt x="264697" y="95384"/>
                    </a:cubicBezTo>
                    <a:cubicBezTo>
                      <a:pt x="261194" y="88710"/>
                      <a:pt x="269536" y="79868"/>
                      <a:pt x="281049" y="69273"/>
                    </a:cubicBezTo>
                    <a:cubicBezTo>
                      <a:pt x="287723" y="63517"/>
                      <a:pt x="293479" y="58178"/>
                      <a:pt x="296566" y="52423"/>
                    </a:cubicBezTo>
                    <a:cubicBezTo>
                      <a:pt x="299653" y="45749"/>
                      <a:pt x="302323" y="39159"/>
                      <a:pt x="304993" y="32485"/>
                    </a:cubicBezTo>
                    <a:cubicBezTo>
                      <a:pt x="308079" y="23642"/>
                      <a:pt x="311166" y="15217"/>
                      <a:pt x="316088" y="8126"/>
                    </a:cubicBezTo>
                    <a:cubicBezTo>
                      <a:pt x="319175" y="3705"/>
                      <a:pt x="323180" y="1035"/>
                      <a:pt x="327184" y="118"/>
                    </a:cubicBezTo>
                    <a:cubicBezTo>
                      <a:pt x="334275" y="-800"/>
                      <a:pt x="344871" y="3622"/>
                      <a:pt x="357718" y="14299"/>
                    </a:cubicBezTo>
                    <a:cubicBezTo>
                      <a:pt x="359053" y="15634"/>
                      <a:pt x="360805" y="16969"/>
                      <a:pt x="362140" y="17803"/>
                    </a:cubicBezTo>
                    <a:cubicBezTo>
                      <a:pt x="366979" y="21807"/>
                      <a:pt x="371900" y="25811"/>
                      <a:pt x="378074" y="28898"/>
                    </a:cubicBezTo>
                    <a:cubicBezTo>
                      <a:pt x="382079" y="31150"/>
                      <a:pt x="386083" y="31567"/>
                      <a:pt x="390004" y="32402"/>
                    </a:cubicBezTo>
                    <a:cubicBezTo>
                      <a:pt x="394426" y="33319"/>
                      <a:pt x="398014" y="33736"/>
                      <a:pt x="401100" y="35905"/>
                    </a:cubicBezTo>
                    <a:cubicBezTo>
                      <a:pt x="407274" y="39909"/>
                      <a:pt x="407774" y="45665"/>
                      <a:pt x="407774" y="55843"/>
                    </a:cubicBezTo>
                    <a:cubicBezTo>
                      <a:pt x="407774" y="67355"/>
                      <a:pt x="408191" y="81536"/>
                      <a:pt x="422374" y="92131"/>
                    </a:cubicBezTo>
                    <a:cubicBezTo>
                      <a:pt x="438309" y="103226"/>
                      <a:pt x="456913" y="102725"/>
                      <a:pt x="474182" y="99222"/>
                    </a:cubicBezTo>
                    <a:cubicBezTo>
                      <a:pt x="473765" y="103643"/>
                      <a:pt x="473264" y="107647"/>
                      <a:pt x="473765" y="111651"/>
                    </a:cubicBezTo>
                    <a:cubicBezTo>
                      <a:pt x="475100" y="121828"/>
                      <a:pt x="485278" y="126250"/>
                      <a:pt x="486612" y="136010"/>
                    </a:cubicBezTo>
                    <a:cubicBezTo>
                      <a:pt x="487948" y="144435"/>
                      <a:pt x="480439" y="150191"/>
                      <a:pt x="479104" y="158116"/>
                    </a:cubicBezTo>
                    <a:cubicBezTo>
                      <a:pt x="476018" y="180723"/>
                      <a:pt x="505717" y="197574"/>
                      <a:pt x="505217" y="221933"/>
                    </a:cubicBezTo>
                    <a:cubicBezTo>
                      <a:pt x="504800" y="233028"/>
                      <a:pt x="503882" y="240119"/>
                      <a:pt x="508303" y="251130"/>
                    </a:cubicBezTo>
                    <a:cubicBezTo>
                      <a:pt x="512308" y="260890"/>
                      <a:pt x="518064" y="267981"/>
                      <a:pt x="519817" y="278159"/>
                    </a:cubicBezTo>
                    <a:cubicBezTo>
                      <a:pt x="523320" y="303852"/>
                      <a:pt x="521151" y="334384"/>
                      <a:pt x="519400" y="360578"/>
                    </a:cubicBezTo>
                    <a:cubicBezTo>
                      <a:pt x="517647" y="387606"/>
                      <a:pt x="519400" y="411965"/>
                      <a:pt x="519817" y="438576"/>
                    </a:cubicBezTo>
                    <a:cubicBezTo>
                      <a:pt x="520234" y="464269"/>
                      <a:pt x="507886" y="487294"/>
                      <a:pt x="508720" y="513404"/>
                    </a:cubicBezTo>
                    <a:cubicBezTo>
                      <a:pt x="509137" y="536011"/>
                      <a:pt x="517147" y="561204"/>
                      <a:pt x="511807" y="582977"/>
                    </a:cubicBezTo>
                    <a:cubicBezTo>
                      <a:pt x="508720" y="596241"/>
                      <a:pt x="507803" y="600662"/>
                      <a:pt x="512725" y="614426"/>
                    </a:cubicBezTo>
                    <a:cubicBezTo>
                      <a:pt x="516229" y="624604"/>
                      <a:pt x="522069" y="632112"/>
                      <a:pt x="518064" y="642789"/>
                    </a:cubicBezTo>
                    <a:cubicBezTo>
                      <a:pt x="514977" y="651632"/>
                      <a:pt x="504800" y="655636"/>
                      <a:pt x="503882" y="665396"/>
                    </a:cubicBezTo>
                    <a:cubicBezTo>
                      <a:pt x="502964" y="672904"/>
                      <a:pt x="508303" y="679161"/>
                      <a:pt x="508720" y="686669"/>
                    </a:cubicBezTo>
                    <a:cubicBezTo>
                      <a:pt x="509137" y="701267"/>
                      <a:pt x="505634" y="708358"/>
                      <a:pt x="509639" y="723457"/>
                    </a:cubicBezTo>
                    <a:cubicBezTo>
                      <a:pt x="512308" y="733635"/>
                      <a:pt x="514477" y="743812"/>
                      <a:pt x="518064" y="754490"/>
                    </a:cubicBezTo>
                    <a:cubicBezTo>
                      <a:pt x="521568" y="765084"/>
                      <a:pt x="526074" y="773092"/>
                      <a:pt x="523404" y="784187"/>
                    </a:cubicBezTo>
                    <a:cubicBezTo>
                      <a:pt x="522236" y="794615"/>
                      <a:pt x="515144" y="801705"/>
                      <a:pt x="513893" y="81146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32793695" name="Полилиния 417"/>
              <p:cNvSpPr/>
              <p:nvPr/>
            </p:nvSpPr>
            <p:spPr bwMode="auto">
              <a:xfrm>
                <a:off x="11176868" y="2479990"/>
                <a:ext cx="101448" cy="34999"/>
              </a:xfrm>
              <a:custGeom>
                <a:avLst/>
                <a:gdLst>
                  <a:gd name="connsiteX0" fmla="*/ 0 w 113929"/>
                  <a:gd name="connsiteY0" fmla="*/ 25374 h 39306"/>
                  <a:gd name="connsiteX1" fmla="*/ 4004 w 113929"/>
                  <a:gd name="connsiteY1" fmla="*/ 16532 h 39306"/>
                  <a:gd name="connsiteX2" fmla="*/ 11096 w 113929"/>
                  <a:gd name="connsiteY2" fmla="*/ 11693 h 39306"/>
                  <a:gd name="connsiteX3" fmla="*/ 14600 w 113929"/>
                  <a:gd name="connsiteY3" fmla="*/ 4185 h 39306"/>
                  <a:gd name="connsiteX4" fmla="*/ 21274 w 113929"/>
                  <a:gd name="connsiteY4" fmla="*/ 181 h 39306"/>
                  <a:gd name="connsiteX5" fmla="*/ 25695 w 113929"/>
                  <a:gd name="connsiteY5" fmla="*/ 5520 h 39306"/>
                  <a:gd name="connsiteX6" fmla="*/ 35874 w 113929"/>
                  <a:gd name="connsiteY6" fmla="*/ 11693 h 39306"/>
                  <a:gd name="connsiteX7" fmla="*/ 48304 w 113929"/>
                  <a:gd name="connsiteY7" fmla="*/ 12110 h 39306"/>
                  <a:gd name="connsiteX8" fmla="*/ 75751 w 113929"/>
                  <a:gd name="connsiteY8" fmla="*/ 10359 h 39306"/>
                  <a:gd name="connsiteX9" fmla="*/ 80173 w 113929"/>
                  <a:gd name="connsiteY9" fmla="*/ 9441 h 39306"/>
                  <a:gd name="connsiteX10" fmla="*/ 87264 w 113929"/>
                  <a:gd name="connsiteY10" fmla="*/ 3268 h 39306"/>
                  <a:gd name="connsiteX11" fmla="*/ 100529 w 113929"/>
                  <a:gd name="connsiteY11" fmla="*/ 3268 h 39306"/>
                  <a:gd name="connsiteX12" fmla="*/ 103199 w 113929"/>
                  <a:gd name="connsiteY12" fmla="*/ 6771 h 39306"/>
                  <a:gd name="connsiteX13" fmla="*/ 109873 w 113929"/>
                  <a:gd name="connsiteY13" fmla="*/ 10776 h 39306"/>
                  <a:gd name="connsiteX14" fmla="*/ 113878 w 113929"/>
                  <a:gd name="connsiteY14" fmla="*/ 16949 h 39306"/>
                  <a:gd name="connsiteX15" fmla="*/ 109039 w 113929"/>
                  <a:gd name="connsiteY15" fmla="*/ 21370 h 39306"/>
                  <a:gd name="connsiteX16" fmla="*/ 102365 w 113929"/>
                  <a:gd name="connsiteY16" fmla="*/ 24040 h 39306"/>
                  <a:gd name="connsiteX17" fmla="*/ 99695 w 113929"/>
                  <a:gd name="connsiteY17" fmla="*/ 27543 h 39306"/>
                  <a:gd name="connsiteX18" fmla="*/ 82843 w 113929"/>
                  <a:gd name="connsiteY18" fmla="*/ 32382 h 39306"/>
                  <a:gd name="connsiteX19" fmla="*/ 74417 w 113929"/>
                  <a:gd name="connsiteY19" fmla="*/ 38555 h 39306"/>
                  <a:gd name="connsiteX20" fmla="*/ 66908 w 113929"/>
                  <a:gd name="connsiteY20" fmla="*/ 38972 h 39306"/>
                  <a:gd name="connsiteX21" fmla="*/ 17270 w 113929"/>
                  <a:gd name="connsiteY21" fmla="*/ 38054 h 39306"/>
                  <a:gd name="connsiteX22" fmla="*/ 9761 w 113929"/>
                  <a:gd name="connsiteY22" fmla="*/ 37637 h 39306"/>
                  <a:gd name="connsiteX23" fmla="*/ 0 w 113929"/>
                  <a:gd name="connsiteY23" fmla="*/ 25374 h 39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3929" h="39306" extrusionOk="0">
                    <a:moveTo>
                      <a:pt x="0" y="25374"/>
                    </a:moveTo>
                    <a:cubicBezTo>
                      <a:pt x="0" y="22288"/>
                      <a:pt x="1335" y="18701"/>
                      <a:pt x="4004" y="16532"/>
                    </a:cubicBezTo>
                    <a:cubicBezTo>
                      <a:pt x="6257" y="14780"/>
                      <a:pt x="9344" y="13862"/>
                      <a:pt x="11096" y="11693"/>
                    </a:cubicBezTo>
                    <a:cubicBezTo>
                      <a:pt x="12848" y="9441"/>
                      <a:pt x="13765" y="6855"/>
                      <a:pt x="14600" y="4185"/>
                    </a:cubicBezTo>
                    <a:cubicBezTo>
                      <a:pt x="15934" y="1516"/>
                      <a:pt x="18604" y="-653"/>
                      <a:pt x="21274" y="181"/>
                    </a:cubicBezTo>
                    <a:cubicBezTo>
                      <a:pt x="23527" y="1099"/>
                      <a:pt x="24361" y="3685"/>
                      <a:pt x="25695" y="5520"/>
                    </a:cubicBezTo>
                    <a:cubicBezTo>
                      <a:pt x="27948" y="9024"/>
                      <a:pt x="31869" y="10859"/>
                      <a:pt x="35874" y="11693"/>
                    </a:cubicBezTo>
                    <a:cubicBezTo>
                      <a:pt x="39878" y="12611"/>
                      <a:pt x="44299" y="12110"/>
                      <a:pt x="48304" y="12110"/>
                    </a:cubicBezTo>
                    <a:cubicBezTo>
                      <a:pt x="57648" y="11693"/>
                      <a:pt x="66491" y="10776"/>
                      <a:pt x="75751" y="10359"/>
                    </a:cubicBezTo>
                    <a:cubicBezTo>
                      <a:pt x="77087" y="10359"/>
                      <a:pt x="78838" y="10359"/>
                      <a:pt x="80173" y="9441"/>
                    </a:cubicBezTo>
                    <a:cubicBezTo>
                      <a:pt x="83260" y="8106"/>
                      <a:pt x="85012" y="5437"/>
                      <a:pt x="87264" y="3268"/>
                    </a:cubicBezTo>
                    <a:cubicBezTo>
                      <a:pt x="90768" y="181"/>
                      <a:pt x="97442" y="-236"/>
                      <a:pt x="100529" y="3268"/>
                    </a:cubicBezTo>
                    <a:cubicBezTo>
                      <a:pt x="101447" y="4185"/>
                      <a:pt x="101864" y="5520"/>
                      <a:pt x="103199" y="6771"/>
                    </a:cubicBezTo>
                    <a:cubicBezTo>
                      <a:pt x="104951" y="8523"/>
                      <a:pt x="107621" y="9441"/>
                      <a:pt x="109873" y="10776"/>
                    </a:cubicBezTo>
                    <a:cubicBezTo>
                      <a:pt x="112126" y="12110"/>
                      <a:pt x="114295" y="14279"/>
                      <a:pt x="113878" y="16949"/>
                    </a:cubicBezTo>
                    <a:cubicBezTo>
                      <a:pt x="113460" y="19201"/>
                      <a:pt x="111208" y="20953"/>
                      <a:pt x="109039" y="21370"/>
                    </a:cubicBezTo>
                    <a:cubicBezTo>
                      <a:pt x="106786" y="22288"/>
                      <a:pt x="104200" y="22705"/>
                      <a:pt x="102365" y="24040"/>
                    </a:cubicBezTo>
                    <a:cubicBezTo>
                      <a:pt x="101447" y="24957"/>
                      <a:pt x="100612" y="26292"/>
                      <a:pt x="99695" y="27543"/>
                    </a:cubicBezTo>
                    <a:cubicBezTo>
                      <a:pt x="95691" y="31964"/>
                      <a:pt x="88182" y="29795"/>
                      <a:pt x="82843" y="32382"/>
                    </a:cubicBezTo>
                    <a:cubicBezTo>
                      <a:pt x="79756" y="34133"/>
                      <a:pt x="77504" y="37220"/>
                      <a:pt x="74417" y="38555"/>
                    </a:cubicBezTo>
                    <a:cubicBezTo>
                      <a:pt x="72164" y="39472"/>
                      <a:pt x="69578" y="39472"/>
                      <a:pt x="66908" y="38972"/>
                    </a:cubicBezTo>
                    <a:cubicBezTo>
                      <a:pt x="50556" y="37637"/>
                      <a:pt x="33705" y="37220"/>
                      <a:pt x="17270" y="38054"/>
                    </a:cubicBezTo>
                    <a:cubicBezTo>
                      <a:pt x="14600" y="38054"/>
                      <a:pt x="11930" y="38471"/>
                      <a:pt x="9761" y="37637"/>
                    </a:cubicBezTo>
                    <a:cubicBezTo>
                      <a:pt x="4839" y="37387"/>
                      <a:pt x="417" y="30296"/>
                      <a:pt x="0" y="253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71680981" name="Полилиния 418"/>
              <p:cNvSpPr/>
              <p:nvPr/>
            </p:nvSpPr>
            <p:spPr bwMode="auto">
              <a:xfrm>
                <a:off x="10619012" y="2328838"/>
                <a:ext cx="59583" cy="127541"/>
              </a:xfrm>
              <a:custGeom>
                <a:avLst/>
                <a:gdLst>
                  <a:gd name="connsiteX0" fmla="*/ 53181 w 66915"/>
                  <a:gd name="connsiteY0" fmla="*/ 64903 h 143234"/>
                  <a:gd name="connsiteX1" fmla="*/ 50928 w 66915"/>
                  <a:gd name="connsiteY1" fmla="*/ 49387 h 143234"/>
                  <a:gd name="connsiteX2" fmla="*/ 57602 w 66915"/>
                  <a:gd name="connsiteY2" fmla="*/ 36123 h 143234"/>
                  <a:gd name="connsiteX3" fmla="*/ 60689 w 66915"/>
                  <a:gd name="connsiteY3" fmla="*/ 34371 h 143234"/>
                  <a:gd name="connsiteX4" fmla="*/ 59772 w 66915"/>
                  <a:gd name="connsiteY4" fmla="*/ 20190 h 143234"/>
                  <a:gd name="connsiteX5" fmla="*/ 46006 w 66915"/>
                  <a:gd name="connsiteY5" fmla="*/ 11347 h 143234"/>
                  <a:gd name="connsiteX6" fmla="*/ 36662 w 66915"/>
                  <a:gd name="connsiteY6" fmla="*/ 4674 h 143234"/>
                  <a:gd name="connsiteX7" fmla="*/ 23397 w 66915"/>
                  <a:gd name="connsiteY7" fmla="*/ 669 h 143234"/>
                  <a:gd name="connsiteX8" fmla="*/ 10967 w 66915"/>
                  <a:gd name="connsiteY8" fmla="*/ 2421 h 143234"/>
                  <a:gd name="connsiteX9" fmla="*/ 6963 w 66915"/>
                  <a:gd name="connsiteY9" fmla="*/ 8594 h 143234"/>
                  <a:gd name="connsiteX10" fmla="*/ 289 w 66915"/>
                  <a:gd name="connsiteY10" fmla="*/ 16603 h 143234"/>
                  <a:gd name="connsiteX11" fmla="*/ 5127 w 66915"/>
                  <a:gd name="connsiteY11" fmla="*/ 28532 h 143234"/>
                  <a:gd name="connsiteX12" fmla="*/ 7797 w 66915"/>
                  <a:gd name="connsiteY12" fmla="*/ 53808 h 143234"/>
                  <a:gd name="connsiteX13" fmla="*/ 2958 w 66915"/>
                  <a:gd name="connsiteY13" fmla="*/ 64403 h 143234"/>
                  <a:gd name="connsiteX14" fmla="*/ 2040 w 66915"/>
                  <a:gd name="connsiteY14" fmla="*/ 75915 h 143234"/>
                  <a:gd name="connsiteX15" fmla="*/ 10466 w 66915"/>
                  <a:gd name="connsiteY15" fmla="*/ 84757 h 143234"/>
                  <a:gd name="connsiteX16" fmla="*/ 33075 w 66915"/>
                  <a:gd name="connsiteY16" fmla="*/ 104695 h 143234"/>
                  <a:gd name="connsiteX17" fmla="*/ 41918 w 66915"/>
                  <a:gd name="connsiteY17" fmla="*/ 114872 h 143234"/>
                  <a:gd name="connsiteX18" fmla="*/ 44588 w 66915"/>
                  <a:gd name="connsiteY18" fmla="*/ 127719 h 143234"/>
                  <a:gd name="connsiteX19" fmla="*/ 51262 w 66915"/>
                  <a:gd name="connsiteY19" fmla="*/ 136144 h 143234"/>
                  <a:gd name="connsiteX20" fmla="*/ 51679 w 66915"/>
                  <a:gd name="connsiteY20" fmla="*/ 139648 h 143234"/>
                  <a:gd name="connsiteX21" fmla="*/ 54766 w 66915"/>
                  <a:gd name="connsiteY21" fmla="*/ 141900 h 143234"/>
                  <a:gd name="connsiteX22" fmla="*/ 66279 w 66915"/>
                  <a:gd name="connsiteY22" fmla="*/ 140566 h 143234"/>
                  <a:gd name="connsiteX23" fmla="*/ 64944 w 66915"/>
                  <a:gd name="connsiteY23" fmla="*/ 133058 h 143234"/>
                  <a:gd name="connsiteX24" fmla="*/ 59605 w 66915"/>
                  <a:gd name="connsiteY24" fmla="*/ 126885 h 143234"/>
                  <a:gd name="connsiteX25" fmla="*/ 58687 w 66915"/>
                  <a:gd name="connsiteY25" fmla="*/ 116290 h 143234"/>
                  <a:gd name="connsiteX26" fmla="*/ 56935 w 66915"/>
                  <a:gd name="connsiteY26" fmla="*/ 103443 h 143234"/>
                  <a:gd name="connsiteX27" fmla="*/ 52931 w 66915"/>
                  <a:gd name="connsiteY27" fmla="*/ 93683 h 143234"/>
                  <a:gd name="connsiteX28" fmla="*/ 54265 w 66915"/>
                  <a:gd name="connsiteY28" fmla="*/ 81754 h 143234"/>
                  <a:gd name="connsiteX29" fmla="*/ 53181 w 66915"/>
                  <a:gd name="connsiteY29" fmla="*/ 64903 h 143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6915" h="143234" extrusionOk="0">
                    <a:moveTo>
                      <a:pt x="53181" y="64903"/>
                    </a:moveTo>
                    <a:cubicBezTo>
                      <a:pt x="52263" y="59564"/>
                      <a:pt x="50928" y="54726"/>
                      <a:pt x="50928" y="49387"/>
                    </a:cubicBezTo>
                    <a:cubicBezTo>
                      <a:pt x="51345" y="44048"/>
                      <a:pt x="53181" y="38792"/>
                      <a:pt x="57602" y="36123"/>
                    </a:cubicBezTo>
                    <a:cubicBezTo>
                      <a:pt x="58520" y="35706"/>
                      <a:pt x="59855" y="34788"/>
                      <a:pt x="60689" y="34371"/>
                    </a:cubicBezTo>
                    <a:cubicBezTo>
                      <a:pt x="64693" y="30868"/>
                      <a:pt x="63359" y="23777"/>
                      <a:pt x="59772" y="20190"/>
                    </a:cubicBezTo>
                    <a:cubicBezTo>
                      <a:pt x="56268" y="16686"/>
                      <a:pt x="50928" y="14434"/>
                      <a:pt x="46006" y="11347"/>
                    </a:cubicBezTo>
                    <a:cubicBezTo>
                      <a:pt x="42919" y="9095"/>
                      <a:pt x="40250" y="6509"/>
                      <a:pt x="36662" y="4674"/>
                    </a:cubicBezTo>
                    <a:cubicBezTo>
                      <a:pt x="32658" y="2421"/>
                      <a:pt x="28237" y="1587"/>
                      <a:pt x="23397" y="669"/>
                    </a:cubicBezTo>
                    <a:cubicBezTo>
                      <a:pt x="18976" y="-248"/>
                      <a:pt x="14054" y="-665"/>
                      <a:pt x="10967" y="2421"/>
                    </a:cubicBezTo>
                    <a:cubicBezTo>
                      <a:pt x="9215" y="4173"/>
                      <a:pt x="8297" y="6425"/>
                      <a:pt x="6963" y="8594"/>
                    </a:cubicBezTo>
                    <a:cubicBezTo>
                      <a:pt x="4710" y="11264"/>
                      <a:pt x="1206" y="13433"/>
                      <a:pt x="289" y="16603"/>
                    </a:cubicBezTo>
                    <a:cubicBezTo>
                      <a:pt x="-1047" y="21024"/>
                      <a:pt x="2540" y="25028"/>
                      <a:pt x="5127" y="28532"/>
                    </a:cubicBezTo>
                    <a:cubicBezTo>
                      <a:pt x="9966" y="36040"/>
                      <a:pt x="10883" y="45800"/>
                      <a:pt x="7797" y="53808"/>
                    </a:cubicBezTo>
                    <a:cubicBezTo>
                      <a:pt x="6462" y="57312"/>
                      <a:pt x="4293" y="60899"/>
                      <a:pt x="2958" y="64403"/>
                    </a:cubicBezTo>
                    <a:cubicBezTo>
                      <a:pt x="1623" y="67906"/>
                      <a:pt x="706" y="71910"/>
                      <a:pt x="2040" y="75915"/>
                    </a:cubicBezTo>
                    <a:cubicBezTo>
                      <a:pt x="3792" y="79919"/>
                      <a:pt x="7380" y="82088"/>
                      <a:pt x="10466" y="84757"/>
                    </a:cubicBezTo>
                    <a:cubicBezTo>
                      <a:pt x="18476" y="90513"/>
                      <a:pt x="25984" y="97604"/>
                      <a:pt x="33075" y="104695"/>
                    </a:cubicBezTo>
                    <a:cubicBezTo>
                      <a:pt x="36162" y="107781"/>
                      <a:pt x="39248" y="110868"/>
                      <a:pt x="41918" y="114872"/>
                    </a:cubicBezTo>
                    <a:cubicBezTo>
                      <a:pt x="44171" y="118876"/>
                      <a:pt x="45422" y="123297"/>
                      <a:pt x="44588" y="127719"/>
                    </a:cubicBezTo>
                    <a:cubicBezTo>
                      <a:pt x="48092" y="129053"/>
                      <a:pt x="50762" y="132557"/>
                      <a:pt x="51262" y="136144"/>
                    </a:cubicBezTo>
                    <a:cubicBezTo>
                      <a:pt x="51262" y="137479"/>
                      <a:pt x="51262" y="138814"/>
                      <a:pt x="51679" y="139648"/>
                    </a:cubicBezTo>
                    <a:cubicBezTo>
                      <a:pt x="52096" y="140566"/>
                      <a:pt x="53431" y="141400"/>
                      <a:pt x="54766" y="141900"/>
                    </a:cubicBezTo>
                    <a:cubicBezTo>
                      <a:pt x="58771" y="143235"/>
                      <a:pt x="64110" y="144570"/>
                      <a:pt x="66279" y="140566"/>
                    </a:cubicBezTo>
                    <a:cubicBezTo>
                      <a:pt x="67613" y="138313"/>
                      <a:pt x="66696" y="135227"/>
                      <a:pt x="64944" y="133058"/>
                    </a:cubicBezTo>
                    <a:cubicBezTo>
                      <a:pt x="63192" y="130805"/>
                      <a:pt x="60939" y="129053"/>
                      <a:pt x="59605" y="126885"/>
                    </a:cubicBezTo>
                    <a:cubicBezTo>
                      <a:pt x="57352" y="123798"/>
                      <a:pt x="57352" y="119794"/>
                      <a:pt x="58687" y="116290"/>
                    </a:cubicBezTo>
                    <a:cubicBezTo>
                      <a:pt x="60939" y="110534"/>
                      <a:pt x="60022" y="108782"/>
                      <a:pt x="56935" y="103443"/>
                    </a:cubicBezTo>
                    <a:cubicBezTo>
                      <a:pt x="55183" y="100357"/>
                      <a:pt x="53431" y="97687"/>
                      <a:pt x="52931" y="93683"/>
                    </a:cubicBezTo>
                    <a:cubicBezTo>
                      <a:pt x="52513" y="89679"/>
                      <a:pt x="53848" y="85675"/>
                      <a:pt x="54265" y="81754"/>
                    </a:cubicBezTo>
                    <a:cubicBezTo>
                      <a:pt x="55433" y="75581"/>
                      <a:pt x="54516" y="70242"/>
                      <a:pt x="53181" y="6490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52865681" name="Полилиния 419"/>
              <p:cNvSpPr/>
              <p:nvPr/>
            </p:nvSpPr>
            <p:spPr bwMode="auto">
              <a:xfrm>
                <a:off x="11275776" y="3551153"/>
                <a:ext cx="60039" cy="159050"/>
              </a:xfrm>
              <a:custGeom>
                <a:avLst/>
                <a:gdLst>
                  <a:gd name="connsiteX0" fmla="*/ 27580 w 67426"/>
                  <a:gd name="connsiteY0" fmla="*/ 10497 h 178619"/>
                  <a:gd name="connsiteX1" fmla="*/ 36423 w 67426"/>
                  <a:gd name="connsiteY1" fmla="*/ 11415 h 178619"/>
                  <a:gd name="connsiteX2" fmla="*/ 43932 w 67426"/>
                  <a:gd name="connsiteY2" fmla="*/ 18089 h 178619"/>
                  <a:gd name="connsiteX3" fmla="*/ 41262 w 67426"/>
                  <a:gd name="connsiteY3" fmla="*/ 27849 h 178619"/>
                  <a:gd name="connsiteX4" fmla="*/ 36423 w 67426"/>
                  <a:gd name="connsiteY4" fmla="*/ 31352 h 178619"/>
                  <a:gd name="connsiteX5" fmla="*/ 32419 w 67426"/>
                  <a:gd name="connsiteY5" fmla="*/ 46869 h 178619"/>
                  <a:gd name="connsiteX6" fmla="*/ 42180 w 67426"/>
                  <a:gd name="connsiteY6" fmla="*/ 60633 h 178619"/>
                  <a:gd name="connsiteX7" fmla="*/ 46184 w 67426"/>
                  <a:gd name="connsiteY7" fmla="*/ 65472 h 178619"/>
                  <a:gd name="connsiteX8" fmla="*/ 47102 w 67426"/>
                  <a:gd name="connsiteY8" fmla="*/ 74815 h 178619"/>
                  <a:gd name="connsiteX9" fmla="*/ 55945 w 67426"/>
                  <a:gd name="connsiteY9" fmla="*/ 81905 h 178619"/>
                  <a:gd name="connsiteX10" fmla="*/ 59032 w 67426"/>
                  <a:gd name="connsiteY10" fmla="*/ 92500 h 178619"/>
                  <a:gd name="connsiteX11" fmla="*/ 58114 w 67426"/>
                  <a:gd name="connsiteY11" fmla="*/ 137213 h 178619"/>
                  <a:gd name="connsiteX12" fmla="*/ 57197 w 67426"/>
                  <a:gd name="connsiteY12" fmla="*/ 153564 h 178619"/>
                  <a:gd name="connsiteX13" fmla="*/ 66040 w 67426"/>
                  <a:gd name="connsiteY13" fmla="*/ 166411 h 178619"/>
                  <a:gd name="connsiteX14" fmla="*/ 67375 w 67426"/>
                  <a:gd name="connsiteY14" fmla="*/ 168663 h 178619"/>
                  <a:gd name="connsiteX15" fmla="*/ 63370 w 67426"/>
                  <a:gd name="connsiteY15" fmla="*/ 172167 h 178619"/>
                  <a:gd name="connsiteX16" fmla="*/ 45684 w 67426"/>
                  <a:gd name="connsiteY16" fmla="*/ 177505 h 178619"/>
                  <a:gd name="connsiteX17" fmla="*/ 37257 w 67426"/>
                  <a:gd name="connsiteY17" fmla="*/ 177922 h 178619"/>
                  <a:gd name="connsiteX18" fmla="*/ 29749 w 67426"/>
                  <a:gd name="connsiteY18" fmla="*/ 166828 h 178619"/>
                  <a:gd name="connsiteX19" fmla="*/ 11562 w 67426"/>
                  <a:gd name="connsiteY19" fmla="*/ 158402 h 178619"/>
                  <a:gd name="connsiteX20" fmla="*/ 13815 w 67426"/>
                  <a:gd name="connsiteY20" fmla="*/ 149059 h 178619"/>
                  <a:gd name="connsiteX21" fmla="*/ 18653 w 67426"/>
                  <a:gd name="connsiteY21" fmla="*/ 140633 h 178619"/>
                  <a:gd name="connsiteX22" fmla="*/ 19071 w 67426"/>
                  <a:gd name="connsiteY22" fmla="*/ 130039 h 178619"/>
                  <a:gd name="connsiteX23" fmla="*/ 26162 w 67426"/>
                  <a:gd name="connsiteY23" fmla="*/ 121197 h 178619"/>
                  <a:gd name="connsiteX24" fmla="*/ 23075 w 67426"/>
                  <a:gd name="connsiteY24" fmla="*/ 99507 h 178619"/>
                  <a:gd name="connsiteX25" fmla="*/ 18236 w 67426"/>
                  <a:gd name="connsiteY25" fmla="*/ 87578 h 178619"/>
                  <a:gd name="connsiteX26" fmla="*/ 12062 w 67426"/>
                  <a:gd name="connsiteY26" fmla="*/ 81822 h 178619"/>
                  <a:gd name="connsiteX27" fmla="*/ 11145 w 67426"/>
                  <a:gd name="connsiteY27" fmla="*/ 43699 h 178619"/>
                  <a:gd name="connsiteX28" fmla="*/ 18653 w 67426"/>
                  <a:gd name="connsiteY28" fmla="*/ 45951 h 178619"/>
                  <a:gd name="connsiteX29" fmla="*/ 25328 w 67426"/>
                  <a:gd name="connsiteY29" fmla="*/ 43282 h 178619"/>
                  <a:gd name="connsiteX30" fmla="*/ 21323 w 67426"/>
                  <a:gd name="connsiteY30" fmla="*/ 36608 h 178619"/>
                  <a:gd name="connsiteX31" fmla="*/ 12480 w 67426"/>
                  <a:gd name="connsiteY31" fmla="*/ 33521 h 178619"/>
                  <a:gd name="connsiteX32" fmla="*/ 10728 w 67426"/>
                  <a:gd name="connsiteY32" fmla="*/ 33521 h 178619"/>
                  <a:gd name="connsiteX33" fmla="*/ 9393 w 67426"/>
                  <a:gd name="connsiteY33" fmla="*/ 31770 h 178619"/>
                  <a:gd name="connsiteX34" fmla="*/ 9393 w 67426"/>
                  <a:gd name="connsiteY34" fmla="*/ 20258 h 178619"/>
                  <a:gd name="connsiteX35" fmla="*/ 10311 w 67426"/>
                  <a:gd name="connsiteY35" fmla="*/ 4324 h 178619"/>
                  <a:gd name="connsiteX36" fmla="*/ 27580 w 67426"/>
                  <a:gd name="connsiteY36" fmla="*/ 10497 h 1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7426" h="178619" extrusionOk="0">
                    <a:moveTo>
                      <a:pt x="27580" y="10497"/>
                    </a:moveTo>
                    <a:cubicBezTo>
                      <a:pt x="30250" y="11832"/>
                      <a:pt x="33336" y="10914"/>
                      <a:pt x="36423" y="11415"/>
                    </a:cubicBezTo>
                    <a:cubicBezTo>
                      <a:pt x="39927" y="11832"/>
                      <a:pt x="43097" y="14919"/>
                      <a:pt x="43932" y="18089"/>
                    </a:cubicBezTo>
                    <a:cubicBezTo>
                      <a:pt x="44850" y="21592"/>
                      <a:pt x="43932" y="25179"/>
                      <a:pt x="41262" y="27849"/>
                    </a:cubicBezTo>
                    <a:cubicBezTo>
                      <a:pt x="39927" y="29184"/>
                      <a:pt x="37758" y="30101"/>
                      <a:pt x="36423" y="31352"/>
                    </a:cubicBezTo>
                    <a:cubicBezTo>
                      <a:pt x="32002" y="34856"/>
                      <a:pt x="30667" y="41530"/>
                      <a:pt x="32419" y="46869"/>
                    </a:cubicBezTo>
                    <a:cubicBezTo>
                      <a:pt x="33753" y="52208"/>
                      <a:pt x="37758" y="57046"/>
                      <a:pt x="42180" y="60633"/>
                    </a:cubicBezTo>
                    <a:cubicBezTo>
                      <a:pt x="43514" y="61968"/>
                      <a:pt x="45267" y="63303"/>
                      <a:pt x="46184" y="65472"/>
                    </a:cubicBezTo>
                    <a:cubicBezTo>
                      <a:pt x="47102" y="68558"/>
                      <a:pt x="45767" y="72145"/>
                      <a:pt x="47102" y="74815"/>
                    </a:cubicBezTo>
                    <a:cubicBezTo>
                      <a:pt x="48437" y="78318"/>
                      <a:pt x="53276" y="79236"/>
                      <a:pt x="55945" y="81905"/>
                    </a:cubicBezTo>
                    <a:cubicBezTo>
                      <a:pt x="58615" y="84575"/>
                      <a:pt x="59032" y="88996"/>
                      <a:pt x="59032" y="92500"/>
                    </a:cubicBezTo>
                    <a:cubicBezTo>
                      <a:pt x="59950" y="107599"/>
                      <a:pt x="60367" y="122615"/>
                      <a:pt x="58114" y="137213"/>
                    </a:cubicBezTo>
                    <a:cubicBezTo>
                      <a:pt x="57197" y="142552"/>
                      <a:pt x="55861" y="148308"/>
                      <a:pt x="57197" y="153564"/>
                    </a:cubicBezTo>
                    <a:cubicBezTo>
                      <a:pt x="58531" y="158903"/>
                      <a:pt x="62035" y="162907"/>
                      <a:pt x="66040" y="166411"/>
                    </a:cubicBezTo>
                    <a:cubicBezTo>
                      <a:pt x="66457" y="166828"/>
                      <a:pt x="67375" y="167745"/>
                      <a:pt x="67375" y="168663"/>
                    </a:cubicBezTo>
                    <a:cubicBezTo>
                      <a:pt x="67792" y="170415"/>
                      <a:pt x="65623" y="171749"/>
                      <a:pt x="63370" y="172167"/>
                    </a:cubicBezTo>
                    <a:cubicBezTo>
                      <a:pt x="57614" y="173918"/>
                      <a:pt x="51440" y="175670"/>
                      <a:pt x="45684" y="177505"/>
                    </a:cubicBezTo>
                    <a:cubicBezTo>
                      <a:pt x="43014" y="178423"/>
                      <a:pt x="39927" y="179257"/>
                      <a:pt x="37257" y="177922"/>
                    </a:cubicBezTo>
                    <a:cubicBezTo>
                      <a:pt x="33253" y="175670"/>
                      <a:pt x="32836" y="169914"/>
                      <a:pt x="29749" y="166828"/>
                    </a:cubicBezTo>
                    <a:cubicBezTo>
                      <a:pt x="24910" y="161989"/>
                      <a:pt x="14232" y="165076"/>
                      <a:pt x="11562" y="158402"/>
                    </a:cubicBezTo>
                    <a:cubicBezTo>
                      <a:pt x="10228" y="155315"/>
                      <a:pt x="11979" y="151728"/>
                      <a:pt x="13815" y="149059"/>
                    </a:cubicBezTo>
                    <a:cubicBezTo>
                      <a:pt x="15566" y="146390"/>
                      <a:pt x="18236" y="143720"/>
                      <a:pt x="18653" y="140633"/>
                    </a:cubicBezTo>
                    <a:cubicBezTo>
                      <a:pt x="19571" y="137130"/>
                      <a:pt x="18236" y="133543"/>
                      <a:pt x="19071" y="130039"/>
                    </a:cubicBezTo>
                    <a:cubicBezTo>
                      <a:pt x="20405" y="126535"/>
                      <a:pt x="24410" y="124700"/>
                      <a:pt x="26162" y="121197"/>
                    </a:cubicBezTo>
                    <a:cubicBezTo>
                      <a:pt x="30166" y="115023"/>
                      <a:pt x="25745" y="106598"/>
                      <a:pt x="23075" y="99507"/>
                    </a:cubicBezTo>
                    <a:cubicBezTo>
                      <a:pt x="21740" y="95503"/>
                      <a:pt x="20822" y="90665"/>
                      <a:pt x="18236" y="87578"/>
                    </a:cubicBezTo>
                    <a:cubicBezTo>
                      <a:pt x="16485" y="85326"/>
                      <a:pt x="14232" y="83574"/>
                      <a:pt x="12062" y="81822"/>
                    </a:cubicBezTo>
                    <a:cubicBezTo>
                      <a:pt x="4054" y="75148"/>
                      <a:pt x="-10046" y="42364"/>
                      <a:pt x="11145" y="43699"/>
                    </a:cubicBezTo>
                    <a:cubicBezTo>
                      <a:pt x="13815" y="43699"/>
                      <a:pt x="15984" y="45451"/>
                      <a:pt x="18653" y="45951"/>
                    </a:cubicBezTo>
                    <a:cubicBezTo>
                      <a:pt x="21323" y="46368"/>
                      <a:pt x="24827" y="45951"/>
                      <a:pt x="25328" y="43282"/>
                    </a:cubicBezTo>
                    <a:cubicBezTo>
                      <a:pt x="26245" y="40612"/>
                      <a:pt x="23576" y="38443"/>
                      <a:pt x="21323" y="36608"/>
                    </a:cubicBezTo>
                    <a:cubicBezTo>
                      <a:pt x="18653" y="34856"/>
                      <a:pt x="15566" y="32604"/>
                      <a:pt x="12480" y="33521"/>
                    </a:cubicBezTo>
                    <a:cubicBezTo>
                      <a:pt x="12062" y="33521"/>
                      <a:pt x="11145" y="33939"/>
                      <a:pt x="10728" y="33521"/>
                    </a:cubicBezTo>
                    <a:cubicBezTo>
                      <a:pt x="9810" y="33104"/>
                      <a:pt x="9810" y="32604"/>
                      <a:pt x="9393" y="31770"/>
                    </a:cubicBezTo>
                    <a:cubicBezTo>
                      <a:pt x="7641" y="26931"/>
                      <a:pt x="8976" y="24679"/>
                      <a:pt x="9393" y="20258"/>
                    </a:cubicBezTo>
                    <a:cubicBezTo>
                      <a:pt x="10311" y="14919"/>
                      <a:pt x="8058" y="9663"/>
                      <a:pt x="10311" y="4324"/>
                    </a:cubicBezTo>
                    <a:cubicBezTo>
                      <a:pt x="15984" y="-7271"/>
                      <a:pt x="22658" y="7828"/>
                      <a:pt x="27580" y="104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9645242" name="Полилиния 420"/>
              <p:cNvSpPr/>
              <p:nvPr/>
            </p:nvSpPr>
            <p:spPr bwMode="auto">
              <a:xfrm>
                <a:off x="11228065" y="3604624"/>
                <a:ext cx="21380" cy="23396"/>
              </a:xfrm>
              <a:custGeom>
                <a:avLst/>
                <a:gdLst>
                  <a:gd name="connsiteX0" fmla="*/ 23095 w 24012"/>
                  <a:gd name="connsiteY0" fmla="*/ 8425 h 26276"/>
                  <a:gd name="connsiteX1" fmla="*/ 24013 w 24012"/>
                  <a:gd name="connsiteY1" fmla="*/ 6173 h 26276"/>
                  <a:gd name="connsiteX2" fmla="*/ 11582 w 24012"/>
                  <a:gd name="connsiteY2" fmla="*/ 0 h 26276"/>
                  <a:gd name="connsiteX3" fmla="*/ 4491 w 24012"/>
                  <a:gd name="connsiteY3" fmla="*/ 2252 h 26276"/>
                  <a:gd name="connsiteX4" fmla="*/ 3156 w 24012"/>
                  <a:gd name="connsiteY4" fmla="*/ 7091 h 26276"/>
                  <a:gd name="connsiteX5" fmla="*/ 69 w 24012"/>
                  <a:gd name="connsiteY5" fmla="*/ 14181 h 26276"/>
                  <a:gd name="connsiteX6" fmla="*/ 12917 w 24012"/>
                  <a:gd name="connsiteY6" fmla="*/ 24776 h 26276"/>
                  <a:gd name="connsiteX7" fmla="*/ 15169 w 24012"/>
                  <a:gd name="connsiteY7" fmla="*/ 15016 h 26276"/>
                  <a:gd name="connsiteX8" fmla="*/ 23095 w 24012"/>
                  <a:gd name="connsiteY8" fmla="*/ 8425 h 26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12" h="26276" extrusionOk="0">
                    <a:moveTo>
                      <a:pt x="23095" y="8425"/>
                    </a:moveTo>
                    <a:cubicBezTo>
                      <a:pt x="23512" y="8008"/>
                      <a:pt x="24013" y="7091"/>
                      <a:pt x="24013" y="6173"/>
                    </a:cubicBezTo>
                    <a:cubicBezTo>
                      <a:pt x="24013" y="834"/>
                      <a:pt x="15169" y="0"/>
                      <a:pt x="11582" y="0"/>
                    </a:cubicBezTo>
                    <a:cubicBezTo>
                      <a:pt x="8912" y="0"/>
                      <a:pt x="5826" y="0"/>
                      <a:pt x="4491" y="2252"/>
                    </a:cubicBezTo>
                    <a:cubicBezTo>
                      <a:pt x="3573" y="3587"/>
                      <a:pt x="3573" y="5339"/>
                      <a:pt x="3156" y="7091"/>
                    </a:cubicBezTo>
                    <a:cubicBezTo>
                      <a:pt x="2739" y="9343"/>
                      <a:pt x="486" y="11512"/>
                      <a:pt x="69" y="14181"/>
                    </a:cubicBezTo>
                    <a:cubicBezTo>
                      <a:pt x="-848" y="19937"/>
                      <a:pt x="7578" y="30114"/>
                      <a:pt x="12917" y="24776"/>
                    </a:cubicBezTo>
                    <a:cubicBezTo>
                      <a:pt x="15586" y="22106"/>
                      <a:pt x="14252" y="18102"/>
                      <a:pt x="15169" y="15016"/>
                    </a:cubicBezTo>
                    <a:cubicBezTo>
                      <a:pt x="16921" y="12012"/>
                      <a:pt x="21343" y="10678"/>
                      <a:pt x="23095" y="842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4691260" name="Полилиния 421"/>
              <p:cNvSpPr/>
              <p:nvPr/>
            </p:nvSpPr>
            <p:spPr bwMode="auto">
              <a:xfrm>
                <a:off x="11348586" y="3782577"/>
                <a:ext cx="32815" cy="47048"/>
              </a:xfrm>
              <a:custGeom>
                <a:avLst/>
                <a:gdLst>
                  <a:gd name="connsiteX0" fmla="*/ 14889 w 36854"/>
                  <a:gd name="connsiteY0" fmla="*/ 45575 h 52838"/>
                  <a:gd name="connsiteX1" fmla="*/ 8215 w 36854"/>
                  <a:gd name="connsiteY1" fmla="*/ 37567 h 52838"/>
                  <a:gd name="connsiteX2" fmla="*/ 6463 w 36854"/>
                  <a:gd name="connsiteY2" fmla="*/ 32729 h 52838"/>
                  <a:gd name="connsiteX3" fmla="*/ 2959 w 36854"/>
                  <a:gd name="connsiteY3" fmla="*/ 26055 h 52838"/>
                  <a:gd name="connsiteX4" fmla="*/ 2041 w 36854"/>
                  <a:gd name="connsiteY4" fmla="*/ 2614 h 52838"/>
                  <a:gd name="connsiteX5" fmla="*/ 3793 w 36854"/>
                  <a:gd name="connsiteY5" fmla="*/ 362 h 52838"/>
                  <a:gd name="connsiteX6" fmla="*/ 8215 w 36854"/>
                  <a:gd name="connsiteY6" fmla="*/ 2113 h 52838"/>
                  <a:gd name="connsiteX7" fmla="*/ 9966 w 36854"/>
                  <a:gd name="connsiteY7" fmla="*/ 6952 h 52838"/>
                  <a:gd name="connsiteX8" fmla="*/ 21480 w 36854"/>
                  <a:gd name="connsiteY8" fmla="*/ 16712 h 52838"/>
                  <a:gd name="connsiteX9" fmla="*/ 26318 w 36854"/>
                  <a:gd name="connsiteY9" fmla="*/ 17629 h 52838"/>
                  <a:gd name="connsiteX10" fmla="*/ 29823 w 36854"/>
                  <a:gd name="connsiteY10" fmla="*/ 20716 h 52838"/>
                  <a:gd name="connsiteX11" fmla="*/ 30240 w 36854"/>
                  <a:gd name="connsiteY11" fmla="*/ 25554 h 52838"/>
                  <a:gd name="connsiteX12" fmla="*/ 31991 w 36854"/>
                  <a:gd name="connsiteY12" fmla="*/ 26889 h 52838"/>
                  <a:gd name="connsiteX13" fmla="*/ 36413 w 36854"/>
                  <a:gd name="connsiteY13" fmla="*/ 38401 h 52838"/>
                  <a:gd name="connsiteX14" fmla="*/ 27570 w 36854"/>
                  <a:gd name="connsiteY14" fmla="*/ 51665 h 52838"/>
                  <a:gd name="connsiteX15" fmla="*/ 14889 w 36854"/>
                  <a:gd name="connsiteY15" fmla="*/ 45575 h 5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854" h="52838" extrusionOk="0">
                    <a:moveTo>
                      <a:pt x="14889" y="45575"/>
                    </a:moveTo>
                    <a:cubicBezTo>
                      <a:pt x="12219" y="43323"/>
                      <a:pt x="9549" y="40737"/>
                      <a:pt x="8215" y="37567"/>
                    </a:cubicBezTo>
                    <a:cubicBezTo>
                      <a:pt x="7297" y="35815"/>
                      <a:pt x="7297" y="34063"/>
                      <a:pt x="6463" y="32729"/>
                    </a:cubicBezTo>
                    <a:cubicBezTo>
                      <a:pt x="5545" y="30476"/>
                      <a:pt x="4210" y="28308"/>
                      <a:pt x="2959" y="26055"/>
                    </a:cubicBezTo>
                    <a:cubicBezTo>
                      <a:pt x="-545" y="18964"/>
                      <a:pt x="-1045" y="10122"/>
                      <a:pt x="2041" y="2614"/>
                    </a:cubicBezTo>
                    <a:cubicBezTo>
                      <a:pt x="2458" y="1696"/>
                      <a:pt x="2959" y="862"/>
                      <a:pt x="3793" y="362"/>
                    </a:cubicBezTo>
                    <a:cubicBezTo>
                      <a:pt x="5128" y="-556"/>
                      <a:pt x="7297" y="362"/>
                      <a:pt x="8215" y="2113"/>
                    </a:cubicBezTo>
                    <a:cubicBezTo>
                      <a:pt x="9132" y="3448"/>
                      <a:pt x="9549" y="5200"/>
                      <a:pt x="9966" y="6952"/>
                    </a:cubicBezTo>
                    <a:cubicBezTo>
                      <a:pt x="11719" y="11790"/>
                      <a:pt x="16140" y="15794"/>
                      <a:pt x="21480" y="16712"/>
                    </a:cubicBezTo>
                    <a:cubicBezTo>
                      <a:pt x="23232" y="17129"/>
                      <a:pt x="24983" y="17129"/>
                      <a:pt x="26318" y="17629"/>
                    </a:cubicBezTo>
                    <a:cubicBezTo>
                      <a:pt x="28070" y="18047"/>
                      <a:pt x="29405" y="19381"/>
                      <a:pt x="29823" y="20716"/>
                    </a:cubicBezTo>
                    <a:cubicBezTo>
                      <a:pt x="30240" y="22468"/>
                      <a:pt x="29405" y="24220"/>
                      <a:pt x="30240" y="25554"/>
                    </a:cubicBezTo>
                    <a:cubicBezTo>
                      <a:pt x="30657" y="25972"/>
                      <a:pt x="31157" y="26472"/>
                      <a:pt x="31991" y="26889"/>
                    </a:cubicBezTo>
                    <a:cubicBezTo>
                      <a:pt x="35996" y="29142"/>
                      <a:pt x="37748" y="33980"/>
                      <a:pt x="36413" y="38401"/>
                    </a:cubicBezTo>
                    <a:cubicBezTo>
                      <a:pt x="35495" y="41905"/>
                      <a:pt x="30657" y="48996"/>
                      <a:pt x="27570" y="51665"/>
                    </a:cubicBezTo>
                    <a:cubicBezTo>
                      <a:pt x="22814" y="55336"/>
                      <a:pt x="18893" y="49580"/>
                      <a:pt x="14889" y="455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0385408" name="Полилиния 422"/>
              <p:cNvSpPr/>
              <p:nvPr/>
            </p:nvSpPr>
            <p:spPr bwMode="auto">
              <a:xfrm>
                <a:off x="11391518" y="3895362"/>
                <a:ext cx="13682" cy="29254"/>
              </a:xfrm>
              <a:custGeom>
                <a:avLst/>
                <a:gdLst>
                  <a:gd name="connsiteX0" fmla="*/ 12309 w 15366"/>
                  <a:gd name="connsiteY0" fmla="*/ 1752 h 32854"/>
                  <a:gd name="connsiteX1" fmla="*/ 11391 w 15366"/>
                  <a:gd name="connsiteY1" fmla="*/ 417 h 32854"/>
                  <a:gd name="connsiteX2" fmla="*/ 9139 w 15366"/>
                  <a:gd name="connsiteY2" fmla="*/ 0 h 32854"/>
                  <a:gd name="connsiteX3" fmla="*/ 2965 w 15366"/>
                  <a:gd name="connsiteY3" fmla="*/ 4421 h 32854"/>
                  <a:gd name="connsiteX4" fmla="*/ 712 w 15366"/>
                  <a:gd name="connsiteY4" fmla="*/ 12430 h 32854"/>
                  <a:gd name="connsiteX5" fmla="*/ 8220 w 15366"/>
                  <a:gd name="connsiteY5" fmla="*/ 30615 h 32854"/>
                  <a:gd name="connsiteX6" fmla="*/ 12309 w 15366"/>
                  <a:gd name="connsiteY6" fmla="*/ 1752 h 32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66" h="32854" extrusionOk="0">
                    <a:moveTo>
                      <a:pt x="12309" y="1752"/>
                    </a:moveTo>
                    <a:cubicBezTo>
                      <a:pt x="11892" y="1335"/>
                      <a:pt x="11892" y="834"/>
                      <a:pt x="11391" y="417"/>
                    </a:cubicBezTo>
                    <a:cubicBezTo>
                      <a:pt x="10973" y="0"/>
                      <a:pt x="10056" y="0"/>
                      <a:pt x="9139" y="0"/>
                    </a:cubicBezTo>
                    <a:cubicBezTo>
                      <a:pt x="6469" y="0"/>
                      <a:pt x="4299" y="2252"/>
                      <a:pt x="2965" y="4421"/>
                    </a:cubicBezTo>
                    <a:cubicBezTo>
                      <a:pt x="1630" y="6674"/>
                      <a:pt x="1213" y="9760"/>
                      <a:pt x="712" y="12430"/>
                    </a:cubicBezTo>
                    <a:cubicBezTo>
                      <a:pt x="295" y="17768"/>
                      <a:pt x="-2792" y="39875"/>
                      <a:pt x="8220" y="30615"/>
                    </a:cubicBezTo>
                    <a:cubicBezTo>
                      <a:pt x="17147" y="23024"/>
                      <a:pt x="16730" y="11011"/>
                      <a:pt x="12309" y="175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42179896" name="Полилиния 423"/>
              <p:cNvSpPr/>
              <p:nvPr/>
            </p:nvSpPr>
            <p:spPr bwMode="auto">
              <a:xfrm>
                <a:off x="11418333" y="4032263"/>
                <a:ext cx="22772" cy="16578"/>
              </a:xfrm>
              <a:custGeom>
                <a:avLst/>
                <a:gdLst>
                  <a:gd name="connsiteX0" fmla="*/ 25159 w 25575"/>
                  <a:gd name="connsiteY0" fmla="*/ 13681 h 18618"/>
                  <a:gd name="connsiteX1" fmla="*/ 25576 w 25575"/>
                  <a:gd name="connsiteY1" fmla="*/ 9260 h 18618"/>
                  <a:gd name="connsiteX2" fmla="*/ 25159 w 25575"/>
                  <a:gd name="connsiteY2" fmla="*/ 6173 h 18618"/>
                  <a:gd name="connsiteX3" fmla="*/ 21655 w 25575"/>
                  <a:gd name="connsiteY3" fmla="*/ 3087 h 18618"/>
                  <a:gd name="connsiteX4" fmla="*/ 12812 w 25575"/>
                  <a:gd name="connsiteY4" fmla="*/ 0 h 18618"/>
                  <a:gd name="connsiteX5" fmla="*/ 2633 w 25575"/>
                  <a:gd name="connsiteY5" fmla="*/ 15516 h 18618"/>
                  <a:gd name="connsiteX6" fmla="*/ 15898 w 25575"/>
                  <a:gd name="connsiteY6" fmla="*/ 18603 h 18618"/>
                  <a:gd name="connsiteX7" fmla="*/ 23907 w 25575"/>
                  <a:gd name="connsiteY7" fmla="*/ 15516 h 18618"/>
                  <a:gd name="connsiteX8" fmla="*/ 25159 w 25575"/>
                  <a:gd name="connsiteY8" fmla="*/ 13681 h 18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575" h="18618" extrusionOk="0">
                    <a:moveTo>
                      <a:pt x="25159" y="13681"/>
                    </a:moveTo>
                    <a:cubicBezTo>
                      <a:pt x="25576" y="12346"/>
                      <a:pt x="25576" y="10595"/>
                      <a:pt x="25576" y="9260"/>
                    </a:cubicBezTo>
                    <a:cubicBezTo>
                      <a:pt x="25576" y="8342"/>
                      <a:pt x="25576" y="7007"/>
                      <a:pt x="25159" y="6173"/>
                    </a:cubicBezTo>
                    <a:cubicBezTo>
                      <a:pt x="24240" y="4839"/>
                      <a:pt x="22906" y="3921"/>
                      <a:pt x="21655" y="3087"/>
                    </a:cubicBezTo>
                    <a:cubicBezTo>
                      <a:pt x="18985" y="1335"/>
                      <a:pt x="15898" y="0"/>
                      <a:pt x="12812" y="0"/>
                    </a:cubicBezTo>
                    <a:cubicBezTo>
                      <a:pt x="5303" y="417"/>
                      <a:pt x="-4875" y="8008"/>
                      <a:pt x="2633" y="15516"/>
                    </a:cubicBezTo>
                    <a:cubicBezTo>
                      <a:pt x="5720" y="19020"/>
                      <a:pt x="11476" y="18603"/>
                      <a:pt x="15898" y="18603"/>
                    </a:cubicBezTo>
                    <a:cubicBezTo>
                      <a:pt x="18985" y="18186"/>
                      <a:pt x="22072" y="18186"/>
                      <a:pt x="23907" y="15516"/>
                    </a:cubicBezTo>
                    <a:cubicBezTo>
                      <a:pt x="24741" y="15016"/>
                      <a:pt x="25159" y="14599"/>
                      <a:pt x="25159" y="1368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04799057" name="Полилиния 424"/>
              <p:cNvSpPr/>
              <p:nvPr/>
            </p:nvSpPr>
            <p:spPr bwMode="auto">
              <a:xfrm>
                <a:off x="11451358" y="4074084"/>
                <a:ext cx="11979" cy="20027"/>
              </a:xfrm>
              <a:custGeom>
                <a:avLst/>
                <a:gdLst>
                  <a:gd name="connsiteX0" fmla="*/ 12431 w 13454"/>
                  <a:gd name="connsiteY0" fmla="*/ 9259 h 22492"/>
                  <a:gd name="connsiteX1" fmla="*/ 13348 w 13454"/>
                  <a:gd name="connsiteY1" fmla="*/ 5756 h 22492"/>
                  <a:gd name="connsiteX2" fmla="*/ 12014 w 13454"/>
                  <a:gd name="connsiteY2" fmla="*/ 4004 h 22492"/>
                  <a:gd name="connsiteX3" fmla="*/ 9344 w 13454"/>
                  <a:gd name="connsiteY3" fmla="*/ 917 h 22492"/>
                  <a:gd name="connsiteX4" fmla="*/ 8009 w 13454"/>
                  <a:gd name="connsiteY4" fmla="*/ 0 h 22492"/>
                  <a:gd name="connsiteX5" fmla="*/ 6674 w 13454"/>
                  <a:gd name="connsiteY5" fmla="*/ 417 h 22492"/>
                  <a:gd name="connsiteX6" fmla="*/ 1335 w 13454"/>
                  <a:gd name="connsiteY6" fmla="*/ 3503 h 22492"/>
                  <a:gd name="connsiteX7" fmla="*/ 0 w 13454"/>
                  <a:gd name="connsiteY7" fmla="*/ 4421 h 22492"/>
                  <a:gd name="connsiteX8" fmla="*/ 0 w 13454"/>
                  <a:gd name="connsiteY8" fmla="*/ 5756 h 22492"/>
                  <a:gd name="connsiteX9" fmla="*/ 417 w 13454"/>
                  <a:gd name="connsiteY9" fmla="*/ 14181 h 22492"/>
                  <a:gd name="connsiteX10" fmla="*/ 6591 w 13454"/>
                  <a:gd name="connsiteY10" fmla="*/ 22190 h 22492"/>
                  <a:gd name="connsiteX11" fmla="*/ 12431 w 13454"/>
                  <a:gd name="connsiteY11" fmla="*/ 9259 h 2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454" h="22492" extrusionOk="0">
                    <a:moveTo>
                      <a:pt x="12431" y="9259"/>
                    </a:moveTo>
                    <a:cubicBezTo>
                      <a:pt x="12848" y="7925"/>
                      <a:pt x="13765" y="7007"/>
                      <a:pt x="13348" y="5756"/>
                    </a:cubicBezTo>
                    <a:cubicBezTo>
                      <a:pt x="13348" y="4838"/>
                      <a:pt x="12931" y="4421"/>
                      <a:pt x="12014" y="4004"/>
                    </a:cubicBezTo>
                    <a:cubicBezTo>
                      <a:pt x="11096" y="3086"/>
                      <a:pt x="10261" y="2252"/>
                      <a:pt x="9344" y="917"/>
                    </a:cubicBezTo>
                    <a:cubicBezTo>
                      <a:pt x="8927" y="500"/>
                      <a:pt x="8426" y="0"/>
                      <a:pt x="8009" y="0"/>
                    </a:cubicBezTo>
                    <a:cubicBezTo>
                      <a:pt x="7592" y="0"/>
                      <a:pt x="7091" y="0"/>
                      <a:pt x="6674" y="417"/>
                    </a:cubicBezTo>
                    <a:cubicBezTo>
                      <a:pt x="4923" y="1334"/>
                      <a:pt x="3170" y="2669"/>
                      <a:pt x="1335" y="3503"/>
                    </a:cubicBezTo>
                    <a:cubicBezTo>
                      <a:pt x="917" y="3921"/>
                      <a:pt x="417" y="3921"/>
                      <a:pt x="0" y="4421"/>
                    </a:cubicBezTo>
                    <a:cubicBezTo>
                      <a:pt x="0" y="4838"/>
                      <a:pt x="0" y="5339"/>
                      <a:pt x="0" y="5756"/>
                    </a:cubicBezTo>
                    <a:cubicBezTo>
                      <a:pt x="0" y="8425"/>
                      <a:pt x="417" y="11512"/>
                      <a:pt x="417" y="14181"/>
                    </a:cubicBezTo>
                    <a:cubicBezTo>
                      <a:pt x="417" y="17685"/>
                      <a:pt x="1752" y="23941"/>
                      <a:pt x="6591" y="22190"/>
                    </a:cubicBezTo>
                    <a:cubicBezTo>
                      <a:pt x="11096" y="21189"/>
                      <a:pt x="10178" y="13180"/>
                      <a:pt x="12431" y="925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39974726" name="Полилиния 425"/>
              <p:cNvSpPr/>
              <p:nvPr/>
            </p:nvSpPr>
            <p:spPr bwMode="auto">
              <a:xfrm>
                <a:off x="11459712" y="4155499"/>
                <a:ext cx="15112" cy="20484"/>
              </a:xfrm>
              <a:custGeom>
                <a:avLst/>
                <a:gdLst>
                  <a:gd name="connsiteX0" fmla="*/ 15898 w 16972"/>
                  <a:gd name="connsiteY0" fmla="*/ 7753 h 23005"/>
                  <a:gd name="connsiteX1" fmla="*/ 11893 w 16972"/>
                  <a:gd name="connsiteY1" fmla="*/ 1080 h 23005"/>
                  <a:gd name="connsiteX2" fmla="*/ 8389 w 16972"/>
                  <a:gd name="connsiteY2" fmla="*/ 162 h 23005"/>
                  <a:gd name="connsiteX3" fmla="*/ 6637 w 16972"/>
                  <a:gd name="connsiteY3" fmla="*/ 1497 h 23005"/>
                  <a:gd name="connsiteX4" fmla="*/ 4385 w 16972"/>
                  <a:gd name="connsiteY4" fmla="*/ 4583 h 23005"/>
                  <a:gd name="connsiteX5" fmla="*/ 2633 w 16972"/>
                  <a:gd name="connsiteY5" fmla="*/ 8087 h 23005"/>
                  <a:gd name="connsiteX6" fmla="*/ 1715 w 16972"/>
                  <a:gd name="connsiteY6" fmla="*/ 22268 h 23005"/>
                  <a:gd name="connsiteX7" fmla="*/ 7055 w 16972"/>
                  <a:gd name="connsiteY7" fmla="*/ 20934 h 23005"/>
                  <a:gd name="connsiteX8" fmla="*/ 16399 w 16972"/>
                  <a:gd name="connsiteY8" fmla="*/ 13843 h 23005"/>
                  <a:gd name="connsiteX9" fmla="*/ 15898 w 16972"/>
                  <a:gd name="connsiteY9" fmla="*/ 7753 h 23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972" h="23005" extrusionOk="0">
                    <a:moveTo>
                      <a:pt x="15898" y="7753"/>
                    </a:moveTo>
                    <a:cubicBezTo>
                      <a:pt x="14563" y="5501"/>
                      <a:pt x="13645" y="2915"/>
                      <a:pt x="11893" y="1080"/>
                    </a:cubicBezTo>
                    <a:cubicBezTo>
                      <a:pt x="10976" y="162"/>
                      <a:pt x="9641" y="-255"/>
                      <a:pt x="8389" y="162"/>
                    </a:cubicBezTo>
                    <a:cubicBezTo>
                      <a:pt x="7472" y="579"/>
                      <a:pt x="7055" y="1080"/>
                      <a:pt x="6637" y="1497"/>
                    </a:cubicBezTo>
                    <a:cubicBezTo>
                      <a:pt x="5719" y="2415"/>
                      <a:pt x="4885" y="3249"/>
                      <a:pt x="4385" y="4583"/>
                    </a:cubicBezTo>
                    <a:cubicBezTo>
                      <a:pt x="3467" y="5501"/>
                      <a:pt x="3050" y="6836"/>
                      <a:pt x="2633" y="8087"/>
                    </a:cubicBezTo>
                    <a:cubicBezTo>
                      <a:pt x="881" y="11591"/>
                      <a:pt x="-1789" y="18682"/>
                      <a:pt x="1715" y="22268"/>
                    </a:cubicBezTo>
                    <a:cubicBezTo>
                      <a:pt x="3467" y="24020"/>
                      <a:pt x="5219" y="22268"/>
                      <a:pt x="7055" y="20934"/>
                    </a:cubicBezTo>
                    <a:cubicBezTo>
                      <a:pt x="10142" y="19182"/>
                      <a:pt x="15063" y="17430"/>
                      <a:pt x="16399" y="13843"/>
                    </a:cubicBezTo>
                    <a:cubicBezTo>
                      <a:pt x="17233" y="11674"/>
                      <a:pt x="17233" y="9505"/>
                      <a:pt x="15898" y="775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93772549" name="Полилиния 426"/>
              <p:cNvSpPr/>
              <p:nvPr/>
            </p:nvSpPr>
            <p:spPr bwMode="auto">
              <a:xfrm>
                <a:off x="11470714" y="4206526"/>
                <a:ext cx="25284" cy="75615"/>
              </a:xfrm>
              <a:custGeom>
                <a:avLst/>
                <a:gdLst>
                  <a:gd name="connsiteX0" fmla="*/ 18142 w 28396"/>
                  <a:gd name="connsiteY0" fmla="*/ 75329 h 84919"/>
                  <a:gd name="connsiteX1" fmla="*/ 22146 w 28396"/>
                  <a:gd name="connsiteY1" fmla="*/ 65986 h 84919"/>
                  <a:gd name="connsiteX2" fmla="*/ 25233 w 28396"/>
                  <a:gd name="connsiteY2" fmla="*/ 63316 h 84919"/>
                  <a:gd name="connsiteX3" fmla="*/ 28320 w 28396"/>
                  <a:gd name="connsiteY3" fmla="*/ 54473 h 84919"/>
                  <a:gd name="connsiteX4" fmla="*/ 25650 w 28396"/>
                  <a:gd name="connsiteY4" fmla="*/ 34119 h 84919"/>
                  <a:gd name="connsiteX5" fmla="*/ 22563 w 28396"/>
                  <a:gd name="connsiteY5" fmla="*/ 26110 h 84919"/>
                  <a:gd name="connsiteX6" fmla="*/ 17224 w 28396"/>
                  <a:gd name="connsiteY6" fmla="*/ 18603 h 84919"/>
                  <a:gd name="connsiteX7" fmla="*/ 15472 w 28396"/>
                  <a:gd name="connsiteY7" fmla="*/ 11095 h 84919"/>
                  <a:gd name="connsiteX8" fmla="*/ 13220 w 28396"/>
                  <a:gd name="connsiteY8" fmla="*/ 3087 h 84919"/>
                  <a:gd name="connsiteX9" fmla="*/ 10967 w 28396"/>
                  <a:gd name="connsiteY9" fmla="*/ 1335 h 84919"/>
                  <a:gd name="connsiteX10" fmla="*/ 4793 w 28396"/>
                  <a:gd name="connsiteY10" fmla="*/ 0 h 84919"/>
                  <a:gd name="connsiteX11" fmla="*/ 2124 w 28396"/>
                  <a:gd name="connsiteY11" fmla="*/ 417 h 84919"/>
                  <a:gd name="connsiteX12" fmla="*/ 789 w 28396"/>
                  <a:gd name="connsiteY12" fmla="*/ 4838 h 84919"/>
                  <a:gd name="connsiteX13" fmla="*/ 1206 w 28396"/>
                  <a:gd name="connsiteY13" fmla="*/ 12346 h 84919"/>
                  <a:gd name="connsiteX14" fmla="*/ 2541 w 28396"/>
                  <a:gd name="connsiteY14" fmla="*/ 21189 h 84919"/>
                  <a:gd name="connsiteX15" fmla="*/ 6045 w 28396"/>
                  <a:gd name="connsiteY15" fmla="*/ 27862 h 84919"/>
                  <a:gd name="connsiteX16" fmla="*/ 7797 w 28396"/>
                  <a:gd name="connsiteY16" fmla="*/ 30115 h 84919"/>
                  <a:gd name="connsiteX17" fmla="*/ 8715 w 28396"/>
                  <a:gd name="connsiteY17" fmla="*/ 31867 h 84919"/>
                  <a:gd name="connsiteX18" fmla="*/ 7797 w 28396"/>
                  <a:gd name="connsiteY18" fmla="*/ 60230 h 84919"/>
                  <a:gd name="connsiteX19" fmla="*/ 6462 w 28396"/>
                  <a:gd name="connsiteY19" fmla="*/ 63733 h 84919"/>
                  <a:gd name="connsiteX20" fmla="*/ 3375 w 28396"/>
                  <a:gd name="connsiteY20" fmla="*/ 66403 h 84919"/>
                  <a:gd name="connsiteX21" fmla="*/ 289 w 28396"/>
                  <a:gd name="connsiteY21" fmla="*/ 75746 h 84919"/>
                  <a:gd name="connsiteX22" fmla="*/ 6462 w 28396"/>
                  <a:gd name="connsiteY22" fmla="*/ 83254 h 84919"/>
                  <a:gd name="connsiteX23" fmla="*/ 16640 w 28396"/>
                  <a:gd name="connsiteY23" fmla="*/ 84171 h 84919"/>
                  <a:gd name="connsiteX24" fmla="*/ 18142 w 28396"/>
                  <a:gd name="connsiteY24" fmla="*/ 75329 h 8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8396" h="84919" extrusionOk="0">
                    <a:moveTo>
                      <a:pt x="18142" y="75329"/>
                    </a:moveTo>
                    <a:cubicBezTo>
                      <a:pt x="18559" y="71825"/>
                      <a:pt x="19477" y="68238"/>
                      <a:pt x="22146" y="65986"/>
                    </a:cubicBezTo>
                    <a:cubicBezTo>
                      <a:pt x="23064" y="65068"/>
                      <a:pt x="24399" y="64234"/>
                      <a:pt x="25233" y="63316"/>
                    </a:cubicBezTo>
                    <a:cubicBezTo>
                      <a:pt x="27486" y="61064"/>
                      <a:pt x="28320" y="57560"/>
                      <a:pt x="28320" y="54473"/>
                    </a:cubicBezTo>
                    <a:cubicBezTo>
                      <a:pt x="28737" y="47800"/>
                      <a:pt x="27403" y="40709"/>
                      <a:pt x="25650" y="34119"/>
                    </a:cubicBezTo>
                    <a:cubicBezTo>
                      <a:pt x="24733" y="31450"/>
                      <a:pt x="24316" y="28363"/>
                      <a:pt x="22563" y="26110"/>
                    </a:cubicBezTo>
                    <a:cubicBezTo>
                      <a:pt x="20812" y="23441"/>
                      <a:pt x="18559" y="21272"/>
                      <a:pt x="17224" y="18603"/>
                    </a:cubicBezTo>
                    <a:cubicBezTo>
                      <a:pt x="15889" y="16351"/>
                      <a:pt x="15472" y="13764"/>
                      <a:pt x="15472" y="11095"/>
                    </a:cubicBezTo>
                    <a:cubicBezTo>
                      <a:pt x="15472" y="8426"/>
                      <a:pt x="15472" y="5339"/>
                      <a:pt x="13220" y="3087"/>
                    </a:cubicBezTo>
                    <a:cubicBezTo>
                      <a:pt x="12302" y="2169"/>
                      <a:pt x="11885" y="1752"/>
                      <a:pt x="10967" y="1335"/>
                    </a:cubicBezTo>
                    <a:cubicBezTo>
                      <a:pt x="9215" y="417"/>
                      <a:pt x="6963" y="0"/>
                      <a:pt x="4793" y="0"/>
                    </a:cubicBezTo>
                    <a:cubicBezTo>
                      <a:pt x="3876" y="0"/>
                      <a:pt x="3042" y="0"/>
                      <a:pt x="2124" y="417"/>
                    </a:cubicBezTo>
                    <a:cubicBezTo>
                      <a:pt x="789" y="1335"/>
                      <a:pt x="789" y="3087"/>
                      <a:pt x="789" y="4838"/>
                    </a:cubicBezTo>
                    <a:cubicBezTo>
                      <a:pt x="789" y="7508"/>
                      <a:pt x="1206" y="10177"/>
                      <a:pt x="1206" y="12346"/>
                    </a:cubicBezTo>
                    <a:cubicBezTo>
                      <a:pt x="1623" y="15433"/>
                      <a:pt x="1623" y="18520"/>
                      <a:pt x="2541" y="21189"/>
                    </a:cubicBezTo>
                    <a:cubicBezTo>
                      <a:pt x="3459" y="23858"/>
                      <a:pt x="4293" y="26027"/>
                      <a:pt x="6045" y="27862"/>
                    </a:cubicBezTo>
                    <a:cubicBezTo>
                      <a:pt x="6963" y="28279"/>
                      <a:pt x="7380" y="29197"/>
                      <a:pt x="7797" y="30115"/>
                    </a:cubicBezTo>
                    <a:cubicBezTo>
                      <a:pt x="8214" y="30532"/>
                      <a:pt x="8214" y="31450"/>
                      <a:pt x="8715" y="31867"/>
                    </a:cubicBezTo>
                    <a:cubicBezTo>
                      <a:pt x="10967" y="41210"/>
                      <a:pt x="9132" y="50887"/>
                      <a:pt x="7797" y="60230"/>
                    </a:cubicBezTo>
                    <a:cubicBezTo>
                      <a:pt x="7380" y="61564"/>
                      <a:pt x="7380" y="62899"/>
                      <a:pt x="6462" y="63733"/>
                    </a:cubicBezTo>
                    <a:cubicBezTo>
                      <a:pt x="5545" y="65068"/>
                      <a:pt x="4209" y="65485"/>
                      <a:pt x="3375" y="66403"/>
                    </a:cubicBezTo>
                    <a:cubicBezTo>
                      <a:pt x="706" y="68655"/>
                      <a:pt x="-629" y="72159"/>
                      <a:pt x="289" y="75746"/>
                    </a:cubicBezTo>
                    <a:cubicBezTo>
                      <a:pt x="706" y="79249"/>
                      <a:pt x="3375" y="81919"/>
                      <a:pt x="6462" y="83254"/>
                    </a:cubicBezTo>
                    <a:cubicBezTo>
                      <a:pt x="8715" y="84171"/>
                      <a:pt x="14889" y="85923"/>
                      <a:pt x="16640" y="84171"/>
                    </a:cubicBezTo>
                    <a:cubicBezTo>
                      <a:pt x="19894" y="82836"/>
                      <a:pt x="18142" y="77998"/>
                      <a:pt x="18142" y="753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3642035" name="Полилиния 427"/>
              <p:cNvSpPr/>
              <p:nvPr/>
            </p:nvSpPr>
            <p:spPr bwMode="auto">
              <a:xfrm>
                <a:off x="11449353" y="4421451"/>
                <a:ext cx="30693" cy="137604"/>
              </a:xfrm>
              <a:custGeom>
                <a:avLst/>
                <a:gdLst>
                  <a:gd name="connsiteX0" fmla="*/ 22692 w 34470"/>
                  <a:gd name="connsiteY0" fmla="*/ 153796 h 154535"/>
                  <a:gd name="connsiteX1" fmla="*/ 32036 w 34470"/>
                  <a:gd name="connsiteY1" fmla="*/ 135610 h 154535"/>
                  <a:gd name="connsiteX2" fmla="*/ 31118 w 34470"/>
                  <a:gd name="connsiteY2" fmla="*/ 79385 h 154535"/>
                  <a:gd name="connsiteX3" fmla="*/ 34205 w 34470"/>
                  <a:gd name="connsiteY3" fmla="*/ 66121 h 154535"/>
                  <a:gd name="connsiteX4" fmla="*/ 28866 w 34470"/>
                  <a:gd name="connsiteY4" fmla="*/ 26663 h 154535"/>
                  <a:gd name="connsiteX5" fmla="*/ 29283 w 34470"/>
                  <a:gd name="connsiteY5" fmla="*/ 11147 h 154535"/>
                  <a:gd name="connsiteX6" fmla="*/ 28365 w 34470"/>
                  <a:gd name="connsiteY6" fmla="*/ 4056 h 154535"/>
                  <a:gd name="connsiteX7" fmla="*/ 23026 w 34470"/>
                  <a:gd name="connsiteY7" fmla="*/ 52 h 154535"/>
                  <a:gd name="connsiteX8" fmla="*/ 17687 w 34470"/>
                  <a:gd name="connsiteY8" fmla="*/ 4473 h 154535"/>
                  <a:gd name="connsiteX9" fmla="*/ 15434 w 34470"/>
                  <a:gd name="connsiteY9" fmla="*/ 11147 h 154535"/>
                  <a:gd name="connsiteX10" fmla="*/ 10595 w 34470"/>
                  <a:gd name="connsiteY10" fmla="*/ 19989 h 154535"/>
                  <a:gd name="connsiteX11" fmla="*/ 5256 w 34470"/>
                  <a:gd name="connsiteY11" fmla="*/ 37257 h 154535"/>
                  <a:gd name="connsiteX12" fmla="*/ 7508 w 34470"/>
                  <a:gd name="connsiteY12" fmla="*/ 59865 h 154535"/>
                  <a:gd name="connsiteX13" fmla="*/ 10595 w 34470"/>
                  <a:gd name="connsiteY13" fmla="*/ 83306 h 154535"/>
                  <a:gd name="connsiteX14" fmla="*/ 0 w 34470"/>
                  <a:gd name="connsiteY14" fmla="*/ 131606 h 154535"/>
                  <a:gd name="connsiteX15" fmla="*/ 22692 w 34470"/>
                  <a:gd name="connsiteY15" fmla="*/ 153796 h 15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470" h="154535" extrusionOk="0">
                    <a:moveTo>
                      <a:pt x="22692" y="153796"/>
                    </a:moveTo>
                    <a:cubicBezTo>
                      <a:pt x="29784" y="151126"/>
                      <a:pt x="32036" y="142701"/>
                      <a:pt x="32036" y="135610"/>
                    </a:cubicBezTo>
                    <a:cubicBezTo>
                      <a:pt x="32954" y="116590"/>
                      <a:pt x="27198" y="97487"/>
                      <a:pt x="31118" y="79385"/>
                    </a:cubicBezTo>
                    <a:cubicBezTo>
                      <a:pt x="32036" y="74964"/>
                      <a:pt x="33371" y="70542"/>
                      <a:pt x="34205" y="66121"/>
                    </a:cubicBezTo>
                    <a:cubicBezTo>
                      <a:pt x="35957" y="52357"/>
                      <a:pt x="28449" y="40010"/>
                      <a:pt x="28866" y="26663"/>
                    </a:cubicBezTo>
                    <a:cubicBezTo>
                      <a:pt x="28866" y="21324"/>
                      <a:pt x="29283" y="16486"/>
                      <a:pt x="29283" y="11147"/>
                    </a:cubicBezTo>
                    <a:cubicBezTo>
                      <a:pt x="29283" y="8477"/>
                      <a:pt x="29283" y="6308"/>
                      <a:pt x="28365" y="4056"/>
                    </a:cubicBezTo>
                    <a:cubicBezTo>
                      <a:pt x="27448" y="1804"/>
                      <a:pt x="25278" y="-365"/>
                      <a:pt x="23026" y="52"/>
                    </a:cubicBezTo>
                    <a:cubicBezTo>
                      <a:pt x="20774" y="52"/>
                      <a:pt x="18604" y="2304"/>
                      <a:pt x="17687" y="4473"/>
                    </a:cubicBezTo>
                    <a:cubicBezTo>
                      <a:pt x="16769" y="6642"/>
                      <a:pt x="16352" y="8895"/>
                      <a:pt x="15434" y="11147"/>
                    </a:cubicBezTo>
                    <a:cubicBezTo>
                      <a:pt x="14099" y="14233"/>
                      <a:pt x="12347" y="17320"/>
                      <a:pt x="10595" y="19989"/>
                    </a:cubicBezTo>
                    <a:cubicBezTo>
                      <a:pt x="7508" y="25329"/>
                      <a:pt x="4839" y="31502"/>
                      <a:pt x="5256" y="37257"/>
                    </a:cubicBezTo>
                    <a:cubicBezTo>
                      <a:pt x="5673" y="44765"/>
                      <a:pt x="6174" y="52357"/>
                      <a:pt x="7508" y="59865"/>
                    </a:cubicBezTo>
                    <a:cubicBezTo>
                      <a:pt x="8844" y="67372"/>
                      <a:pt x="11013" y="75381"/>
                      <a:pt x="10595" y="83306"/>
                    </a:cubicBezTo>
                    <a:cubicBezTo>
                      <a:pt x="9678" y="99656"/>
                      <a:pt x="0" y="114755"/>
                      <a:pt x="0" y="131606"/>
                    </a:cubicBezTo>
                    <a:cubicBezTo>
                      <a:pt x="501" y="141783"/>
                      <a:pt x="10261" y="158217"/>
                      <a:pt x="22692" y="15379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75673705" name="Полилиния 428"/>
              <p:cNvSpPr/>
              <p:nvPr/>
            </p:nvSpPr>
            <p:spPr bwMode="auto">
              <a:xfrm>
                <a:off x="10096770" y="4115845"/>
                <a:ext cx="876551" cy="954756"/>
              </a:xfrm>
              <a:custGeom>
                <a:avLst/>
                <a:gdLst>
                  <a:gd name="connsiteX0" fmla="*/ 82886 w 984396"/>
                  <a:gd name="connsiteY0" fmla="*/ 55790 h 1072222"/>
                  <a:gd name="connsiteX1" fmla="*/ 82469 w 984396"/>
                  <a:gd name="connsiteY1" fmla="*/ 54873 h 1072222"/>
                  <a:gd name="connsiteX2" fmla="*/ 78464 w 984396"/>
                  <a:gd name="connsiteY2" fmla="*/ 51786 h 1072222"/>
                  <a:gd name="connsiteX3" fmla="*/ 69121 w 984396"/>
                  <a:gd name="connsiteY3" fmla="*/ 45112 h 1072222"/>
                  <a:gd name="connsiteX4" fmla="*/ 64281 w 984396"/>
                  <a:gd name="connsiteY4" fmla="*/ 34935 h 1072222"/>
                  <a:gd name="connsiteX5" fmla="*/ 60778 w 984396"/>
                  <a:gd name="connsiteY5" fmla="*/ 24341 h 1072222"/>
                  <a:gd name="connsiteX6" fmla="*/ 53687 w 984396"/>
                  <a:gd name="connsiteY6" fmla="*/ 18167 h 1072222"/>
                  <a:gd name="connsiteX7" fmla="*/ 27990 w 984396"/>
                  <a:gd name="connsiteY7" fmla="*/ 3986 h 1072222"/>
                  <a:gd name="connsiteX8" fmla="*/ 4965 w 984396"/>
                  <a:gd name="connsiteY8" fmla="*/ 3569 h 1072222"/>
                  <a:gd name="connsiteX9" fmla="*/ 961 w 984396"/>
                  <a:gd name="connsiteY9" fmla="*/ 14664 h 1072222"/>
                  <a:gd name="connsiteX10" fmla="*/ 9804 w 984396"/>
                  <a:gd name="connsiteY10" fmla="*/ 50534 h 1072222"/>
                  <a:gd name="connsiteX11" fmla="*/ 21316 w 984396"/>
                  <a:gd name="connsiteY11" fmla="*/ 54538 h 1072222"/>
                  <a:gd name="connsiteX12" fmla="*/ 46595 w 984396"/>
                  <a:gd name="connsiteY12" fmla="*/ 62547 h 1072222"/>
                  <a:gd name="connsiteX13" fmla="*/ 59025 w 984396"/>
                  <a:gd name="connsiteY13" fmla="*/ 69638 h 1072222"/>
                  <a:gd name="connsiteX14" fmla="*/ 67035 w 984396"/>
                  <a:gd name="connsiteY14" fmla="*/ 82067 h 1072222"/>
                  <a:gd name="connsiteX15" fmla="*/ 90060 w 984396"/>
                  <a:gd name="connsiteY15" fmla="*/ 129450 h 1072222"/>
                  <a:gd name="connsiteX16" fmla="*/ 94482 w 984396"/>
                  <a:gd name="connsiteY16" fmla="*/ 142714 h 1072222"/>
                  <a:gd name="connsiteX17" fmla="*/ 87391 w 984396"/>
                  <a:gd name="connsiteY17" fmla="*/ 153809 h 1072222"/>
                  <a:gd name="connsiteX18" fmla="*/ 72791 w 984396"/>
                  <a:gd name="connsiteY18" fmla="*/ 152475 h 1072222"/>
                  <a:gd name="connsiteX19" fmla="*/ 55938 w 984396"/>
                  <a:gd name="connsiteY19" fmla="*/ 171494 h 1072222"/>
                  <a:gd name="connsiteX20" fmla="*/ 59025 w 984396"/>
                  <a:gd name="connsiteY20" fmla="*/ 200274 h 1072222"/>
                  <a:gd name="connsiteX21" fmla="*/ 81635 w 984396"/>
                  <a:gd name="connsiteY21" fmla="*/ 217960 h 1072222"/>
                  <a:gd name="connsiteX22" fmla="*/ 97569 w 984396"/>
                  <a:gd name="connsiteY22" fmla="*/ 232558 h 1072222"/>
                  <a:gd name="connsiteX23" fmla="*/ 113086 w 984396"/>
                  <a:gd name="connsiteY23" fmla="*/ 260921 h 1072222"/>
                  <a:gd name="connsiteX24" fmla="*/ 140116 w 984396"/>
                  <a:gd name="connsiteY24" fmla="*/ 292788 h 1072222"/>
                  <a:gd name="connsiteX25" fmla="*/ 165812 w 984396"/>
                  <a:gd name="connsiteY25" fmla="*/ 342423 h 1072222"/>
                  <a:gd name="connsiteX26" fmla="*/ 193260 w 984396"/>
                  <a:gd name="connsiteY26" fmla="*/ 368534 h 1072222"/>
                  <a:gd name="connsiteX27" fmla="*/ 226463 w 984396"/>
                  <a:gd name="connsiteY27" fmla="*/ 384050 h 1072222"/>
                  <a:gd name="connsiteX28" fmla="*/ 236641 w 984396"/>
                  <a:gd name="connsiteY28" fmla="*/ 387553 h 1072222"/>
                  <a:gd name="connsiteX29" fmla="*/ 241063 w 984396"/>
                  <a:gd name="connsiteY29" fmla="*/ 395562 h 1072222"/>
                  <a:gd name="connsiteX30" fmla="*/ 262754 w 984396"/>
                  <a:gd name="connsiteY30" fmla="*/ 401318 h 1072222"/>
                  <a:gd name="connsiteX31" fmla="*/ 311893 w 984396"/>
                  <a:gd name="connsiteY31" fmla="*/ 419920 h 1072222"/>
                  <a:gd name="connsiteX32" fmla="*/ 340675 w 984396"/>
                  <a:gd name="connsiteY32" fmla="*/ 446532 h 1072222"/>
                  <a:gd name="connsiteX33" fmla="*/ 345096 w 984396"/>
                  <a:gd name="connsiteY33" fmla="*/ 458044 h 1072222"/>
                  <a:gd name="connsiteX34" fmla="*/ 357944 w 984396"/>
                  <a:gd name="connsiteY34" fmla="*/ 477063 h 1072222"/>
                  <a:gd name="connsiteX35" fmla="*/ 363700 w 984396"/>
                  <a:gd name="connsiteY35" fmla="*/ 490328 h 1072222"/>
                  <a:gd name="connsiteX36" fmla="*/ 376131 w 984396"/>
                  <a:gd name="connsiteY36" fmla="*/ 500088 h 1072222"/>
                  <a:gd name="connsiteX37" fmla="*/ 399574 w 984396"/>
                  <a:gd name="connsiteY37" fmla="*/ 526198 h 1072222"/>
                  <a:gd name="connsiteX38" fmla="*/ 412005 w 984396"/>
                  <a:gd name="connsiteY38" fmla="*/ 533289 h 1072222"/>
                  <a:gd name="connsiteX39" fmla="*/ 422599 w 984396"/>
                  <a:gd name="connsiteY39" fmla="*/ 543883 h 1072222"/>
                  <a:gd name="connsiteX40" fmla="*/ 447377 w 984396"/>
                  <a:gd name="connsiteY40" fmla="*/ 566490 h 1072222"/>
                  <a:gd name="connsiteX41" fmla="*/ 467734 w 984396"/>
                  <a:gd name="connsiteY41" fmla="*/ 597940 h 1072222"/>
                  <a:gd name="connsiteX42" fmla="*/ 481916 w 984396"/>
                  <a:gd name="connsiteY42" fmla="*/ 607700 h 1072222"/>
                  <a:gd name="connsiteX43" fmla="*/ 502773 w 984396"/>
                  <a:gd name="connsiteY43" fmla="*/ 635145 h 1072222"/>
                  <a:gd name="connsiteX44" fmla="*/ 506777 w 984396"/>
                  <a:gd name="connsiteY44" fmla="*/ 643988 h 1072222"/>
                  <a:gd name="connsiteX45" fmla="*/ 512951 w 984396"/>
                  <a:gd name="connsiteY45" fmla="*/ 651996 h 1072222"/>
                  <a:gd name="connsiteX46" fmla="*/ 533307 w 984396"/>
                  <a:gd name="connsiteY46" fmla="*/ 683029 h 1072222"/>
                  <a:gd name="connsiteX47" fmla="*/ 536394 w 984396"/>
                  <a:gd name="connsiteY47" fmla="*/ 688368 h 1072222"/>
                  <a:gd name="connsiteX48" fmla="*/ 544820 w 984396"/>
                  <a:gd name="connsiteY48" fmla="*/ 694124 h 1072222"/>
                  <a:gd name="connsiteX49" fmla="*/ 563007 w 984396"/>
                  <a:gd name="connsiteY49" fmla="*/ 713644 h 1072222"/>
                  <a:gd name="connsiteX50" fmla="*/ 570099 w 984396"/>
                  <a:gd name="connsiteY50" fmla="*/ 743759 h 1072222"/>
                  <a:gd name="connsiteX51" fmla="*/ 612646 w 984396"/>
                  <a:gd name="connsiteY51" fmla="*/ 770787 h 1072222"/>
                  <a:gd name="connsiteX52" fmla="*/ 645850 w 984396"/>
                  <a:gd name="connsiteY52" fmla="*/ 788055 h 1072222"/>
                  <a:gd name="connsiteX53" fmla="*/ 666707 w 984396"/>
                  <a:gd name="connsiteY53" fmla="*/ 806241 h 1072222"/>
                  <a:gd name="connsiteX54" fmla="*/ 673798 w 984396"/>
                  <a:gd name="connsiteY54" fmla="*/ 824844 h 1072222"/>
                  <a:gd name="connsiteX55" fmla="*/ 690650 w 984396"/>
                  <a:gd name="connsiteY55" fmla="*/ 844781 h 1072222"/>
                  <a:gd name="connsiteX56" fmla="*/ 691985 w 984396"/>
                  <a:gd name="connsiteY56" fmla="*/ 858045 h 1072222"/>
                  <a:gd name="connsiteX57" fmla="*/ 710172 w 984396"/>
                  <a:gd name="connsiteY57" fmla="*/ 889495 h 1072222"/>
                  <a:gd name="connsiteX58" fmla="*/ 740289 w 984396"/>
                  <a:gd name="connsiteY58" fmla="*/ 911184 h 1072222"/>
                  <a:gd name="connsiteX59" fmla="*/ 779750 w 984396"/>
                  <a:gd name="connsiteY59" fmla="*/ 954146 h 1072222"/>
                  <a:gd name="connsiteX60" fmla="*/ 802359 w 984396"/>
                  <a:gd name="connsiteY60" fmla="*/ 1006867 h 1072222"/>
                  <a:gd name="connsiteX61" fmla="*/ 820963 w 984396"/>
                  <a:gd name="connsiteY61" fmla="*/ 1026387 h 1072222"/>
                  <a:gd name="connsiteX62" fmla="*/ 858589 w 984396"/>
                  <a:gd name="connsiteY62" fmla="*/ 1059589 h 1072222"/>
                  <a:gd name="connsiteX63" fmla="*/ 879445 w 984396"/>
                  <a:gd name="connsiteY63" fmla="*/ 1072019 h 1072222"/>
                  <a:gd name="connsiteX64" fmla="*/ 897132 w 984396"/>
                  <a:gd name="connsiteY64" fmla="*/ 1059589 h 1072222"/>
                  <a:gd name="connsiteX65" fmla="*/ 894462 w 984396"/>
                  <a:gd name="connsiteY65" fmla="*/ 1039652 h 1072222"/>
                  <a:gd name="connsiteX66" fmla="*/ 882031 w 984396"/>
                  <a:gd name="connsiteY66" fmla="*/ 1017045 h 1072222"/>
                  <a:gd name="connsiteX67" fmla="*/ 874023 w 984396"/>
                  <a:gd name="connsiteY67" fmla="*/ 1008202 h 1072222"/>
                  <a:gd name="connsiteX68" fmla="*/ 870018 w 984396"/>
                  <a:gd name="connsiteY68" fmla="*/ 998859 h 1072222"/>
                  <a:gd name="connsiteX69" fmla="*/ 866514 w 984396"/>
                  <a:gd name="connsiteY69" fmla="*/ 982926 h 1072222"/>
                  <a:gd name="connsiteX70" fmla="*/ 867431 w 984396"/>
                  <a:gd name="connsiteY70" fmla="*/ 969662 h 1072222"/>
                  <a:gd name="connsiteX71" fmla="*/ 861676 w 984396"/>
                  <a:gd name="connsiteY71" fmla="*/ 954563 h 1072222"/>
                  <a:gd name="connsiteX72" fmla="*/ 855502 w 984396"/>
                  <a:gd name="connsiteY72" fmla="*/ 939046 h 1072222"/>
                  <a:gd name="connsiteX73" fmla="*/ 867933 w 984396"/>
                  <a:gd name="connsiteY73" fmla="*/ 931038 h 1072222"/>
                  <a:gd name="connsiteX74" fmla="*/ 877276 w 984396"/>
                  <a:gd name="connsiteY74" fmla="*/ 934125 h 1072222"/>
                  <a:gd name="connsiteX75" fmla="*/ 896298 w 984396"/>
                  <a:gd name="connsiteY75" fmla="*/ 928785 h 1072222"/>
                  <a:gd name="connsiteX76" fmla="*/ 916653 w 984396"/>
                  <a:gd name="connsiteY76" fmla="*/ 909766 h 1072222"/>
                  <a:gd name="connsiteX77" fmla="*/ 953862 w 984396"/>
                  <a:gd name="connsiteY77" fmla="*/ 922612 h 1072222"/>
                  <a:gd name="connsiteX78" fmla="*/ 967127 w 984396"/>
                  <a:gd name="connsiteY78" fmla="*/ 935459 h 1072222"/>
                  <a:gd name="connsiteX79" fmla="*/ 984396 w 984396"/>
                  <a:gd name="connsiteY79" fmla="*/ 938546 h 1072222"/>
                  <a:gd name="connsiteX80" fmla="*/ 972883 w 984396"/>
                  <a:gd name="connsiteY80" fmla="*/ 918191 h 1072222"/>
                  <a:gd name="connsiteX81" fmla="*/ 964040 w 984396"/>
                  <a:gd name="connsiteY81" fmla="*/ 907597 h 1072222"/>
                  <a:gd name="connsiteX82" fmla="*/ 952110 w 984396"/>
                  <a:gd name="connsiteY82" fmla="*/ 904510 h 1072222"/>
                  <a:gd name="connsiteX83" fmla="*/ 906058 w 984396"/>
                  <a:gd name="connsiteY83" fmla="*/ 879234 h 1072222"/>
                  <a:gd name="connsiteX84" fmla="*/ 889206 w 984396"/>
                  <a:gd name="connsiteY84" fmla="*/ 883238 h 1072222"/>
                  <a:gd name="connsiteX85" fmla="*/ 877276 w 984396"/>
                  <a:gd name="connsiteY85" fmla="*/ 877482 h 1072222"/>
                  <a:gd name="connsiteX86" fmla="*/ 836063 w 984396"/>
                  <a:gd name="connsiteY86" fmla="*/ 846950 h 1072222"/>
                  <a:gd name="connsiteX87" fmla="*/ 817876 w 984396"/>
                  <a:gd name="connsiteY87" fmla="*/ 836773 h 1072222"/>
                  <a:gd name="connsiteX88" fmla="*/ 785506 w 984396"/>
                  <a:gd name="connsiteY88" fmla="*/ 837691 h 1072222"/>
                  <a:gd name="connsiteX89" fmla="*/ 732364 w 984396"/>
                  <a:gd name="connsiteY89" fmla="*/ 814666 h 1072222"/>
                  <a:gd name="connsiteX90" fmla="*/ 692485 w 984396"/>
                  <a:gd name="connsiteY90" fmla="*/ 773040 h 1072222"/>
                  <a:gd name="connsiteX91" fmla="*/ 672547 w 984396"/>
                  <a:gd name="connsiteY91" fmla="*/ 708806 h 1072222"/>
                  <a:gd name="connsiteX92" fmla="*/ 653526 w 984396"/>
                  <a:gd name="connsiteY92" fmla="*/ 691538 h 1072222"/>
                  <a:gd name="connsiteX93" fmla="*/ 642429 w 984396"/>
                  <a:gd name="connsiteY93" fmla="*/ 660505 h 1072222"/>
                  <a:gd name="connsiteX94" fmla="*/ 618069 w 984396"/>
                  <a:gd name="connsiteY94" fmla="*/ 630808 h 1072222"/>
                  <a:gd name="connsiteX95" fmla="*/ 611895 w 984396"/>
                  <a:gd name="connsiteY95" fmla="*/ 625469 h 1072222"/>
                  <a:gd name="connsiteX96" fmla="*/ 610144 w 984396"/>
                  <a:gd name="connsiteY96" fmla="*/ 616626 h 1072222"/>
                  <a:gd name="connsiteX97" fmla="*/ 613647 w 984396"/>
                  <a:gd name="connsiteY97" fmla="*/ 598941 h 1072222"/>
                  <a:gd name="connsiteX98" fmla="*/ 617151 w 984396"/>
                  <a:gd name="connsiteY98" fmla="*/ 583425 h 1072222"/>
                  <a:gd name="connsiteX99" fmla="*/ 624659 w 984396"/>
                  <a:gd name="connsiteY99" fmla="*/ 564405 h 1072222"/>
                  <a:gd name="connsiteX100" fmla="*/ 627329 w 984396"/>
                  <a:gd name="connsiteY100" fmla="*/ 558649 h 1072222"/>
                  <a:gd name="connsiteX101" fmla="*/ 636172 w 984396"/>
                  <a:gd name="connsiteY101" fmla="*/ 550640 h 1072222"/>
                  <a:gd name="connsiteX102" fmla="*/ 668542 w 984396"/>
                  <a:gd name="connsiteY102" fmla="*/ 535541 h 1072222"/>
                  <a:gd name="connsiteX103" fmla="*/ 688481 w 984396"/>
                  <a:gd name="connsiteY103" fmla="*/ 531537 h 1072222"/>
                  <a:gd name="connsiteX104" fmla="*/ 751802 w 984396"/>
                  <a:gd name="connsiteY104" fmla="*/ 534624 h 1072222"/>
                  <a:gd name="connsiteX105" fmla="*/ 777080 w 984396"/>
                  <a:gd name="connsiteY105" fmla="*/ 536375 h 1072222"/>
                  <a:gd name="connsiteX106" fmla="*/ 782837 w 984396"/>
                  <a:gd name="connsiteY106" fmla="*/ 541714 h 1072222"/>
                  <a:gd name="connsiteX107" fmla="*/ 791263 w 984396"/>
                  <a:gd name="connsiteY107" fmla="*/ 547471 h 1072222"/>
                  <a:gd name="connsiteX108" fmla="*/ 796102 w 984396"/>
                  <a:gd name="connsiteY108" fmla="*/ 548805 h 1072222"/>
                  <a:gd name="connsiteX109" fmla="*/ 800106 w 984396"/>
                  <a:gd name="connsiteY109" fmla="*/ 546136 h 1072222"/>
                  <a:gd name="connsiteX110" fmla="*/ 798354 w 984396"/>
                  <a:gd name="connsiteY110" fmla="*/ 540797 h 1072222"/>
                  <a:gd name="connsiteX111" fmla="*/ 791680 w 984396"/>
                  <a:gd name="connsiteY111" fmla="*/ 530620 h 1072222"/>
                  <a:gd name="connsiteX112" fmla="*/ 783254 w 984396"/>
                  <a:gd name="connsiteY112" fmla="*/ 520859 h 1072222"/>
                  <a:gd name="connsiteX113" fmla="*/ 768154 w 984396"/>
                  <a:gd name="connsiteY113" fmla="*/ 517773 h 1072222"/>
                  <a:gd name="connsiteX114" fmla="*/ 751301 w 984396"/>
                  <a:gd name="connsiteY114" fmla="*/ 518190 h 1072222"/>
                  <a:gd name="connsiteX115" fmla="*/ 733615 w 984396"/>
                  <a:gd name="connsiteY115" fmla="*/ 519108 h 1072222"/>
                  <a:gd name="connsiteX116" fmla="*/ 704416 w 984396"/>
                  <a:gd name="connsiteY116" fmla="*/ 505343 h 1072222"/>
                  <a:gd name="connsiteX117" fmla="*/ 682308 w 984396"/>
                  <a:gd name="connsiteY117" fmla="*/ 490244 h 1072222"/>
                  <a:gd name="connsiteX118" fmla="*/ 623825 w 984396"/>
                  <a:gd name="connsiteY118" fmla="*/ 455708 h 1072222"/>
                  <a:gd name="connsiteX119" fmla="*/ 581778 w 984396"/>
                  <a:gd name="connsiteY119" fmla="*/ 433602 h 1072222"/>
                  <a:gd name="connsiteX120" fmla="*/ 557001 w 984396"/>
                  <a:gd name="connsiteY120" fmla="*/ 428262 h 1072222"/>
                  <a:gd name="connsiteX121" fmla="*/ 516706 w 984396"/>
                  <a:gd name="connsiteY121" fmla="*/ 398148 h 1072222"/>
                  <a:gd name="connsiteX122" fmla="*/ 478162 w 984396"/>
                  <a:gd name="connsiteY122" fmla="*/ 368450 h 1072222"/>
                  <a:gd name="connsiteX123" fmla="*/ 451132 w 984396"/>
                  <a:gd name="connsiteY123" fmla="*/ 347595 h 1072222"/>
                  <a:gd name="connsiteX124" fmla="*/ 423184 w 984396"/>
                  <a:gd name="connsiteY124" fmla="*/ 332996 h 1072222"/>
                  <a:gd name="connsiteX125" fmla="*/ 377549 w 984396"/>
                  <a:gd name="connsiteY125" fmla="*/ 303299 h 1072222"/>
                  <a:gd name="connsiteX126" fmla="*/ 351436 w 984396"/>
                  <a:gd name="connsiteY126" fmla="*/ 298878 h 1072222"/>
                  <a:gd name="connsiteX127" fmla="*/ 336837 w 984396"/>
                  <a:gd name="connsiteY127" fmla="*/ 278523 h 1072222"/>
                  <a:gd name="connsiteX128" fmla="*/ 299212 w 984396"/>
                  <a:gd name="connsiteY128" fmla="*/ 265676 h 1072222"/>
                  <a:gd name="connsiteX129" fmla="*/ 273099 w 984396"/>
                  <a:gd name="connsiteY129" fmla="*/ 225801 h 1072222"/>
                  <a:gd name="connsiteX130" fmla="*/ 258917 w 984396"/>
                  <a:gd name="connsiteY130" fmla="*/ 216041 h 1072222"/>
                  <a:gd name="connsiteX131" fmla="*/ 254911 w 984396"/>
                  <a:gd name="connsiteY131" fmla="*/ 198356 h 1072222"/>
                  <a:gd name="connsiteX132" fmla="*/ 213699 w 984396"/>
                  <a:gd name="connsiteY132" fmla="*/ 146969 h 1072222"/>
                  <a:gd name="connsiteX133" fmla="*/ 156969 w 984396"/>
                  <a:gd name="connsiteY133" fmla="*/ 109763 h 1072222"/>
                  <a:gd name="connsiteX134" fmla="*/ 140116 w 984396"/>
                  <a:gd name="connsiteY134" fmla="*/ 90243 h 1072222"/>
                  <a:gd name="connsiteX135" fmla="*/ 125517 w 984396"/>
                  <a:gd name="connsiteY135" fmla="*/ 82735 h 1072222"/>
                  <a:gd name="connsiteX136" fmla="*/ 118843 w 984396"/>
                  <a:gd name="connsiteY136" fmla="*/ 81817 h 1072222"/>
                  <a:gd name="connsiteX137" fmla="*/ 111334 w 984396"/>
                  <a:gd name="connsiteY137" fmla="*/ 78313 h 1072222"/>
                  <a:gd name="connsiteX138" fmla="*/ 108247 w 984396"/>
                  <a:gd name="connsiteY138" fmla="*/ 75227 h 1072222"/>
                  <a:gd name="connsiteX139" fmla="*/ 96317 w 984396"/>
                  <a:gd name="connsiteY139" fmla="*/ 66384 h 1072222"/>
                  <a:gd name="connsiteX140" fmla="*/ 85222 w 984396"/>
                  <a:gd name="connsiteY140" fmla="*/ 57542 h 1072222"/>
                  <a:gd name="connsiteX141" fmla="*/ 82886 w 984396"/>
                  <a:gd name="connsiteY141" fmla="*/ 55790 h 1072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</a:cxnLst>
                <a:rect l="l" t="t" r="r" b="b"/>
                <a:pathLst>
                  <a:path w="984396" h="1072222" extrusionOk="0">
                    <a:moveTo>
                      <a:pt x="82886" y="55790"/>
                    </a:moveTo>
                    <a:cubicBezTo>
                      <a:pt x="82886" y="55373"/>
                      <a:pt x="82469" y="55373"/>
                      <a:pt x="82469" y="54873"/>
                    </a:cubicBezTo>
                    <a:cubicBezTo>
                      <a:pt x="81551" y="53538"/>
                      <a:pt x="79799" y="52620"/>
                      <a:pt x="78464" y="51786"/>
                    </a:cubicBezTo>
                    <a:cubicBezTo>
                      <a:pt x="75378" y="50034"/>
                      <a:pt x="71372" y="48282"/>
                      <a:pt x="69121" y="45112"/>
                    </a:cubicBezTo>
                    <a:cubicBezTo>
                      <a:pt x="66868" y="42025"/>
                      <a:pt x="65115" y="38439"/>
                      <a:pt x="64281" y="34935"/>
                    </a:cubicBezTo>
                    <a:cubicBezTo>
                      <a:pt x="63447" y="31431"/>
                      <a:pt x="62947" y="27427"/>
                      <a:pt x="60778" y="24341"/>
                    </a:cubicBezTo>
                    <a:cubicBezTo>
                      <a:pt x="59025" y="21671"/>
                      <a:pt x="56356" y="19919"/>
                      <a:pt x="53687" y="18167"/>
                    </a:cubicBezTo>
                    <a:cubicBezTo>
                      <a:pt x="45260" y="12828"/>
                      <a:pt x="36834" y="7990"/>
                      <a:pt x="27990" y="3986"/>
                    </a:cubicBezTo>
                    <a:cubicBezTo>
                      <a:pt x="20482" y="482"/>
                      <a:pt x="10305" y="-2688"/>
                      <a:pt x="4965" y="3569"/>
                    </a:cubicBezTo>
                    <a:cubicBezTo>
                      <a:pt x="2295" y="6655"/>
                      <a:pt x="1878" y="10660"/>
                      <a:pt x="961" y="14664"/>
                    </a:cubicBezTo>
                    <a:cubicBezTo>
                      <a:pt x="-792" y="27510"/>
                      <a:pt x="-1292" y="43444"/>
                      <a:pt x="9804" y="50534"/>
                    </a:cubicBezTo>
                    <a:cubicBezTo>
                      <a:pt x="13308" y="52787"/>
                      <a:pt x="17312" y="53621"/>
                      <a:pt x="21316" y="54538"/>
                    </a:cubicBezTo>
                    <a:cubicBezTo>
                      <a:pt x="29743" y="56791"/>
                      <a:pt x="38169" y="59377"/>
                      <a:pt x="46595" y="62547"/>
                    </a:cubicBezTo>
                    <a:cubicBezTo>
                      <a:pt x="51017" y="64299"/>
                      <a:pt x="55438" y="66551"/>
                      <a:pt x="59025" y="69638"/>
                    </a:cubicBezTo>
                    <a:cubicBezTo>
                      <a:pt x="62530" y="73142"/>
                      <a:pt x="64782" y="77646"/>
                      <a:pt x="67035" y="82067"/>
                    </a:cubicBezTo>
                    <a:cubicBezTo>
                      <a:pt x="74543" y="98001"/>
                      <a:pt x="82552" y="113934"/>
                      <a:pt x="90060" y="129450"/>
                    </a:cubicBezTo>
                    <a:cubicBezTo>
                      <a:pt x="92313" y="133871"/>
                      <a:pt x="94065" y="138293"/>
                      <a:pt x="94482" y="142714"/>
                    </a:cubicBezTo>
                    <a:cubicBezTo>
                      <a:pt x="94482" y="147552"/>
                      <a:pt x="91812" y="152475"/>
                      <a:pt x="87391" y="153809"/>
                    </a:cubicBezTo>
                    <a:cubicBezTo>
                      <a:pt x="82552" y="155144"/>
                      <a:pt x="77629" y="152057"/>
                      <a:pt x="72791" y="152475"/>
                    </a:cubicBezTo>
                    <a:cubicBezTo>
                      <a:pt x="63447" y="152475"/>
                      <a:pt x="58191" y="162652"/>
                      <a:pt x="55938" y="171494"/>
                    </a:cubicBezTo>
                    <a:cubicBezTo>
                      <a:pt x="52852" y="183423"/>
                      <a:pt x="47513" y="191015"/>
                      <a:pt x="59025" y="200274"/>
                    </a:cubicBezTo>
                    <a:cubicBezTo>
                      <a:pt x="66534" y="206030"/>
                      <a:pt x="74126" y="212203"/>
                      <a:pt x="81635" y="217960"/>
                    </a:cubicBezTo>
                    <a:cubicBezTo>
                      <a:pt x="87391" y="222381"/>
                      <a:pt x="93147" y="226802"/>
                      <a:pt x="97569" y="232558"/>
                    </a:cubicBezTo>
                    <a:cubicBezTo>
                      <a:pt x="104243" y="240983"/>
                      <a:pt x="107330" y="251578"/>
                      <a:pt x="113086" y="260921"/>
                    </a:cubicBezTo>
                    <a:cubicBezTo>
                      <a:pt x="120594" y="272850"/>
                      <a:pt x="132608" y="281276"/>
                      <a:pt x="140116" y="292788"/>
                    </a:cubicBezTo>
                    <a:cubicBezTo>
                      <a:pt x="150295" y="308304"/>
                      <a:pt x="152965" y="328658"/>
                      <a:pt x="165812" y="342423"/>
                    </a:cubicBezTo>
                    <a:cubicBezTo>
                      <a:pt x="174656" y="351766"/>
                      <a:pt x="185334" y="357939"/>
                      <a:pt x="193260" y="368534"/>
                    </a:cubicBezTo>
                    <a:cubicBezTo>
                      <a:pt x="200768" y="378711"/>
                      <a:pt x="214533" y="382298"/>
                      <a:pt x="226463" y="384050"/>
                    </a:cubicBezTo>
                    <a:cubicBezTo>
                      <a:pt x="229967" y="384467"/>
                      <a:pt x="233972" y="384967"/>
                      <a:pt x="236641" y="387553"/>
                    </a:cubicBezTo>
                    <a:cubicBezTo>
                      <a:pt x="238894" y="389806"/>
                      <a:pt x="239311" y="392892"/>
                      <a:pt x="241063" y="395562"/>
                    </a:cubicBezTo>
                    <a:cubicBezTo>
                      <a:pt x="245484" y="401735"/>
                      <a:pt x="254828" y="401318"/>
                      <a:pt x="262754" y="401318"/>
                    </a:cubicBezTo>
                    <a:cubicBezTo>
                      <a:pt x="280441" y="401735"/>
                      <a:pt x="296459" y="411078"/>
                      <a:pt x="311893" y="419920"/>
                    </a:cubicBezTo>
                    <a:cubicBezTo>
                      <a:pt x="323405" y="426594"/>
                      <a:pt x="335335" y="434102"/>
                      <a:pt x="340675" y="446532"/>
                    </a:cubicBezTo>
                    <a:cubicBezTo>
                      <a:pt x="342427" y="450536"/>
                      <a:pt x="343344" y="454540"/>
                      <a:pt x="345096" y="458044"/>
                    </a:cubicBezTo>
                    <a:cubicBezTo>
                      <a:pt x="348600" y="465134"/>
                      <a:pt x="355275" y="469973"/>
                      <a:pt x="357944" y="477063"/>
                    </a:cubicBezTo>
                    <a:cubicBezTo>
                      <a:pt x="359696" y="481485"/>
                      <a:pt x="360613" y="486824"/>
                      <a:pt x="363700" y="490328"/>
                    </a:cubicBezTo>
                    <a:cubicBezTo>
                      <a:pt x="367204" y="494332"/>
                      <a:pt x="372543" y="496501"/>
                      <a:pt x="376131" y="500088"/>
                    </a:cubicBezTo>
                    <a:cubicBezTo>
                      <a:pt x="384140" y="508513"/>
                      <a:pt x="389897" y="519608"/>
                      <a:pt x="399574" y="526198"/>
                    </a:cubicBezTo>
                    <a:cubicBezTo>
                      <a:pt x="403578" y="528868"/>
                      <a:pt x="408417" y="530620"/>
                      <a:pt x="412005" y="533289"/>
                    </a:cubicBezTo>
                    <a:cubicBezTo>
                      <a:pt x="416009" y="536375"/>
                      <a:pt x="419096" y="540380"/>
                      <a:pt x="422599" y="543883"/>
                    </a:cubicBezTo>
                    <a:cubicBezTo>
                      <a:pt x="430609" y="551892"/>
                      <a:pt x="440787" y="557648"/>
                      <a:pt x="447377" y="566490"/>
                    </a:cubicBezTo>
                    <a:cubicBezTo>
                      <a:pt x="454886" y="576251"/>
                      <a:pt x="458473" y="589514"/>
                      <a:pt x="467734" y="597940"/>
                    </a:cubicBezTo>
                    <a:cubicBezTo>
                      <a:pt x="472155" y="601944"/>
                      <a:pt x="477495" y="604113"/>
                      <a:pt x="481916" y="607700"/>
                    </a:cubicBezTo>
                    <a:cubicBezTo>
                      <a:pt x="491260" y="614374"/>
                      <a:pt x="498268" y="624551"/>
                      <a:pt x="502773" y="635145"/>
                    </a:cubicBezTo>
                    <a:cubicBezTo>
                      <a:pt x="504108" y="638232"/>
                      <a:pt x="505026" y="640902"/>
                      <a:pt x="506777" y="643988"/>
                    </a:cubicBezTo>
                    <a:cubicBezTo>
                      <a:pt x="508529" y="646658"/>
                      <a:pt x="510782" y="649327"/>
                      <a:pt x="512951" y="651996"/>
                    </a:cubicBezTo>
                    <a:cubicBezTo>
                      <a:pt x="520960" y="661340"/>
                      <a:pt x="528051" y="671934"/>
                      <a:pt x="533307" y="683029"/>
                    </a:cubicBezTo>
                    <a:cubicBezTo>
                      <a:pt x="534225" y="684780"/>
                      <a:pt x="535059" y="686532"/>
                      <a:pt x="536394" y="688368"/>
                    </a:cubicBezTo>
                    <a:cubicBezTo>
                      <a:pt x="538647" y="691037"/>
                      <a:pt x="541734" y="692372"/>
                      <a:pt x="544820" y="694124"/>
                    </a:cubicBezTo>
                    <a:cubicBezTo>
                      <a:pt x="552328" y="698545"/>
                      <a:pt x="560338" y="705218"/>
                      <a:pt x="563007" y="713644"/>
                    </a:cubicBezTo>
                    <a:cubicBezTo>
                      <a:pt x="566511" y="723404"/>
                      <a:pt x="565676" y="734499"/>
                      <a:pt x="570099" y="743759"/>
                    </a:cubicBezTo>
                    <a:cubicBezTo>
                      <a:pt x="577607" y="759275"/>
                      <a:pt x="596711" y="764113"/>
                      <a:pt x="612646" y="770787"/>
                    </a:cubicBezTo>
                    <a:cubicBezTo>
                      <a:pt x="624159" y="775626"/>
                      <a:pt x="634755" y="781882"/>
                      <a:pt x="645850" y="788055"/>
                    </a:cubicBezTo>
                    <a:cubicBezTo>
                      <a:pt x="653859" y="792894"/>
                      <a:pt x="662201" y="797815"/>
                      <a:pt x="666707" y="806241"/>
                    </a:cubicBezTo>
                    <a:cubicBezTo>
                      <a:pt x="669794" y="811997"/>
                      <a:pt x="670211" y="819087"/>
                      <a:pt x="673798" y="824844"/>
                    </a:cubicBezTo>
                    <a:cubicBezTo>
                      <a:pt x="678637" y="832352"/>
                      <a:pt x="687564" y="836773"/>
                      <a:pt x="690650" y="844781"/>
                    </a:cubicBezTo>
                    <a:cubicBezTo>
                      <a:pt x="691985" y="848785"/>
                      <a:pt x="691568" y="853624"/>
                      <a:pt x="691985" y="858045"/>
                    </a:cubicBezTo>
                    <a:cubicBezTo>
                      <a:pt x="692902" y="870475"/>
                      <a:pt x="700828" y="881486"/>
                      <a:pt x="710172" y="889495"/>
                    </a:cubicBezTo>
                    <a:cubicBezTo>
                      <a:pt x="719516" y="897920"/>
                      <a:pt x="730528" y="904093"/>
                      <a:pt x="740289" y="911184"/>
                    </a:cubicBezTo>
                    <a:cubicBezTo>
                      <a:pt x="756224" y="922279"/>
                      <a:pt x="770823" y="936460"/>
                      <a:pt x="779750" y="954146"/>
                    </a:cubicBezTo>
                    <a:cubicBezTo>
                      <a:pt x="788176" y="971413"/>
                      <a:pt x="791263" y="991351"/>
                      <a:pt x="802359" y="1006867"/>
                    </a:cubicBezTo>
                    <a:cubicBezTo>
                      <a:pt x="807698" y="1014375"/>
                      <a:pt x="814288" y="1020131"/>
                      <a:pt x="820963" y="1026387"/>
                    </a:cubicBezTo>
                    <a:cubicBezTo>
                      <a:pt x="833393" y="1037483"/>
                      <a:pt x="845740" y="1048494"/>
                      <a:pt x="858589" y="1059589"/>
                    </a:cubicBezTo>
                    <a:cubicBezTo>
                      <a:pt x="864762" y="1064928"/>
                      <a:pt x="871436" y="1070684"/>
                      <a:pt x="879445" y="1072019"/>
                    </a:cubicBezTo>
                    <a:cubicBezTo>
                      <a:pt x="887454" y="1073353"/>
                      <a:pt x="897132" y="1068015"/>
                      <a:pt x="897132" y="1059589"/>
                    </a:cubicBezTo>
                    <a:cubicBezTo>
                      <a:pt x="897132" y="1052498"/>
                      <a:pt x="897132" y="1046325"/>
                      <a:pt x="894462" y="1039652"/>
                    </a:cubicBezTo>
                    <a:cubicBezTo>
                      <a:pt x="891375" y="1031643"/>
                      <a:pt x="887788" y="1023718"/>
                      <a:pt x="882031" y="1017045"/>
                    </a:cubicBezTo>
                    <a:cubicBezTo>
                      <a:pt x="879361" y="1013958"/>
                      <a:pt x="876275" y="1011289"/>
                      <a:pt x="874023" y="1008202"/>
                    </a:cubicBezTo>
                    <a:cubicBezTo>
                      <a:pt x="872270" y="1005532"/>
                      <a:pt x="871353" y="1002029"/>
                      <a:pt x="870018" y="998859"/>
                    </a:cubicBezTo>
                    <a:cubicBezTo>
                      <a:pt x="868266" y="993520"/>
                      <a:pt x="866514" y="988265"/>
                      <a:pt x="866514" y="982926"/>
                    </a:cubicBezTo>
                    <a:cubicBezTo>
                      <a:pt x="866514" y="978504"/>
                      <a:pt x="867849" y="974083"/>
                      <a:pt x="867431" y="969662"/>
                    </a:cubicBezTo>
                    <a:cubicBezTo>
                      <a:pt x="867014" y="964323"/>
                      <a:pt x="864762" y="959067"/>
                      <a:pt x="861676" y="954563"/>
                    </a:cubicBezTo>
                    <a:cubicBezTo>
                      <a:pt x="859006" y="950141"/>
                      <a:pt x="854167" y="944385"/>
                      <a:pt x="855502" y="939046"/>
                    </a:cubicBezTo>
                    <a:cubicBezTo>
                      <a:pt x="856836" y="933708"/>
                      <a:pt x="863010" y="930204"/>
                      <a:pt x="867933" y="931038"/>
                    </a:cubicBezTo>
                    <a:cubicBezTo>
                      <a:pt x="871019" y="931455"/>
                      <a:pt x="874106" y="933290"/>
                      <a:pt x="877276" y="934125"/>
                    </a:cubicBezTo>
                    <a:cubicBezTo>
                      <a:pt x="883950" y="936377"/>
                      <a:pt x="891875" y="934125"/>
                      <a:pt x="896298" y="928785"/>
                    </a:cubicBezTo>
                    <a:cubicBezTo>
                      <a:pt x="904306" y="919943"/>
                      <a:pt x="903389" y="910183"/>
                      <a:pt x="916653" y="909766"/>
                    </a:cubicBezTo>
                    <a:cubicBezTo>
                      <a:pt x="930419" y="909349"/>
                      <a:pt x="943684" y="913270"/>
                      <a:pt x="953862" y="922612"/>
                    </a:cubicBezTo>
                    <a:cubicBezTo>
                      <a:pt x="958284" y="926617"/>
                      <a:pt x="962288" y="931956"/>
                      <a:pt x="967127" y="935459"/>
                    </a:cubicBezTo>
                    <a:cubicBezTo>
                      <a:pt x="971965" y="938963"/>
                      <a:pt x="979056" y="941215"/>
                      <a:pt x="984396" y="938546"/>
                    </a:cubicBezTo>
                    <a:cubicBezTo>
                      <a:pt x="980392" y="931872"/>
                      <a:pt x="976888" y="924781"/>
                      <a:pt x="972883" y="918191"/>
                    </a:cubicBezTo>
                    <a:cubicBezTo>
                      <a:pt x="970631" y="914187"/>
                      <a:pt x="968045" y="909766"/>
                      <a:pt x="964040" y="907597"/>
                    </a:cubicBezTo>
                    <a:cubicBezTo>
                      <a:pt x="960536" y="905345"/>
                      <a:pt x="956031" y="905345"/>
                      <a:pt x="952110" y="904510"/>
                    </a:cubicBezTo>
                    <a:cubicBezTo>
                      <a:pt x="934840" y="899672"/>
                      <a:pt x="923745" y="876565"/>
                      <a:pt x="906058" y="879234"/>
                    </a:cubicBezTo>
                    <a:cubicBezTo>
                      <a:pt x="900302" y="880151"/>
                      <a:pt x="894962" y="883655"/>
                      <a:pt x="889206" y="883238"/>
                    </a:cubicBezTo>
                    <a:cubicBezTo>
                      <a:pt x="884784" y="882821"/>
                      <a:pt x="880780" y="880151"/>
                      <a:pt x="877276" y="877482"/>
                    </a:cubicBezTo>
                    <a:cubicBezTo>
                      <a:pt x="863510" y="867305"/>
                      <a:pt x="849829" y="857127"/>
                      <a:pt x="836063" y="846950"/>
                    </a:cubicBezTo>
                    <a:cubicBezTo>
                      <a:pt x="830307" y="842529"/>
                      <a:pt x="824551" y="838525"/>
                      <a:pt x="817876" y="836773"/>
                    </a:cubicBezTo>
                    <a:cubicBezTo>
                      <a:pt x="807281" y="834103"/>
                      <a:pt x="796185" y="837691"/>
                      <a:pt x="785506" y="837691"/>
                    </a:cubicBezTo>
                    <a:cubicBezTo>
                      <a:pt x="765985" y="837691"/>
                      <a:pt x="748298" y="825761"/>
                      <a:pt x="732364" y="814666"/>
                    </a:cubicBezTo>
                    <a:cubicBezTo>
                      <a:pt x="716429" y="803572"/>
                      <a:pt x="699994" y="791225"/>
                      <a:pt x="692485" y="773040"/>
                    </a:cubicBezTo>
                    <a:cubicBezTo>
                      <a:pt x="683642" y="752184"/>
                      <a:pt x="688481" y="725239"/>
                      <a:pt x="672547" y="708806"/>
                    </a:cubicBezTo>
                    <a:cubicBezTo>
                      <a:pt x="666373" y="702633"/>
                      <a:pt x="657947" y="698628"/>
                      <a:pt x="653526" y="691538"/>
                    </a:cubicBezTo>
                    <a:cubicBezTo>
                      <a:pt x="647769" y="682695"/>
                      <a:pt x="646851" y="670265"/>
                      <a:pt x="642429" y="660505"/>
                    </a:cubicBezTo>
                    <a:cubicBezTo>
                      <a:pt x="637090" y="648576"/>
                      <a:pt x="628664" y="637898"/>
                      <a:pt x="618069" y="630808"/>
                    </a:cubicBezTo>
                    <a:cubicBezTo>
                      <a:pt x="615816" y="629056"/>
                      <a:pt x="613230" y="627721"/>
                      <a:pt x="611895" y="625469"/>
                    </a:cubicBezTo>
                    <a:cubicBezTo>
                      <a:pt x="610144" y="622799"/>
                      <a:pt x="610144" y="619712"/>
                      <a:pt x="610144" y="616626"/>
                    </a:cubicBezTo>
                    <a:cubicBezTo>
                      <a:pt x="610561" y="610453"/>
                      <a:pt x="612395" y="604697"/>
                      <a:pt x="613647" y="598941"/>
                    </a:cubicBezTo>
                    <a:cubicBezTo>
                      <a:pt x="614982" y="593602"/>
                      <a:pt x="614982" y="588347"/>
                      <a:pt x="617151" y="583425"/>
                    </a:cubicBezTo>
                    <a:cubicBezTo>
                      <a:pt x="619821" y="577252"/>
                      <a:pt x="621990" y="570578"/>
                      <a:pt x="624659" y="564405"/>
                    </a:cubicBezTo>
                    <a:cubicBezTo>
                      <a:pt x="625578" y="562653"/>
                      <a:pt x="626412" y="560401"/>
                      <a:pt x="627329" y="558649"/>
                    </a:cubicBezTo>
                    <a:cubicBezTo>
                      <a:pt x="629582" y="555145"/>
                      <a:pt x="632669" y="552893"/>
                      <a:pt x="636172" y="550640"/>
                    </a:cubicBezTo>
                    <a:cubicBezTo>
                      <a:pt x="646350" y="544467"/>
                      <a:pt x="657863" y="541297"/>
                      <a:pt x="668542" y="535541"/>
                    </a:cubicBezTo>
                    <a:cubicBezTo>
                      <a:pt x="674298" y="532038"/>
                      <a:pt x="681807" y="531537"/>
                      <a:pt x="688481" y="531537"/>
                    </a:cubicBezTo>
                    <a:cubicBezTo>
                      <a:pt x="709755" y="531954"/>
                      <a:pt x="730528" y="535958"/>
                      <a:pt x="751802" y="534624"/>
                    </a:cubicBezTo>
                    <a:cubicBezTo>
                      <a:pt x="759311" y="534206"/>
                      <a:pt x="769989" y="531954"/>
                      <a:pt x="777080" y="536375"/>
                    </a:cubicBezTo>
                    <a:cubicBezTo>
                      <a:pt x="779333" y="537710"/>
                      <a:pt x="781085" y="539879"/>
                      <a:pt x="782837" y="541714"/>
                    </a:cubicBezTo>
                    <a:cubicBezTo>
                      <a:pt x="785506" y="543967"/>
                      <a:pt x="788176" y="546136"/>
                      <a:pt x="791263" y="547471"/>
                    </a:cubicBezTo>
                    <a:cubicBezTo>
                      <a:pt x="793015" y="548388"/>
                      <a:pt x="794350" y="548805"/>
                      <a:pt x="796102" y="548805"/>
                    </a:cubicBezTo>
                    <a:cubicBezTo>
                      <a:pt x="797854" y="548805"/>
                      <a:pt x="799606" y="547471"/>
                      <a:pt x="800106" y="546136"/>
                    </a:cubicBezTo>
                    <a:cubicBezTo>
                      <a:pt x="800523" y="544384"/>
                      <a:pt x="799689" y="542632"/>
                      <a:pt x="798354" y="540797"/>
                    </a:cubicBezTo>
                    <a:cubicBezTo>
                      <a:pt x="796102" y="537293"/>
                      <a:pt x="793933" y="533706"/>
                      <a:pt x="791680" y="530620"/>
                    </a:cubicBezTo>
                    <a:cubicBezTo>
                      <a:pt x="789427" y="527116"/>
                      <a:pt x="786841" y="523112"/>
                      <a:pt x="783254" y="520859"/>
                    </a:cubicBezTo>
                    <a:cubicBezTo>
                      <a:pt x="778832" y="518190"/>
                      <a:pt x="773493" y="517773"/>
                      <a:pt x="768154" y="517773"/>
                    </a:cubicBezTo>
                    <a:cubicBezTo>
                      <a:pt x="762398" y="517773"/>
                      <a:pt x="757058" y="517773"/>
                      <a:pt x="751301" y="518190"/>
                    </a:cubicBezTo>
                    <a:cubicBezTo>
                      <a:pt x="745962" y="518607"/>
                      <a:pt x="738871" y="520442"/>
                      <a:pt x="733615" y="519108"/>
                    </a:cubicBezTo>
                    <a:cubicBezTo>
                      <a:pt x="723854" y="516438"/>
                      <a:pt x="713259" y="509764"/>
                      <a:pt x="704416" y="505343"/>
                    </a:cubicBezTo>
                    <a:cubicBezTo>
                      <a:pt x="695989" y="501339"/>
                      <a:pt x="690650" y="494749"/>
                      <a:pt x="682308" y="490244"/>
                    </a:cubicBezTo>
                    <a:cubicBezTo>
                      <a:pt x="662368" y="479650"/>
                      <a:pt x="642846" y="468138"/>
                      <a:pt x="623825" y="455708"/>
                    </a:cubicBezTo>
                    <a:cubicBezTo>
                      <a:pt x="610561" y="446865"/>
                      <a:pt x="597212" y="437522"/>
                      <a:pt x="581778" y="433602"/>
                    </a:cubicBezTo>
                    <a:cubicBezTo>
                      <a:pt x="573769" y="431349"/>
                      <a:pt x="565426" y="430515"/>
                      <a:pt x="557001" y="428262"/>
                    </a:cubicBezTo>
                    <a:cubicBezTo>
                      <a:pt x="540648" y="423841"/>
                      <a:pt x="525966" y="412746"/>
                      <a:pt x="516706" y="398148"/>
                    </a:cubicBezTo>
                    <a:cubicBezTo>
                      <a:pt x="508696" y="385301"/>
                      <a:pt x="489675" y="378627"/>
                      <a:pt x="478162" y="368450"/>
                    </a:cubicBezTo>
                    <a:cubicBezTo>
                      <a:pt x="469736" y="360942"/>
                      <a:pt x="460893" y="353351"/>
                      <a:pt x="451132" y="347595"/>
                    </a:cubicBezTo>
                    <a:cubicBezTo>
                      <a:pt x="441788" y="342256"/>
                      <a:pt x="432110" y="338752"/>
                      <a:pt x="423184" y="332996"/>
                    </a:cubicBezTo>
                    <a:cubicBezTo>
                      <a:pt x="407667" y="322819"/>
                      <a:pt x="395737" y="305968"/>
                      <a:pt x="377549" y="303299"/>
                    </a:cubicBezTo>
                    <a:cubicBezTo>
                      <a:pt x="368706" y="301964"/>
                      <a:pt x="358528" y="304216"/>
                      <a:pt x="351436" y="298878"/>
                    </a:cubicBezTo>
                    <a:cubicBezTo>
                      <a:pt x="344762" y="294039"/>
                      <a:pt x="343011" y="284279"/>
                      <a:pt x="336837" y="278523"/>
                    </a:cubicBezTo>
                    <a:cubicBezTo>
                      <a:pt x="327076" y="269180"/>
                      <a:pt x="310224" y="273184"/>
                      <a:pt x="299212" y="265676"/>
                    </a:cubicBezTo>
                    <a:cubicBezTo>
                      <a:pt x="285946" y="256833"/>
                      <a:pt x="285946" y="235144"/>
                      <a:pt x="273099" y="225801"/>
                    </a:cubicBezTo>
                    <a:cubicBezTo>
                      <a:pt x="268677" y="222297"/>
                      <a:pt x="262504" y="220962"/>
                      <a:pt x="258917" y="216041"/>
                    </a:cubicBezTo>
                    <a:cubicBezTo>
                      <a:pt x="255329" y="211119"/>
                      <a:pt x="255830" y="204112"/>
                      <a:pt x="254911" y="198356"/>
                    </a:cubicBezTo>
                    <a:cubicBezTo>
                      <a:pt x="252242" y="175749"/>
                      <a:pt x="233220" y="158898"/>
                      <a:pt x="213699" y="146969"/>
                    </a:cubicBezTo>
                    <a:cubicBezTo>
                      <a:pt x="194177" y="135456"/>
                      <a:pt x="172069" y="126614"/>
                      <a:pt x="156969" y="109763"/>
                    </a:cubicBezTo>
                    <a:cubicBezTo>
                      <a:pt x="151212" y="103590"/>
                      <a:pt x="146373" y="95999"/>
                      <a:pt x="140116" y="90243"/>
                    </a:cubicBezTo>
                    <a:cubicBezTo>
                      <a:pt x="136112" y="86739"/>
                      <a:pt x="130773" y="83569"/>
                      <a:pt x="125517" y="82735"/>
                    </a:cubicBezTo>
                    <a:cubicBezTo>
                      <a:pt x="123264" y="82318"/>
                      <a:pt x="121095" y="82735"/>
                      <a:pt x="118843" y="81817"/>
                    </a:cubicBezTo>
                    <a:cubicBezTo>
                      <a:pt x="116173" y="80899"/>
                      <a:pt x="113503" y="80065"/>
                      <a:pt x="111334" y="78313"/>
                    </a:cubicBezTo>
                    <a:cubicBezTo>
                      <a:pt x="110417" y="77396"/>
                      <a:pt x="109583" y="76061"/>
                      <a:pt x="108247" y="75227"/>
                    </a:cubicBezTo>
                    <a:cubicBezTo>
                      <a:pt x="105160" y="71723"/>
                      <a:pt x="100739" y="69054"/>
                      <a:pt x="96317" y="66384"/>
                    </a:cubicBezTo>
                    <a:cubicBezTo>
                      <a:pt x="92313" y="64132"/>
                      <a:pt x="87474" y="61546"/>
                      <a:pt x="85222" y="57542"/>
                    </a:cubicBezTo>
                    <a:cubicBezTo>
                      <a:pt x="83720" y="57542"/>
                      <a:pt x="83303" y="56708"/>
                      <a:pt x="82886" y="5579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5639035" name="Полилиния 429"/>
              <p:cNvSpPr/>
              <p:nvPr/>
            </p:nvSpPr>
            <p:spPr bwMode="auto">
              <a:xfrm>
                <a:off x="9702176" y="4308738"/>
                <a:ext cx="61133" cy="68643"/>
              </a:xfrm>
              <a:custGeom>
                <a:avLst/>
                <a:gdLst>
                  <a:gd name="connsiteX0" fmla="*/ 60005 w 68657"/>
                  <a:gd name="connsiteY0" fmla="*/ 19937 h 77089"/>
                  <a:gd name="connsiteX1" fmla="*/ 48493 w 68657"/>
                  <a:gd name="connsiteY1" fmla="*/ 6674 h 77089"/>
                  <a:gd name="connsiteX2" fmla="*/ 36563 w 68657"/>
                  <a:gd name="connsiteY2" fmla="*/ 2669 h 77089"/>
                  <a:gd name="connsiteX3" fmla="*/ 13954 w 68657"/>
                  <a:gd name="connsiteY3" fmla="*/ 0 h 77089"/>
                  <a:gd name="connsiteX4" fmla="*/ 7781 w 68657"/>
                  <a:gd name="connsiteY4" fmla="*/ 417 h 77089"/>
                  <a:gd name="connsiteX5" fmla="*/ 2942 w 68657"/>
                  <a:gd name="connsiteY5" fmla="*/ 5255 h 77089"/>
                  <a:gd name="connsiteX6" fmla="*/ 272 w 68657"/>
                  <a:gd name="connsiteY6" fmla="*/ 25193 h 77089"/>
                  <a:gd name="connsiteX7" fmla="*/ 2942 w 68657"/>
                  <a:gd name="connsiteY7" fmla="*/ 65986 h 77089"/>
                  <a:gd name="connsiteX8" fmla="*/ 4276 w 68657"/>
                  <a:gd name="connsiteY8" fmla="*/ 69990 h 77089"/>
                  <a:gd name="connsiteX9" fmla="*/ 9115 w 68657"/>
                  <a:gd name="connsiteY9" fmla="*/ 71325 h 77089"/>
                  <a:gd name="connsiteX10" fmla="*/ 23715 w 68657"/>
                  <a:gd name="connsiteY10" fmla="*/ 61564 h 77089"/>
                  <a:gd name="connsiteX11" fmla="*/ 28136 w 68657"/>
                  <a:gd name="connsiteY11" fmla="*/ 58478 h 77089"/>
                  <a:gd name="connsiteX12" fmla="*/ 29471 w 68657"/>
                  <a:gd name="connsiteY12" fmla="*/ 59812 h 77089"/>
                  <a:gd name="connsiteX13" fmla="*/ 39233 w 68657"/>
                  <a:gd name="connsiteY13" fmla="*/ 71742 h 77089"/>
                  <a:gd name="connsiteX14" fmla="*/ 66680 w 68657"/>
                  <a:gd name="connsiteY14" fmla="*/ 65569 h 77089"/>
                  <a:gd name="connsiteX15" fmla="*/ 60005 w 68657"/>
                  <a:gd name="connsiteY15" fmla="*/ 19937 h 7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8657" h="77089" extrusionOk="0">
                    <a:moveTo>
                      <a:pt x="60005" y="19937"/>
                    </a:moveTo>
                    <a:cubicBezTo>
                      <a:pt x="56918" y="15099"/>
                      <a:pt x="53331" y="9760"/>
                      <a:pt x="48493" y="6674"/>
                    </a:cubicBezTo>
                    <a:cubicBezTo>
                      <a:pt x="44989" y="4421"/>
                      <a:pt x="40484" y="3587"/>
                      <a:pt x="36563" y="2669"/>
                    </a:cubicBezTo>
                    <a:cubicBezTo>
                      <a:pt x="29054" y="1335"/>
                      <a:pt x="21462" y="417"/>
                      <a:pt x="13954" y="0"/>
                    </a:cubicBezTo>
                    <a:cubicBezTo>
                      <a:pt x="11702" y="0"/>
                      <a:pt x="9949" y="0"/>
                      <a:pt x="7781" y="417"/>
                    </a:cubicBezTo>
                    <a:cubicBezTo>
                      <a:pt x="5528" y="1335"/>
                      <a:pt x="4276" y="3086"/>
                      <a:pt x="2942" y="5255"/>
                    </a:cubicBezTo>
                    <a:cubicBezTo>
                      <a:pt x="-562" y="11011"/>
                      <a:pt x="-145" y="18519"/>
                      <a:pt x="272" y="25193"/>
                    </a:cubicBezTo>
                    <a:cubicBezTo>
                      <a:pt x="1189" y="38957"/>
                      <a:pt x="2024" y="52221"/>
                      <a:pt x="2942" y="65986"/>
                    </a:cubicBezTo>
                    <a:cubicBezTo>
                      <a:pt x="2942" y="67320"/>
                      <a:pt x="3359" y="69072"/>
                      <a:pt x="4276" y="69990"/>
                    </a:cubicBezTo>
                    <a:cubicBezTo>
                      <a:pt x="5611" y="71325"/>
                      <a:pt x="7363" y="71325"/>
                      <a:pt x="9115" y="71325"/>
                    </a:cubicBezTo>
                    <a:cubicBezTo>
                      <a:pt x="15289" y="70407"/>
                      <a:pt x="20628" y="66903"/>
                      <a:pt x="23715" y="61564"/>
                    </a:cubicBezTo>
                    <a:cubicBezTo>
                      <a:pt x="24633" y="59812"/>
                      <a:pt x="26385" y="57560"/>
                      <a:pt x="28136" y="58478"/>
                    </a:cubicBezTo>
                    <a:cubicBezTo>
                      <a:pt x="29054" y="58895"/>
                      <a:pt x="29471" y="59395"/>
                      <a:pt x="29471" y="59812"/>
                    </a:cubicBezTo>
                    <a:cubicBezTo>
                      <a:pt x="32558" y="64234"/>
                      <a:pt x="35227" y="68238"/>
                      <a:pt x="39233" y="71742"/>
                    </a:cubicBezTo>
                    <a:cubicBezTo>
                      <a:pt x="48993" y="80584"/>
                      <a:pt x="63593" y="78415"/>
                      <a:pt x="66680" y="65569"/>
                    </a:cubicBezTo>
                    <a:cubicBezTo>
                      <a:pt x="70601" y="48717"/>
                      <a:pt x="68849" y="34536"/>
                      <a:pt x="60005" y="199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78855968" name="Полилиния 430"/>
              <p:cNvSpPr/>
              <p:nvPr/>
            </p:nvSpPr>
            <p:spPr bwMode="auto">
              <a:xfrm>
                <a:off x="9659331" y="4351275"/>
                <a:ext cx="31942" cy="41548"/>
              </a:xfrm>
              <a:custGeom>
                <a:avLst/>
                <a:gdLst>
                  <a:gd name="connsiteX0" fmla="*/ 31452 w 35873"/>
                  <a:gd name="connsiteY0" fmla="*/ 26640 h 46661"/>
                  <a:gd name="connsiteX1" fmla="*/ 35874 w 35873"/>
                  <a:gd name="connsiteY1" fmla="*/ 14711 h 46661"/>
                  <a:gd name="connsiteX2" fmla="*/ 29700 w 35873"/>
                  <a:gd name="connsiteY2" fmla="*/ 1448 h 46661"/>
                  <a:gd name="connsiteX3" fmla="*/ 23025 w 35873"/>
                  <a:gd name="connsiteY3" fmla="*/ 1031 h 46661"/>
                  <a:gd name="connsiteX4" fmla="*/ 21274 w 35873"/>
                  <a:gd name="connsiteY4" fmla="*/ 6786 h 46661"/>
                  <a:gd name="connsiteX5" fmla="*/ 16852 w 35873"/>
                  <a:gd name="connsiteY5" fmla="*/ 17381 h 46661"/>
                  <a:gd name="connsiteX6" fmla="*/ 9761 w 35873"/>
                  <a:gd name="connsiteY6" fmla="*/ 25806 h 46661"/>
                  <a:gd name="connsiteX7" fmla="*/ 9344 w 35873"/>
                  <a:gd name="connsiteY7" fmla="*/ 27558 h 46661"/>
                  <a:gd name="connsiteX8" fmla="*/ 8009 w 35873"/>
                  <a:gd name="connsiteY8" fmla="*/ 28893 h 46661"/>
                  <a:gd name="connsiteX9" fmla="*/ 2670 w 35873"/>
                  <a:gd name="connsiteY9" fmla="*/ 34232 h 46661"/>
                  <a:gd name="connsiteX10" fmla="*/ 0 w 35873"/>
                  <a:gd name="connsiteY10" fmla="*/ 39571 h 46661"/>
                  <a:gd name="connsiteX11" fmla="*/ 3087 w 35873"/>
                  <a:gd name="connsiteY11" fmla="*/ 44910 h 46661"/>
                  <a:gd name="connsiteX12" fmla="*/ 6590 w 35873"/>
                  <a:gd name="connsiteY12" fmla="*/ 46661 h 46661"/>
                  <a:gd name="connsiteX13" fmla="*/ 11013 w 35873"/>
                  <a:gd name="connsiteY13" fmla="*/ 45327 h 46661"/>
                  <a:gd name="connsiteX14" fmla="*/ 22942 w 35873"/>
                  <a:gd name="connsiteY14" fmla="*/ 32897 h 46661"/>
                  <a:gd name="connsiteX15" fmla="*/ 28698 w 35873"/>
                  <a:gd name="connsiteY15" fmla="*/ 31563 h 46661"/>
                  <a:gd name="connsiteX16" fmla="*/ 29617 w 35873"/>
                  <a:gd name="connsiteY16" fmla="*/ 29310 h 46661"/>
                  <a:gd name="connsiteX17" fmla="*/ 31452 w 35873"/>
                  <a:gd name="connsiteY17" fmla="*/ 26640 h 4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5873" h="46661" extrusionOk="0">
                    <a:moveTo>
                      <a:pt x="31452" y="26640"/>
                    </a:moveTo>
                    <a:cubicBezTo>
                      <a:pt x="33704" y="22636"/>
                      <a:pt x="35874" y="19967"/>
                      <a:pt x="35874" y="14711"/>
                    </a:cubicBezTo>
                    <a:cubicBezTo>
                      <a:pt x="35874" y="10290"/>
                      <a:pt x="33621" y="4117"/>
                      <a:pt x="29700" y="1448"/>
                    </a:cubicBezTo>
                    <a:cubicBezTo>
                      <a:pt x="27447" y="113"/>
                      <a:pt x="24861" y="-805"/>
                      <a:pt x="23025" y="1031"/>
                    </a:cubicBezTo>
                    <a:cubicBezTo>
                      <a:pt x="21691" y="2365"/>
                      <a:pt x="21691" y="4534"/>
                      <a:pt x="21274" y="6786"/>
                    </a:cubicBezTo>
                    <a:cubicBezTo>
                      <a:pt x="20857" y="10790"/>
                      <a:pt x="19521" y="14294"/>
                      <a:pt x="16852" y="17381"/>
                    </a:cubicBezTo>
                    <a:cubicBezTo>
                      <a:pt x="14600" y="20050"/>
                      <a:pt x="10178" y="22219"/>
                      <a:pt x="9761" y="25806"/>
                    </a:cubicBezTo>
                    <a:cubicBezTo>
                      <a:pt x="9761" y="26223"/>
                      <a:pt x="9761" y="27141"/>
                      <a:pt x="9344" y="27558"/>
                    </a:cubicBezTo>
                    <a:cubicBezTo>
                      <a:pt x="8927" y="27975"/>
                      <a:pt x="8426" y="28476"/>
                      <a:pt x="8009" y="28893"/>
                    </a:cubicBezTo>
                    <a:cubicBezTo>
                      <a:pt x="6257" y="30645"/>
                      <a:pt x="4505" y="32397"/>
                      <a:pt x="2670" y="34232"/>
                    </a:cubicBezTo>
                    <a:cubicBezTo>
                      <a:pt x="1335" y="35984"/>
                      <a:pt x="0" y="37736"/>
                      <a:pt x="0" y="39571"/>
                    </a:cubicBezTo>
                    <a:cubicBezTo>
                      <a:pt x="0" y="41823"/>
                      <a:pt x="1752" y="43074"/>
                      <a:pt x="3087" y="44910"/>
                    </a:cubicBezTo>
                    <a:cubicBezTo>
                      <a:pt x="4004" y="45827"/>
                      <a:pt x="5339" y="46661"/>
                      <a:pt x="6590" y="46661"/>
                    </a:cubicBezTo>
                    <a:cubicBezTo>
                      <a:pt x="8343" y="46661"/>
                      <a:pt x="9677" y="45327"/>
                      <a:pt x="11013" y="45327"/>
                    </a:cubicBezTo>
                    <a:cubicBezTo>
                      <a:pt x="11013" y="39153"/>
                      <a:pt x="16351" y="33398"/>
                      <a:pt x="22942" y="32897"/>
                    </a:cubicBezTo>
                    <a:cubicBezTo>
                      <a:pt x="24694" y="32897"/>
                      <a:pt x="27364" y="32897"/>
                      <a:pt x="28698" y="31563"/>
                    </a:cubicBezTo>
                    <a:cubicBezTo>
                      <a:pt x="29115" y="31145"/>
                      <a:pt x="29617" y="30228"/>
                      <a:pt x="29617" y="29310"/>
                    </a:cubicBezTo>
                    <a:cubicBezTo>
                      <a:pt x="30534" y="28392"/>
                      <a:pt x="31035" y="27475"/>
                      <a:pt x="31452" y="2664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5700646" name="Полилиния 431"/>
              <p:cNvSpPr/>
              <p:nvPr/>
            </p:nvSpPr>
            <p:spPr bwMode="auto">
              <a:xfrm>
                <a:off x="9758653" y="4420552"/>
                <a:ext cx="31363" cy="52198"/>
              </a:xfrm>
              <a:custGeom>
                <a:avLst/>
                <a:gdLst>
                  <a:gd name="connsiteX0" fmla="*/ 33287 w 35223"/>
                  <a:gd name="connsiteY0" fmla="*/ 19247 h 58621"/>
                  <a:gd name="connsiteX1" fmla="*/ 35039 w 35223"/>
                  <a:gd name="connsiteY1" fmla="*/ 9070 h 58621"/>
                  <a:gd name="connsiteX2" fmla="*/ 32369 w 35223"/>
                  <a:gd name="connsiteY2" fmla="*/ 2396 h 58621"/>
                  <a:gd name="connsiteX3" fmla="*/ 24360 w 35223"/>
                  <a:gd name="connsiteY3" fmla="*/ 144 h 58621"/>
                  <a:gd name="connsiteX4" fmla="*/ 6173 w 35223"/>
                  <a:gd name="connsiteY4" fmla="*/ 19164 h 58621"/>
                  <a:gd name="connsiteX5" fmla="*/ 4421 w 35223"/>
                  <a:gd name="connsiteY5" fmla="*/ 30675 h 58621"/>
                  <a:gd name="connsiteX6" fmla="*/ 1335 w 35223"/>
                  <a:gd name="connsiteY6" fmla="*/ 33345 h 58621"/>
                  <a:gd name="connsiteX7" fmla="*/ 417 w 35223"/>
                  <a:gd name="connsiteY7" fmla="*/ 37766 h 58621"/>
                  <a:gd name="connsiteX8" fmla="*/ 0 w 35223"/>
                  <a:gd name="connsiteY8" fmla="*/ 45775 h 58621"/>
                  <a:gd name="connsiteX9" fmla="*/ 917 w 35223"/>
                  <a:gd name="connsiteY9" fmla="*/ 51531 h 58621"/>
                  <a:gd name="connsiteX10" fmla="*/ 5339 w 35223"/>
                  <a:gd name="connsiteY10" fmla="*/ 55535 h 58621"/>
                  <a:gd name="connsiteX11" fmla="*/ 18187 w 35223"/>
                  <a:gd name="connsiteY11" fmla="*/ 58621 h 58621"/>
                  <a:gd name="connsiteX12" fmla="*/ 20857 w 35223"/>
                  <a:gd name="connsiteY12" fmla="*/ 58204 h 58621"/>
                  <a:gd name="connsiteX13" fmla="*/ 22608 w 35223"/>
                  <a:gd name="connsiteY13" fmla="*/ 55952 h 58621"/>
                  <a:gd name="connsiteX14" fmla="*/ 27447 w 35223"/>
                  <a:gd name="connsiteY14" fmla="*/ 45358 h 58621"/>
                  <a:gd name="connsiteX15" fmla="*/ 26112 w 35223"/>
                  <a:gd name="connsiteY15" fmla="*/ 31593 h 58621"/>
                  <a:gd name="connsiteX16" fmla="*/ 33287 w 35223"/>
                  <a:gd name="connsiteY16" fmla="*/ 19247 h 58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223" h="58621" extrusionOk="0">
                    <a:moveTo>
                      <a:pt x="33287" y="19247"/>
                    </a:moveTo>
                    <a:cubicBezTo>
                      <a:pt x="35039" y="16160"/>
                      <a:pt x="35540" y="12573"/>
                      <a:pt x="35039" y="9070"/>
                    </a:cubicBezTo>
                    <a:cubicBezTo>
                      <a:pt x="34622" y="6817"/>
                      <a:pt x="34121" y="4231"/>
                      <a:pt x="32369" y="2396"/>
                    </a:cubicBezTo>
                    <a:cubicBezTo>
                      <a:pt x="30617" y="144"/>
                      <a:pt x="27030" y="-274"/>
                      <a:pt x="24360" y="144"/>
                    </a:cubicBezTo>
                    <a:cubicBezTo>
                      <a:pt x="14600" y="1061"/>
                      <a:pt x="6674" y="9487"/>
                      <a:pt x="6173" y="19164"/>
                    </a:cubicBezTo>
                    <a:cubicBezTo>
                      <a:pt x="6173" y="23168"/>
                      <a:pt x="7091" y="27589"/>
                      <a:pt x="4421" y="30675"/>
                    </a:cubicBezTo>
                    <a:cubicBezTo>
                      <a:pt x="3503" y="31593"/>
                      <a:pt x="2169" y="32427"/>
                      <a:pt x="1335" y="33345"/>
                    </a:cubicBezTo>
                    <a:cubicBezTo>
                      <a:pt x="417" y="34680"/>
                      <a:pt x="417" y="36431"/>
                      <a:pt x="417" y="37766"/>
                    </a:cubicBezTo>
                    <a:cubicBezTo>
                      <a:pt x="417" y="40436"/>
                      <a:pt x="0" y="43105"/>
                      <a:pt x="0" y="45775"/>
                    </a:cubicBezTo>
                    <a:cubicBezTo>
                      <a:pt x="0" y="47527"/>
                      <a:pt x="0" y="49779"/>
                      <a:pt x="917" y="51531"/>
                    </a:cubicBezTo>
                    <a:cubicBezTo>
                      <a:pt x="1835" y="53283"/>
                      <a:pt x="3587" y="54617"/>
                      <a:pt x="5339" y="55535"/>
                    </a:cubicBezTo>
                    <a:cubicBezTo>
                      <a:pt x="9343" y="57787"/>
                      <a:pt x="13765" y="58621"/>
                      <a:pt x="18187" y="58621"/>
                    </a:cubicBezTo>
                    <a:cubicBezTo>
                      <a:pt x="19104" y="58621"/>
                      <a:pt x="19939" y="58621"/>
                      <a:pt x="20857" y="58204"/>
                    </a:cubicBezTo>
                    <a:cubicBezTo>
                      <a:pt x="21774" y="57787"/>
                      <a:pt x="22191" y="56869"/>
                      <a:pt x="22608" y="55952"/>
                    </a:cubicBezTo>
                    <a:cubicBezTo>
                      <a:pt x="24861" y="52448"/>
                      <a:pt x="26613" y="48861"/>
                      <a:pt x="27447" y="45358"/>
                    </a:cubicBezTo>
                    <a:cubicBezTo>
                      <a:pt x="28782" y="40019"/>
                      <a:pt x="26112" y="36515"/>
                      <a:pt x="26112" y="31593"/>
                    </a:cubicBezTo>
                    <a:cubicBezTo>
                      <a:pt x="26196" y="25420"/>
                      <a:pt x="30701" y="23668"/>
                      <a:pt x="33287" y="1924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61748957" name="Полилиния 432"/>
              <p:cNvSpPr/>
              <p:nvPr/>
            </p:nvSpPr>
            <p:spPr bwMode="auto">
              <a:xfrm>
                <a:off x="11415533" y="4625344"/>
                <a:ext cx="31515" cy="39944"/>
              </a:xfrm>
              <a:custGeom>
                <a:avLst/>
                <a:gdLst>
                  <a:gd name="connsiteX0" fmla="*/ 35395 w 35394"/>
                  <a:gd name="connsiteY0" fmla="*/ 12075 h 44859"/>
                  <a:gd name="connsiteX1" fmla="*/ 3025 w 35394"/>
                  <a:gd name="connsiteY1" fmla="*/ 44860 h 44859"/>
                  <a:gd name="connsiteX2" fmla="*/ 1273 w 35394"/>
                  <a:gd name="connsiteY2" fmla="*/ 40855 h 44859"/>
                  <a:gd name="connsiteX3" fmla="*/ 12368 w 35394"/>
                  <a:gd name="connsiteY3" fmla="*/ 2315 h 44859"/>
                  <a:gd name="connsiteX4" fmla="*/ 28720 w 35394"/>
                  <a:gd name="connsiteY4" fmla="*/ 2315 h 44859"/>
                  <a:gd name="connsiteX5" fmla="*/ 35395 w 35394"/>
                  <a:gd name="connsiteY5" fmla="*/ 12075 h 4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394" h="44859" extrusionOk="0">
                    <a:moveTo>
                      <a:pt x="35395" y="12075"/>
                    </a:moveTo>
                    <a:lnTo>
                      <a:pt x="3025" y="44860"/>
                    </a:lnTo>
                    <a:cubicBezTo>
                      <a:pt x="2107" y="43525"/>
                      <a:pt x="1690" y="42190"/>
                      <a:pt x="1273" y="40855"/>
                    </a:cubicBezTo>
                    <a:cubicBezTo>
                      <a:pt x="-3149" y="27591"/>
                      <a:pt x="4777" y="13827"/>
                      <a:pt x="12368" y="2315"/>
                    </a:cubicBezTo>
                    <a:cubicBezTo>
                      <a:pt x="17208" y="-772"/>
                      <a:pt x="23882" y="-772"/>
                      <a:pt x="28720" y="2315"/>
                    </a:cubicBezTo>
                    <a:cubicBezTo>
                      <a:pt x="32308" y="4567"/>
                      <a:pt x="34977" y="8071"/>
                      <a:pt x="35395" y="120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17011747" name="Полилиния 433"/>
              <p:cNvSpPr/>
              <p:nvPr/>
            </p:nvSpPr>
            <p:spPr bwMode="auto">
              <a:xfrm>
                <a:off x="11389774" y="4694110"/>
                <a:ext cx="37143" cy="72943"/>
              </a:xfrm>
              <a:custGeom>
                <a:avLst/>
                <a:gdLst>
                  <a:gd name="connsiteX0" fmla="*/ 39462 w 41713"/>
                  <a:gd name="connsiteY0" fmla="*/ 17685 h 81919"/>
                  <a:gd name="connsiteX1" fmla="*/ 41213 w 41713"/>
                  <a:gd name="connsiteY1" fmla="*/ 40709 h 81919"/>
                  <a:gd name="connsiteX2" fmla="*/ 41213 w 41713"/>
                  <a:gd name="connsiteY2" fmla="*/ 41127 h 81919"/>
                  <a:gd name="connsiteX3" fmla="*/ 0 w 41713"/>
                  <a:gd name="connsiteY3" fmla="*/ 81919 h 81919"/>
                  <a:gd name="connsiteX4" fmla="*/ 1335 w 41713"/>
                  <a:gd name="connsiteY4" fmla="*/ 55808 h 81919"/>
                  <a:gd name="connsiteX5" fmla="*/ 918 w 41713"/>
                  <a:gd name="connsiteY5" fmla="*/ 40292 h 81919"/>
                  <a:gd name="connsiteX6" fmla="*/ 41713 w 41713"/>
                  <a:gd name="connsiteY6" fmla="*/ 0 h 81919"/>
                  <a:gd name="connsiteX7" fmla="*/ 39462 w 41713"/>
                  <a:gd name="connsiteY7" fmla="*/ 17685 h 81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3" h="81919" extrusionOk="0">
                    <a:moveTo>
                      <a:pt x="39462" y="17685"/>
                    </a:moveTo>
                    <a:cubicBezTo>
                      <a:pt x="39879" y="25193"/>
                      <a:pt x="40796" y="33202"/>
                      <a:pt x="41213" y="40709"/>
                    </a:cubicBezTo>
                    <a:lnTo>
                      <a:pt x="41213" y="41127"/>
                    </a:lnTo>
                    <a:lnTo>
                      <a:pt x="0" y="81919"/>
                    </a:lnTo>
                    <a:cubicBezTo>
                      <a:pt x="417" y="73076"/>
                      <a:pt x="918" y="64234"/>
                      <a:pt x="1335" y="55808"/>
                    </a:cubicBezTo>
                    <a:cubicBezTo>
                      <a:pt x="1752" y="50469"/>
                      <a:pt x="1752" y="45214"/>
                      <a:pt x="918" y="40292"/>
                    </a:cubicBezTo>
                    <a:lnTo>
                      <a:pt x="41713" y="0"/>
                    </a:lnTo>
                    <a:cubicBezTo>
                      <a:pt x="40379" y="5256"/>
                      <a:pt x="39462" y="11429"/>
                      <a:pt x="39462" y="1768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2657923" name="Полилиния 434"/>
              <p:cNvSpPr/>
              <p:nvPr/>
            </p:nvSpPr>
            <p:spPr bwMode="auto">
              <a:xfrm>
                <a:off x="11388621" y="4779236"/>
                <a:ext cx="31628" cy="54001"/>
              </a:xfrm>
              <a:custGeom>
                <a:avLst/>
                <a:gdLst>
                  <a:gd name="connsiteX0" fmla="*/ 29744 w 35520"/>
                  <a:gd name="connsiteY0" fmla="*/ 35871 h 60646"/>
                  <a:gd name="connsiteX1" fmla="*/ 30161 w 35520"/>
                  <a:gd name="connsiteY1" fmla="*/ 40292 h 60646"/>
                  <a:gd name="connsiteX2" fmla="*/ 10222 w 35520"/>
                  <a:gd name="connsiteY2" fmla="*/ 60647 h 60646"/>
                  <a:gd name="connsiteX3" fmla="*/ 1379 w 35520"/>
                  <a:gd name="connsiteY3" fmla="*/ 46465 h 60646"/>
                  <a:gd name="connsiteX4" fmla="*/ 43 w 35520"/>
                  <a:gd name="connsiteY4" fmla="*/ 29614 h 60646"/>
                  <a:gd name="connsiteX5" fmla="*/ 43 w 35520"/>
                  <a:gd name="connsiteY5" fmla="*/ 29197 h 60646"/>
                  <a:gd name="connsiteX6" fmla="*/ 29243 w 35520"/>
                  <a:gd name="connsiteY6" fmla="*/ 0 h 60646"/>
                  <a:gd name="connsiteX7" fmla="*/ 32747 w 35520"/>
                  <a:gd name="connsiteY7" fmla="*/ 4004 h 60646"/>
                  <a:gd name="connsiteX8" fmla="*/ 35417 w 35520"/>
                  <a:gd name="connsiteY8" fmla="*/ 16434 h 60646"/>
                  <a:gd name="connsiteX9" fmla="*/ 29744 w 35520"/>
                  <a:gd name="connsiteY9" fmla="*/ 35871 h 6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520" h="60646" extrusionOk="0">
                    <a:moveTo>
                      <a:pt x="29744" y="35871"/>
                    </a:moveTo>
                    <a:cubicBezTo>
                      <a:pt x="29744" y="37206"/>
                      <a:pt x="29744" y="38958"/>
                      <a:pt x="30161" y="40292"/>
                    </a:cubicBezTo>
                    <a:lnTo>
                      <a:pt x="10222" y="60647"/>
                    </a:lnTo>
                    <a:cubicBezTo>
                      <a:pt x="6718" y="56225"/>
                      <a:pt x="3130" y="51804"/>
                      <a:pt x="1379" y="46465"/>
                    </a:cubicBezTo>
                    <a:cubicBezTo>
                      <a:pt x="-374" y="41126"/>
                      <a:pt x="43" y="35370"/>
                      <a:pt x="43" y="29614"/>
                    </a:cubicBezTo>
                    <a:lnTo>
                      <a:pt x="43" y="29197"/>
                    </a:lnTo>
                    <a:lnTo>
                      <a:pt x="29243" y="0"/>
                    </a:lnTo>
                    <a:cubicBezTo>
                      <a:pt x="30578" y="1335"/>
                      <a:pt x="31913" y="2670"/>
                      <a:pt x="32747" y="4004"/>
                    </a:cubicBezTo>
                    <a:cubicBezTo>
                      <a:pt x="35000" y="7508"/>
                      <a:pt x="35834" y="12012"/>
                      <a:pt x="35417" y="16434"/>
                    </a:cubicBezTo>
                    <a:cubicBezTo>
                      <a:pt x="34582" y="23024"/>
                      <a:pt x="30161" y="28864"/>
                      <a:pt x="29744" y="3587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8771163" name="Полилиния 435"/>
              <p:cNvSpPr/>
              <p:nvPr/>
            </p:nvSpPr>
            <p:spPr bwMode="auto">
              <a:xfrm>
                <a:off x="11345481" y="4905508"/>
                <a:ext cx="39612" cy="48066"/>
              </a:xfrm>
              <a:custGeom>
                <a:avLst/>
                <a:gdLst>
                  <a:gd name="connsiteX0" fmla="*/ 44071 w 44487"/>
                  <a:gd name="connsiteY0" fmla="*/ 2594 h 53981"/>
                  <a:gd name="connsiteX1" fmla="*/ 44488 w 44487"/>
                  <a:gd name="connsiteY1" fmla="*/ 5680 h 53981"/>
                  <a:gd name="connsiteX2" fmla="*/ 40066 w 44487"/>
                  <a:gd name="connsiteY2" fmla="*/ 14523 h 53981"/>
                  <a:gd name="connsiteX3" fmla="*/ 38315 w 44487"/>
                  <a:gd name="connsiteY3" fmla="*/ 16776 h 53981"/>
                  <a:gd name="connsiteX4" fmla="*/ 39232 w 44487"/>
                  <a:gd name="connsiteY4" fmla="*/ 20279 h 53981"/>
                  <a:gd name="connsiteX5" fmla="*/ 5527 w 44487"/>
                  <a:gd name="connsiteY5" fmla="*/ 53981 h 53981"/>
                  <a:gd name="connsiteX6" fmla="*/ 1106 w 44487"/>
                  <a:gd name="connsiteY6" fmla="*/ 47808 h 53981"/>
                  <a:gd name="connsiteX7" fmla="*/ 3776 w 44487"/>
                  <a:gd name="connsiteY7" fmla="*/ 30123 h 53981"/>
                  <a:gd name="connsiteX8" fmla="*/ 13954 w 44487"/>
                  <a:gd name="connsiteY8" fmla="*/ 18193 h 53981"/>
                  <a:gd name="connsiteX9" fmla="*/ 28136 w 44487"/>
                  <a:gd name="connsiteY9" fmla="*/ 16442 h 53981"/>
                  <a:gd name="connsiteX10" fmla="*/ 32558 w 44487"/>
                  <a:gd name="connsiteY10" fmla="*/ 8433 h 53981"/>
                  <a:gd name="connsiteX11" fmla="*/ 36979 w 44487"/>
                  <a:gd name="connsiteY11" fmla="*/ 425 h 53981"/>
                  <a:gd name="connsiteX12" fmla="*/ 44071 w 44487"/>
                  <a:gd name="connsiteY12" fmla="*/ 2594 h 53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487" h="53981" extrusionOk="0">
                    <a:moveTo>
                      <a:pt x="44071" y="2594"/>
                    </a:moveTo>
                    <a:cubicBezTo>
                      <a:pt x="44488" y="3512"/>
                      <a:pt x="44488" y="4846"/>
                      <a:pt x="44488" y="5680"/>
                    </a:cubicBezTo>
                    <a:cubicBezTo>
                      <a:pt x="44071" y="9184"/>
                      <a:pt x="42235" y="12354"/>
                      <a:pt x="40066" y="14523"/>
                    </a:cubicBezTo>
                    <a:cubicBezTo>
                      <a:pt x="39649" y="15441"/>
                      <a:pt x="38732" y="15858"/>
                      <a:pt x="38315" y="16776"/>
                    </a:cubicBezTo>
                    <a:cubicBezTo>
                      <a:pt x="37898" y="18110"/>
                      <a:pt x="38315" y="19445"/>
                      <a:pt x="39232" y="20279"/>
                    </a:cubicBezTo>
                    <a:lnTo>
                      <a:pt x="5527" y="53981"/>
                    </a:lnTo>
                    <a:cubicBezTo>
                      <a:pt x="4193" y="51729"/>
                      <a:pt x="2441" y="50477"/>
                      <a:pt x="1106" y="47808"/>
                    </a:cubicBezTo>
                    <a:cubicBezTo>
                      <a:pt x="-1564" y="42469"/>
                      <a:pt x="1106" y="35879"/>
                      <a:pt x="3776" y="30123"/>
                    </a:cubicBezTo>
                    <a:cubicBezTo>
                      <a:pt x="6028" y="25284"/>
                      <a:pt x="8614" y="19945"/>
                      <a:pt x="13954" y="18193"/>
                    </a:cubicBezTo>
                    <a:cubicBezTo>
                      <a:pt x="18375" y="16859"/>
                      <a:pt x="24132" y="19111"/>
                      <a:pt x="28136" y="16442"/>
                    </a:cubicBezTo>
                    <a:cubicBezTo>
                      <a:pt x="30806" y="14690"/>
                      <a:pt x="31641" y="11603"/>
                      <a:pt x="32558" y="8433"/>
                    </a:cubicBezTo>
                    <a:cubicBezTo>
                      <a:pt x="33475" y="5764"/>
                      <a:pt x="34811" y="2260"/>
                      <a:pt x="36979" y="425"/>
                    </a:cubicBezTo>
                    <a:cubicBezTo>
                      <a:pt x="38732" y="-493"/>
                      <a:pt x="42736" y="8"/>
                      <a:pt x="44071" y="259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4845820" name="Полилиния 436"/>
              <p:cNvSpPr/>
              <p:nvPr/>
            </p:nvSpPr>
            <p:spPr bwMode="auto">
              <a:xfrm>
                <a:off x="11403454" y="4850622"/>
                <a:ext cx="13212" cy="26491"/>
              </a:xfrm>
              <a:custGeom>
                <a:avLst/>
                <a:gdLst>
                  <a:gd name="connsiteX0" fmla="*/ 14838 w 14837"/>
                  <a:gd name="connsiteY0" fmla="*/ 0 h 29751"/>
                  <a:gd name="connsiteX1" fmla="*/ 14838 w 14837"/>
                  <a:gd name="connsiteY1" fmla="*/ 918 h 29751"/>
                  <a:gd name="connsiteX2" fmla="*/ 13503 w 14837"/>
                  <a:gd name="connsiteY2" fmla="*/ 20855 h 29751"/>
                  <a:gd name="connsiteX3" fmla="*/ 4159 w 14837"/>
                  <a:gd name="connsiteY3" fmla="*/ 29281 h 29751"/>
                  <a:gd name="connsiteX4" fmla="*/ 1490 w 14837"/>
                  <a:gd name="connsiteY4" fmla="*/ 25777 h 29751"/>
                  <a:gd name="connsiteX5" fmla="*/ 155 w 14837"/>
                  <a:gd name="connsiteY5" fmla="*/ 14682 h 29751"/>
                  <a:gd name="connsiteX6" fmla="*/ 14838 w 14837"/>
                  <a:gd name="connsiteY6" fmla="*/ 0 h 29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37" h="29751" extrusionOk="0">
                    <a:moveTo>
                      <a:pt x="14838" y="0"/>
                    </a:moveTo>
                    <a:lnTo>
                      <a:pt x="14838" y="918"/>
                    </a:lnTo>
                    <a:cubicBezTo>
                      <a:pt x="14421" y="7591"/>
                      <a:pt x="14838" y="14682"/>
                      <a:pt x="13503" y="20855"/>
                    </a:cubicBezTo>
                    <a:cubicBezTo>
                      <a:pt x="12585" y="25693"/>
                      <a:pt x="8665" y="31449"/>
                      <a:pt x="4159" y="29281"/>
                    </a:cubicBezTo>
                    <a:cubicBezTo>
                      <a:pt x="2825" y="28363"/>
                      <a:pt x="1907" y="27028"/>
                      <a:pt x="1490" y="25777"/>
                    </a:cubicBezTo>
                    <a:cubicBezTo>
                      <a:pt x="155" y="22273"/>
                      <a:pt x="-262" y="18686"/>
                      <a:pt x="155" y="14682"/>
                    </a:cubicBezTo>
                    <a:lnTo>
                      <a:pt x="14838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42222965" name="Полилиния 437"/>
              <p:cNvSpPr/>
              <p:nvPr/>
            </p:nvSpPr>
            <p:spPr bwMode="auto">
              <a:xfrm>
                <a:off x="11356153" y="4961003"/>
                <a:ext cx="25463" cy="52516"/>
              </a:xfrm>
              <a:custGeom>
                <a:avLst/>
                <a:gdLst>
                  <a:gd name="connsiteX0" fmla="*/ 26746 w 28597"/>
                  <a:gd name="connsiteY0" fmla="*/ 29364 h 58978"/>
                  <a:gd name="connsiteX1" fmla="*/ 26329 w 28597"/>
                  <a:gd name="connsiteY1" fmla="*/ 41293 h 58978"/>
                  <a:gd name="connsiteX2" fmla="*/ 8643 w 28597"/>
                  <a:gd name="connsiteY2" fmla="*/ 58978 h 58978"/>
                  <a:gd name="connsiteX3" fmla="*/ 6390 w 28597"/>
                  <a:gd name="connsiteY3" fmla="*/ 53639 h 58978"/>
                  <a:gd name="connsiteX4" fmla="*/ 1551 w 28597"/>
                  <a:gd name="connsiteY4" fmla="*/ 46966 h 58978"/>
                  <a:gd name="connsiteX5" fmla="*/ 2469 w 28597"/>
                  <a:gd name="connsiteY5" fmla="*/ 28363 h 58978"/>
                  <a:gd name="connsiteX6" fmla="*/ 3387 w 28597"/>
                  <a:gd name="connsiteY6" fmla="*/ 23941 h 58978"/>
                  <a:gd name="connsiteX7" fmla="*/ 27330 w 28597"/>
                  <a:gd name="connsiteY7" fmla="*/ 0 h 58978"/>
                  <a:gd name="connsiteX8" fmla="*/ 26746 w 28597"/>
                  <a:gd name="connsiteY8" fmla="*/ 29364 h 5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97" h="58978" extrusionOk="0">
                    <a:moveTo>
                      <a:pt x="26746" y="29364"/>
                    </a:moveTo>
                    <a:cubicBezTo>
                      <a:pt x="26329" y="33368"/>
                      <a:pt x="25828" y="37372"/>
                      <a:pt x="26329" y="41293"/>
                    </a:cubicBezTo>
                    <a:lnTo>
                      <a:pt x="8643" y="58978"/>
                    </a:lnTo>
                    <a:cubicBezTo>
                      <a:pt x="8226" y="56726"/>
                      <a:pt x="7725" y="55475"/>
                      <a:pt x="6390" y="53639"/>
                    </a:cubicBezTo>
                    <a:cubicBezTo>
                      <a:pt x="5056" y="51387"/>
                      <a:pt x="2886" y="49218"/>
                      <a:pt x="1551" y="46966"/>
                    </a:cubicBezTo>
                    <a:cubicBezTo>
                      <a:pt x="-1536" y="41210"/>
                      <a:pt x="633" y="34536"/>
                      <a:pt x="2469" y="28363"/>
                    </a:cubicBezTo>
                    <a:lnTo>
                      <a:pt x="3387" y="23941"/>
                    </a:lnTo>
                    <a:lnTo>
                      <a:pt x="27330" y="0"/>
                    </a:lnTo>
                    <a:cubicBezTo>
                      <a:pt x="29833" y="9843"/>
                      <a:pt x="28081" y="18686"/>
                      <a:pt x="26746" y="2936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8909564" name="Полилиния 438"/>
              <p:cNvSpPr/>
              <p:nvPr/>
            </p:nvSpPr>
            <p:spPr bwMode="auto">
              <a:xfrm>
                <a:off x="11362957" y="5037588"/>
                <a:ext cx="22793" cy="30567"/>
              </a:xfrm>
              <a:custGeom>
                <a:avLst/>
                <a:gdLst>
                  <a:gd name="connsiteX0" fmla="*/ 24861 w 25598"/>
                  <a:gd name="connsiteY0" fmla="*/ 13764 h 34329"/>
                  <a:gd name="connsiteX1" fmla="*/ 23944 w 25598"/>
                  <a:gd name="connsiteY1" fmla="*/ 19938 h 34329"/>
                  <a:gd name="connsiteX2" fmla="*/ 12431 w 25598"/>
                  <a:gd name="connsiteY2" fmla="*/ 25277 h 34329"/>
                  <a:gd name="connsiteX3" fmla="*/ 9761 w 25598"/>
                  <a:gd name="connsiteY3" fmla="*/ 34119 h 34329"/>
                  <a:gd name="connsiteX4" fmla="*/ 4421 w 25598"/>
                  <a:gd name="connsiteY4" fmla="*/ 30615 h 34329"/>
                  <a:gd name="connsiteX5" fmla="*/ 4004 w 25598"/>
                  <a:gd name="connsiteY5" fmla="*/ 23525 h 34329"/>
                  <a:gd name="connsiteX6" fmla="*/ 0 w 25598"/>
                  <a:gd name="connsiteY6" fmla="*/ 15516 h 34329"/>
                  <a:gd name="connsiteX7" fmla="*/ 15517 w 25598"/>
                  <a:gd name="connsiteY7" fmla="*/ 0 h 34329"/>
                  <a:gd name="connsiteX8" fmla="*/ 20356 w 25598"/>
                  <a:gd name="connsiteY8" fmla="*/ 8843 h 34329"/>
                  <a:gd name="connsiteX9" fmla="*/ 24861 w 25598"/>
                  <a:gd name="connsiteY9" fmla="*/ 13764 h 3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98" h="34329" extrusionOk="0">
                    <a:moveTo>
                      <a:pt x="24861" y="13764"/>
                    </a:moveTo>
                    <a:cubicBezTo>
                      <a:pt x="25779" y="16017"/>
                      <a:pt x="26196" y="18603"/>
                      <a:pt x="23944" y="19938"/>
                    </a:cubicBezTo>
                    <a:cubicBezTo>
                      <a:pt x="19522" y="17268"/>
                      <a:pt x="13348" y="20355"/>
                      <a:pt x="12431" y="25277"/>
                    </a:cubicBezTo>
                    <a:cubicBezTo>
                      <a:pt x="11513" y="28363"/>
                      <a:pt x="12848" y="33285"/>
                      <a:pt x="9761" y="34119"/>
                    </a:cubicBezTo>
                    <a:cubicBezTo>
                      <a:pt x="7508" y="35037"/>
                      <a:pt x="5340" y="32785"/>
                      <a:pt x="4421" y="30615"/>
                    </a:cubicBezTo>
                    <a:cubicBezTo>
                      <a:pt x="4004" y="27946"/>
                      <a:pt x="4421" y="25777"/>
                      <a:pt x="4004" y="23525"/>
                    </a:cubicBezTo>
                    <a:cubicBezTo>
                      <a:pt x="3587" y="20438"/>
                      <a:pt x="1752" y="18186"/>
                      <a:pt x="0" y="15516"/>
                    </a:cubicBezTo>
                    <a:lnTo>
                      <a:pt x="15517" y="0"/>
                    </a:lnTo>
                    <a:cubicBezTo>
                      <a:pt x="16435" y="3087"/>
                      <a:pt x="17770" y="6674"/>
                      <a:pt x="20356" y="8843"/>
                    </a:cubicBezTo>
                    <a:cubicBezTo>
                      <a:pt x="21774" y="10678"/>
                      <a:pt x="24027" y="11512"/>
                      <a:pt x="24861" y="1376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8448808" name="Полилиния 439"/>
              <p:cNvSpPr/>
              <p:nvPr/>
            </p:nvSpPr>
            <p:spPr bwMode="auto">
              <a:xfrm>
                <a:off x="11457068" y="4942656"/>
                <a:ext cx="17683" cy="28701"/>
              </a:xfrm>
              <a:custGeom>
                <a:avLst/>
                <a:gdLst>
                  <a:gd name="connsiteX0" fmla="*/ 19785 w 19860"/>
                  <a:gd name="connsiteY0" fmla="*/ 11429 h 32232"/>
                  <a:gd name="connsiteX1" fmla="*/ 5602 w 19860"/>
                  <a:gd name="connsiteY1" fmla="*/ 30949 h 32232"/>
                  <a:gd name="connsiteX2" fmla="*/ 4684 w 19860"/>
                  <a:gd name="connsiteY2" fmla="*/ 20355 h 32232"/>
                  <a:gd name="connsiteX3" fmla="*/ 6436 w 19860"/>
                  <a:gd name="connsiteY3" fmla="*/ 19020 h 32232"/>
                  <a:gd name="connsiteX4" fmla="*/ 6853 w 19860"/>
                  <a:gd name="connsiteY4" fmla="*/ 17268 h 32232"/>
                  <a:gd name="connsiteX5" fmla="*/ 3767 w 19860"/>
                  <a:gd name="connsiteY5" fmla="*/ 12430 h 32232"/>
                  <a:gd name="connsiteX6" fmla="*/ 16197 w 19860"/>
                  <a:gd name="connsiteY6" fmla="*/ 0 h 32232"/>
                  <a:gd name="connsiteX7" fmla="*/ 17115 w 19860"/>
                  <a:gd name="connsiteY7" fmla="*/ 2253 h 32232"/>
                  <a:gd name="connsiteX8" fmla="*/ 19785 w 19860"/>
                  <a:gd name="connsiteY8" fmla="*/ 11429 h 32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860" h="32232" extrusionOk="0">
                    <a:moveTo>
                      <a:pt x="19785" y="11429"/>
                    </a:moveTo>
                    <a:cubicBezTo>
                      <a:pt x="20702" y="20772"/>
                      <a:pt x="13110" y="26945"/>
                      <a:pt x="5602" y="30949"/>
                    </a:cubicBezTo>
                    <a:cubicBezTo>
                      <a:pt x="-2825" y="36288"/>
                      <a:pt x="-572" y="23441"/>
                      <a:pt x="4684" y="20355"/>
                    </a:cubicBezTo>
                    <a:cubicBezTo>
                      <a:pt x="5101" y="19937"/>
                      <a:pt x="6019" y="19437"/>
                      <a:pt x="6436" y="19020"/>
                    </a:cubicBezTo>
                    <a:cubicBezTo>
                      <a:pt x="6853" y="18603"/>
                      <a:pt x="6853" y="18102"/>
                      <a:pt x="6853" y="17268"/>
                    </a:cubicBezTo>
                    <a:cubicBezTo>
                      <a:pt x="6436" y="15016"/>
                      <a:pt x="5518" y="13764"/>
                      <a:pt x="3767" y="12430"/>
                    </a:cubicBezTo>
                    <a:lnTo>
                      <a:pt x="16197" y="0"/>
                    </a:lnTo>
                    <a:cubicBezTo>
                      <a:pt x="16614" y="918"/>
                      <a:pt x="17115" y="1335"/>
                      <a:pt x="17115" y="2253"/>
                    </a:cubicBezTo>
                    <a:cubicBezTo>
                      <a:pt x="18449" y="5172"/>
                      <a:pt x="19284" y="8342"/>
                      <a:pt x="19785" y="114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13449931" name="Полилиния 440"/>
              <p:cNvSpPr/>
              <p:nvPr/>
            </p:nvSpPr>
            <p:spPr bwMode="auto">
              <a:xfrm>
                <a:off x="9881682" y="1538416"/>
                <a:ext cx="1414638" cy="1980018"/>
              </a:xfrm>
              <a:custGeom>
                <a:avLst/>
                <a:gdLst>
                  <a:gd name="connsiteX0" fmla="*/ 1582097 w 1588686"/>
                  <a:gd name="connsiteY0" fmla="*/ 2156998 h 2223626"/>
                  <a:gd name="connsiteX1" fmla="*/ 1559989 w 1588686"/>
                  <a:gd name="connsiteY1" fmla="*/ 2079000 h 2223626"/>
                  <a:gd name="connsiteX2" fmla="*/ 1499337 w 1588686"/>
                  <a:gd name="connsiteY2" fmla="*/ 1947029 h 2223626"/>
                  <a:gd name="connsiteX3" fmla="*/ 1475894 w 1588686"/>
                  <a:gd name="connsiteY3" fmla="*/ 1935934 h 2223626"/>
                  <a:gd name="connsiteX4" fmla="*/ 1454203 w 1588686"/>
                  <a:gd name="connsiteY4" fmla="*/ 1913327 h 2223626"/>
                  <a:gd name="connsiteX5" fmla="*/ 1434264 w 1588686"/>
                  <a:gd name="connsiteY5" fmla="*/ 1852680 h 2223626"/>
                  <a:gd name="connsiteX6" fmla="*/ 1437351 w 1588686"/>
                  <a:gd name="connsiteY6" fmla="*/ 1798624 h 2223626"/>
                  <a:gd name="connsiteX7" fmla="*/ 1462128 w 1588686"/>
                  <a:gd name="connsiteY7" fmla="*/ 1765840 h 2223626"/>
                  <a:gd name="connsiteX8" fmla="*/ 1462545 w 1588686"/>
                  <a:gd name="connsiteY8" fmla="*/ 1740563 h 2223626"/>
                  <a:gd name="connsiteX9" fmla="*/ 1416494 w 1588686"/>
                  <a:gd name="connsiteY9" fmla="*/ 1732555 h 2223626"/>
                  <a:gd name="connsiteX10" fmla="*/ 1396555 w 1588686"/>
                  <a:gd name="connsiteY10" fmla="*/ 1713035 h 2223626"/>
                  <a:gd name="connsiteX11" fmla="*/ 1371777 w 1588686"/>
                  <a:gd name="connsiteY11" fmla="*/ 1695766 h 2223626"/>
                  <a:gd name="connsiteX12" fmla="*/ 1348335 w 1588686"/>
                  <a:gd name="connsiteY12" fmla="*/ 1676747 h 2223626"/>
                  <a:gd name="connsiteX13" fmla="*/ 1341660 w 1588686"/>
                  <a:gd name="connsiteY13" fmla="*/ 1647550 h 2223626"/>
                  <a:gd name="connsiteX14" fmla="*/ 1323974 w 1588686"/>
                  <a:gd name="connsiteY14" fmla="*/ 1579312 h 2223626"/>
                  <a:gd name="connsiteX15" fmla="*/ 1355009 w 1588686"/>
                  <a:gd name="connsiteY15" fmla="*/ 1521251 h 2223626"/>
                  <a:gd name="connsiteX16" fmla="*/ 1369191 w 1588686"/>
                  <a:gd name="connsiteY16" fmla="*/ 1464525 h 2223626"/>
                  <a:gd name="connsiteX17" fmla="*/ 1322639 w 1588686"/>
                  <a:gd name="connsiteY17" fmla="*/ 1426902 h 2223626"/>
                  <a:gd name="connsiteX18" fmla="*/ 1259318 w 1588686"/>
                  <a:gd name="connsiteY18" fmla="*/ 1423816 h 2223626"/>
                  <a:gd name="connsiteX19" fmla="*/ 1209262 w 1588686"/>
                  <a:gd name="connsiteY19" fmla="*/ 1381772 h 2223626"/>
                  <a:gd name="connsiteX20" fmla="*/ 1172471 w 1588686"/>
                  <a:gd name="connsiteY20" fmla="*/ 1326381 h 2223626"/>
                  <a:gd name="connsiteX21" fmla="*/ 1168967 w 1588686"/>
                  <a:gd name="connsiteY21" fmla="*/ 1295348 h 2223626"/>
                  <a:gd name="connsiteX22" fmla="*/ 1151697 w 1588686"/>
                  <a:gd name="connsiteY22" fmla="*/ 1275411 h 2223626"/>
                  <a:gd name="connsiteX23" fmla="*/ 1157037 w 1588686"/>
                  <a:gd name="connsiteY23" fmla="*/ 1234618 h 2223626"/>
                  <a:gd name="connsiteX24" fmla="*/ 1169884 w 1588686"/>
                  <a:gd name="connsiteY24" fmla="*/ 1261646 h 2223626"/>
                  <a:gd name="connsiteX25" fmla="*/ 1191158 w 1588686"/>
                  <a:gd name="connsiteY25" fmla="*/ 1280249 h 2223626"/>
                  <a:gd name="connsiteX26" fmla="*/ 1219523 w 1588686"/>
                  <a:gd name="connsiteY26" fmla="*/ 1240791 h 2223626"/>
                  <a:gd name="connsiteX27" fmla="*/ 1175224 w 1588686"/>
                  <a:gd name="connsiteY27" fmla="*/ 1207590 h 2223626"/>
                  <a:gd name="connsiteX28" fmla="*/ 1126502 w 1588686"/>
                  <a:gd name="connsiteY28" fmla="*/ 1204503 h 2223626"/>
                  <a:gd name="connsiteX29" fmla="*/ 1100807 w 1588686"/>
                  <a:gd name="connsiteY29" fmla="*/ 1216933 h 2223626"/>
                  <a:gd name="connsiteX30" fmla="*/ 1077364 w 1588686"/>
                  <a:gd name="connsiteY30" fmla="*/ 1200582 h 2223626"/>
                  <a:gd name="connsiteX31" fmla="*/ 1060512 w 1588686"/>
                  <a:gd name="connsiteY31" fmla="*/ 1192157 h 2223626"/>
                  <a:gd name="connsiteX32" fmla="*/ 1060095 w 1588686"/>
                  <a:gd name="connsiteY32" fmla="*/ 1192157 h 2223626"/>
                  <a:gd name="connsiteX33" fmla="*/ 1058760 w 1588686"/>
                  <a:gd name="connsiteY33" fmla="*/ 1193075 h 2223626"/>
                  <a:gd name="connsiteX34" fmla="*/ 1045495 w 1588686"/>
                  <a:gd name="connsiteY34" fmla="*/ 1185066 h 2223626"/>
                  <a:gd name="connsiteX35" fmla="*/ 1039321 w 1588686"/>
                  <a:gd name="connsiteY35" fmla="*/ 1181562 h 2223626"/>
                  <a:gd name="connsiteX36" fmla="*/ 1017213 w 1588686"/>
                  <a:gd name="connsiteY36" fmla="*/ 1142105 h 2223626"/>
                  <a:gd name="connsiteX37" fmla="*/ 985344 w 1588686"/>
                  <a:gd name="connsiteY37" fmla="*/ 1100061 h 2223626"/>
                  <a:gd name="connsiteX38" fmla="*/ 964070 w 1588686"/>
                  <a:gd name="connsiteY38" fmla="*/ 1113825 h 2223626"/>
                  <a:gd name="connsiteX39" fmla="*/ 939293 w 1588686"/>
                  <a:gd name="connsiteY39" fmla="*/ 1128424 h 2223626"/>
                  <a:gd name="connsiteX40" fmla="*/ 947719 w 1588686"/>
                  <a:gd name="connsiteY40" fmla="*/ 1161208 h 2223626"/>
                  <a:gd name="connsiteX41" fmla="*/ 924276 w 1588686"/>
                  <a:gd name="connsiteY41" fmla="*/ 1182063 h 2223626"/>
                  <a:gd name="connsiteX42" fmla="*/ 858702 w 1588686"/>
                  <a:gd name="connsiteY42" fmla="*/ 1145275 h 2223626"/>
                  <a:gd name="connsiteX43" fmla="*/ 788707 w 1588686"/>
                  <a:gd name="connsiteY43" fmla="*/ 1007047 h 2223626"/>
                  <a:gd name="connsiteX44" fmla="*/ 754168 w 1588686"/>
                  <a:gd name="connsiteY44" fmla="*/ 967172 h 2223626"/>
                  <a:gd name="connsiteX45" fmla="*/ 710286 w 1588686"/>
                  <a:gd name="connsiteY45" fmla="*/ 926880 h 2223626"/>
                  <a:gd name="connsiteX46" fmla="*/ 698356 w 1588686"/>
                  <a:gd name="connsiteY46" fmla="*/ 903856 h 2223626"/>
                  <a:gd name="connsiteX47" fmla="*/ 705864 w 1588686"/>
                  <a:gd name="connsiteY47" fmla="*/ 894095 h 2223626"/>
                  <a:gd name="connsiteX48" fmla="*/ 693434 w 1588686"/>
                  <a:gd name="connsiteY48" fmla="*/ 881666 h 2223626"/>
                  <a:gd name="connsiteX49" fmla="*/ 705864 w 1588686"/>
                  <a:gd name="connsiteY49" fmla="*/ 863063 h 2223626"/>
                  <a:gd name="connsiteX50" fmla="*/ 720047 w 1588686"/>
                  <a:gd name="connsiteY50" fmla="*/ 866149 h 2223626"/>
                  <a:gd name="connsiteX51" fmla="*/ 718295 w 1588686"/>
                  <a:gd name="connsiteY51" fmla="*/ 842208 h 2223626"/>
                  <a:gd name="connsiteX52" fmla="*/ 715208 w 1588686"/>
                  <a:gd name="connsiteY52" fmla="*/ 819184 h 2223626"/>
                  <a:gd name="connsiteX53" fmla="*/ 743156 w 1588686"/>
                  <a:gd name="connsiteY53" fmla="*/ 818767 h 2223626"/>
                  <a:gd name="connsiteX54" fmla="*/ 748913 w 1588686"/>
                  <a:gd name="connsiteY54" fmla="*/ 782896 h 2223626"/>
                  <a:gd name="connsiteX55" fmla="*/ 730726 w 1588686"/>
                  <a:gd name="connsiteY55" fmla="*/ 719580 h 2223626"/>
                  <a:gd name="connsiteX56" fmla="*/ 718295 w 1588686"/>
                  <a:gd name="connsiteY56" fmla="*/ 682791 h 2223626"/>
                  <a:gd name="connsiteX57" fmla="*/ 743573 w 1588686"/>
                  <a:gd name="connsiteY57" fmla="*/ 672614 h 2223626"/>
                  <a:gd name="connsiteX58" fmla="*/ 782534 w 1588686"/>
                  <a:gd name="connsiteY58" fmla="*/ 708902 h 2223626"/>
                  <a:gd name="connsiteX59" fmla="*/ 812233 w 1588686"/>
                  <a:gd name="connsiteY59" fmla="*/ 692551 h 2223626"/>
                  <a:gd name="connsiteX60" fmla="*/ 785203 w 1588686"/>
                  <a:gd name="connsiteY60" fmla="*/ 642082 h 2223626"/>
                  <a:gd name="connsiteX61" fmla="*/ 771021 w 1588686"/>
                  <a:gd name="connsiteY61" fmla="*/ 566753 h 2223626"/>
                  <a:gd name="connsiteX62" fmla="*/ 786538 w 1588686"/>
                  <a:gd name="connsiteY62" fmla="*/ 495429 h 2223626"/>
                  <a:gd name="connsiteX63" fmla="*/ 805142 w 1588686"/>
                  <a:gd name="connsiteY63" fmla="*/ 472405 h 2223626"/>
                  <a:gd name="connsiteX64" fmla="*/ 819742 w 1588686"/>
                  <a:gd name="connsiteY64" fmla="*/ 441372 h 2223626"/>
                  <a:gd name="connsiteX65" fmla="*/ 849442 w 1588686"/>
                  <a:gd name="connsiteY65" fmla="*/ 425439 h 2223626"/>
                  <a:gd name="connsiteX66" fmla="*/ 870716 w 1588686"/>
                  <a:gd name="connsiteY66" fmla="*/ 422769 h 2223626"/>
                  <a:gd name="connsiteX67" fmla="*/ 884481 w 1588686"/>
                  <a:gd name="connsiteY67" fmla="*/ 416096 h 2223626"/>
                  <a:gd name="connsiteX68" fmla="*/ 903085 w 1588686"/>
                  <a:gd name="connsiteY68" fmla="*/ 425439 h 2223626"/>
                  <a:gd name="connsiteX69" fmla="*/ 935872 w 1588686"/>
                  <a:gd name="connsiteY69" fmla="*/ 417431 h 2223626"/>
                  <a:gd name="connsiteX70" fmla="*/ 917268 w 1588686"/>
                  <a:gd name="connsiteY70" fmla="*/ 377973 h 2223626"/>
                  <a:gd name="connsiteX71" fmla="*/ 878307 w 1588686"/>
                  <a:gd name="connsiteY71" fmla="*/ 321747 h 2223626"/>
                  <a:gd name="connsiteX72" fmla="*/ 883146 w 1588686"/>
                  <a:gd name="connsiteY72" fmla="*/ 294302 h 2223626"/>
                  <a:gd name="connsiteX73" fmla="*/ 868546 w 1588686"/>
                  <a:gd name="connsiteY73" fmla="*/ 267274 h 2223626"/>
                  <a:gd name="connsiteX74" fmla="*/ 862790 w 1588686"/>
                  <a:gd name="connsiteY74" fmla="*/ 233572 h 2223626"/>
                  <a:gd name="connsiteX75" fmla="*/ 849025 w 1588686"/>
                  <a:gd name="connsiteY75" fmla="*/ 201705 h 2223626"/>
                  <a:gd name="connsiteX76" fmla="*/ 840181 w 1588686"/>
                  <a:gd name="connsiteY76" fmla="*/ 183519 h 2223626"/>
                  <a:gd name="connsiteX77" fmla="*/ 823830 w 1588686"/>
                  <a:gd name="connsiteY77" fmla="*/ 163999 h 2223626"/>
                  <a:gd name="connsiteX78" fmla="*/ 831839 w 1588686"/>
                  <a:gd name="connsiteY78" fmla="*/ 149400 h 2223626"/>
                  <a:gd name="connsiteX79" fmla="*/ 810148 w 1588686"/>
                  <a:gd name="connsiteY79" fmla="*/ 128128 h 2223626"/>
                  <a:gd name="connsiteX80" fmla="*/ 814153 w 1588686"/>
                  <a:gd name="connsiteY80" fmla="*/ 91340 h 2223626"/>
                  <a:gd name="connsiteX81" fmla="*/ 807061 w 1588686"/>
                  <a:gd name="connsiteY81" fmla="*/ 82914 h 2223626"/>
                  <a:gd name="connsiteX82" fmla="*/ 800387 w 1588686"/>
                  <a:gd name="connsiteY82" fmla="*/ 70985 h 2223626"/>
                  <a:gd name="connsiteX83" fmla="*/ 788874 w 1588686"/>
                  <a:gd name="connsiteY83" fmla="*/ 45709 h 2223626"/>
                  <a:gd name="connsiteX84" fmla="*/ 799970 w 1588686"/>
                  <a:gd name="connsiteY84" fmla="*/ 29776 h 2223626"/>
                  <a:gd name="connsiteX85" fmla="*/ 788874 w 1588686"/>
                  <a:gd name="connsiteY85" fmla="*/ 5834 h 2223626"/>
                  <a:gd name="connsiteX86" fmla="*/ 787956 w 1588686"/>
                  <a:gd name="connsiteY86" fmla="*/ 2747 h 2223626"/>
                  <a:gd name="connsiteX87" fmla="*/ 787956 w 1588686"/>
                  <a:gd name="connsiteY87" fmla="*/ 2330 h 2223626"/>
                  <a:gd name="connsiteX88" fmla="*/ 777778 w 1588686"/>
                  <a:gd name="connsiteY88" fmla="*/ 78 h 2223626"/>
                  <a:gd name="connsiteX89" fmla="*/ 768935 w 1588686"/>
                  <a:gd name="connsiteY89" fmla="*/ 5417 h 2223626"/>
                  <a:gd name="connsiteX90" fmla="*/ 758757 w 1588686"/>
                  <a:gd name="connsiteY90" fmla="*/ 12925 h 2223626"/>
                  <a:gd name="connsiteX91" fmla="*/ 726888 w 1588686"/>
                  <a:gd name="connsiteY91" fmla="*/ 11590 h 2223626"/>
                  <a:gd name="connsiteX92" fmla="*/ 720214 w 1588686"/>
                  <a:gd name="connsiteY92" fmla="*/ 9337 h 2223626"/>
                  <a:gd name="connsiteX93" fmla="*/ 691014 w 1588686"/>
                  <a:gd name="connsiteY93" fmla="*/ 8003 h 2223626"/>
                  <a:gd name="connsiteX94" fmla="*/ 677249 w 1588686"/>
                  <a:gd name="connsiteY94" fmla="*/ 48795 h 2223626"/>
                  <a:gd name="connsiteX95" fmla="*/ 676832 w 1588686"/>
                  <a:gd name="connsiteY95" fmla="*/ 59390 h 2223626"/>
                  <a:gd name="connsiteX96" fmla="*/ 666653 w 1588686"/>
                  <a:gd name="connsiteY96" fmla="*/ 103269 h 2223626"/>
                  <a:gd name="connsiteX97" fmla="*/ 658645 w 1588686"/>
                  <a:gd name="connsiteY97" fmla="*/ 115198 h 2223626"/>
                  <a:gd name="connsiteX98" fmla="*/ 645797 w 1588686"/>
                  <a:gd name="connsiteY98" fmla="*/ 147982 h 2223626"/>
                  <a:gd name="connsiteX99" fmla="*/ 619684 w 1588686"/>
                  <a:gd name="connsiteY99" fmla="*/ 256512 h 2223626"/>
                  <a:gd name="connsiteX100" fmla="*/ 578055 w 1588686"/>
                  <a:gd name="connsiteY100" fmla="*/ 283124 h 2223626"/>
                  <a:gd name="connsiteX101" fmla="*/ 564790 w 1588686"/>
                  <a:gd name="connsiteY101" fmla="*/ 280454 h 2223626"/>
                  <a:gd name="connsiteX102" fmla="*/ 532920 w 1588686"/>
                  <a:gd name="connsiteY102" fmla="*/ 283958 h 2223626"/>
                  <a:gd name="connsiteX103" fmla="*/ 507225 w 1588686"/>
                  <a:gd name="connsiteY103" fmla="*/ 294552 h 2223626"/>
                  <a:gd name="connsiteX104" fmla="*/ 485117 w 1588686"/>
                  <a:gd name="connsiteY104" fmla="*/ 303395 h 2223626"/>
                  <a:gd name="connsiteX105" fmla="*/ 471852 w 1588686"/>
                  <a:gd name="connsiteY105" fmla="*/ 317159 h 2223626"/>
                  <a:gd name="connsiteX106" fmla="*/ 443069 w 1588686"/>
                  <a:gd name="connsiteY106" fmla="*/ 338849 h 2223626"/>
                  <a:gd name="connsiteX107" fmla="*/ 412035 w 1588686"/>
                  <a:gd name="connsiteY107" fmla="*/ 313572 h 2223626"/>
                  <a:gd name="connsiteX108" fmla="*/ 409366 w 1588686"/>
                  <a:gd name="connsiteY108" fmla="*/ 306481 h 2223626"/>
                  <a:gd name="connsiteX109" fmla="*/ 396517 w 1588686"/>
                  <a:gd name="connsiteY109" fmla="*/ 283040 h 2223626"/>
                  <a:gd name="connsiteX110" fmla="*/ 384588 w 1588686"/>
                  <a:gd name="connsiteY110" fmla="*/ 261351 h 2223626"/>
                  <a:gd name="connsiteX111" fmla="*/ 379248 w 1588686"/>
                  <a:gd name="connsiteY111" fmla="*/ 246252 h 2223626"/>
                  <a:gd name="connsiteX112" fmla="*/ 367318 w 1588686"/>
                  <a:gd name="connsiteY112" fmla="*/ 224145 h 2223626"/>
                  <a:gd name="connsiteX113" fmla="*/ 326106 w 1588686"/>
                  <a:gd name="connsiteY113" fmla="*/ 227232 h 2223626"/>
                  <a:gd name="connsiteX114" fmla="*/ 315510 w 1588686"/>
                  <a:gd name="connsiteY114" fmla="*/ 235657 h 2223626"/>
                  <a:gd name="connsiteX115" fmla="*/ 284976 w 1588686"/>
                  <a:gd name="connsiteY115" fmla="*/ 250256 h 2223626"/>
                  <a:gd name="connsiteX116" fmla="*/ 272128 w 1588686"/>
                  <a:gd name="connsiteY116" fmla="*/ 250256 h 2223626"/>
                  <a:gd name="connsiteX117" fmla="*/ 240676 w 1588686"/>
                  <a:gd name="connsiteY117" fmla="*/ 260016 h 2223626"/>
                  <a:gd name="connsiteX118" fmla="*/ 231833 w 1588686"/>
                  <a:gd name="connsiteY118" fmla="*/ 274615 h 2223626"/>
                  <a:gd name="connsiteX119" fmla="*/ 210142 w 1588686"/>
                  <a:gd name="connsiteY119" fmla="*/ 300308 h 2223626"/>
                  <a:gd name="connsiteX120" fmla="*/ 188869 w 1588686"/>
                  <a:gd name="connsiteY120" fmla="*/ 305147 h 2223626"/>
                  <a:gd name="connsiteX121" fmla="*/ 169346 w 1588686"/>
                  <a:gd name="connsiteY121" fmla="*/ 313572 h 2223626"/>
                  <a:gd name="connsiteX122" fmla="*/ 164925 w 1588686"/>
                  <a:gd name="connsiteY122" fmla="*/ 326002 h 2223626"/>
                  <a:gd name="connsiteX123" fmla="*/ 153412 w 1588686"/>
                  <a:gd name="connsiteY123" fmla="*/ 351278 h 2223626"/>
                  <a:gd name="connsiteX124" fmla="*/ 145403 w 1588686"/>
                  <a:gd name="connsiteY124" fmla="*/ 357952 h 2223626"/>
                  <a:gd name="connsiteX125" fmla="*/ 139230 w 1588686"/>
                  <a:gd name="connsiteY125" fmla="*/ 363291 h 2223626"/>
                  <a:gd name="connsiteX126" fmla="*/ 136560 w 1588686"/>
                  <a:gd name="connsiteY126" fmla="*/ 371716 h 2223626"/>
                  <a:gd name="connsiteX127" fmla="*/ 131721 w 1588686"/>
                  <a:gd name="connsiteY127" fmla="*/ 385480 h 2223626"/>
                  <a:gd name="connsiteX128" fmla="*/ 93178 w 1588686"/>
                  <a:gd name="connsiteY128" fmla="*/ 404083 h 2223626"/>
                  <a:gd name="connsiteX129" fmla="*/ 62143 w 1588686"/>
                  <a:gd name="connsiteY129" fmla="*/ 424021 h 2223626"/>
                  <a:gd name="connsiteX130" fmla="*/ 63894 w 1588686"/>
                  <a:gd name="connsiteY130" fmla="*/ 434198 h 2223626"/>
                  <a:gd name="connsiteX131" fmla="*/ 54551 w 1588686"/>
                  <a:gd name="connsiteY131" fmla="*/ 461226 h 2223626"/>
                  <a:gd name="connsiteX132" fmla="*/ 42621 w 1588686"/>
                  <a:gd name="connsiteY132" fmla="*/ 466565 h 2223626"/>
                  <a:gd name="connsiteX133" fmla="*/ 31525 w 1588686"/>
                  <a:gd name="connsiteY133" fmla="*/ 472738 h 2223626"/>
                  <a:gd name="connsiteX134" fmla="*/ 22682 w 1588686"/>
                  <a:gd name="connsiteY134" fmla="*/ 486002 h 2223626"/>
                  <a:gd name="connsiteX135" fmla="*/ 17342 w 1588686"/>
                  <a:gd name="connsiteY135" fmla="*/ 495345 h 2223626"/>
                  <a:gd name="connsiteX136" fmla="*/ 10668 w 1588686"/>
                  <a:gd name="connsiteY136" fmla="*/ 504188 h 2223626"/>
                  <a:gd name="connsiteX137" fmla="*/ 2660 w 1588686"/>
                  <a:gd name="connsiteY137" fmla="*/ 535220 h 2223626"/>
                  <a:gd name="connsiteX138" fmla="*/ 7081 w 1588686"/>
                  <a:gd name="connsiteY138" fmla="*/ 542728 h 2223626"/>
                  <a:gd name="connsiteX139" fmla="*/ 19512 w 1588686"/>
                  <a:gd name="connsiteY139" fmla="*/ 551154 h 2223626"/>
                  <a:gd name="connsiteX140" fmla="*/ 37699 w 1588686"/>
                  <a:gd name="connsiteY140" fmla="*/ 551571 h 2223626"/>
                  <a:gd name="connsiteX141" fmla="*/ 41703 w 1588686"/>
                  <a:gd name="connsiteY141" fmla="*/ 551571 h 2223626"/>
                  <a:gd name="connsiteX142" fmla="*/ 73572 w 1588686"/>
                  <a:gd name="connsiteY142" fmla="*/ 572426 h 2223626"/>
                  <a:gd name="connsiteX143" fmla="*/ 77994 w 1588686"/>
                  <a:gd name="connsiteY143" fmla="*/ 579100 h 2223626"/>
                  <a:gd name="connsiteX144" fmla="*/ 80664 w 1588686"/>
                  <a:gd name="connsiteY144" fmla="*/ 581769 h 2223626"/>
                  <a:gd name="connsiteX145" fmla="*/ 87755 w 1588686"/>
                  <a:gd name="connsiteY145" fmla="*/ 592363 h 2223626"/>
                  <a:gd name="connsiteX146" fmla="*/ 85502 w 1588686"/>
                  <a:gd name="connsiteY146" fmla="*/ 608714 h 2223626"/>
                  <a:gd name="connsiteX147" fmla="*/ 84168 w 1588686"/>
                  <a:gd name="connsiteY147" fmla="*/ 617556 h 2223626"/>
                  <a:gd name="connsiteX148" fmla="*/ 101854 w 1588686"/>
                  <a:gd name="connsiteY148" fmla="*/ 628651 h 2223626"/>
                  <a:gd name="connsiteX149" fmla="*/ 121376 w 1588686"/>
                  <a:gd name="connsiteY149" fmla="*/ 640163 h 2223626"/>
                  <a:gd name="connsiteX150" fmla="*/ 124880 w 1588686"/>
                  <a:gd name="connsiteY150" fmla="*/ 643667 h 2223626"/>
                  <a:gd name="connsiteX151" fmla="*/ 135058 w 1588686"/>
                  <a:gd name="connsiteY151" fmla="*/ 650758 h 2223626"/>
                  <a:gd name="connsiteX152" fmla="*/ 146154 w 1588686"/>
                  <a:gd name="connsiteY152" fmla="*/ 651175 h 2223626"/>
                  <a:gd name="connsiteX153" fmla="*/ 167845 w 1588686"/>
                  <a:gd name="connsiteY153" fmla="*/ 654678 h 2223626"/>
                  <a:gd name="connsiteX154" fmla="*/ 180275 w 1588686"/>
                  <a:gd name="connsiteY154" fmla="*/ 671947 h 2223626"/>
                  <a:gd name="connsiteX155" fmla="*/ 182945 w 1588686"/>
                  <a:gd name="connsiteY155" fmla="*/ 679037 h 2223626"/>
                  <a:gd name="connsiteX156" fmla="*/ 191788 w 1588686"/>
                  <a:gd name="connsiteY156" fmla="*/ 687463 h 2223626"/>
                  <a:gd name="connsiteX157" fmla="*/ 196627 w 1588686"/>
                  <a:gd name="connsiteY157" fmla="*/ 690132 h 2223626"/>
                  <a:gd name="connsiteX158" fmla="*/ 212561 w 1588686"/>
                  <a:gd name="connsiteY158" fmla="*/ 719830 h 2223626"/>
                  <a:gd name="connsiteX159" fmla="*/ 215648 w 1588686"/>
                  <a:gd name="connsiteY159" fmla="*/ 734011 h 2223626"/>
                  <a:gd name="connsiteX160" fmla="*/ 235170 w 1588686"/>
                  <a:gd name="connsiteY160" fmla="*/ 746441 h 2223626"/>
                  <a:gd name="connsiteX161" fmla="*/ 243179 w 1588686"/>
                  <a:gd name="connsiteY161" fmla="*/ 743772 h 2223626"/>
                  <a:gd name="connsiteX162" fmla="*/ 287061 w 1588686"/>
                  <a:gd name="connsiteY162" fmla="*/ 741102 h 2223626"/>
                  <a:gd name="connsiteX163" fmla="*/ 337117 w 1588686"/>
                  <a:gd name="connsiteY163" fmla="*/ 778725 h 2223626"/>
                  <a:gd name="connsiteX164" fmla="*/ 335783 w 1588686"/>
                  <a:gd name="connsiteY164" fmla="*/ 797328 h 2223626"/>
                  <a:gd name="connsiteX165" fmla="*/ 337117 w 1588686"/>
                  <a:gd name="connsiteY165" fmla="*/ 817265 h 2223626"/>
                  <a:gd name="connsiteX166" fmla="*/ 341540 w 1588686"/>
                  <a:gd name="connsiteY166" fmla="*/ 815930 h 2223626"/>
                  <a:gd name="connsiteX167" fmla="*/ 348631 w 1588686"/>
                  <a:gd name="connsiteY167" fmla="*/ 811926 h 2223626"/>
                  <a:gd name="connsiteX168" fmla="*/ 376996 w 1588686"/>
                  <a:gd name="connsiteY168" fmla="*/ 816765 h 2223626"/>
                  <a:gd name="connsiteX169" fmla="*/ 404944 w 1588686"/>
                  <a:gd name="connsiteY169" fmla="*/ 831363 h 2223626"/>
                  <a:gd name="connsiteX170" fmla="*/ 424465 w 1588686"/>
                  <a:gd name="connsiteY170" fmla="*/ 813177 h 2223626"/>
                  <a:gd name="connsiteX171" fmla="*/ 427135 w 1588686"/>
                  <a:gd name="connsiteY171" fmla="*/ 774637 h 2223626"/>
                  <a:gd name="connsiteX172" fmla="*/ 405444 w 1588686"/>
                  <a:gd name="connsiteY172" fmla="*/ 779976 h 2223626"/>
                  <a:gd name="connsiteX173" fmla="*/ 375745 w 1588686"/>
                  <a:gd name="connsiteY173" fmla="*/ 757870 h 2223626"/>
                  <a:gd name="connsiteX174" fmla="*/ 340788 w 1588686"/>
                  <a:gd name="connsiteY174" fmla="*/ 724168 h 2223626"/>
                  <a:gd name="connsiteX175" fmla="*/ 313758 w 1588686"/>
                  <a:gd name="connsiteY175" fmla="*/ 683876 h 2223626"/>
                  <a:gd name="connsiteX176" fmla="*/ 331027 w 1588686"/>
                  <a:gd name="connsiteY176" fmla="*/ 621394 h 2223626"/>
                  <a:gd name="connsiteX177" fmla="*/ 358475 w 1588686"/>
                  <a:gd name="connsiteY177" fmla="*/ 603208 h 2223626"/>
                  <a:gd name="connsiteX178" fmla="*/ 385088 w 1588686"/>
                  <a:gd name="connsiteY178" fmla="*/ 579266 h 2223626"/>
                  <a:gd name="connsiteX179" fmla="*/ 410784 w 1588686"/>
                  <a:gd name="connsiteY179" fmla="*/ 557577 h 2223626"/>
                  <a:gd name="connsiteX180" fmla="*/ 401023 w 1588686"/>
                  <a:gd name="connsiteY180" fmla="*/ 577932 h 2223626"/>
                  <a:gd name="connsiteX181" fmla="*/ 398353 w 1588686"/>
                  <a:gd name="connsiteY181" fmla="*/ 597869 h 2223626"/>
                  <a:gd name="connsiteX182" fmla="*/ 377079 w 1588686"/>
                  <a:gd name="connsiteY182" fmla="*/ 658099 h 2223626"/>
                  <a:gd name="connsiteX183" fmla="*/ 388175 w 1588686"/>
                  <a:gd name="connsiteY183" fmla="*/ 674449 h 2223626"/>
                  <a:gd name="connsiteX184" fmla="*/ 439983 w 1588686"/>
                  <a:gd name="connsiteY184" fmla="*/ 709903 h 2223626"/>
                  <a:gd name="connsiteX185" fmla="*/ 478109 w 1588686"/>
                  <a:gd name="connsiteY185" fmla="*/ 754199 h 2223626"/>
                  <a:gd name="connsiteX186" fmla="*/ 517570 w 1588686"/>
                  <a:gd name="connsiteY186" fmla="*/ 764376 h 2223626"/>
                  <a:gd name="connsiteX187" fmla="*/ 540596 w 1588686"/>
                  <a:gd name="connsiteY187" fmla="*/ 811342 h 2223626"/>
                  <a:gd name="connsiteX188" fmla="*/ 553027 w 1588686"/>
                  <a:gd name="connsiteY188" fmla="*/ 817515 h 2223626"/>
                  <a:gd name="connsiteX189" fmla="*/ 559200 w 1588686"/>
                  <a:gd name="connsiteY189" fmla="*/ 834783 h 2223626"/>
                  <a:gd name="connsiteX190" fmla="*/ 558783 w 1588686"/>
                  <a:gd name="connsiteY190" fmla="*/ 852969 h 2223626"/>
                  <a:gd name="connsiteX191" fmla="*/ 549022 w 1588686"/>
                  <a:gd name="connsiteY191" fmla="*/ 875993 h 2223626"/>
                  <a:gd name="connsiteX192" fmla="*/ 557448 w 1588686"/>
                  <a:gd name="connsiteY192" fmla="*/ 899017 h 2223626"/>
                  <a:gd name="connsiteX193" fmla="*/ 552109 w 1588686"/>
                  <a:gd name="connsiteY193" fmla="*/ 919372 h 2223626"/>
                  <a:gd name="connsiteX194" fmla="*/ 572965 w 1588686"/>
                  <a:gd name="connsiteY194" fmla="*/ 985357 h 2223626"/>
                  <a:gd name="connsiteX195" fmla="*/ 591152 w 1588686"/>
                  <a:gd name="connsiteY195" fmla="*/ 1042501 h 2223626"/>
                  <a:gd name="connsiteX196" fmla="*/ 618183 w 1588686"/>
                  <a:gd name="connsiteY196" fmla="*/ 1101896 h 2223626"/>
                  <a:gd name="connsiteX197" fmla="*/ 620853 w 1588686"/>
                  <a:gd name="connsiteY197" fmla="*/ 1156370 h 2223626"/>
                  <a:gd name="connsiteX198" fmla="*/ 635452 w 1588686"/>
                  <a:gd name="connsiteY198" fmla="*/ 1186067 h 2223626"/>
                  <a:gd name="connsiteX199" fmla="*/ 637705 w 1588686"/>
                  <a:gd name="connsiteY199" fmla="*/ 1223273 h 2223626"/>
                  <a:gd name="connsiteX200" fmla="*/ 673161 w 1588686"/>
                  <a:gd name="connsiteY200" fmla="*/ 1268904 h 2223626"/>
                  <a:gd name="connsiteX201" fmla="*/ 693517 w 1588686"/>
                  <a:gd name="connsiteY201" fmla="*/ 1332220 h 2223626"/>
                  <a:gd name="connsiteX202" fmla="*/ 703695 w 1588686"/>
                  <a:gd name="connsiteY202" fmla="*/ 1369425 h 2223626"/>
                  <a:gd name="connsiteX203" fmla="*/ 704112 w 1588686"/>
                  <a:gd name="connsiteY203" fmla="*/ 1400875 h 2223626"/>
                  <a:gd name="connsiteX204" fmla="*/ 713873 w 1588686"/>
                  <a:gd name="connsiteY204" fmla="*/ 1459353 h 2223626"/>
                  <a:gd name="connsiteX205" fmla="*/ 691765 w 1588686"/>
                  <a:gd name="connsiteY205" fmla="*/ 1486798 h 2223626"/>
                  <a:gd name="connsiteX206" fmla="*/ 700608 w 1588686"/>
                  <a:gd name="connsiteY206" fmla="*/ 1506319 h 2223626"/>
                  <a:gd name="connsiteX207" fmla="*/ 697938 w 1588686"/>
                  <a:gd name="connsiteY207" fmla="*/ 1542607 h 2223626"/>
                  <a:gd name="connsiteX208" fmla="*/ 682421 w 1588686"/>
                  <a:gd name="connsiteY208" fmla="*/ 1566048 h 2223626"/>
                  <a:gd name="connsiteX209" fmla="*/ 710369 w 1588686"/>
                  <a:gd name="connsiteY209" fmla="*/ 1577143 h 2223626"/>
                  <a:gd name="connsiteX210" fmla="*/ 727639 w 1588686"/>
                  <a:gd name="connsiteY210" fmla="*/ 1589572 h 2223626"/>
                  <a:gd name="connsiteX211" fmla="*/ 759091 w 1588686"/>
                  <a:gd name="connsiteY211" fmla="*/ 1654223 h 2223626"/>
                  <a:gd name="connsiteX212" fmla="*/ 769268 w 1588686"/>
                  <a:gd name="connsiteY212" fmla="*/ 1688342 h 2223626"/>
                  <a:gd name="connsiteX213" fmla="*/ 775025 w 1588686"/>
                  <a:gd name="connsiteY213" fmla="*/ 1718874 h 2223626"/>
                  <a:gd name="connsiteX214" fmla="*/ 813986 w 1588686"/>
                  <a:gd name="connsiteY214" fmla="*/ 1772513 h 2223626"/>
                  <a:gd name="connsiteX215" fmla="*/ 857868 w 1588686"/>
                  <a:gd name="connsiteY215" fmla="*/ 1826987 h 2223626"/>
                  <a:gd name="connsiteX216" fmla="*/ 887067 w 1588686"/>
                  <a:gd name="connsiteY216" fmla="*/ 1854432 h 2223626"/>
                  <a:gd name="connsiteX217" fmla="*/ 888403 w 1588686"/>
                  <a:gd name="connsiteY217" fmla="*/ 1853515 h 2223626"/>
                  <a:gd name="connsiteX218" fmla="*/ 898163 w 1588686"/>
                  <a:gd name="connsiteY218" fmla="*/ 1863692 h 2223626"/>
                  <a:gd name="connsiteX219" fmla="*/ 897746 w 1588686"/>
                  <a:gd name="connsiteY219" fmla="*/ 1864109 h 2223626"/>
                  <a:gd name="connsiteX220" fmla="*/ 915432 w 1588686"/>
                  <a:gd name="connsiteY220" fmla="*/ 1881794 h 2223626"/>
                  <a:gd name="connsiteX221" fmla="*/ 921606 w 1588686"/>
                  <a:gd name="connsiteY221" fmla="*/ 1887550 h 2223626"/>
                  <a:gd name="connsiteX222" fmla="*/ 931367 w 1588686"/>
                  <a:gd name="connsiteY222" fmla="*/ 1897310 h 2223626"/>
                  <a:gd name="connsiteX223" fmla="*/ 934454 w 1588686"/>
                  <a:gd name="connsiteY223" fmla="*/ 1897728 h 2223626"/>
                  <a:gd name="connsiteX224" fmla="*/ 1051418 w 1588686"/>
                  <a:gd name="connsiteY224" fmla="*/ 1965465 h 2223626"/>
                  <a:gd name="connsiteX225" fmla="*/ 1121831 w 1588686"/>
                  <a:gd name="connsiteY225" fmla="*/ 1993828 h 2223626"/>
                  <a:gd name="connsiteX226" fmla="*/ 1196665 w 1588686"/>
                  <a:gd name="connsiteY226" fmla="*/ 2038124 h 2223626"/>
                  <a:gd name="connsiteX227" fmla="*/ 1341493 w 1588686"/>
                  <a:gd name="connsiteY227" fmla="*/ 2109032 h 2223626"/>
                  <a:gd name="connsiteX228" fmla="*/ 1477062 w 1588686"/>
                  <a:gd name="connsiteY228" fmla="*/ 2178605 h 2223626"/>
                  <a:gd name="connsiteX229" fmla="*/ 1505427 w 1588686"/>
                  <a:gd name="connsiteY229" fmla="*/ 2194955 h 2223626"/>
                  <a:gd name="connsiteX230" fmla="*/ 1539966 w 1588686"/>
                  <a:gd name="connsiteY230" fmla="*/ 2212640 h 2223626"/>
                  <a:gd name="connsiteX231" fmla="*/ 1549309 w 1588686"/>
                  <a:gd name="connsiteY231" fmla="*/ 2216644 h 2223626"/>
                  <a:gd name="connsiteX232" fmla="*/ 1579844 w 1588686"/>
                  <a:gd name="connsiteY232" fmla="*/ 2222818 h 2223626"/>
                  <a:gd name="connsiteX233" fmla="*/ 1585183 w 1588686"/>
                  <a:gd name="connsiteY233" fmla="*/ 2219731 h 2223626"/>
                  <a:gd name="connsiteX234" fmla="*/ 1588687 w 1588686"/>
                  <a:gd name="connsiteY234" fmla="*/ 2208219 h 2223626"/>
                  <a:gd name="connsiteX235" fmla="*/ 1582097 w 1588686"/>
                  <a:gd name="connsiteY235" fmla="*/ 2156998 h 2223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1588686" h="2223626" extrusionOk="0">
                    <a:moveTo>
                      <a:pt x="1582097" y="2156998"/>
                    </a:moveTo>
                    <a:cubicBezTo>
                      <a:pt x="1576757" y="2130387"/>
                      <a:pt x="1563909" y="2106029"/>
                      <a:pt x="1559989" y="2079000"/>
                    </a:cubicBezTo>
                    <a:cubicBezTo>
                      <a:pt x="1553314" y="2035121"/>
                      <a:pt x="1538715" y="1973557"/>
                      <a:pt x="1499337" y="1947029"/>
                    </a:cubicBezTo>
                    <a:cubicBezTo>
                      <a:pt x="1492246" y="1942191"/>
                      <a:pt x="1482985" y="1941690"/>
                      <a:pt x="1475894" y="1935934"/>
                    </a:cubicBezTo>
                    <a:cubicBezTo>
                      <a:pt x="1467885" y="1929761"/>
                      <a:pt x="1461711" y="1920418"/>
                      <a:pt x="1454203" y="1913327"/>
                    </a:cubicBezTo>
                    <a:cubicBezTo>
                      <a:pt x="1435599" y="1894724"/>
                      <a:pt x="1435182" y="1878374"/>
                      <a:pt x="1434264" y="1852680"/>
                    </a:cubicBezTo>
                    <a:cubicBezTo>
                      <a:pt x="1433847" y="1833661"/>
                      <a:pt x="1436517" y="1817227"/>
                      <a:pt x="1437351" y="1798624"/>
                    </a:cubicBezTo>
                    <a:cubicBezTo>
                      <a:pt x="1438686" y="1774265"/>
                      <a:pt x="1442690" y="1774265"/>
                      <a:pt x="1462128" y="1765840"/>
                    </a:cubicBezTo>
                    <a:cubicBezTo>
                      <a:pt x="1477229" y="1759667"/>
                      <a:pt x="1482068" y="1744150"/>
                      <a:pt x="1462545" y="1740563"/>
                    </a:cubicBezTo>
                    <a:cubicBezTo>
                      <a:pt x="1444860" y="1737477"/>
                      <a:pt x="1429759" y="1749406"/>
                      <a:pt x="1416494" y="1732555"/>
                    </a:cubicBezTo>
                    <a:cubicBezTo>
                      <a:pt x="1409403" y="1723212"/>
                      <a:pt x="1408068" y="1719708"/>
                      <a:pt x="1396555" y="1713035"/>
                    </a:cubicBezTo>
                    <a:cubicBezTo>
                      <a:pt x="1386377" y="1707696"/>
                      <a:pt x="1379286" y="1704192"/>
                      <a:pt x="1371777" y="1695766"/>
                    </a:cubicBezTo>
                    <a:cubicBezTo>
                      <a:pt x="1364686" y="1687758"/>
                      <a:pt x="1355426" y="1683837"/>
                      <a:pt x="1348335" y="1676747"/>
                    </a:cubicBezTo>
                    <a:cubicBezTo>
                      <a:pt x="1339491" y="1667904"/>
                      <a:pt x="1343496" y="1659061"/>
                      <a:pt x="1341660" y="1647550"/>
                    </a:cubicBezTo>
                    <a:cubicBezTo>
                      <a:pt x="1338573" y="1624108"/>
                      <a:pt x="1325308" y="1602836"/>
                      <a:pt x="1323974" y="1579312"/>
                    </a:cubicBezTo>
                    <a:cubicBezTo>
                      <a:pt x="1322222" y="1550531"/>
                      <a:pt x="1338573" y="1541188"/>
                      <a:pt x="1355009" y="1521251"/>
                    </a:cubicBezTo>
                    <a:cubicBezTo>
                      <a:pt x="1370109" y="1503566"/>
                      <a:pt x="1376283" y="1487132"/>
                      <a:pt x="1369191" y="1464525"/>
                    </a:cubicBezTo>
                    <a:cubicBezTo>
                      <a:pt x="1362100" y="1441501"/>
                      <a:pt x="1347500" y="1426902"/>
                      <a:pt x="1322639" y="1426902"/>
                    </a:cubicBezTo>
                    <a:cubicBezTo>
                      <a:pt x="1299196" y="1426485"/>
                      <a:pt x="1282343" y="1431741"/>
                      <a:pt x="1259318" y="1423816"/>
                    </a:cubicBezTo>
                    <a:cubicBezTo>
                      <a:pt x="1238044" y="1416308"/>
                      <a:pt x="1223862" y="1398122"/>
                      <a:pt x="1209262" y="1381772"/>
                    </a:cubicBezTo>
                    <a:cubicBezTo>
                      <a:pt x="1195079" y="1366255"/>
                      <a:pt x="1178227" y="1347236"/>
                      <a:pt x="1172471" y="1326381"/>
                    </a:cubicBezTo>
                    <a:cubicBezTo>
                      <a:pt x="1169801" y="1316620"/>
                      <a:pt x="1172054" y="1305108"/>
                      <a:pt x="1168967" y="1295348"/>
                    </a:cubicBezTo>
                    <a:cubicBezTo>
                      <a:pt x="1165880" y="1285588"/>
                      <a:pt x="1158789" y="1282501"/>
                      <a:pt x="1151697" y="1275411"/>
                    </a:cubicBezTo>
                    <a:cubicBezTo>
                      <a:pt x="1143689" y="1267402"/>
                      <a:pt x="1140185" y="1238622"/>
                      <a:pt x="1157037" y="1234618"/>
                    </a:cubicBezTo>
                    <a:cubicBezTo>
                      <a:pt x="1168967" y="1231948"/>
                      <a:pt x="1168133" y="1253221"/>
                      <a:pt x="1169884" y="1261646"/>
                    </a:cubicBezTo>
                    <a:cubicBezTo>
                      <a:pt x="1172971" y="1276745"/>
                      <a:pt x="1174723" y="1284670"/>
                      <a:pt x="1191158" y="1280249"/>
                    </a:cubicBezTo>
                    <a:cubicBezTo>
                      <a:pt x="1212849" y="1274910"/>
                      <a:pt x="1226614" y="1263899"/>
                      <a:pt x="1219523" y="1240791"/>
                    </a:cubicBezTo>
                    <a:cubicBezTo>
                      <a:pt x="1212849" y="1218685"/>
                      <a:pt x="1195162" y="1216432"/>
                      <a:pt x="1175224" y="1207590"/>
                    </a:cubicBezTo>
                    <a:cubicBezTo>
                      <a:pt x="1156620" y="1199164"/>
                      <a:pt x="1141519" y="1185400"/>
                      <a:pt x="1126502" y="1204503"/>
                    </a:cubicBezTo>
                    <a:cubicBezTo>
                      <a:pt x="1118077" y="1215598"/>
                      <a:pt x="1116741" y="1224441"/>
                      <a:pt x="1100807" y="1216933"/>
                    </a:cubicBezTo>
                    <a:cubicBezTo>
                      <a:pt x="1092381" y="1212929"/>
                      <a:pt x="1085290" y="1205004"/>
                      <a:pt x="1077364" y="1200582"/>
                    </a:cubicBezTo>
                    <a:cubicBezTo>
                      <a:pt x="1072025" y="1197496"/>
                      <a:pt x="1066268" y="1194826"/>
                      <a:pt x="1060512" y="1192157"/>
                    </a:cubicBezTo>
                    <a:cubicBezTo>
                      <a:pt x="1060095" y="1192157"/>
                      <a:pt x="1060095" y="1192157"/>
                      <a:pt x="1060095" y="1192157"/>
                    </a:cubicBezTo>
                    <a:cubicBezTo>
                      <a:pt x="1059678" y="1192574"/>
                      <a:pt x="1059177" y="1193075"/>
                      <a:pt x="1058760" y="1193075"/>
                    </a:cubicBezTo>
                    <a:lnTo>
                      <a:pt x="1045495" y="1185066"/>
                    </a:lnTo>
                    <a:cubicBezTo>
                      <a:pt x="1043242" y="1183732"/>
                      <a:pt x="1041074" y="1182814"/>
                      <a:pt x="1039321" y="1181562"/>
                    </a:cubicBezTo>
                    <a:cubicBezTo>
                      <a:pt x="1022469" y="1171385"/>
                      <a:pt x="1022469" y="1159873"/>
                      <a:pt x="1017213" y="1142105"/>
                    </a:cubicBezTo>
                    <a:cubicBezTo>
                      <a:pt x="1013209" y="1128340"/>
                      <a:pt x="1002613" y="1100895"/>
                      <a:pt x="985344" y="1100061"/>
                    </a:cubicBezTo>
                    <a:cubicBezTo>
                      <a:pt x="974749" y="1099143"/>
                      <a:pt x="971578" y="1108486"/>
                      <a:pt x="964070" y="1113825"/>
                    </a:cubicBezTo>
                    <a:cubicBezTo>
                      <a:pt x="956562" y="1119581"/>
                      <a:pt x="945466" y="1120916"/>
                      <a:pt x="939293" y="1128424"/>
                    </a:cubicBezTo>
                    <a:cubicBezTo>
                      <a:pt x="926028" y="1144357"/>
                      <a:pt x="943714" y="1147944"/>
                      <a:pt x="947719" y="1161208"/>
                    </a:cubicBezTo>
                    <a:cubicBezTo>
                      <a:pt x="951223" y="1174055"/>
                      <a:pt x="935288" y="1179393"/>
                      <a:pt x="924276" y="1182063"/>
                    </a:cubicBezTo>
                    <a:cubicBezTo>
                      <a:pt x="898163" y="1187402"/>
                      <a:pt x="874220" y="1163460"/>
                      <a:pt x="858702" y="1145275"/>
                    </a:cubicBezTo>
                    <a:cubicBezTo>
                      <a:pt x="822411" y="1104482"/>
                      <a:pt x="825916" y="1046088"/>
                      <a:pt x="788707" y="1007047"/>
                    </a:cubicBezTo>
                    <a:cubicBezTo>
                      <a:pt x="774525" y="992448"/>
                      <a:pt x="772355" y="974263"/>
                      <a:pt x="754168" y="967172"/>
                    </a:cubicBezTo>
                    <a:cubicBezTo>
                      <a:pt x="737316" y="960498"/>
                      <a:pt x="722299" y="940561"/>
                      <a:pt x="710286" y="926880"/>
                    </a:cubicBezTo>
                    <a:cubicBezTo>
                      <a:pt x="705864" y="921541"/>
                      <a:pt x="697438" y="911364"/>
                      <a:pt x="698356" y="903856"/>
                    </a:cubicBezTo>
                    <a:cubicBezTo>
                      <a:pt x="698773" y="900352"/>
                      <a:pt x="705864" y="895430"/>
                      <a:pt x="705864" y="894095"/>
                    </a:cubicBezTo>
                    <a:cubicBezTo>
                      <a:pt x="705864" y="889257"/>
                      <a:pt x="696104" y="887005"/>
                      <a:pt x="693434" y="881666"/>
                    </a:cubicBezTo>
                    <a:cubicBezTo>
                      <a:pt x="686760" y="870154"/>
                      <a:pt x="694351" y="863063"/>
                      <a:pt x="705864" y="863063"/>
                    </a:cubicBezTo>
                    <a:cubicBezTo>
                      <a:pt x="708951" y="863063"/>
                      <a:pt x="717795" y="867484"/>
                      <a:pt x="720047" y="866149"/>
                    </a:cubicBezTo>
                    <a:cubicBezTo>
                      <a:pt x="729808" y="860394"/>
                      <a:pt x="720965" y="848881"/>
                      <a:pt x="718295" y="842208"/>
                    </a:cubicBezTo>
                    <a:cubicBezTo>
                      <a:pt x="714791" y="833782"/>
                      <a:pt x="708951" y="828443"/>
                      <a:pt x="715208" y="819184"/>
                    </a:cubicBezTo>
                    <a:cubicBezTo>
                      <a:pt x="724969" y="804585"/>
                      <a:pt x="732895" y="816931"/>
                      <a:pt x="743156" y="818767"/>
                    </a:cubicBezTo>
                    <a:cubicBezTo>
                      <a:pt x="771104" y="824523"/>
                      <a:pt x="759508" y="795326"/>
                      <a:pt x="748913" y="782896"/>
                    </a:cubicBezTo>
                    <a:cubicBezTo>
                      <a:pt x="730726" y="761207"/>
                      <a:pt x="736482" y="745273"/>
                      <a:pt x="730726" y="719580"/>
                    </a:cubicBezTo>
                    <a:cubicBezTo>
                      <a:pt x="728056" y="706733"/>
                      <a:pt x="719629" y="695638"/>
                      <a:pt x="718295" y="682791"/>
                    </a:cubicBezTo>
                    <a:cubicBezTo>
                      <a:pt x="715625" y="661936"/>
                      <a:pt x="729391" y="661102"/>
                      <a:pt x="743573" y="672614"/>
                    </a:cubicBezTo>
                    <a:cubicBezTo>
                      <a:pt x="757339" y="683709"/>
                      <a:pt x="770604" y="695638"/>
                      <a:pt x="782534" y="708902"/>
                    </a:cubicBezTo>
                    <a:cubicBezTo>
                      <a:pt x="797133" y="724835"/>
                      <a:pt x="816655" y="714241"/>
                      <a:pt x="812233" y="692551"/>
                    </a:cubicBezTo>
                    <a:cubicBezTo>
                      <a:pt x="809147" y="675283"/>
                      <a:pt x="793212" y="657098"/>
                      <a:pt x="785203" y="642082"/>
                    </a:cubicBezTo>
                    <a:cubicBezTo>
                      <a:pt x="772355" y="617723"/>
                      <a:pt x="769268" y="594699"/>
                      <a:pt x="771021" y="566753"/>
                    </a:cubicBezTo>
                    <a:cubicBezTo>
                      <a:pt x="772355" y="545064"/>
                      <a:pt x="775442" y="514449"/>
                      <a:pt x="786538" y="495429"/>
                    </a:cubicBezTo>
                    <a:cubicBezTo>
                      <a:pt x="791377" y="487003"/>
                      <a:pt x="800303" y="480830"/>
                      <a:pt x="805142" y="472405"/>
                    </a:cubicBezTo>
                    <a:cubicBezTo>
                      <a:pt x="811316" y="462227"/>
                      <a:pt x="811816" y="450298"/>
                      <a:pt x="819742" y="441372"/>
                    </a:cubicBezTo>
                    <a:cubicBezTo>
                      <a:pt x="826833" y="433864"/>
                      <a:pt x="839264" y="428108"/>
                      <a:pt x="849442" y="425439"/>
                    </a:cubicBezTo>
                    <a:cubicBezTo>
                      <a:pt x="856533" y="423687"/>
                      <a:pt x="863625" y="424521"/>
                      <a:pt x="870716" y="422769"/>
                    </a:cubicBezTo>
                    <a:cubicBezTo>
                      <a:pt x="875555" y="421435"/>
                      <a:pt x="879142" y="416096"/>
                      <a:pt x="884481" y="416096"/>
                    </a:cubicBezTo>
                    <a:cubicBezTo>
                      <a:pt x="893324" y="415679"/>
                      <a:pt x="895077" y="422769"/>
                      <a:pt x="903085" y="425439"/>
                    </a:cubicBezTo>
                    <a:cubicBezTo>
                      <a:pt x="912429" y="428108"/>
                      <a:pt x="928364" y="423187"/>
                      <a:pt x="935872" y="417431"/>
                    </a:cubicBezTo>
                    <a:cubicBezTo>
                      <a:pt x="957980" y="400580"/>
                      <a:pt x="929699" y="388651"/>
                      <a:pt x="917268" y="377973"/>
                    </a:cubicBezTo>
                    <a:cubicBezTo>
                      <a:pt x="901751" y="365126"/>
                      <a:pt x="880477" y="342102"/>
                      <a:pt x="878307" y="321747"/>
                    </a:cubicBezTo>
                    <a:cubicBezTo>
                      <a:pt x="876973" y="311987"/>
                      <a:pt x="883146" y="303562"/>
                      <a:pt x="883146" y="294302"/>
                    </a:cubicBezTo>
                    <a:cubicBezTo>
                      <a:pt x="882729" y="282790"/>
                      <a:pt x="873386" y="277034"/>
                      <a:pt x="868546" y="267274"/>
                    </a:cubicBezTo>
                    <a:cubicBezTo>
                      <a:pt x="862373" y="256179"/>
                      <a:pt x="864125" y="245584"/>
                      <a:pt x="862790" y="233572"/>
                    </a:cubicBezTo>
                    <a:cubicBezTo>
                      <a:pt x="860538" y="219390"/>
                      <a:pt x="855699" y="213634"/>
                      <a:pt x="849025" y="201705"/>
                    </a:cubicBezTo>
                    <a:cubicBezTo>
                      <a:pt x="845938" y="195532"/>
                      <a:pt x="844603" y="188858"/>
                      <a:pt x="840181" y="183519"/>
                    </a:cubicBezTo>
                    <a:cubicBezTo>
                      <a:pt x="833507" y="175511"/>
                      <a:pt x="821994" y="176429"/>
                      <a:pt x="823830" y="163999"/>
                    </a:cubicBezTo>
                    <a:cubicBezTo>
                      <a:pt x="824747" y="157826"/>
                      <a:pt x="831839" y="155574"/>
                      <a:pt x="831839" y="149400"/>
                    </a:cubicBezTo>
                    <a:cubicBezTo>
                      <a:pt x="830921" y="139223"/>
                      <a:pt x="814987" y="135636"/>
                      <a:pt x="810148" y="128128"/>
                    </a:cubicBezTo>
                    <a:cubicBezTo>
                      <a:pt x="800387" y="113029"/>
                      <a:pt x="818157" y="106022"/>
                      <a:pt x="814153" y="91340"/>
                    </a:cubicBezTo>
                    <a:cubicBezTo>
                      <a:pt x="812817" y="86501"/>
                      <a:pt x="809313" y="86501"/>
                      <a:pt x="807061" y="82914"/>
                    </a:cubicBezTo>
                    <a:cubicBezTo>
                      <a:pt x="804809" y="79411"/>
                      <a:pt x="802639" y="74489"/>
                      <a:pt x="800387" y="70985"/>
                    </a:cubicBezTo>
                    <a:cubicBezTo>
                      <a:pt x="795048" y="62560"/>
                      <a:pt x="786205" y="56804"/>
                      <a:pt x="788874" y="45709"/>
                    </a:cubicBezTo>
                    <a:cubicBezTo>
                      <a:pt x="790209" y="39536"/>
                      <a:pt x="799052" y="35531"/>
                      <a:pt x="799970" y="29776"/>
                    </a:cubicBezTo>
                    <a:cubicBezTo>
                      <a:pt x="802222" y="19181"/>
                      <a:pt x="791961" y="14676"/>
                      <a:pt x="788874" y="5834"/>
                    </a:cubicBezTo>
                    <a:cubicBezTo>
                      <a:pt x="788457" y="4499"/>
                      <a:pt x="787956" y="3581"/>
                      <a:pt x="787956" y="2747"/>
                    </a:cubicBezTo>
                    <a:lnTo>
                      <a:pt x="787956" y="2330"/>
                    </a:lnTo>
                    <a:cubicBezTo>
                      <a:pt x="784452" y="995"/>
                      <a:pt x="780865" y="-339"/>
                      <a:pt x="777778" y="78"/>
                    </a:cubicBezTo>
                    <a:cubicBezTo>
                      <a:pt x="774691" y="495"/>
                      <a:pt x="772439" y="2330"/>
                      <a:pt x="768935" y="5417"/>
                    </a:cubicBezTo>
                    <a:cubicBezTo>
                      <a:pt x="766265" y="8086"/>
                      <a:pt x="763178" y="10756"/>
                      <a:pt x="758757" y="12925"/>
                    </a:cubicBezTo>
                    <a:cubicBezTo>
                      <a:pt x="746326" y="18263"/>
                      <a:pt x="736149" y="15177"/>
                      <a:pt x="726888" y="11590"/>
                    </a:cubicBezTo>
                    <a:cubicBezTo>
                      <a:pt x="724635" y="10672"/>
                      <a:pt x="722466" y="10255"/>
                      <a:pt x="720214" y="9337"/>
                    </a:cubicBezTo>
                    <a:cubicBezTo>
                      <a:pt x="707783" y="4499"/>
                      <a:pt x="699858" y="2247"/>
                      <a:pt x="691014" y="8003"/>
                    </a:cubicBezTo>
                    <a:cubicBezTo>
                      <a:pt x="679084" y="16428"/>
                      <a:pt x="678167" y="34113"/>
                      <a:pt x="677249" y="48795"/>
                    </a:cubicBezTo>
                    <a:cubicBezTo>
                      <a:pt x="676832" y="52299"/>
                      <a:pt x="676832" y="55886"/>
                      <a:pt x="676832" y="59390"/>
                    </a:cubicBezTo>
                    <a:cubicBezTo>
                      <a:pt x="676414" y="74489"/>
                      <a:pt x="676414" y="87336"/>
                      <a:pt x="666653" y="103269"/>
                    </a:cubicBezTo>
                    <a:cubicBezTo>
                      <a:pt x="663984" y="107690"/>
                      <a:pt x="661315" y="111694"/>
                      <a:pt x="658645" y="115198"/>
                    </a:cubicBezTo>
                    <a:cubicBezTo>
                      <a:pt x="651136" y="125793"/>
                      <a:pt x="646214" y="132883"/>
                      <a:pt x="645797" y="147982"/>
                    </a:cubicBezTo>
                    <a:cubicBezTo>
                      <a:pt x="644879" y="180350"/>
                      <a:pt x="635619" y="218890"/>
                      <a:pt x="619684" y="256512"/>
                    </a:cubicBezTo>
                    <a:cubicBezTo>
                      <a:pt x="613010" y="272446"/>
                      <a:pt x="604167" y="287962"/>
                      <a:pt x="578055" y="283124"/>
                    </a:cubicBezTo>
                    <a:cubicBezTo>
                      <a:pt x="573215" y="282206"/>
                      <a:pt x="568711" y="280871"/>
                      <a:pt x="564790" y="280454"/>
                    </a:cubicBezTo>
                    <a:cubicBezTo>
                      <a:pt x="552359" y="277368"/>
                      <a:pt x="546186" y="275616"/>
                      <a:pt x="532920" y="283958"/>
                    </a:cubicBezTo>
                    <a:cubicBezTo>
                      <a:pt x="524495" y="289297"/>
                      <a:pt x="515651" y="291966"/>
                      <a:pt x="507225" y="294552"/>
                    </a:cubicBezTo>
                    <a:cubicBezTo>
                      <a:pt x="499216" y="296805"/>
                      <a:pt x="491708" y="298973"/>
                      <a:pt x="485117" y="303395"/>
                    </a:cubicBezTo>
                    <a:cubicBezTo>
                      <a:pt x="480278" y="306481"/>
                      <a:pt x="476274" y="311820"/>
                      <a:pt x="471852" y="317159"/>
                    </a:cubicBezTo>
                    <a:cubicBezTo>
                      <a:pt x="464760" y="326502"/>
                      <a:pt x="456335" y="336680"/>
                      <a:pt x="443069" y="338849"/>
                    </a:cubicBezTo>
                    <a:cubicBezTo>
                      <a:pt x="421796" y="342352"/>
                      <a:pt x="416040" y="325084"/>
                      <a:pt x="412035" y="313572"/>
                    </a:cubicBezTo>
                    <a:cubicBezTo>
                      <a:pt x="411117" y="310903"/>
                      <a:pt x="410283" y="308734"/>
                      <a:pt x="409366" y="306481"/>
                    </a:cubicBezTo>
                    <a:cubicBezTo>
                      <a:pt x="406279" y="298473"/>
                      <a:pt x="401356" y="290965"/>
                      <a:pt x="396517" y="283040"/>
                    </a:cubicBezTo>
                    <a:cubicBezTo>
                      <a:pt x="392513" y="276367"/>
                      <a:pt x="388092" y="268859"/>
                      <a:pt x="384588" y="261351"/>
                    </a:cubicBezTo>
                    <a:cubicBezTo>
                      <a:pt x="382335" y="256512"/>
                      <a:pt x="381083" y="251591"/>
                      <a:pt x="379248" y="246252"/>
                    </a:cubicBezTo>
                    <a:cubicBezTo>
                      <a:pt x="376579" y="236909"/>
                      <a:pt x="373909" y="228066"/>
                      <a:pt x="367318" y="224145"/>
                    </a:cubicBezTo>
                    <a:cubicBezTo>
                      <a:pt x="356222" y="217472"/>
                      <a:pt x="339370" y="218806"/>
                      <a:pt x="326106" y="227232"/>
                    </a:cubicBezTo>
                    <a:cubicBezTo>
                      <a:pt x="321683" y="229901"/>
                      <a:pt x="318597" y="232988"/>
                      <a:pt x="315510" y="235657"/>
                    </a:cubicBezTo>
                    <a:cubicBezTo>
                      <a:pt x="308002" y="242331"/>
                      <a:pt x="299992" y="249839"/>
                      <a:pt x="284976" y="250256"/>
                    </a:cubicBezTo>
                    <a:cubicBezTo>
                      <a:pt x="280554" y="250673"/>
                      <a:pt x="276133" y="250673"/>
                      <a:pt x="272128" y="250256"/>
                    </a:cubicBezTo>
                    <a:cubicBezTo>
                      <a:pt x="258863" y="249839"/>
                      <a:pt x="249519" y="249839"/>
                      <a:pt x="240676" y="260016"/>
                    </a:cubicBezTo>
                    <a:cubicBezTo>
                      <a:pt x="236672" y="264437"/>
                      <a:pt x="234002" y="269776"/>
                      <a:pt x="231833" y="274615"/>
                    </a:cubicBezTo>
                    <a:cubicBezTo>
                      <a:pt x="227411" y="283457"/>
                      <a:pt x="222489" y="293635"/>
                      <a:pt x="210142" y="300308"/>
                    </a:cubicBezTo>
                    <a:cubicBezTo>
                      <a:pt x="203468" y="303812"/>
                      <a:pt x="195960" y="304730"/>
                      <a:pt x="188869" y="305147"/>
                    </a:cubicBezTo>
                    <a:cubicBezTo>
                      <a:pt x="178690" y="306064"/>
                      <a:pt x="172516" y="306898"/>
                      <a:pt x="169346" y="313572"/>
                    </a:cubicBezTo>
                    <a:cubicBezTo>
                      <a:pt x="167094" y="317576"/>
                      <a:pt x="166259" y="321998"/>
                      <a:pt x="164925" y="326002"/>
                    </a:cubicBezTo>
                    <a:cubicBezTo>
                      <a:pt x="162672" y="334427"/>
                      <a:pt x="160503" y="342853"/>
                      <a:pt x="153412" y="351278"/>
                    </a:cubicBezTo>
                    <a:cubicBezTo>
                      <a:pt x="150742" y="353948"/>
                      <a:pt x="148072" y="356117"/>
                      <a:pt x="145403" y="357952"/>
                    </a:cubicBezTo>
                    <a:cubicBezTo>
                      <a:pt x="142733" y="360204"/>
                      <a:pt x="140564" y="361455"/>
                      <a:pt x="139230" y="363291"/>
                    </a:cubicBezTo>
                    <a:cubicBezTo>
                      <a:pt x="137894" y="365543"/>
                      <a:pt x="136977" y="368630"/>
                      <a:pt x="136560" y="371716"/>
                    </a:cubicBezTo>
                    <a:cubicBezTo>
                      <a:pt x="135642" y="376137"/>
                      <a:pt x="134807" y="381059"/>
                      <a:pt x="131721" y="385480"/>
                    </a:cubicBezTo>
                    <a:cubicBezTo>
                      <a:pt x="123295" y="397410"/>
                      <a:pt x="108278" y="400997"/>
                      <a:pt x="93178" y="404083"/>
                    </a:cubicBezTo>
                    <a:cubicBezTo>
                      <a:pt x="74574" y="408505"/>
                      <a:pt x="63477" y="412092"/>
                      <a:pt x="62143" y="424021"/>
                    </a:cubicBezTo>
                    <a:cubicBezTo>
                      <a:pt x="61726" y="427525"/>
                      <a:pt x="63060" y="430694"/>
                      <a:pt x="63894" y="434198"/>
                    </a:cubicBezTo>
                    <a:cubicBezTo>
                      <a:pt x="66147" y="441706"/>
                      <a:pt x="68734" y="451883"/>
                      <a:pt x="54551" y="461226"/>
                    </a:cubicBezTo>
                    <a:cubicBezTo>
                      <a:pt x="50129" y="463896"/>
                      <a:pt x="46125" y="465648"/>
                      <a:pt x="42621" y="466565"/>
                    </a:cubicBezTo>
                    <a:cubicBezTo>
                      <a:pt x="38199" y="468317"/>
                      <a:pt x="34612" y="469652"/>
                      <a:pt x="31525" y="472738"/>
                    </a:cubicBezTo>
                    <a:cubicBezTo>
                      <a:pt x="28021" y="476242"/>
                      <a:pt x="25352" y="481164"/>
                      <a:pt x="22682" y="486002"/>
                    </a:cubicBezTo>
                    <a:cubicBezTo>
                      <a:pt x="20930" y="489089"/>
                      <a:pt x="19178" y="492175"/>
                      <a:pt x="17342" y="495345"/>
                    </a:cubicBezTo>
                    <a:cubicBezTo>
                      <a:pt x="15090" y="498432"/>
                      <a:pt x="12921" y="501519"/>
                      <a:pt x="10668" y="504188"/>
                    </a:cubicBezTo>
                    <a:cubicBezTo>
                      <a:pt x="907" y="516617"/>
                      <a:pt x="-3097" y="522791"/>
                      <a:pt x="2660" y="535220"/>
                    </a:cubicBezTo>
                    <a:cubicBezTo>
                      <a:pt x="3994" y="538307"/>
                      <a:pt x="5330" y="540559"/>
                      <a:pt x="7081" y="542728"/>
                    </a:cubicBezTo>
                    <a:cubicBezTo>
                      <a:pt x="10585" y="547567"/>
                      <a:pt x="14172" y="549819"/>
                      <a:pt x="19512" y="551154"/>
                    </a:cubicBezTo>
                    <a:cubicBezTo>
                      <a:pt x="24351" y="552071"/>
                      <a:pt x="30107" y="552071"/>
                      <a:pt x="37699" y="551571"/>
                    </a:cubicBezTo>
                    <a:lnTo>
                      <a:pt x="41703" y="551571"/>
                    </a:lnTo>
                    <a:cubicBezTo>
                      <a:pt x="59890" y="551154"/>
                      <a:pt x="67399" y="562165"/>
                      <a:pt x="73572" y="572426"/>
                    </a:cubicBezTo>
                    <a:cubicBezTo>
                      <a:pt x="74907" y="574678"/>
                      <a:pt x="76242" y="576847"/>
                      <a:pt x="77994" y="579100"/>
                    </a:cubicBezTo>
                    <a:cubicBezTo>
                      <a:pt x="78911" y="580017"/>
                      <a:pt x="79328" y="580851"/>
                      <a:pt x="80664" y="581769"/>
                    </a:cubicBezTo>
                    <a:cubicBezTo>
                      <a:pt x="82916" y="584021"/>
                      <a:pt x="86003" y="586607"/>
                      <a:pt x="87755" y="592363"/>
                    </a:cubicBezTo>
                    <a:cubicBezTo>
                      <a:pt x="89090" y="598537"/>
                      <a:pt x="87338" y="604293"/>
                      <a:pt x="85502" y="608714"/>
                    </a:cubicBezTo>
                    <a:cubicBezTo>
                      <a:pt x="84168" y="613135"/>
                      <a:pt x="83250" y="615805"/>
                      <a:pt x="84168" y="617556"/>
                    </a:cubicBezTo>
                    <a:cubicBezTo>
                      <a:pt x="86420" y="621561"/>
                      <a:pt x="94762" y="625565"/>
                      <a:pt x="101854" y="628651"/>
                    </a:cubicBezTo>
                    <a:cubicBezTo>
                      <a:pt x="108945" y="631738"/>
                      <a:pt x="116453" y="635325"/>
                      <a:pt x="121376" y="640163"/>
                    </a:cubicBezTo>
                    <a:lnTo>
                      <a:pt x="124880" y="643667"/>
                    </a:lnTo>
                    <a:cubicBezTo>
                      <a:pt x="128384" y="647671"/>
                      <a:pt x="130219" y="649840"/>
                      <a:pt x="135058" y="650758"/>
                    </a:cubicBezTo>
                    <a:cubicBezTo>
                      <a:pt x="138144" y="651675"/>
                      <a:pt x="142150" y="651675"/>
                      <a:pt x="146154" y="651175"/>
                    </a:cubicBezTo>
                    <a:cubicBezTo>
                      <a:pt x="152828" y="650758"/>
                      <a:pt x="160754" y="650758"/>
                      <a:pt x="167845" y="654678"/>
                    </a:cubicBezTo>
                    <a:cubicBezTo>
                      <a:pt x="177189" y="659517"/>
                      <a:pt x="178940" y="666608"/>
                      <a:pt x="180275" y="671947"/>
                    </a:cubicBezTo>
                    <a:cubicBezTo>
                      <a:pt x="181193" y="674199"/>
                      <a:pt x="181610" y="676368"/>
                      <a:pt x="182945" y="679037"/>
                    </a:cubicBezTo>
                    <a:cubicBezTo>
                      <a:pt x="185615" y="683459"/>
                      <a:pt x="187366" y="684376"/>
                      <a:pt x="191788" y="687463"/>
                    </a:cubicBezTo>
                    <a:cubicBezTo>
                      <a:pt x="193123" y="688380"/>
                      <a:pt x="194875" y="689215"/>
                      <a:pt x="196627" y="690132"/>
                    </a:cubicBezTo>
                    <a:cubicBezTo>
                      <a:pt x="209891" y="698558"/>
                      <a:pt x="211227" y="710070"/>
                      <a:pt x="212561" y="719830"/>
                    </a:cubicBezTo>
                    <a:cubicBezTo>
                      <a:pt x="213479" y="724251"/>
                      <a:pt x="213897" y="729173"/>
                      <a:pt x="215648" y="734011"/>
                    </a:cubicBezTo>
                    <a:cubicBezTo>
                      <a:pt x="220487" y="747275"/>
                      <a:pt x="226744" y="748610"/>
                      <a:pt x="235170" y="746441"/>
                    </a:cubicBezTo>
                    <a:lnTo>
                      <a:pt x="243179" y="743772"/>
                    </a:lnTo>
                    <a:cubicBezTo>
                      <a:pt x="256945" y="739767"/>
                      <a:pt x="268457" y="736264"/>
                      <a:pt x="287061" y="741102"/>
                    </a:cubicBezTo>
                    <a:cubicBezTo>
                      <a:pt x="298992" y="744189"/>
                      <a:pt x="332279" y="758787"/>
                      <a:pt x="337117" y="778725"/>
                    </a:cubicBezTo>
                    <a:cubicBezTo>
                      <a:pt x="338453" y="784064"/>
                      <a:pt x="337117" y="790654"/>
                      <a:pt x="335783" y="797328"/>
                    </a:cubicBezTo>
                    <a:cubicBezTo>
                      <a:pt x="333113" y="809757"/>
                      <a:pt x="332696" y="815513"/>
                      <a:pt x="337117" y="817265"/>
                    </a:cubicBezTo>
                    <a:cubicBezTo>
                      <a:pt x="338036" y="817682"/>
                      <a:pt x="338036" y="817682"/>
                      <a:pt x="341540" y="815930"/>
                    </a:cubicBezTo>
                    <a:cubicBezTo>
                      <a:pt x="343291" y="814596"/>
                      <a:pt x="345544" y="812844"/>
                      <a:pt x="348631" y="811926"/>
                    </a:cubicBezTo>
                    <a:cubicBezTo>
                      <a:pt x="361061" y="807922"/>
                      <a:pt x="366818" y="809674"/>
                      <a:pt x="376996" y="816765"/>
                    </a:cubicBezTo>
                    <a:cubicBezTo>
                      <a:pt x="387591" y="824272"/>
                      <a:pt x="395600" y="829194"/>
                      <a:pt x="404944" y="831363"/>
                    </a:cubicBezTo>
                    <a:cubicBezTo>
                      <a:pt x="409366" y="824689"/>
                      <a:pt x="417374" y="819851"/>
                      <a:pt x="424465" y="813177"/>
                    </a:cubicBezTo>
                    <a:cubicBezTo>
                      <a:pt x="434644" y="804335"/>
                      <a:pt x="449744" y="781728"/>
                      <a:pt x="427135" y="774637"/>
                    </a:cubicBezTo>
                    <a:cubicBezTo>
                      <a:pt x="419127" y="771968"/>
                      <a:pt x="412536" y="781311"/>
                      <a:pt x="405444" y="779976"/>
                    </a:cubicBezTo>
                    <a:cubicBezTo>
                      <a:pt x="394849" y="778641"/>
                      <a:pt x="383753" y="764460"/>
                      <a:pt x="375745" y="757870"/>
                    </a:cubicBezTo>
                    <a:cubicBezTo>
                      <a:pt x="361145" y="746358"/>
                      <a:pt x="351801" y="737932"/>
                      <a:pt x="340788" y="724168"/>
                    </a:cubicBezTo>
                    <a:cubicBezTo>
                      <a:pt x="326606" y="706900"/>
                      <a:pt x="306249" y="711321"/>
                      <a:pt x="313758" y="683876"/>
                    </a:cubicBezTo>
                    <a:cubicBezTo>
                      <a:pt x="318597" y="665273"/>
                      <a:pt x="319932" y="638662"/>
                      <a:pt x="331027" y="621394"/>
                    </a:cubicBezTo>
                    <a:cubicBezTo>
                      <a:pt x="338536" y="609882"/>
                      <a:pt x="347380" y="608964"/>
                      <a:pt x="358475" y="603208"/>
                    </a:cubicBezTo>
                    <a:cubicBezTo>
                      <a:pt x="369071" y="597869"/>
                      <a:pt x="377079" y="588609"/>
                      <a:pt x="385088" y="579266"/>
                    </a:cubicBezTo>
                    <a:cubicBezTo>
                      <a:pt x="388175" y="575763"/>
                      <a:pt x="406362" y="546482"/>
                      <a:pt x="410784" y="557577"/>
                    </a:cubicBezTo>
                    <a:cubicBezTo>
                      <a:pt x="409866" y="557577"/>
                      <a:pt x="401023" y="574845"/>
                      <a:pt x="401023" y="577932"/>
                    </a:cubicBezTo>
                    <a:cubicBezTo>
                      <a:pt x="400606" y="586357"/>
                      <a:pt x="404527" y="589444"/>
                      <a:pt x="398353" y="597869"/>
                    </a:cubicBezTo>
                    <a:cubicBezTo>
                      <a:pt x="386423" y="613802"/>
                      <a:pt x="359393" y="612051"/>
                      <a:pt x="377079" y="658099"/>
                    </a:cubicBezTo>
                    <a:cubicBezTo>
                      <a:pt x="379332" y="664272"/>
                      <a:pt x="383253" y="670528"/>
                      <a:pt x="388175" y="674449"/>
                    </a:cubicBezTo>
                    <a:cubicBezTo>
                      <a:pt x="403693" y="687296"/>
                      <a:pt x="424048" y="696139"/>
                      <a:pt x="439983" y="709903"/>
                    </a:cubicBezTo>
                    <a:cubicBezTo>
                      <a:pt x="452831" y="721832"/>
                      <a:pt x="462592" y="746191"/>
                      <a:pt x="478109" y="754199"/>
                    </a:cubicBezTo>
                    <a:cubicBezTo>
                      <a:pt x="492708" y="762208"/>
                      <a:pt x="507308" y="744856"/>
                      <a:pt x="517570" y="764376"/>
                    </a:cubicBezTo>
                    <a:cubicBezTo>
                      <a:pt x="528165" y="784731"/>
                      <a:pt x="517153" y="798496"/>
                      <a:pt x="540596" y="811342"/>
                    </a:cubicBezTo>
                    <a:cubicBezTo>
                      <a:pt x="547687" y="815346"/>
                      <a:pt x="547270" y="810425"/>
                      <a:pt x="553027" y="817515"/>
                    </a:cubicBezTo>
                    <a:cubicBezTo>
                      <a:pt x="556113" y="821519"/>
                      <a:pt x="557865" y="829945"/>
                      <a:pt x="559200" y="834783"/>
                    </a:cubicBezTo>
                    <a:cubicBezTo>
                      <a:pt x="562704" y="845878"/>
                      <a:pt x="561870" y="844961"/>
                      <a:pt x="558783" y="852969"/>
                    </a:cubicBezTo>
                    <a:cubicBezTo>
                      <a:pt x="556113" y="859643"/>
                      <a:pt x="549439" y="865816"/>
                      <a:pt x="549022" y="875993"/>
                    </a:cubicBezTo>
                    <a:cubicBezTo>
                      <a:pt x="548604" y="888840"/>
                      <a:pt x="555195" y="888423"/>
                      <a:pt x="557448" y="899017"/>
                    </a:cubicBezTo>
                    <a:cubicBezTo>
                      <a:pt x="558783" y="905691"/>
                      <a:pt x="553944" y="913199"/>
                      <a:pt x="552109" y="919372"/>
                    </a:cubicBezTo>
                    <a:cubicBezTo>
                      <a:pt x="545017" y="945482"/>
                      <a:pt x="553861" y="967672"/>
                      <a:pt x="572965" y="985357"/>
                    </a:cubicBezTo>
                    <a:cubicBezTo>
                      <a:pt x="588483" y="999539"/>
                      <a:pt x="587565" y="1022563"/>
                      <a:pt x="591152" y="1042501"/>
                    </a:cubicBezTo>
                    <a:cubicBezTo>
                      <a:pt x="594656" y="1064190"/>
                      <a:pt x="611091" y="1080123"/>
                      <a:pt x="618183" y="1101896"/>
                    </a:cubicBezTo>
                    <a:cubicBezTo>
                      <a:pt x="624357" y="1121416"/>
                      <a:pt x="611509" y="1138184"/>
                      <a:pt x="620853" y="1156370"/>
                    </a:cubicBezTo>
                    <a:cubicBezTo>
                      <a:pt x="626191" y="1167465"/>
                      <a:pt x="633283" y="1173638"/>
                      <a:pt x="635452" y="1186067"/>
                    </a:cubicBezTo>
                    <a:cubicBezTo>
                      <a:pt x="638122" y="1197996"/>
                      <a:pt x="633700" y="1211761"/>
                      <a:pt x="637705" y="1223273"/>
                    </a:cubicBezTo>
                    <a:cubicBezTo>
                      <a:pt x="643878" y="1239623"/>
                      <a:pt x="662482" y="1255139"/>
                      <a:pt x="673161" y="1268904"/>
                    </a:cubicBezTo>
                    <a:cubicBezTo>
                      <a:pt x="686927" y="1286172"/>
                      <a:pt x="686009" y="1311865"/>
                      <a:pt x="693517" y="1332220"/>
                    </a:cubicBezTo>
                    <a:cubicBezTo>
                      <a:pt x="697938" y="1345067"/>
                      <a:pt x="703278" y="1355244"/>
                      <a:pt x="703695" y="1369425"/>
                    </a:cubicBezTo>
                    <a:cubicBezTo>
                      <a:pt x="704112" y="1380020"/>
                      <a:pt x="702361" y="1390698"/>
                      <a:pt x="704112" y="1400875"/>
                    </a:cubicBezTo>
                    <a:cubicBezTo>
                      <a:pt x="707616" y="1425651"/>
                      <a:pt x="732060" y="1432742"/>
                      <a:pt x="713873" y="1459353"/>
                    </a:cubicBezTo>
                    <a:cubicBezTo>
                      <a:pt x="709035" y="1466861"/>
                      <a:pt x="693517" y="1477956"/>
                      <a:pt x="691765" y="1486798"/>
                    </a:cubicBezTo>
                    <a:cubicBezTo>
                      <a:pt x="690430" y="1495224"/>
                      <a:pt x="697104" y="1499228"/>
                      <a:pt x="700608" y="1506319"/>
                    </a:cubicBezTo>
                    <a:cubicBezTo>
                      <a:pt x="706782" y="1518748"/>
                      <a:pt x="707700" y="1532012"/>
                      <a:pt x="697938" y="1542607"/>
                    </a:cubicBezTo>
                    <a:cubicBezTo>
                      <a:pt x="691765" y="1549280"/>
                      <a:pt x="676247" y="1553701"/>
                      <a:pt x="682421" y="1566048"/>
                    </a:cubicBezTo>
                    <a:cubicBezTo>
                      <a:pt x="686843" y="1574473"/>
                      <a:pt x="703278" y="1574056"/>
                      <a:pt x="710369" y="1577143"/>
                    </a:cubicBezTo>
                    <a:cubicBezTo>
                      <a:pt x="717878" y="1580229"/>
                      <a:pt x="722299" y="1583816"/>
                      <a:pt x="727639" y="1589572"/>
                    </a:cubicBezTo>
                    <a:cubicBezTo>
                      <a:pt x="747160" y="1609510"/>
                      <a:pt x="756004" y="1627195"/>
                      <a:pt x="759091" y="1654223"/>
                    </a:cubicBezTo>
                    <a:cubicBezTo>
                      <a:pt x="760425" y="1666152"/>
                      <a:pt x="766599" y="1676330"/>
                      <a:pt x="769268" y="1688342"/>
                    </a:cubicBezTo>
                    <a:cubicBezTo>
                      <a:pt x="771521" y="1698519"/>
                      <a:pt x="771521" y="1708697"/>
                      <a:pt x="775025" y="1718874"/>
                    </a:cubicBezTo>
                    <a:cubicBezTo>
                      <a:pt x="783034" y="1740563"/>
                      <a:pt x="798051" y="1756997"/>
                      <a:pt x="813986" y="1772513"/>
                    </a:cubicBezTo>
                    <a:cubicBezTo>
                      <a:pt x="830838" y="1788864"/>
                      <a:pt x="839681" y="1810136"/>
                      <a:pt x="857868" y="1826987"/>
                    </a:cubicBezTo>
                    <a:cubicBezTo>
                      <a:pt x="867629" y="1835830"/>
                      <a:pt x="877390" y="1845173"/>
                      <a:pt x="887067" y="1854432"/>
                    </a:cubicBezTo>
                    <a:cubicBezTo>
                      <a:pt x="887484" y="1854015"/>
                      <a:pt x="887985" y="1854015"/>
                      <a:pt x="888403" y="1853515"/>
                    </a:cubicBezTo>
                    <a:lnTo>
                      <a:pt x="898163" y="1863692"/>
                    </a:lnTo>
                    <a:lnTo>
                      <a:pt x="897746" y="1864109"/>
                    </a:lnTo>
                    <a:cubicBezTo>
                      <a:pt x="903502" y="1870282"/>
                      <a:pt x="909676" y="1876038"/>
                      <a:pt x="915432" y="1881794"/>
                    </a:cubicBezTo>
                    <a:cubicBezTo>
                      <a:pt x="917185" y="1883546"/>
                      <a:pt x="919437" y="1885798"/>
                      <a:pt x="921606" y="1887550"/>
                    </a:cubicBezTo>
                    <a:lnTo>
                      <a:pt x="931367" y="1897310"/>
                    </a:lnTo>
                    <a:lnTo>
                      <a:pt x="934454" y="1897728"/>
                    </a:lnTo>
                    <a:cubicBezTo>
                      <a:pt x="969410" y="1925673"/>
                      <a:pt x="1012458" y="1944693"/>
                      <a:pt x="1051418" y="1965465"/>
                    </a:cubicBezTo>
                    <a:cubicBezTo>
                      <a:pt x="1074027" y="1977895"/>
                      <a:pt x="1099222" y="1981815"/>
                      <a:pt x="1121831" y="1993828"/>
                    </a:cubicBezTo>
                    <a:cubicBezTo>
                      <a:pt x="1147526" y="2007092"/>
                      <a:pt x="1170969" y="2024860"/>
                      <a:pt x="1196665" y="2038124"/>
                    </a:cubicBezTo>
                    <a:cubicBezTo>
                      <a:pt x="1244968" y="2063818"/>
                      <a:pt x="1287016" y="2097937"/>
                      <a:pt x="1341493" y="2109032"/>
                    </a:cubicBezTo>
                    <a:cubicBezTo>
                      <a:pt x="1393802" y="2119626"/>
                      <a:pt x="1434514" y="2148490"/>
                      <a:pt x="1477062" y="2178605"/>
                    </a:cubicBezTo>
                    <a:cubicBezTo>
                      <a:pt x="1485905" y="2184778"/>
                      <a:pt x="1495249" y="2191034"/>
                      <a:pt x="1505427" y="2194955"/>
                    </a:cubicBezTo>
                    <a:cubicBezTo>
                      <a:pt x="1517357" y="2199793"/>
                      <a:pt x="1528035" y="2207385"/>
                      <a:pt x="1539966" y="2212640"/>
                    </a:cubicBezTo>
                    <a:cubicBezTo>
                      <a:pt x="1543052" y="2213975"/>
                      <a:pt x="1546139" y="2215310"/>
                      <a:pt x="1549309" y="2216644"/>
                    </a:cubicBezTo>
                    <a:cubicBezTo>
                      <a:pt x="1559070" y="2221066"/>
                      <a:pt x="1569666" y="2225487"/>
                      <a:pt x="1579844" y="2222818"/>
                    </a:cubicBezTo>
                    <a:cubicBezTo>
                      <a:pt x="1582097" y="2222400"/>
                      <a:pt x="1583848" y="2221483"/>
                      <a:pt x="1585183" y="2219731"/>
                    </a:cubicBezTo>
                    <a:cubicBezTo>
                      <a:pt x="1588270" y="2217061"/>
                      <a:pt x="1588687" y="2212640"/>
                      <a:pt x="1588687" y="2208219"/>
                    </a:cubicBezTo>
                    <a:cubicBezTo>
                      <a:pt x="1586935" y="2192452"/>
                      <a:pt x="1585600" y="2175184"/>
                      <a:pt x="1582097" y="215699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7999726" name="Полилиния 441"/>
              <p:cNvSpPr/>
              <p:nvPr/>
            </p:nvSpPr>
            <p:spPr bwMode="auto">
              <a:xfrm>
                <a:off x="6999183" y="2359377"/>
                <a:ext cx="2513175" cy="2510778"/>
              </a:xfrm>
              <a:custGeom>
                <a:avLst/>
                <a:gdLst>
                  <a:gd name="connsiteX0" fmla="*/ 2684846 w 2822379"/>
                  <a:gd name="connsiteY0" fmla="*/ 9334 h 2819687"/>
                  <a:gd name="connsiteX1" fmla="*/ 2665324 w 2822379"/>
                  <a:gd name="connsiteY1" fmla="*/ 13755 h 2819687"/>
                  <a:gd name="connsiteX2" fmla="*/ 2653394 w 2822379"/>
                  <a:gd name="connsiteY2" fmla="*/ 9334 h 2819687"/>
                  <a:gd name="connsiteX3" fmla="*/ 2651642 w 2822379"/>
                  <a:gd name="connsiteY3" fmla="*/ 8416 h 2819687"/>
                  <a:gd name="connsiteX4" fmla="*/ 2593160 w 2822379"/>
                  <a:gd name="connsiteY4" fmla="*/ 11086 h 2819687"/>
                  <a:gd name="connsiteX5" fmla="*/ 2591825 w 2822379"/>
                  <a:gd name="connsiteY5" fmla="*/ 12003 h 2819687"/>
                  <a:gd name="connsiteX6" fmla="*/ 2581647 w 2822379"/>
                  <a:gd name="connsiteY6" fmla="*/ 16842 h 2819687"/>
                  <a:gd name="connsiteX7" fmla="*/ 2557703 w 2822379"/>
                  <a:gd name="connsiteY7" fmla="*/ 10669 h 2819687"/>
                  <a:gd name="connsiteX8" fmla="*/ 2555451 w 2822379"/>
                  <a:gd name="connsiteY8" fmla="*/ 9334 h 2819687"/>
                  <a:gd name="connsiteX9" fmla="*/ 2506730 w 2822379"/>
                  <a:gd name="connsiteY9" fmla="*/ 2243 h 2819687"/>
                  <a:gd name="connsiteX10" fmla="*/ 2488126 w 2822379"/>
                  <a:gd name="connsiteY10" fmla="*/ 18594 h 2819687"/>
                  <a:gd name="connsiteX11" fmla="*/ 2491213 w 2822379"/>
                  <a:gd name="connsiteY11" fmla="*/ 29689 h 2819687"/>
                  <a:gd name="connsiteX12" fmla="*/ 2504060 w 2822379"/>
                  <a:gd name="connsiteY12" fmla="*/ 37697 h 2819687"/>
                  <a:gd name="connsiteX13" fmla="*/ 2521329 w 2822379"/>
                  <a:gd name="connsiteY13" fmla="*/ 48792 h 2819687"/>
                  <a:gd name="connsiteX14" fmla="*/ 2530172 w 2822379"/>
                  <a:gd name="connsiteY14" fmla="*/ 65643 h 2819687"/>
                  <a:gd name="connsiteX15" fmla="*/ 2535929 w 2822379"/>
                  <a:gd name="connsiteY15" fmla="*/ 198532 h 2819687"/>
                  <a:gd name="connsiteX16" fmla="*/ 2530172 w 2822379"/>
                  <a:gd name="connsiteY16" fmla="*/ 248167 h 2819687"/>
                  <a:gd name="connsiteX17" fmla="*/ 2508899 w 2822379"/>
                  <a:gd name="connsiteY17" fmla="*/ 285790 h 2819687"/>
                  <a:gd name="connsiteX18" fmla="*/ 2504060 w 2822379"/>
                  <a:gd name="connsiteY18" fmla="*/ 289794 h 2819687"/>
                  <a:gd name="connsiteX19" fmla="*/ 2486373 w 2822379"/>
                  <a:gd name="connsiteY19" fmla="*/ 311900 h 2819687"/>
                  <a:gd name="connsiteX20" fmla="*/ 2477530 w 2822379"/>
                  <a:gd name="connsiteY20" fmla="*/ 325164 h 2819687"/>
                  <a:gd name="connsiteX21" fmla="*/ 2395105 w 2822379"/>
                  <a:gd name="connsiteY21" fmla="*/ 360618 h 2819687"/>
                  <a:gd name="connsiteX22" fmla="*/ 2391601 w 2822379"/>
                  <a:gd name="connsiteY22" fmla="*/ 358365 h 2819687"/>
                  <a:gd name="connsiteX23" fmla="*/ 2376501 w 2822379"/>
                  <a:gd name="connsiteY23" fmla="*/ 352192 h 2819687"/>
                  <a:gd name="connsiteX24" fmla="*/ 2375583 w 2822379"/>
                  <a:gd name="connsiteY24" fmla="*/ 352192 h 2819687"/>
                  <a:gd name="connsiteX25" fmla="*/ 2363153 w 2822379"/>
                  <a:gd name="connsiteY25" fmla="*/ 354445 h 2819687"/>
                  <a:gd name="connsiteX26" fmla="*/ 2336539 w 2822379"/>
                  <a:gd name="connsiteY26" fmla="*/ 359283 h 2819687"/>
                  <a:gd name="connsiteX27" fmla="*/ 2326778 w 2822379"/>
                  <a:gd name="connsiteY27" fmla="*/ 359283 h 2819687"/>
                  <a:gd name="connsiteX28" fmla="*/ 2286483 w 2822379"/>
                  <a:gd name="connsiteY28" fmla="*/ 344685 h 2819687"/>
                  <a:gd name="connsiteX29" fmla="*/ 2264375 w 2822379"/>
                  <a:gd name="connsiteY29" fmla="*/ 329585 h 2819687"/>
                  <a:gd name="connsiteX30" fmla="*/ 2253279 w 2822379"/>
                  <a:gd name="connsiteY30" fmla="*/ 338929 h 2819687"/>
                  <a:gd name="connsiteX31" fmla="*/ 2252361 w 2822379"/>
                  <a:gd name="connsiteY31" fmla="*/ 339846 h 2819687"/>
                  <a:gd name="connsiteX32" fmla="*/ 2243518 w 2822379"/>
                  <a:gd name="connsiteY32" fmla="*/ 356197 h 2819687"/>
                  <a:gd name="connsiteX33" fmla="*/ 2243518 w 2822379"/>
                  <a:gd name="connsiteY33" fmla="*/ 358449 h 2819687"/>
                  <a:gd name="connsiteX34" fmla="*/ 2245771 w 2822379"/>
                  <a:gd name="connsiteY34" fmla="*/ 359367 h 2819687"/>
                  <a:gd name="connsiteX35" fmla="*/ 2290487 w 2822379"/>
                  <a:gd name="connsiteY35" fmla="*/ 361619 h 2819687"/>
                  <a:gd name="connsiteX36" fmla="*/ 2299831 w 2822379"/>
                  <a:gd name="connsiteY36" fmla="*/ 360701 h 2819687"/>
                  <a:gd name="connsiteX37" fmla="*/ 2357896 w 2822379"/>
                  <a:gd name="connsiteY37" fmla="*/ 362453 h 2819687"/>
                  <a:gd name="connsiteX38" fmla="*/ 2374748 w 2822379"/>
                  <a:gd name="connsiteY38" fmla="*/ 367292 h 2819687"/>
                  <a:gd name="connsiteX39" fmla="*/ 2393352 w 2822379"/>
                  <a:gd name="connsiteY39" fmla="*/ 404914 h 2819687"/>
                  <a:gd name="connsiteX40" fmla="*/ 2392435 w 2822379"/>
                  <a:gd name="connsiteY40" fmla="*/ 420013 h 2819687"/>
                  <a:gd name="connsiteX41" fmla="*/ 2392435 w 2822379"/>
                  <a:gd name="connsiteY41" fmla="*/ 440868 h 2819687"/>
                  <a:gd name="connsiteX42" fmla="*/ 2395939 w 2822379"/>
                  <a:gd name="connsiteY42" fmla="*/ 454633 h 2819687"/>
                  <a:gd name="connsiteX43" fmla="*/ 2398192 w 2822379"/>
                  <a:gd name="connsiteY43" fmla="*/ 462141 h 2819687"/>
                  <a:gd name="connsiteX44" fmla="*/ 2397274 w 2822379"/>
                  <a:gd name="connsiteY44" fmla="*/ 545394 h 2819687"/>
                  <a:gd name="connsiteX45" fmla="*/ 2387930 w 2822379"/>
                  <a:gd name="connsiteY45" fmla="*/ 577761 h 2819687"/>
                  <a:gd name="connsiteX46" fmla="*/ 2356061 w 2822379"/>
                  <a:gd name="connsiteY46" fmla="*/ 596781 h 2819687"/>
                  <a:gd name="connsiteX47" fmla="*/ 2341462 w 2822379"/>
                  <a:gd name="connsiteY47" fmla="*/ 592360 h 2819687"/>
                  <a:gd name="connsiteX48" fmla="*/ 2330365 w 2822379"/>
                  <a:gd name="connsiteY48" fmla="*/ 589273 h 2819687"/>
                  <a:gd name="connsiteX49" fmla="*/ 2317935 w 2822379"/>
                  <a:gd name="connsiteY49" fmla="*/ 593278 h 2819687"/>
                  <a:gd name="connsiteX50" fmla="*/ 2312595 w 2822379"/>
                  <a:gd name="connsiteY50" fmla="*/ 595530 h 2819687"/>
                  <a:gd name="connsiteX51" fmla="*/ 2277139 w 2822379"/>
                  <a:gd name="connsiteY51" fmla="*/ 602621 h 2819687"/>
                  <a:gd name="connsiteX52" fmla="*/ 2256783 w 2822379"/>
                  <a:gd name="connsiteY52" fmla="*/ 605290 h 2819687"/>
                  <a:gd name="connsiteX53" fmla="*/ 2232005 w 2822379"/>
                  <a:gd name="connsiteY53" fmla="*/ 613299 h 2819687"/>
                  <a:gd name="connsiteX54" fmla="*/ 2213818 w 2822379"/>
                  <a:gd name="connsiteY54" fmla="*/ 619472 h 2819687"/>
                  <a:gd name="connsiteX55" fmla="*/ 2163762 w 2822379"/>
                  <a:gd name="connsiteY55" fmla="*/ 617720 h 2819687"/>
                  <a:gd name="connsiteX56" fmla="*/ 2151832 w 2822379"/>
                  <a:gd name="connsiteY56" fmla="*/ 609711 h 2819687"/>
                  <a:gd name="connsiteX57" fmla="*/ 2144740 w 2822379"/>
                  <a:gd name="connsiteY57" fmla="*/ 604873 h 2819687"/>
                  <a:gd name="connsiteX58" fmla="*/ 2113289 w 2822379"/>
                  <a:gd name="connsiteY58" fmla="*/ 593361 h 2819687"/>
                  <a:gd name="connsiteX59" fmla="*/ 2068072 w 2822379"/>
                  <a:gd name="connsiteY59" fmla="*/ 590692 h 2819687"/>
                  <a:gd name="connsiteX60" fmla="*/ 2061898 w 2822379"/>
                  <a:gd name="connsiteY60" fmla="*/ 593361 h 2819687"/>
                  <a:gd name="connsiteX61" fmla="*/ 2052554 w 2822379"/>
                  <a:gd name="connsiteY61" fmla="*/ 597365 h 2819687"/>
                  <a:gd name="connsiteX62" fmla="*/ 2018850 w 2822379"/>
                  <a:gd name="connsiteY62" fmla="*/ 598700 h 2819687"/>
                  <a:gd name="connsiteX63" fmla="*/ 2001163 w 2822379"/>
                  <a:gd name="connsiteY63" fmla="*/ 597782 h 2819687"/>
                  <a:gd name="connsiteX64" fmla="*/ 1986063 w 2822379"/>
                  <a:gd name="connsiteY64" fmla="*/ 602621 h 2819687"/>
                  <a:gd name="connsiteX65" fmla="*/ 1962620 w 2822379"/>
                  <a:gd name="connsiteY65" fmla="*/ 617720 h 2819687"/>
                  <a:gd name="connsiteX66" fmla="*/ 1948437 w 2822379"/>
                  <a:gd name="connsiteY66" fmla="*/ 620389 h 2819687"/>
                  <a:gd name="connsiteX67" fmla="*/ 1931585 w 2822379"/>
                  <a:gd name="connsiteY67" fmla="*/ 624394 h 2819687"/>
                  <a:gd name="connsiteX68" fmla="*/ 1920489 w 2822379"/>
                  <a:gd name="connsiteY68" fmla="*/ 634154 h 2819687"/>
                  <a:gd name="connsiteX69" fmla="*/ 1908976 w 2822379"/>
                  <a:gd name="connsiteY69" fmla="*/ 651005 h 2819687"/>
                  <a:gd name="connsiteX70" fmla="*/ 1909394 w 2822379"/>
                  <a:gd name="connsiteY70" fmla="*/ 672694 h 2819687"/>
                  <a:gd name="connsiteX71" fmla="*/ 1917402 w 2822379"/>
                  <a:gd name="connsiteY71" fmla="*/ 698805 h 2819687"/>
                  <a:gd name="connsiteX72" fmla="*/ 1928499 w 2822379"/>
                  <a:gd name="connsiteY72" fmla="*/ 708982 h 2819687"/>
                  <a:gd name="connsiteX73" fmla="*/ 1946686 w 2822379"/>
                  <a:gd name="connsiteY73" fmla="*/ 729837 h 2819687"/>
                  <a:gd name="connsiteX74" fmla="*/ 1945767 w 2822379"/>
                  <a:gd name="connsiteY74" fmla="*/ 744018 h 2819687"/>
                  <a:gd name="connsiteX75" fmla="*/ 1937759 w 2822379"/>
                  <a:gd name="connsiteY75" fmla="*/ 750692 h 2819687"/>
                  <a:gd name="connsiteX76" fmla="*/ 1920906 w 2822379"/>
                  <a:gd name="connsiteY76" fmla="*/ 752444 h 2819687"/>
                  <a:gd name="connsiteX77" fmla="*/ 1910728 w 2822379"/>
                  <a:gd name="connsiteY77" fmla="*/ 752861 h 2819687"/>
                  <a:gd name="connsiteX78" fmla="*/ 1903220 w 2822379"/>
                  <a:gd name="connsiteY78" fmla="*/ 757700 h 2819687"/>
                  <a:gd name="connsiteX79" fmla="*/ 1893459 w 2822379"/>
                  <a:gd name="connsiteY79" fmla="*/ 763873 h 2819687"/>
                  <a:gd name="connsiteX80" fmla="*/ 1874437 w 2822379"/>
                  <a:gd name="connsiteY80" fmla="*/ 766542 h 2819687"/>
                  <a:gd name="connsiteX81" fmla="*/ 1870934 w 2822379"/>
                  <a:gd name="connsiteY81" fmla="*/ 766542 h 2819687"/>
                  <a:gd name="connsiteX82" fmla="*/ 1823130 w 2822379"/>
                  <a:gd name="connsiteY82" fmla="*/ 778471 h 2819687"/>
                  <a:gd name="connsiteX83" fmla="*/ 1816957 w 2822379"/>
                  <a:gd name="connsiteY83" fmla="*/ 781975 h 2819687"/>
                  <a:gd name="connsiteX84" fmla="*/ 1803191 w 2822379"/>
                  <a:gd name="connsiteY84" fmla="*/ 788648 h 2819687"/>
                  <a:gd name="connsiteX85" fmla="*/ 1781918 w 2822379"/>
                  <a:gd name="connsiteY85" fmla="*/ 793070 h 2819687"/>
                  <a:gd name="connsiteX86" fmla="*/ 1775243 w 2822379"/>
                  <a:gd name="connsiteY86" fmla="*/ 793987 h 2819687"/>
                  <a:gd name="connsiteX87" fmla="*/ 1714592 w 2822379"/>
                  <a:gd name="connsiteY87" fmla="*/ 817011 h 2819687"/>
                  <a:gd name="connsiteX88" fmla="*/ 1687144 w 2822379"/>
                  <a:gd name="connsiteY88" fmla="*/ 840453 h 2819687"/>
                  <a:gd name="connsiteX89" fmla="*/ 1679136 w 2822379"/>
                  <a:gd name="connsiteY89" fmla="*/ 861725 h 2819687"/>
                  <a:gd name="connsiteX90" fmla="*/ 1667206 w 2822379"/>
                  <a:gd name="connsiteY90" fmla="*/ 890088 h 2819687"/>
                  <a:gd name="connsiteX91" fmla="*/ 1663201 w 2822379"/>
                  <a:gd name="connsiteY91" fmla="*/ 894926 h 2819687"/>
                  <a:gd name="connsiteX92" fmla="*/ 1658362 w 2822379"/>
                  <a:gd name="connsiteY92" fmla="*/ 901099 h 2819687"/>
                  <a:gd name="connsiteX93" fmla="*/ 1654859 w 2822379"/>
                  <a:gd name="connsiteY93" fmla="*/ 924541 h 2819687"/>
                  <a:gd name="connsiteX94" fmla="*/ 1654859 w 2822379"/>
                  <a:gd name="connsiteY94" fmla="*/ 924958 h 2819687"/>
                  <a:gd name="connsiteX95" fmla="*/ 1650436 w 2822379"/>
                  <a:gd name="connsiteY95" fmla="*/ 968837 h 2819687"/>
                  <a:gd name="connsiteX96" fmla="*/ 1625158 w 2822379"/>
                  <a:gd name="connsiteY96" fmla="*/ 1007377 h 2819687"/>
                  <a:gd name="connsiteX97" fmla="*/ 1618067 w 2822379"/>
                  <a:gd name="connsiteY97" fmla="*/ 1011798 h 2819687"/>
                  <a:gd name="connsiteX98" fmla="*/ 1605637 w 2822379"/>
                  <a:gd name="connsiteY98" fmla="*/ 1022393 h 2819687"/>
                  <a:gd name="connsiteX99" fmla="*/ 1605220 w 2822379"/>
                  <a:gd name="connsiteY99" fmla="*/ 1039244 h 2819687"/>
                  <a:gd name="connsiteX100" fmla="*/ 1606554 w 2822379"/>
                  <a:gd name="connsiteY100" fmla="*/ 1049004 h 2819687"/>
                  <a:gd name="connsiteX101" fmla="*/ 1606137 w 2822379"/>
                  <a:gd name="connsiteY101" fmla="*/ 1083540 h 2819687"/>
                  <a:gd name="connsiteX102" fmla="*/ 1599463 w 2822379"/>
                  <a:gd name="connsiteY102" fmla="*/ 1099890 h 2819687"/>
                  <a:gd name="connsiteX103" fmla="*/ 1583946 w 2822379"/>
                  <a:gd name="connsiteY103" fmla="*/ 1103895 h 2819687"/>
                  <a:gd name="connsiteX104" fmla="*/ 1527716 w 2822379"/>
                  <a:gd name="connsiteY104" fmla="*/ 1087044 h 2819687"/>
                  <a:gd name="connsiteX105" fmla="*/ 1502938 w 2822379"/>
                  <a:gd name="connsiteY105" fmla="*/ 1070693 h 2819687"/>
                  <a:gd name="connsiteX106" fmla="*/ 1499851 w 2822379"/>
                  <a:gd name="connsiteY106" fmla="*/ 1067190 h 2819687"/>
                  <a:gd name="connsiteX107" fmla="*/ 1496765 w 2822379"/>
                  <a:gd name="connsiteY107" fmla="*/ 1063686 h 2819687"/>
                  <a:gd name="connsiteX108" fmla="*/ 1487004 w 2822379"/>
                  <a:gd name="connsiteY108" fmla="*/ 1056178 h 2819687"/>
                  <a:gd name="connsiteX109" fmla="*/ 1473238 w 2822379"/>
                  <a:gd name="connsiteY109" fmla="*/ 1047336 h 2819687"/>
                  <a:gd name="connsiteX110" fmla="*/ 1455051 w 2822379"/>
                  <a:gd name="connsiteY110" fmla="*/ 1031402 h 2819687"/>
                  <a:gd name="connsiteX111" fmla="*/ 1450629 w 2822379"/>
                  <a:gd name="connsiteY111" fmla="*/ 1022977 h 2819687"/>
                  <a:gd name="connsiteX112" fmla="*/ 1447126 w 2822379"/>
                  <a:gd name="connsiteY112" fmla="*/ 1016303 h 2819687"/>
                  <a:gd name="connsiteX113" fmla="*/ 1440952 w 2822379"/>
                  <a:gd name="connsiteY113" fmla="*/ 1012799 h 2819687"/>
                  <a:gd name="connsiteX114" fmla="*/ 1437865 w 2822379"/>
                  <a:gd name="connsiteY114" fmla="*/ 1015469 h 2819687"/>
                  <a:gd name="connsiteX115" fmla="*/ 1428104 w 2822379"/>
                  <a:gd name="connsiteY115" fmla="*/ 1022143 h 2819687"/>
                  <a:gd name="connsiteX116" fmla="*/ 1409917 w 2822379"/>
                  <a:gd name="connsiteY116" fmla="*/ 1017304 h 2819687"/>
                  <a:gd name="connsiteX117" fmla="*/ 1407664 w 2822379"/>
                  <a:gd name="connsiteY117" fmla="*/ 1015969 h 2819687"/>
                  <a:gd name="connsiteX118" fmla="*/ 1388143 w 2822379"/>
                  <a:gd name="connsiteY118" fmla="*/ 1001371 h 2819687"/>
                  <a:gd name="connsiteX119" fmla="*/ 1386808 w 2822379"/>
                  <a:gd name="connsiteY119" fmla="*/ 1000453 h 2819687"/>
                  <a:gd name="connsiteX120" fmla="*/ 1380634 w 2822379"/>
                  <a:gd name="connsiteY120" fmla="*/ 995615 h 2819687"/>
                  <a:gd name="connsiteX121" fmla="*/ 1368204 w 2822379"/>
                  <a:gd name="connsiteY121" fmla="*/ 994697 h 2819687"/>
                  <a:gd name="connsiteX122" fmla="*/ 1365534 w 2822379"/>
                  <a:gd name="connsiteY122" fmla="*/ 994697 h 2819687"/>
                  <a:gd name="connsiteX123" fmla="*/ 1332747 w 2822379"/>
                  <a:gd name="connsiteY123" fmla="*/ 981850 h 2819687"/>
                  <a:gd name="connsiteX124" fmla="*/ 1328743 w 2822379"/>
                  <a:gd name="connsiteY124" fmla="*/ 971673 h 2819687"/>
                  <a:gd name="connsiteX125" fmla="*/ 1326073 w 2822379"/>
                  <a:gd name="connsiteY125" fmla="*/ 965000 h 2819687"/>
                  <a:gd name="connsiteX126" fmla="*/ 1309221 w 2822379"/>
                  <a:gd name="connsiteY126" fmla="*/ 959243 h 2819687"/>
                  <a:gd name="connsiteX127" fmla="*/ 1302129 w 2822379"/>
                  <a:gd name="connsiteY127" fmla="*/ 959660 h 2819687"/>
                  <a:gd name="connsiteX128" fmla="*/ 1281774 w 2822379"/>
                  <a:gd name="connsiteY128" fmla="*/ 959243 h 2819687"/>
                  <a:gd name="connsiteX129" fmla="*/ 1272430 w 2822379"/>
                  <a:gd name="connsiteY129" fmla="*/ 956157 h 2819687"/>
                  <a:gd name="connsiteX130" fmla="*/ 1267090 w 2822379"/>
                  <a:gd name="connsiteY130" fmla="*/ 954405 h 2819687"/>
                  <a:gd name="connsiteX131" fmla="*/ 1257330 w 2822379"/>
                  <a:gd name="connsiteY131" fmla="*/ 953487 h 2819687"/>
                  <a:gd name="connsiteX132" fmla="*/ 1254243 w 2822379"/>
                  <a:gd name="connsiteY132" fmla="*/ 957909 h 2819687"/>
                  <a:gd name="connsiteX133" fmla="*/ 1248903 w 2822379"/>
                  <a:gd name="connsiteY133" fmla="*/ 965417 h 2819687"/>
                  <a:gd name="connsiteX134" fmla="*/ 1240895 w 2822379"/>
                  <a:gd name="connsiteY134" fmla="*/ 970755 h 2819687"/>
                  <a:gd name="connsiteX135" fmla="*/ 1236056 w 2822379"/>
                  <a:gd name="connsiteY135" fmla="*/ 973842 h 2819687"/>
                  <a:gd name="connsiteX136" fmla="*/ 1231634 w 2822379"/>
                  <a:gd name="connsiteY136" fmla="*/ 980516 h 2819687"/>
                  <a:gd name="connsiteX137" fmla="*/ 1225461 w 2822379"/>
                  <a:gd name="connsiteY137" fmla="*/ 990276 h 2819687"/>
                  <a:gd name="connsiteX138" fmla="*/ 1217034 w 2822379"/>
                  <a:gd name="connsiteY138" fmla="*/ 996949 h 2819687"/>
                  <a:gd name="connsiteX139" fmla="*/ 1210360 w 2822379"/>
                  <a:gd name="connsiteY139" fmla="*/ 1002706 h 2819687"/>
                  <a:gd name="connsiteX140" fmla="*/ 1211695 w 2822379"/>
                  <a:gd name="connsiteY140" fmla="*/ 1008461 h 2819687"/>
                  <a:gd name="connsiteX141" fmla="*/ 1218369 w 2822379"/>
                  <a:gd name="connsiteY141" fmla="*/ 1015552 h 2819687"/>
                  <a:gd name="connsiteX142" fmla="*/ 1218786 w 2822379"/>
                  <a:gd name="connsiteY142" fmla="*/ 1015969 h 2819687"/>
                  <a:gd name="connsiteX143" fmla="*/ 1231634 w 2822379"/>
                  <a:gd name="connsiteY143" fmla="*/ 1027481 h 2819687"/>
                  <a:gd name="connsiteX144" fmla="*/ 1240060 w 2822379"/>
                  <a:gd name="connsiteY144" fmla="*/ 1037659 h 2819687"/>
                  <a:gd name="connsiteX145" fmla="*/ 1244482 w 2822379"/>
                  <a:gd name="connsiteY145" fmla="*/ 1067356 h 2819687"/>
                  <a:gd name="connsiteX146" fmla="*/ 1242229 w 2822379"/>
                  <a:gd name="connsiteY146" fmla="*/ 1088212 h 2819687"/>
                  <a:gd name="connsiteX147" fmla="*/ 1240895 w 2822379"/>
                  <a:gd name="connsiteY147" fmla="*/ 1099307 h 2819687"/>
                  <a:gd name="connsiteX148" fmla="*/ 1239976 w 2822379"/>
                  <a:gd name="connsiteY148" fmla="*/ 1105063 h 2819687"/>
                  <a:gd name="connsiteX149" fmla="*/ 1239059 w 2822379"/>
                  <a:gd name="connsiteY149" fmla="*/ 1111236 h 2819687"/>
                  <a:gd name="connsiteX150" fmla="*/ 1239059 w 2822379"/>
                  <a:gd name="connsiteY150" fmla="*/ 1116575 h 2819687"/>
                  <a:gd name="connsiteX151" fmla="*/ 1238642 w 2822379"/>
                  <a:gd name="connsiteY151" fmla="*/ 1127169 h 2819687"/>
                  <a:gd name="connsiteX152" fmla="*/ 1220955 w 2822379"/>
                  <a:gd name="connsiteY152" fmla="*/ 1190485 h 2819687"/>
                  <a:gd name="connsiteX153" fmla="*/ 1187751 w 2822379"/>
                  <a:gd name="connsiteY153" fmla="*/ 1249380 h 2819687"/>
                  <a:gd name="connsiteX154" fmla="*/ 1178909 w 2822379"/>
                  <a:gd name="connsiteY154" fmla="*/ 1263979 h 2819687"/>
                  <a:gd name="connsiteX155" fmla="*/ 1126600 w 2822379"/>
                  <a:gd name="connsiteY155" fmla="*/ 1315783 h 2819687"/>
                  <a:gd name="connsiteX156" fmla="*/ 1103991 w 2822379"/>
                  <a:gd name="connsiteY156" fmla="*/ 1325960 h 2819687"/>
                  <a:gd name="connsiteX157" fmla="*/ 1091561 w 2822379"/>
                  <a:gd name="connsiteY157" fmla="*/ 1331299 h 2819687"/>
                  <a:gd name="connsiteX158" fmla="*/ 1069870 w 2822379"/>
                  <a:gd name="connsiteY158" fmla="*/ 1341893 h 2819687"/>
                  <a:gd name="connsiteX159" fmla="*/ 1036666 w 2822379"/>
                  <a:gd name="connsiteY159" fmla="*/ 1357410 h 2819687"/>
                  <a:gd name="connsiteX160" fmla="*/ 972427 w 2822379"/>
                  <a:gd name="connsiteY160" fmla="*/ 1358744 h 2819687"/>
                  <a:gd name="connsiteX161" fmla="*/ 959162 w 2822379"/>
                  <a:gd name="connsiteY161" fmla="*/ 1351237 h 2819687"/>
                  <a:gd name="connsiteX162" fmla="*/ 952488 w 2822379"/>
                  <a:gd name="connsiteY162" fmla="*/ 1347232 h 2819687"/>
                  <a:gd name="connsiteX163" fmla="*/ 928544 w 2822379"/>
                  <a:gd name="connsiteY163" fmla="*/ 1338390 h 2819687"/>
                  <a:gd name="connsiteX164" fmla="*/ 907687 w 2822379"/>
                  <a:gd name="connsiteY164" fmla="*/ 1335720 h 2819687"/>
                  <a:gd name="connsiteX165" fmla="*/ 866475 w 2822379"/>
                  <a:gd name="connsiteY165" fmla="*/ 1325960 h 2819687"/>
                  <a:gd name="connsiteX166" fmla="*/ 826179 w 2822379"/>
                  <a:gd name="connsiteY166" fmla="*/ 1276825 h 2819687"/>
                  <a:gd name="connsiteX167" fmla="*/ 820423 w 2822379"/>
                  <a:gd name="connsiteY167" fmla="*/ 1266231 h 2819687"/>
                  <a:gd name="connsiteX168" fmla="*/ 775706 w 2822379"/>
                  <a:gd name="connsiteY168" fmla="*/ 1210005 h 2819687"/>
                  <a:gd name="connsiteX169" fmla="*/ 765111 w 2822379"/>
                  <a:gd name="connsiteY169" fmla="*/ 1203832 h 2819687"/>
                  <a:gd name="connsiteX170" fmla="*/ 754933 w 2822379"/>
                  <a:gd name="connsiteY170" fmla="*/ 1219349 h 2819687"/>
                  <a:gd name="connsiteX171" fmla="*/ 746924 w 2822379"/>
                  <a:gd name="connsiteY171" fmla="*/ 1260975 h 2819687"/>
                  <a:gd name="connsiteX172" fmla="*/ 746006 w 2822379"/>
                  <a:gd name="connsiteY172" fmla="*/ 1268483 h 2819687"/>
                  <a:gd name="connsiteX173" fmla="*/ 745089 w 2822379"/>
                  <a:gd name="connsiteY173" fmla="*/ 1278244 h 2819687"/>
                  <a:gd name="connsiteX174" fmla="*/ 748592 w 2822379"/>
                  <a:gd name="connsiteY174" fmla="*/ 1291507 h 2819687"/>
                  <a:gd name="connsiteX175" fmla="*/ 749928 w 2822379"/>
                  <a:gd name="connsiteY175" fmla="*/ 1295011 h 2819687"/>
                  <a:gd name="connsiteX176" fmla="*/ 759689 w 2822379"/>
                  <a:gd name="connsiteY176" fmla="*/ 1364083 h 2819687"/>
                  <a:gd name="connsiteX177" fmla="*/ 750345 w 2822379"/>
                  <a:gd name="connsiteY177" fmla="*/ 1431821 h 2819687"/>
                  <a:gd name="connsiteX178" fmla="*/ 744588 w 2822379"/>
                  <a:gd name="connsiteY178" fmla="*/ 1448671 h 2819687"/>
                  <a:gd name="connsiteX179" fmla="*/ 702040 w 2822379"/>
                  <a:gd name="connsiteY179" fmla="*/ 1466357 h 2819687"/>
                  <a:gd name="connsiteX180" fmla="*/ 663914 w 2822379"/>
                  <a:gd name="connsiteY180" fmla="*/ 1476117 h 2819687"/>
                  <a:gd name="connsiteX181" fmla="*/ 647062 w 2822379"/>
                  <a:gd name="connsiteY181" fmla="*/ 1515575 h 2819687"/>
                  <a:gd name="connsiteX182" fmla="*/ 646645 w 2822379"/>
                  <a:gd name="connsiteY182" fmla="*/ 1517327 h 2819687"/>
                  <a:gd name="connsiteX183" fmla="*/ 628959 w 2822379"/>
                  <a:gd name="connsiteY183" fmla="*/ 1564292 h 2819687"/>
                  <a:gd name="connsiteX184" fmla="*/ 597507 w 2822379"/>
                  <a:gd name="connsiteY184" fmla="*/ 1584230 h 2819687"/>
                  <a:gd name="connsiteX185" fmla="*/ 568307 w 2822379"/>
                  <a:gd name="connsiteY185" fmla="*/ 1593990 h 2819687"/>
                  <a:gd name="connsiteX186" fmla="*/ 490803 w 2822379"/>
                  <a:gd name="connsiteY186" fmla="*/ 1591321 h 2819687"/>
                  <a:gd name="connsiteX187" fmla="*/ 469529 w 2822379"/>
                  <a:gd name="connsiteY187" fmla="*/ 1585565 h 2819687"/>
                  <a:gd name="connsiteX188" fmla="*/ 446087 w 2822379"/>
                  <a:gd name="connsiteY188" fmla="*/ 1563875 h 2819687"/>
                  <a:gd name="connsiteX189" fmla="*/ 435909 w 2822379"/>
                  <a:gd name="connsiteY189" fmla="*/ 1547525 h 2819687"/>
                  <a:gd name="connsiteX190" fmla="*/ 432822 w 2822379"/>
                  <a:gd name="connsiteY190" fmla="*/ 1529339 h 2819687"/>
                  <a:gd name="connsiteX191" fmla="*/ 437244 w 2822379"/>
                  <a:gd name="connsiteY191" fmla="*/ 1472613 h 2819687"/>
                  <a:gd name="connsiteX192" fmla="*/ 441665 w 2822379"/>
                  <a:gd name="connsiteY192" fmla="*/ 1426982 h 2819687"/>
                  <a:gd name="connsiteX193" fmla="*/ 435909 w 2822379"/>
                  <a:gd name="connsiteY193" fmla="*/ 1415887 h 2819687"/>
                  <a:gd name="connsiteX194" fmla="*/ 411548 w 2822379"/>
                  <a:gd name="connsiteY194" fmla="*/ 1417639 h 2819687"/>
                  <a:gd name="connsiteX195" fmla="*/ 307431 w 2822379"/>
                  <a:gd name="connsiteY195" fmla="*/ 1521748 h 2819687"/>
                  <a:gd name="connsiteX196" fmla="*/ 284823 w 2822379"/>
                  <a:gd name="connsiteY196" fmla="*/ 1547441 h 2819687"/>
                  <a:gd name="connsiteX197" fmla="*/ 247614 w 2822379"/>
                  <a:gd name="connsiteY197" fmla="*/ 1552781 h 2819687"/>
                  <a:gd name="connsiteX198" fmla="*/ 235684 w 2822379"/>
                  <a:gd name="connsiteY198" fmla="*/ 1544355 h 2819687"/>
                  <a:gd name="connsiteX199" fmla="*/ 233432 w 2822379"/>
                  <a:gd name="connsiteY199" fmla="*/ 1542102 h 2819687"/>
                  <a:gd name="connsiteX200" fmla="*/ 201563 w 2822379"/>
                  <a:gd name="connsiteY200" fmla="*/ 1526169 h 2819687"/>
                  <a:gd name="connsiteX201" fmla="*/ 201563 w 2822379"/>
                  <a:gd name="connsiteY201" fmla="*/ 1528422 h 2819687"/>
                  <a:gd name="connsiteX202" fmla="*/ 171863 w 2822379"/>
                  <a:gd name="connsiteY202" fmla="*/ 1586899 h 2819687"/>
                  <a:gd name="connsiteX203" fmla="*/ 152842 w 2822379"/>
                  <a:gd name="connsiteY203" fmla="*/ 1597076 h 2819687"/>
                  <a:gd name="connsiteX204" fmla="*/ 132485 w 2822379"/>
                  <a:gd name="connsiteY204" fmla="*/ 1594407 h 2819687"/>
                  <a:gd name="connsiteX205" fmla="*/ 131568 w 2822379"/>
                  <a:gd name="connsiteY205" fmla="*/ 1593990 h 2819687"/>
                  <a:gd name="connsiteX206" fmla="*/ 65160 w 2822379"/>
                  <a:gd name="connsiteY206" fmla="*/ 1593072 h 2819687"/>
                  <a:gd name="connsiteX207" fmla="*/ 29704 w 2822379"/>
                  <a:gd name="connsiteY207" fmla="*/ 1612092 h 2819687"/>
                  <a:gd name="connsiteX208" fmla="*/ 18607 w 2822379"/>
                  <a:gd name="connsiteY208" fmla="*/ 1626274 h 2819687"/>
                  <a:gd name="connsiteX209" fmla="*/ 3090 w 2822379"/>
                  <a:gd name="connsiteY209" fmla="*/ 1648881 h 2819687"/>
                  <a:gd name="connsiteX210" fmla="*/ 1756 w 2822379"/>
                  <a:gd name="connsiteY210" fmla="*/ 1678578 h 2819687"/>
                  <a:gd name="connsiteX211" fmla="*/ 838 w 2822379"/>
                  <a:gd name="connsiteY211" fmla="*/ 1704689 h 2819687"/>
                  <a:gd name="connsiteX212" fmla="*/ 15938 w 2822379"/>
                  <a:gd name="connsiteY212" fmla="*/ 1725961 h 2819687"/>
                  <a:gd name="connsiteX213" fmla="*/ 32290 w 2822379"/>
                  <a:gd name="connsiteY213" fmla="*/ 1745899 h 2819687"/>
                  <a:gd name="connsiteX214" fmla="*/ 37629 w 2822379"/>
                  <a:gd name="connsiteY214" fmla="*/ 1771175 h 2819687"/>
                  <a:gd name="connsiteX215" fmla="*/ 42968 w 2822379"/>
                  <a:gd name="connsiteY215" fmla="*/ 1794199 h 2819687"/>
                  <a:gd name="connsiteX216" fmla="*/ 55399 w 2822379"/>
                  <a:gd name="connsiteY216" fmla="*/ 1806629 h 2819687"/>
                  <a:gd name="connsiteX217" fmla="*/ 72669 w 2822379"/>
                  <a:gd name="connsiteY217" fmla="*/ 1849173 h 2819687"/>
                  <a:gd name="connsiteX218" fmla="*/ 64242 w 2822379"/>
                  <a:gd name="connsiteY218" fmla="*/ 1862437 h 2819687"/>
                  <a:gd name="connsiteX219" fmla="*/ 58903 w 2822379"/>
                  <a:gd name="connsiteY219" fmla="*/ 1869945 h 2819687"/>
                  <a:gd name="connsiteX220" fmla="*/ 53564 w 2822379"/>
                  <a:gd name="connsiteY220" fmla="*/ 1882375 h 2819687"/>
                  <a:gd name="connsiteX221" fmla="*/ 47390 w 2822379"/>
                  <a:gd name="connsiteY221" fmla="*/ 1896556 h 2819687"/>
                  <a:gd name="connsiteX222" fmla="*/ 46472 w 2822379"/>
                  <a:gd name="connsiteY222" fmla="*/ 1897891 h 2819687"/>
                  <a:gd name="connsiteX223" fmla="*/ 42468 w 2822379"/>
                  <a:gd name="connsiteY223" fmla="*/ 1919997 h 2819687"/>
                  <a:gd name="connsiteX224" fmla="*/ 43803 w 2822379"/>
                  <a:gd name="connsiteY224" fmla="*/ 1924836 h 2819687"/>
                  <a:gd name="connsiteX225" fmla="*/ 46472 w 2822379"/>
                  <a:gd name="connsiteY225" fmla="*/ 1950946 h 2819687"/>
                  <a:gd name="connsiteX226" fmla="*/ 44220 w 2822379"/>
                  <a:gd name="connsiteY226" fmla="*/ 1961124 h 2819687"/>
                  <a:gd name="connsiteX227" fmla="*/ 50894 w 2822379"/>
                  <a:gd name="connsiteY227" fmla="*/ 1993908 h 2819687"/>
                  <a:gd name="connsiteX228" fmla="*/ 82763 w 2822379"/>
                  <a:gd name="connsiteY228" fmla="*/ 1991238 h 2819687"/>
                  <a:gd name="connsiteX229" fmla="*/ 108041 w 2822379"/>
                  <a:gd name="connsiteY229" fmla="*/ 1985065 h 2819687"/>
                  <a:gd name="connsiteX230" fmla="*/ 142997 w 2822379"/>
                  <a:gd name="connsiteY230" fmla="*/ 1994826 h 2819687"/>
                  <a:gd name="connsiteX231" fmla="*/ 166440 w 2822379"/>
                  <a:gd name="connsiteY231" fmla="*/ 2002834 h 2819687"/>
                  <a:gd name="connsiteX232" fmla="*/ 201396 w 2822379"/>
                  <a:gd name="connsiteY232" fmla="*/ 2000165 h 2819687"/>
                  <a:gd name="connsiteX233" fmla="*/ 208905 w 2822379"/>
                  <a:gd name="connsiteY233" fmla="*/ 1996661 h 2819687"/>
                  <a:gd name="connsiteX234" fmla="*/ 225256 w 2822379"/>
                  <a:gd name="connsiteY234" fmla="*/ 1989987 h 2819687"/>
                  <a:gd name="connsiteX235" fmla="*/ 231930 w 2822379"/>
                  <a:gd name="connsiteY235" fmla="*/ 1989987 h 2819687"/>
                  <a:gd name="connsiteX236" fmla="*/ 239021 w 2822379"/>
                  <a:gd name="connsiteY236" fmla="*/ 1993074 h 2819687"/>
                  <a:gd name="connsiteX237" fmla="*/ 256708 w 2822379"/>
                  <a:gd name="connsiteY237" fmla="*/ 2017850 h 2819687"/>
                  <a:gd name="connsiteX238" fmla="*/ 260212 w 2822379"/>
                  <a:gd name="connsiteY238" fmla="*/ 2024941 h 2819687"/>
                  <a:gd name="connsiteX239" fmla="*/ 255791 w 2822379"/>
                  <a:gd name="connsiteY239" fmla="*/ 2069654 h 2819687"/>
                  <a:gd name="connsiteX240" fmla="*/ 247364 w 2822379"/>
                  <a:gd name="connsiteY240" fmla="*/ 2079414 h 2819687"/>
                  <a:gd name="connsiteX241" fmla="*/ 242943 w 2822379"/>
                  <a:gd name="connsiteY241" fmla="*/ 2095765 h 2819687"/>
                  <a:gd name="connsiteX242" fmla="*/ 254872 w 2822379"/>
                  <a:gd name="connsiteY242" fmla="*/ 2100603 h 2819687"/>
                  <a:gd name="connsiteX243" fmla="*/ 255290 w 2822379"/>
                  <a:gd name="connsiteY243" fmla="*/ 2100603 h 2819687"/>
                  <a:gd name="connsiteX244" fmla="*/ 273476 w 2822379"/>
                  <a:gd name="connsiteY244" fmla="*/ 2097934 h 2819687"/>
                  <a:gd name="connsiteX245" fmla="*/ 308933 w 2822379"/>
                  <a:gd name="connsiteY245" fmla="*/ 2097517 h 2819687"/>
                  <a:gd name="connsiteX246" fmla="*/ 344806 w 2822379"/>
                  <a:gd name="connsiteY246" fmla="*/ 2133387 h 2819687"/>
                  <a:gd name="connsiteX247" fmla="*/ 355903 w 2822379"/>
                  <a:gd name="connsiteY247" fmla="*/ 2156828 h 2819687"/>
                  <a:gd name="connsiteX248" fmla="*/ 366998 w 2822379"/>
                  <a:gd name="connsiteY248" fmla="*/ 2180269 h 2819687"/>
                  <a:gd name="connsiteX249" fmla="*/ 371420 w 2822379"/>
                  <a:gd name="connsiteY249" fmla="*/ 2186442 h 2819687"/>
                  <a:gd name="connsiteX250" fmla="*/ 381181 w 2822379"/>
                  <a:gd name="connsiteY250" fmla="*/ 2205963 h 2819687"/>
                  <a:gd name="connsiteX251" fmla="*/ 374507 w 2822379"/>
                  <a:gd name="connsiteY251" fmla="*/ 2226318 h 2819687"/>
                  <a:gd name="connsiteX252" fmla="*/ 371003 w 2822379"/>
                  <a:gd name="connsiteY252" fmla="*/ 2231156 h 2819687"/>
                  <a:gd name="connsiteX253" fmla="*/ 366581 w 2822379"/>
                  <a:gd name="connsiteY253" fmla="*/ 2248007 h 2819687"/>
                  <a:gd name="connsiteX254" fmla="*/ 389607 w 2822379"/>
                  <a:gd name="connsiteY254" fmla="*/ 2255098 h 2819687"/>
                  <a:gd name="connsiteX255" fmla="*/ 421059 w 2822379"/>
                  <a:gd name="connsiteY255" fmla="*/ 2263940 h 2819687"/>
                  <a:gd name="connsiteX256" fmla="*/ 430820 w 2822379"/>
                  <a:gd name="connsiteY256" fmla="*/ 2323753 h 2819687"/>
                  <a:gd name="connsiteX257" fmla="*/ 429902 w 2822379"/>
                  <a:gd name="connsiteY257" fmla="*/ 2364045 h 2819687"/>
                  <a:gd name="connsiteX258" fmla="*/ 440998 w 2822379"/>
                  <a:gd name="connsiteY258" fmla="*/ 2375974 h 2819687"/>
                  <a:gd name="connsiteX259" fmla="*/ 464024 w 2822379"/>
                  <a:gd name="connsiteY259" fmla="*/ 2410510 h 2819687"/>
                  <a:gd name="connsiteX260" fmla="*/ 488384 w 2822379"/>
                  <a:gd name="connsiteY260" fmla="*/ 2436204 h 2819687"/>
                  <a:gd name="connsiteX261" fmla="*/ 499480 w 2822379"/>
                  <a:gd name="connsiteY261" fmla="*/ 2437538 h 2819687"/>
                  <a:gd name="connsiteX262" fmla="*/ 530932 w 2822379"/>
                  <a:gd name="connsiteY262" fmla="*/ 2451303 h 2819687"/>
                  <a:gd name="connsiteX263" fmla="*/ 530014 w 2822379"/>
                  <a:gd name="connsiteY263" fmla="*/ 2501355 h 2819687"/>
                  <a:gd name="connsiteX264" fmla="*/ 526928 w 2822379"/>
                  <a:gd name="connsiteY264" fmla="*/ 2517705 h 2819687"/>
                  <a:gd name="connsiteX265" fmla="*/ 520254 w 2822379"/>
                  <a:gd name="connsiteY265" fmla="*/ 2554494 h 2819687"/>
                  <a:gd name="connsiteX266" fmla="*/ 513162 w 2822379"/>
                  <a:gd name="connsiteY266" fmla="*/ 2595704 h 2819687"/>
                  <a:gd name="connsiteX267" fmla="*/ 516249 w 2822379"/>
                  <a:gd name="connsiteY267" fmla="*/ 2623149 h 2819687"/>
                  <a:gd name="connsiteX268" fmla="*/ 518501 w 2822379"/>
                  <a:gd name="connsiteY268" fmla="*/ 2664359 h 2819687"/>
                  <a:gd name="connsiteX269" fmla="*/ 515831 w 2822379"/>
                  <a:gd name="connsiteY269" fmla="*/ 2706403 h 2819687"/>
                  <a:gd name="connsiteX270" fmla="*/ 515414 w 2822379"/>
                  <a:gd name="connsiteY270" fmla="*/ 2730761 h 2819687"/>
                  <a:gd name="connsiteX271" fmla="*/ 531766 w 2822379"/>
                  <a:gd name="connsiteY271" fmla="*/ 2761794 h 2819687"/>
                  <a:gd name="connsiteX272" fmla="*/ 547701 w 2822379"/>
                  <a:gd name="connsiteY272" fmla="*/ 2777727 h 2819687"/>
                  <a:gd name="connsiteX273" fmla="*/ 566305 w 2822379"/>
                  <a:gd name="connsiteY273" fmla="*/ 2793661 h 2819687"/>
                  <a:gd name="connsiteX274" fmla="*/ 608352 w 2822379"/>
                  <a:gd name="connsiteY274" fmla="*/ 2775058 h 2819687"/>
                  <a:gd name="connsiteX275" fmla="*/ 611022 w 2822379"/>
                  <a:gd name="connsiteY275" fmla="*/ 2763963 h 2819687"/>
                  <a:gd name="connsiteX276" fmla="*/ 616778 w 2822379"/>
                  <a:gd name="connsiteY276" fmla="*/ 2745777 h 2819687"/>
                  <a:gd name="connsiteX277" fmla="*/ 640221 w 2822379"/>
                  <a:gd name="connsiteY277" fmla="*/ 2734682 h 2819687"/>
                  <a:gd name="connsiteX278" fmla="*/ 646394 w 2822379"/>
                  <a:gd name="connsiteY278" fmla="*/ 2733347 h 2819687"/>
                  <a:gd name="connsiteX279" fmla="*/ 706212 w 2822379"/>
                  <a:gd name="connsiteY279" fmla="*/ 2709406 h 2819687"/>
                  <a:gd name="connsiteX280" fmla="*/ 715055 w 2822379"/>
                  <a:gd name="connsiteY280" fmla="*/ 2693890 h 2819687"/>
                  <a:gd name="connsiteX281" fmla="*/ 745172 w 2822379"/>
                  <a:gd name="connsiteY281" fmla="*/ 2664192 h 2819687"/>
                  <a:gd name="connsiteX282" fmla="*/ 776624 w 2822379"/>
                  <a:gd name="connsiteY282" fmla="*/ 2708071 h 2819687"/>
                  <a:gd name="connsiteX283" fmla="*/ 777041 w 2822379"/>
                  <a:gd name="connsiteY283" fmla="*/ 2710740 h 2819687"/>
                  <a:gd name="connsiteX284" fmla="*/ 781880 w 2822379"/>
                  <a:gd name="connsiteY284" fmla="*/ 2722670 h 2819687"/>
                  <a:gd name="connsiteX285" fmla="*/ 787637 w 2822379"/>
                  <a:gd name="connsiteY285" fmla="*/ 2717831 h 2819687"/>
                  <a:gd name="connsiteX286" fmla="*/ 789889 w 2822379"/>
                  <a:gd name="connsiteY286" fmla="*/ 2714328 h 2819687"/>
                  <a:gd name="connsiteX287" fmla="*/ 812915 w 2822379"/>
                  <a:gd name="connsiteY287" fmla="*/ 2692638 h 2819687"/>
                  <a:gd name="connsiteX288" fmla="*/ 833271 w 2822379"/>
                  <a:gd name="connsiteY288" fmla="*/ 2654098 h 2819687"/>
                  <a:gd name="connsiteX289" fmla="*/ 852793 w 2822379"/>
                  <a:gd name="connsiteY289" fmla="*/ 2590281 h 2819687"/>
                  <a:gd name="connsiteX290" fmla="*/ 877154 w 2822379"/>
                  <a:gd name="connsiteY290" fmla="*/ 2533138 h 2819687"/>
                  <a:gd name="connsiteX291" fmla="*/ 895758 w 2822379"/>
                  <a:gd name="connsiteY291" fmla="*/ 2471157 h 2819687"/>
                  <a:gd name="connsiteX292" fmla="*/ 976348 w 2822379"/>
                  <a:gd name="connsiteY292" fmla="*/ 2406005 h 2819687"/>
                  <a:gd name="connsiteX293" fmla="*/ 1097734 w 2822379"/>
                  <a:gd name="connsiteY293" fmla="*/ 2447215 h 2819687"/>
                  <a:gd name="connsiteX294" fmla="*/ 1107495 w 2822379"/>
                  <a:gd name="connsiteY294" fmla="*/ 2472492 h 2819687"/>
                  <a:gd name="connsiteX295" fmla="*/ 1121677 w 2822379"/>
                  <a:gd name="connsiteY295" fmla="*/ 2502189 h 2819687"/>
                  <a:gd name="connsiteX296" fmla="*/ 1166895 w 2822379"/>
                  <a:gd name="connsiteY296" fmla="*/ 2499103 h 2819687"/>
                  <a:gd name="connsiteX297" fmla="*/ 1183246 w 2822379"/>
                  <a:gd name="connsiteY297" fmla="*/ 2487173 h 2819687"/>
                  <a:gd name="connsiteX298" fmla="*/ 1227129 w 2822379"/>
                  <a:gd name="connsiteY298" fmla="*/ 2473409 h 2819687"/>
                  <a:gd name="connsiteX299" fmla="*/ 1267424 w 2822379"/>
                  <a:gd name="connsiteY299" fmla="*/ 2510615 h 2819687"/>
                  <a:gd name="connsiteX300" fmla="*/ 1267841 w 2822379"/>
                  <a:gd name="connsiteY300" fmla="*/ 2513701 h 2819687"/>
                  <a:gd name="connsiteX301" fmla="*/ 1278019 w 2822379"/>
                  <a:gd name="connsiteY301" fmla="*/ 2534974 h 2819687"/>
                  <a:gd name="connsiteX302" fmla="*/ 1282441 w 2822379"/>
                  <a:gd name="connsiteY302" fmla="*/ 2539395 h 2819687"/>
                  <a:gd name="connsiteX303" fmla="*/ 1297041 w 2822379"/>
                  <a:gd name="connsiteY303" fmla="*/ 2558915 h 2819687"/>
                  <a:gd name="connsiteX304" fmla="*/ 1301879 w 2822379"/>
                  <a:gd name="connsiteY304" fmla="*/ 2569092 h 2819687"/>
                  <a:gd name="connsiteX305" fmla="*/ 1327992 w 2822379"/>
                  <a:gd name="connsiteY305" fmla="*/ 2605380 h 2819687"/>
                  <a:gd name="connsiteX306" fmla="*/ 1356774 w 2822379"/>
                  <a:gd name="connsiteY306" fmla="*/ 2639916 h 2819687"/>
                  <a:gd name="connsiteX307" fmla="*/ 1362948 w 2822379"/>
                  <a:gd name="connsiteY307" fmla="*/ 2652763 h 2819687"/>
                  <a:gd name="connsiteX308" fmla="*/ 1376213 w 2822379"/>
                  <a:gd name="connsiteY308" fmla="*/ 2688634 h 2819687"/>
                  <a:gd name="connsiteX309" fmla="*/ 1384222 w 2822379"/>
                  <a:gd name="connsiteY309" fmla="*/ 2709906 h 2819687"/>
                  <a:gd name="connsiteX310" fmla="*/ 1421847 w 2822379"/>
                  <a:gd name="connsiteY310" fmla="*/ 2739103 h 2819687"/>
                  <a:gd name="connsiteX311" fmla="*/ 1463477 w 2822379"/>
                  <a:gd name="connsiteY311" fmla="*/ 2773640 h 2819687"/>
                  <a:gd name="connsiteX312" fmla="*/ 1479828 w 2822379"/>
                  <a:gd name="connsiteY312" fmla="*/ 2792242 h 2819687"/>
                  <a:gd name="connsiteX313" fmla="*/ 1501519 w 2822379"/>
                  <a:gd name="connsiteY313" fmla="*/ 2818353 h 2819687"/>
                  <a:gd name="connsiteX314" fmla="*/ 1502438 w 2822379"/>
                  <a:gd name="connsiteY314" fmla="*/ 2819688 h 2819687"/>
                  <a:gd name="connsiteX315" fmla="*/ 1517037 w 2822379"/>
                  <a:gd name="connsiteY315" fmla="*/ 2805506 h 2819687"/>
                  <a:gd name="connsiteX316" fmla="*/ 1601632 w 2822379"/>
                  <a:gd name="connsiteY316" fmla="*/ 2750115 h 2819687"/>
                  <a:gd name="connsiteX317" fmla="*/ 1646349 w 2822379"/>
                  <a:gd name="connsiteY317" fmla="*/ 2758123 h 2819687"/>
                  <a:gd name="connsiteX318" fmla="*/ 1685810 w 2822379"/>
                  <a:gd name="connsiteY318" fmla="*/ 2760793 h 2819687"/>
                  <a:gd name="connsiteX319" fmla="*/ 1730526 w 2822379"/>
                  <a:gd name="connsiteY319" fmla="*/ 2763045 h 2819687"/>
                  <a:gd name="connsiteX320" fmla="*/ 1771322 w 2822379"/>
                  <a:gd name="connsiteY320" fmla="*/ 2763045 h 2819687"/>
                  <a:gd name="connsiteX321" fmla="*/ 1816039 w 2822379"/>
                  <a:gd name="connsiteY321" fmla="*/ 2749281 h 2819687"/>
                  <a:gd name="connsiteX322" fmla="*/ 1841318 w 2822379"/>
                  <a:gd name="connsiteY322" fmla="*/ 2743942 h 2819687"/>
                  <a:gd name="connsiteX323" fmla="*/ 1860839 w 2822379"/>
                  <a:gd name="connsiteY323" fmla="*/ 2738603 h 2819687"/>
                  <a:gd name="connsiteX324" fmla="*/ 1917069 w 2822379"/>
                  <a:gd name="connsiteY324" fmla="*/ 2758958 h 2819687"/>
                  <a:gd name="connsiteX325" fmla="*/ 1948104 w 2822379"/>
                  <a:gd name="connsiteY325" fmla="*/ 2776225 h 2819687"/>
                  <a:gd name="connsiteX326" fmla="*/ 1988399 w 2822379"/>
                  <a:gd name="connsiteY326" fmla="*/ 2768217 h 2819687"/>
                  <a:gd name="connsiteX327" fmla="*/ 1998160 w 2822379"/>
                  <a:gd name="connsiteY327" fmla="*/ 2760209 h 2819687"/>
                  <a:gd name="connsiteX328" fmla="*/ 2016764 w 2822379"/>
                  <a:gd name="connsiteY328" fmla="*/ 2748280 h 2819687"/>
                  <a:gd name="connsiteX329" fmla="*/ 2032281 w 2822379"/>
                  <a:gd name="connsiteY329" fmla="*/ 2751366 h 2819687"/>
                  <a:gd name="connsiteX330" fmla="*/ 2039790 w 2822379"/>
                  <a:gd name="connsiteY330" fmla="*/ 2753619 h 2819687"/>
                  <a:gd name="connsiteX331" fmla="*/ 2050885 w 2822379"/>
                  <a:gd name="connsiteY331" fmla="*/ 2750115 h 2819687"/>
                  <a:gd name="connsiteX332" fmla="*/ 2057976 w 2822379"/>
                  <a:gd name="connsiteY332" fmla="*/ 2745694 h 2819687"/>
                  <a:gd name="connsiteX333" fmla="*/ 2087176 w 2822379"/>
                  <a:gd name="connsiteY333" fmla="*/ 2737685 h 2819687"/>
                  <a:gd name="connsiteX334" fmla="*/ 2100024 w 2822379"/>
                  <a:gd name="connsiteY334" fmla="*/ 2746111 h 2819687"/>
                  <a:gd name="connsiteX335" fmla="*/ 2108867 w 2822379"/>
                  <a:gd name="connsiteY335" fmla="*/ 2751450 h 2819687"/>
                  <a:gd name="connsiteX336" fmla="*/ 2130141 w 2822379"/>
                  <a:gd name="connsiteY336" fmla="*/ 2739020 h 2819687"/>
                  <a:gd name="connsiteX337" fmla="*/ 2135480 w 2822379"/>
                  <a:gd name="connsiteY337" fmla="*/ 2733681 h 2819687"/>
                  <a:gd name="connsiteX338" fmla="*/ 2153667 w 2822379"/>
                  <a:gd name="connsiteY338" fmla="*/ 2720834 h 2819687"/>
                  <a:gd name="connsiteX339" fmla="*/ 2170937 w 2822379"/>
                  <a:gd name="connsiteY339" fmla="*/ 2708405 h 2819687"/>
                  <a:gd name="connsiteX340" fmla="*/ 2174441 w 2822379"/>
                  <a:gd name="connsiteY340" fmla="*/ 2703984 h 2819687"/>
                  <a:gd name="connsiteX341" fmla="*/ 2187288 w 2822379"/>
                  <a:gd name="connsiteY341" fmla="*/ 2693389 h 2819687"/>
                  <a:gd name="connsiteX342" fmla="*/ 2199219 w 2822379"/>
                  <a:gd name="connsiteY342" fmla="*/ 2690719 h 2819687"/>
                  <a:gd name="connsiteX343" fmla="*/ 2206310 w 2822379"/>
                  <a:gd name="connsiteY343" fmla="*/ 2689802 h 2819687"/>
                  <a:gd name="connsiteX344" fmla="*/ 2214319 w 2822379"/>
                  <a:gd name="connsiteY344" fmla="*/ 2682711 h 2819687"/>
                  <a:gd name="connsiteX345" fmla="*/ 2221410 w 2822379"/>
                  <a:gd name="connsiteY345" fmla="*/ 2674703 h 2819687"/>
                  <a:gd name="connsiteX346" fmla="*/ 2236010 w 2822379"/>
                  <a:gd name="connsiteY346" fmla="*/ 2668029 h 2819687"/>
                  <a:gd name="connsiteX347" fmla="*/ 2242684 w 2822379"/>
                  <a:gd name="connsiteY347" fmla="*/ 2665777 h 2819687"/>
                  <a:gd name="connsiteX348" fmla="*/ 2254197 w 2822379"/>
                  <a:gd name="connsiteY348" fmla="*/ 2659103 h 2819687"/>
                  <a:gd name="connsiteX349" fmla="*/ 2278140 w 2822379"/>
                  <a:gd name="connsiteY349" fmla="*/ 2648509 h 2819687"/>
                  <a:gd name="connsiteX350" fmla="*/ 2295410 w 2822379"/>
                  <a:gd name="connsiteY350" fmla="*/ 2647174 h 2819687"/>
                  <a:gd name="connsiteX351" fmla="*/ 2337456 w 2822379"/>
                  <a:gd name="connsiteY351" fmla="*/ 2619228 h 2819687"/>
                  <a:gd name="connsiteX352" fmla="*/ 2384843 w 2822379"/>
                  <a:gd name="connsiteY352" fmla="*/ 2563420 h 2819687"/>
                  <a:gd name="connsiteX353" fmla="*/ 2430060 w 2822379"/>
                  <a:gd name="connsiteY353" fmla="*/ 2536809 h 2819687"/>
                  <a:gd name="connsiteX354" fmla="*/ 2459260 w 2822379"/>
                  <a:gd name="connsiteY354" fmla="*/ 2517288 h 2819687"/>
                  <a:gd name="connsiteX355" fmla="*/ 2465433 w 2822379"/>
                  <a:gd name="connsiteY355" fmla="*/ 2514202 h 2819687"/>
                  <a:gd name="connsiteX356" fmla="*/ 2457925 w 2822379"/>
                  <a:gd name="connsiteY356" fmla="*/ 2500438 h 2819687"/>
                  <a:gd name="connsiteX357" fmla="*/ 2438904 w 2822379"/>
                  <a:gd name="connsiteY357" fmla="*/ 2460145 h 2819687"/>
                  <a:gd name="connsiteX358" fmla="*/ 2434482 w 2822379"/>
                  <a:gd name="connsiteY358" fmla="*/ 2448216 h 2819687"/>
                  <a:gd name="connsiteX359" fmla="*/ 2426974 w 2822379"/>
                  <a:gd name="connsiteY359" fmla="*/ 2389321 h 2819687"/>
                  <a:gd name="connsiteX360" fmla="*/ 2440739 w 2822379"/>
                  <a:gd name="connsiteY360" fmla="*/ 2371636 h 2819687"/>
                  <a:gd name="connsiteX361" fmla="*/ 2446913 w 2822379"/>
                  <a:gd name="connsiteY361" fmla="*/ 2345943 h 2819687"/>
                  <a:gd name="connsiteX362" fmla="*/ 2405700 w 2822379"/>
                  <a:gd name="connsiteY362" fmla="*/ 2316245 h 2819687"/>
                  <a:gd name="connsiteX363" fmla="*/ 2401695 w 2822379"/>
                  <a:gd name="connsiteY363" fmla="*/ 2315828 h 2819687"/>
                  <a:gd name="connsiteX364" fmla="*/ 2356979 w 2822379"/>
                  <a:gd name="connsiteY364" fmla="*/ 2285296 h 2819687"/>
                  <a:gd name="connsiteX365" fmla="*/ 2368074 w 2822379"/>
                  <a:gd name="connsiteY365" fmla="*/ 2267611 h 2819687"/>
                  <a:gd name="connsiteX366" fmla="*/ 2372913 w 2822379"/>
                  <a:gd name="connsiteY366" fmla="*/ 2262272 h 2819687"/>
                  <a:gd name="connsiteX367" fmla="*/ 2369410 w 2822379"/>
                  <a:gd name="connsiteY367" fmla="*/ 2250343 h 2819687"/>
                  <a:gd name="connsiteX368" fmla="*/ 2364570 w 2822379"/>
                  <a:gd name="connsiteY368" fmla="*/ 2237913 h 2819687"/>
                  <a:gd name="connsiteX369" fmla="*/ 2369910 w 2822379"/>
                  <a:gd name="connsiteY369" fmla="*/ 2212637 h 2819687"/>
                  <a:gd name="connsiteX370" fmla="*/ 2373914 w 2822379"/>
                  <a:gd name="connsiteY370" fmla="*/ 2196703 h 2819687"/>
                  <a:gd name="connsiteX371" fmla="*/ 2369493 w 2822379"/>
                  <a:gd name="connsiteY371" fmla="*/ 2193617 h 2819687"/>
                  <a:gd name="connsiteX372" fmla="*/ 2338959 w 2822379"/>
                  <a:gd name="connsiteY372" fmla="*/ 2186943 h 2819687"/>
                  <a:gd name="connsiteX373" fmla="*/ 2330115 w 2822379"/>
                  <a:gd name="connsiteY373" fmla="*/ 2178518 h 2819687"/>
                  <a:gd name="connsiteX374" fmla="*/ 2319937 w 2822379"/>
                  <a:gd name="connsiteY374" fmla="*/ 2170509 h 2819687"/>
                  <a:gd name="connsiteX375" fmla="*/ 2315098 w 2822379"/>
                  <a:gd name="connsiteY375" fmla="*/ 2168758 h 2819687"/>
                  <a:gd name="connsiteX376" fmla="*/ 2295160 w 2822379"/>
                  <a:gd name="connsiteY376" fmla="*/ 2152824 h 2819687"/>
                  <a:gd name="connsiteX377" fmla="*/ 2297412 w 2822379"/>
                  <a:gd name="connsiteY377" fmla="*/ 2139977 h 2819687"/>
                  <a:gd name="connsiteX378" fmla="*/ 2308508 w 2822379"/>
                  <a:gd name="connsiteY378" fmla="*/ 2135139 h 2819687"/>
                  <a:gd name="connsiteX379" fmla="*/ 2312011 w 2822379"/>
                  <a:gd name="connsiteY379" fmla="*/ 2134722 h 2819687"/>
                  <a:gd name="connsiteX380" fmla="*/ 2318185 w 2822379"/>
                  <a:gd name="connsiteY380" fmla="*/ 2092177 h 2819687"/>
                  <a:gd name="connsiteX381" fmla="*/ 2318602 w 2822379"/>
                  <a:gd name="connsiteY381" fmla="*/ 2056724 h 2819687"/>
                  <a:gd name="connsiteX382" fmla="*/ 2320855 w 2822379"/>
                  <a:gd name="connsiteY382" fmla="*/ 2033700 h 2819687"/>
                  <a:gd name="connsiteX383" fmla="*/ 2316016 w 2822379"/>
                  <a:gd name="connsiteY383" fmla="*/ 2024357 h 2819687"/>
                  <a:gd name="connsiteX384" fmla="*/ 2308508 w 2822379"/>
                  <a:gd name="connsiteY384" fmla="*/ 2004002 h 2819687"/>
                  <a:gd name="connsiteX385" fmla="*/ 2314681 w 2822379"/>
                  <a:gd name="connsiteY385" fmla="*/ 1989820 h 2819687"/>
                  <a:gd name="connsiteX386" fmla="*/ 2318185 w 2822379"/>
                  <a:gd name="connsiteY386" fmla="*/ 1979643 h 2819687"/>
                  <a:gd name="connsiteX387" fmla="*/ 2313347 w 2822379"/>
                  <a:gd name="connsiteY387" fmla="*/ 1962375 h 2819687"/>
                  <a:gd name="connsiteX388" fmla="*/ 2312929 w 2822379"/>
                  <a:gd name="connsiteY388" fmla="*/ 1927422 h 2819687"/>
                  <a:gd name="connsiteX389" fmla="*/ 2315182 w 2822379"/>
                  <a:gd name="connsiteY389" fmla="*/ 1923001 h 2819687"/>
                  <a:gd name="connsiteX390" fmla="*/ 2332451 w 2822379"/>
                  <a:gd name="connsiteY390" fmla="*/ 1899559 h 2819687"/>
                  <a:gd name="connsiteX391" fmla="*/ 2344882 w 2822379"/>
                  <a:gd name="connsiteY391" fmla="*/ 1895138 h 2819687"/>
                  <a:gd name="connsiteX392" fmla="*/ 2353725 w 2822379"/>
                  <a:gd name="connsiteY392" fmla="*/ 1892051 h 2819687"/>
                  <a:gd name="connsiteX393" fmla="*/ 2359899 w 2822379"/>
                  <a:gd name="connsiteY393" fmla="*/ 1885378 h 2819687"/>
                  <a:gd name="connsiteX394" fmla="*/ 2375833 w 2822379"/>
                  <a:gd name="connsiteY394" fmla="*/ 1872948 h 2819687"/>
                  <a:gd name="connsiteX395" fmla="*/ 2390432 w 2822379"/>
                  <a:gd name="connsiteY395" fmla="*/ 1871613 h 2819687"/>
                  <a:gd name="connsiteX396" fmla="*/ 2401028 w 2822379"/>
                  <a:gd name="connsiteY396" fmla="*/ 1870279 h 2819687"/>
                  <a:gd name="connsiteX397" fmla="*/ 2408119 w 2822379"/>
                  <a:gd name="connsiteY397" fmla="*/ 1862271 h 2819687"/>
                  <a:gd name="connsiteX398" fmla="*/ 2425389 w 2822379"/>
                  <a:gd name="connsiteY398" fmla="*/ 1848089 h 2819687"/>
                  <a:gd name="connsiteX399" fmla="*/ 2436484 w 2822379"/>
                  <a:gd name="connsiteY399" fmla="*/ 1845837 h 2819687"/>
                  <a:gd name="connsiteX400" fmla="*/ 2450250 w 2822379"/>
                  <a:gd name="connsiteY400" fmla="*/ 1840498 h 2819687"/>
                  <a:gd name="connsiteX401" fmla="*/ 2454254 w 2822379"/>
                  <a:gd name="connsiteY401" fmla="*/ 1812552 h 2819687"/>
                  <a:gd name="connsiteX402" fmla="*/ 2451168 w 2822379"/>
                  <a:gd name="connsiteY402" fmla="*/ 1793032 h 2819687"/>
                  <a:gd name="connsiteX403" fmla="*/ 2494133 w 2822379"/>
                  <a:gd name="connsiteY403" fmla="*/ 1746066 h 2819687"/>
                  <a:gd name="connsiteX404" fmla="*/ 2540184 w 2822379"/>
                  <a:gd name="connsiteY404" fmla="*/ 1721707 h 2819687"/>
                  <a:gd name="connsiteX405" fmla="*/ 2560123 w 2822379"/>
                  <a:gd name="connsiteY405" fmla="*/ 1664564 h 2819687"/>
                  <a:gd name="connsiteX406" fmla="*/ 2560123 w 2822379"/>
                  <a:gd name="connsiteY406" fmla="*/ 1657056 h 2819687"/>
                  <a:gd name="connsiteX407" fmla="*/ 2565880 w 2822379"/>
                  <a:gd name="connsiteY407" fmla="*/ 1625606 h 2819687"/>
                  <a:gd name="connsiteX408" fmla="*/ 2579645 w 2822379"/>
                  <a:gd name="connsiteY408" fmla="*/ 1615012 h 2819687"/>
                  <a:gd name="connsiteX409" fmla="*/ 2585818 w 2822379"/>
                  <a:gd name="connsiteY409" fmla="*/ 1611508 h 2819687"/>
                  <a:gd name="connsiteX410" fmla="*/ 2591158 w 2822379"/>
                  <a:gd name="connsiteY410" fmla="*/ 1602666 h 2819687"/>
                  <a:gd name="connsiteX411" fmla="*/ 2569884 w 2822379"/>
                  <a:gd name="connsiteY411" fmla="*/ 1573469 h 2819687"/>
                  <a:gd name="connsiteX412" fmla="*/ 2548193 w 2822379"/>
                  <a:gd name="connsiteY412" fmla="*/ 1539767 h 2819687"/>
                  <a:gd name="connsiteX413" fmla="*/ 2541102 w 2822379"/>
                  <a:gd name="connsiteY413" fmla="*/ 1523833 h 2819687"/>
                  <a:gd name="connsiteX414" fmla="*/ 2536263 w 2822379"/>
                  <a:gd name="connsiteY414" fmla="*/ 1514490 h 2819687"/>
                  <a:gd name="connsiteX415" fmla="*/ 2526502 w 2822379"/>
                  <a:gd name="connsiteY415" fmla="*/ 1494553 h 2819687"/>
                  <a:gd name="connsiteX416" fmla="*/ 2516324 w 2822379"/>
                  <a:gd name="connsiteY416" fmla="*/ 1481706 h 2819687"/>
                  <a:gd name="connsiteX417" fmla="*/ 2501224 w 2822379"/>
                  <a:gd name="connsiteY417" fmla="*/ 1475533 h 2819687"/>
                  <a:gd name="connsiteX418" fmla="*/ 2471106 w 2822379"/>
                  <a:gd name="connsiteY418" fmla="*/ 1456013 h 2819687"/>
                  <a:gd name="connsiteX419" fmla="*/ 2468854 w 2822379"/>
                  <a:gd name="connsiteY419" fmla="*/ 1417472 h 2819687"/>
                  <a:gd name="connsiteX420" fmla="*/ 2469271 w 2822379"/>
                  <a:gd name="connsiteY420" fmla="*/ 1414803 h 2819687"/>
                  <a:gd name="connsiteX421" fmla="*/ 2469271 w 2822379"/>
                  <a:gd name="connsiteY421" fmla="*/ 1398870 h 2819687"/>
                  <a:gd name="connsiteX422" fmla="*/ 2468353 w 2822379"/>
                  <a:gd name="connsiteY422" fmla="*/ 1396200 h 2819687"/>
                  <a:gd name="connsiteX423" fmla="*/ 2478532 w 2822379"/>
                  <a:gd name="connsiteY423" fmla="*/ 1344813 h 2819687"/>
                  <a:gd name="connsiteX424" fmla="*/ 2486040 w 2822379"/>
                  <a:gd name="connsiteY424" fmla="*/ 1327128 h 2819687"/>
                  <a:gd name="connsiteX425" fmla="*/ 2489127 w 2822379"/>
                  <a:gd name="connsiteY425" fmla="*/ 1318703 h 2819687"/>
                  <a:gd name="connsiteX426" fmla="*/ 2493966 w 2822379"/>
                  <a:gd name="connsiteY426" fmla="*/ 1297013 h 2819687"/>
                  <a:gd name="connsiteX427" fmla="*/ 2490879 w 2822379"/>
                  <a:gd name="connsiteY427" fmla="*/ 1287670 h 2819687"/>
                  <a:gd name="connsiteX428" fmla="*/ 2486457 w 2822379"/>
                  <a:gd name="connsiteY428" fmla="*/ 1274823 h 2819687"/>
                  <a:gd name="connsiteX429" fmla="*/ 2485539 w 2822379"/>
                  <a:gd name="connsiteY429" fmla="*/ 1263311 h 2819687"/>
                  <a:gd name="connsiteX430" fmla="*/ 2483287 w 2822379"/>
                  <a:gd name="connsiteY430" fmla="*/ 1249547 h 2819687"/>
                  <a:gd name="connsiteX431" fmla="*/ 2479282 w 2822379"/>
                  <a:gd name="connsiteY431" fmla="*/ 1244708 h 2819687"/>
                  <a:gd name="connsiteX432" fmla="*/ 2470856 w 2822379"/>
                  <a:gd name="connsiteY432" fmla="*/ 1227858 h 2819687"/>
                  <a:gd name="connsiteX433" fmla="*/ 2471774 w 2822379"/>
                  <a:gd name="connsiteY433" fmla="*/ 1212341 h 2819687"/>
                  <a:gd name="connsiteX434" fmla="*/ 2471356 w 2822379"/>
                  <a:gd name="connsiteY434" fmla="*/ 1197242 h 2819687"/>
                  <a:gd name="connsiteX435" fmla="*/ 2461596 w 2822379"/>
                  <a:gd name="connsiteY435" fmla="*/ 1184395 h 2819687"/>
                  <a:gd name="connsiteX436" fmla="*/ 2451418 w 2822379"/>
                  <a:gd name="connsiteY436" fmla="*/ 1171132 h 2819687"/>
                  <a:gd name="connsiteX437" fmla="*/ 2447414 w 2822379"/>
                  <a:gd name="connsiteY437" fmla="*/ 1135261 h 2819687"/>
                  <a:gd name="connsiteX438" fmla="*/ 2477113 w 2822379"/>
                  <a:gd name="connsiteY438" fmla="*/ 1112237 h 2819687"/>
                  <a:gd name="connsiteX439" fmla="*/ 2529422 w 2822379"/>
                  <a:gd name="connsiteY439" fmla="*/ 1113154 h 2819687"/>
                  <a:gd name="connsiteX440" fmla="*/ 2550696 w 2822379"/>
                  <a:gd name="connsiteY440" fmla="*/ 1116241 h 2819687"/>
                  <a:gd name="connsiteX441" fmla="*/ 2560874 w 2822379"/>
                  <a:gd name="connsiteY441" fmla="*/ 1117576 h 2819687"/>
                  <a:gd name="connsiteX442" fmla="*/ 2578143 w 2822379"/>
                  <a:gd name="connsiteY442" fmla="*/ 1118493 h 2819687"/>
                  <a:gd name="connsiteX443" fmla="*/ 2584817 w 2822379"/>
                  <a:gd name="connsiteY443" fmla="*/ 1112737 h 2819687"/>
                  <a:gd name="connsiteX444" fmla="*/ 2594161 w 2822379"/>
                  <a:gd name="connsiteY444" fmla="*/ 1104729 h 2819687"/>
                  <a:gd name="connsiteX445" fmla="*/ 2615852 w 2822379"/>
                  <a:gd name="connsiteY445" fmla="*/ 1098055 h 2819687"/>
                  <a:gd name="connsiteX446" fmla="*/ 2640630 w 2822379"/>
                  <a:gd name="connsiteY446" fmla="*/ 1085208 h 2819687"/>
                  <a:gd name="connsiteX447" fmla="*/ 2648638 w 2822379"/>
                  <a:gd name="connsiteY447" fmla="*/ 1065688 h 2819687"/>
                  <a:gd name="connsiteX448" fmla="*/ 2651308 w 2822379"/>
                  <a:gd name="connsiteY448" fmla="*/ 1055511 h 2819687"/>
                  <a:gd name="connsiteX449" fmla="*/ 2671248 w 2822379"/>
                  <a:gd name="connsiteY449" fmla="*/ 1038243 h 2819687"/>
                  <a:gd name="connsiteX450" fmla="*/ 2678339 w 2822379"/>
                  <a:gd name="connsiteY450" fmla="*/ 1037325 h 2819687"/>
                  <a:gd name="connsiteX451" fmla="*/ 2690269 w 2822379"/>
                  <a:gd name="connsiteY451" fmla="*/ 1032487 h 2819687"/>
                  <a:gd name="connsiteX452" fmla="*/ 2709290 w 2822379"/>
                  <a:gd name="connsiteY452" fmla="*/ 1025813 h 2819687"/>
                  <a:gd name="connsiteX453" fmla="*/ 2710208 w 2822379"/>
                  <a:gd name="connsiteY453" fmla="*/ 1025813 h 2819687"/>
                  <a:gd name="connsiteX454" fmla="*/ 2725308 w 2822379"/>
                  <a:gd name="connsiteY454" fmla="*/ 1033321 h 2819687"/>
                  <a:gd name="connsiteX455" fmla="*/ 2731065 w 2822379"/>
                  <a:gd name="connsiteY455" fmla="*/ 1036824 h 2819687"/>
                  <a:gd name="connsiteX456" fmla="*/ 2738156 w 2822379"/>
                  <a:gd name="connsiteY456" fmla="*/ 1033738 h 2819687"/>
                  <a:gd name="connsiteX457" fmla="*/ 2742160 w 2822379"/>
                  <a:gd name="connsiteY457" fmla="*/ 1011632 h 2819687"/>
                  <a:gd name="connsiteX458" fmla="*/ 2737739 w 2822379"/>
                  <a:gd name="connsiteY458" fmla="*/ 964249 h 2819687"/>
                  <a:gd name="connsiteX459" fmla="*/ 2736821 w 2822379"/>
                  <a:gd name="connsiteY459" fmla="*/ 950067 h 2819687"/>
                  <a:gd name="connsiteX460" fmla="*/ 2736404 w 2822379"/>
                  <a:gd name="connsiteY460" fmla="*/ 942559 h 2819687"/>
                  <a:gd name="connsiteX461" fmla="*/ 2729730 w 2822379"/>
                  <a:gd name="connsiteY461" fmla="*/ 922622 h 2819687"/>
                  <a:gd name="connsiteX462" fmla="*/ 2724391 w 2822379"/>
                  <a:gd name="connsiteY462" fmla="*/ 919118 h 2819687"/>
                  <a:gd name="connsiteX463" fmla="*/ 2712460 w 2822379"/>
                  <a:gd name="connsiteY463" fmla="*/ 905354 h 2819687"/>
                  <a:gd name="connsiteX464" fmla="*/ 2711126 w 2822379"/>
                  <a:gd name="connsiteY464" fmla="*/ 888503 h 2819687"/>
                  <a:gd name="connsiteX465" fmla="*/ 2709374 w 2822379"/>
                  <a:gd name="connsiteY465" fmla="*/ 875656 h 2819687"/>
                  <a:gd name="connsiteX466" fmla="*/ 2698277 w 2822379"/>
                  <a:gd name="connsiteY466" fmla="*/ 866813 h 2819687"/>
                  <a:gd name="connsiteX467" fmla="*/ 2691603 w 2822379"/>
                  <a:gd name="connsiteY467" fmla="*/ 862392 h 2819687"/>
                  <a:gd name="connsiteX468" fmla="*/ 2671248 w 2822379"/>
                  <a:gd name="connsiteY468" fmla="*/ 845124 h 2819687"/>
                  <a:gd name="connsiteX469" fmla="*/ 2640713 w 2822379"/>
                  <a:gd name="connsiteY469" fmla="*/ 822100 h 2819687"/>
                  <a:gd name="connsiteX470" fmla="*/ 2623027 w 2822379"/>
                  <a:gd name="connsiteY470" fmla="*/ 802580 h 2819687"/>
                  <a:gd name="connsiteX471" fmla="*/ 2619940 w 2822379"/>
                  <a:gd name="connsiteY471" fmla="*/ 795906 h 2819687"/>
                  <a:gd name="connsiteX472" fmla="*/ 2613766 w 2822379"/>
                  <a:gd name="connsiteY472" fmla="*/ 789232 h 2819687"/>
                  <a:gd name="connsiteX473" fmla="*/ 2607092 w 2822379"/>
                  <a:gd name="connsiteY473" fmla="*/ 782559 h 2819687"/>
                  <a:gd name="connsiteX474" fmla="*/ 2595162 w 2822379"/>
                  <a:gd name="connsiteY474" fmla="*/ 748857 h 2819687"/>
                  <a:gd name="connsiteX475" fmla="*/ 2584567 w 2822379"/>
                  <a:gd name="connsiteY475" fmla="*/ 723163 h 2819687"/>
                  <a:gd name="connsiteX476" fmla="*/ 2582314 w 2822379"/>
                  <a:gd name="connsiteY476" fmla="*/ 720911 h 2819687"/>
                  <a:gd name="connsiteX477" fmla="*/ 2576975 w 2822379"/>
                  <a:gd name="connsiteY477" fmla="*/ 696969 h 2819687"/>
                  <a:gd name="connsiteX478" fmla="*/ 2579228 w 2822379"/>
                  <a:gd name="connsiteY478" fmla="*/ 687209 h 2819687"/>
                  <a:gd name="connsiteX479" fmla="*/ 2581897 w 2822379"/>
                  <a:gd name="connsiteY479" fmla="*/ 662433 h 2819687"/>
                  <a:gd name="connsiteX480" fmla="*/ 2579645 w 2822379"/>
                  <a:gd name="connsiteY480" fmla="*/ 653591 h 2819687"/>
                  <a:gd name="connsiteX481" fmla="*/ 2580563 w 2822379"/>
                  <a:gd name="connsiteY481" fmla="*/ 623893 h 2819687"/>
                  <a:gd name="connsiteX482" fmla="*/ 2601419 w 2822379"/>
                  <a:gd name="connsiteY482" fmla="*/ 613299 h 2819687"/>
                  <a:gd name="connsiteX483" fmla="*/ 2609845 w 2822379"/>
                  <a:gd name="connsiteY483" fmla="*/ 611046 h 2819687"/>
                  <a:gd name="connsiteX484" fmla="*/ 2616519 w 2822379"/>
                  <a:gd name="connsiteY484" fmla="*/ 602204 h 2819687"/>
                  <a:gd name="connsiteX485" fmla="*/ 2622693 w 2822379"/>
                  <a:gd name="connsiteY485" fmla="*/ 589774 h 2819687"/>
                  <a:gd name="connsiteX486" fmla="*/ 2650641 w 2822379"/>
                  <a:gd name="connsiteY486" fmla="*/ 577845 h 2819687"/>
                  <a:gd name="connsiteX487" fmla="*/ 2674084 w 2822379"/>
                  <a:gd name="connsiteY487" fmla="*/ 571672 h 2819687"/>
                  <a:gd name="connsiteX488" fmla="*/ 2674501 w 2822379"/>
                  <a:gd name="connsiteY488" fmla="*/ 558825 h 2819687"/>
                  <a:gd name="connsiteX489" fmla="*/ 2652393 w 2822379"/>
                  <a:gd name="connsiteY489" fmla="*/ 542475 h 2819687"/>
                  <a:gd name="connsiteX490" fmla="*/ 2623193 w 2822379"/>
                  <a:gd name="connsiteY490" fmla="*/ 521620 h 2819687"/>
                  <a:gd name="connsiteX491" fmla="*/ 2651976 w 2822379"/>
                  <a:gd name="connsiteY491" fmla="*/ 481327 h 2819687"/>
                  <a:gd name="connsiteX492" fmla="*/ 2666575 w 2822379"/>
                  <a:gd name="connsiteY492" fmla="*/ 472902 h 2819687"/>
                  <a:gd name="connsiteX493" fmla="*/ 2686932 w 2822379"/>
                  <a:gd name="connsiteY493" fmla="*/ 444122 h 2819687"/>
                  <a:gd name="connsiteX494" fmla="*/ 2689184 w 2822379"/>
                  <a:gd name="connsiteY494" fmla="*/ 433944 h 2819687"/>
                  <a:gd name="connsiteX495" fmla="*/ 2698027 w 2822379"/>
                  <a:gd name="connsiteY495" fmla="*/ 410920 h 2819687"/>
                  <a:gd name="connsiteX496" fmla="*/ 2715297 w 2822379"/>
                  <a:gd name="connsiteY496" fmla="*/ 400743 h 2819687"/>
                  <a:gd name="connsiteX497" fmla="*/ 2715714 w 2822379"/>
                  <a:gd name="connsiteY497" fmla="*/ 400743 h 2819687"/>
                  <a:gd name="connsiteX498" fmla="*/ 2734318 w 2822379"/>
                  <a:gd name="connsiteY498" fmla="*/ 412672 h 2819687"/>
                  <a:gd name="connsiteX499" fmla="*/ 2743162 w 2822379"/>
                  <a:gd name="connsiteY499" fmla="*/ 420681 h 2819687"/>
                  <a:gd name="connsiteX500" fmla="*/ 2771944 w 2822379"/>
                  <a:gd name="connsiteY500" fmla="*/ 417594 h 2819687"/>
                  <a:gd name="connsiteX501" fmla="*/ 2774196 w 2822379"/>
                  <a:gd name="connsiteY501" fmla="*/ 403830 h 2819687"/>
                  <a:gd name="connsiteX502" fmla="*/ 2773279 w 2822379"/>
                  <a:gd name="connsiteY502" fmla="*/ 398491 h 2819687"/>
                  <a:gd name="connsiteX503" fmla="*/ 2780370 w 2822379"/>
                  <a:gd name="connsiteY503" fmla="*/ 363538 h 2819687"/>
                  <a:gd name="connsiteX504" fmla="*/ 2787461 w 2822379"/>
                  <a:gd name="connsiteY504" fmla="*/ 345852 h 2819687"/>
                  <a:gd name="connsiteX505" fmla="*/ 2788796 w 2822379"/>
                  <a:gd name="connsiteY505" fmla="*/ 337010 h 2819687"/>
                  <a:gd name="connsiteX506" fmla="*/ 2796304 w 2822379"/>
                  <a:gd name="connsiteY506" fmla="*/ 313569 h 2819687"/>
                  <a:gd name="connsiteX507" fmla="*/ 2808735 w 2822379"/>
                  <a:gd name="connsiteY507" fmla="*/ 302474 h 2819687"/>
                  <a:gd name="connsiteX508" fmla="*/ 2817161 w 2822379"/>
                  <a:gd name="connsiteY508" fmla="*/ 295383 h 2819687"/>
                  <a:gd name="connsiteX509" fmla="*/ 2817578 w 2822379"/>
                  <a:gd name="connsiteY509" fmla="*/ 251504 h 2819687"/>
                  <a:gd name="connsiteX510" fmla="*/ 2803395 w 2822379"/>
                  <a:gd name="connsiteY510" fmla="*/ 244830 h 2819687"/>
                  <a:gd name="connsiteX511" fmla="*/ 2792801 w 2822379"/>
                  <a:gd name="connsiteY511" fmla="*/ 241744 h 2819687"/>
                  <a:gd name="connsiteX512" fmla="*/ 2772444 w 2822379"/>
                  <a:gd name="connsiteY512" fmla="*/ 225393 h 2819687"/>
                  <a:gd name="connsiteX513" fmla="*/ 2769774 w 2822379"/>
                  <a:gd name="connsiteY513" fmla="*/ 222307 h 2819687"/>
                  <a:gd name="connsiteX514" fmla="*/ 2744996 w 2822379"/>
                  <a:gd name="connsiteY514" fmla="*/ 161159 h 2819687"/>
                  <a:gd name="connsiteX515" fmla="*/ 2729479 w 2822379"/>
                  <a:gd name="connsiteY515" fmla="*/ 113359 h 2819687"/>
                  <a:gd name="connsiteX516" fmla="*/ 2707371 w 2822379"/>
                  <a:gd name="connsiteY516" fmla="*/ 54465 h 2819687"/>
                  <a:gd name="connsiteX517" fmla="*/ 2715380 w 2822379"/>
                  <a:gd name="connsiteY517" fmla="*/ 41618 h 2819687"/>
                  <a:gd name="connsiteX518" fmla="*/ 2720219 w 2822379"/>
                  <a:gd name="connsiteY518" fmla="*/ 31858 h 2819687"/>
                  <a:gd name="connsiteX519" fmla="*/ 2710458 w 2822379"/>
                  <a:gd name="connsiteY519" fmla="*/ 25184 h 2819687"/>
                  <a:gd name="connsiteX520" fmla="*/ 2690936 w 2822379"/>
                  <a:gd name="connsiteY520" fmla="*/ 5664 h 2819687"/>
                  <a:gd name="connsiteX521" fmla="*/ 2690936 w 2822379"/>
                  <a:gd name="connsiteY521" fmla="*/ 5664 h 2819687"/>
                  <a:gd name="connsiteX522" fmla="*/ 2684846 w 2822379"/>
                  <a:gd name="connsiteY522" fmla="*/ 9334 h 281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</a:cxnLst>
                <a:rect l="l" t="t" r="r" b="b"/>
                <a:pathLst>
                  <a:path w="2822379" h="2819687" extrusionOk="0">
                    <a:moveTo>
                      <a:pt x="2684846" y="9334"/>
                    </a:moveTo>
                    <a:cubicBezTo>
                      <a:pt x="2679089" y="12003"/>
                      <a:pt x="2672916" y="14673"/>
                      <a:pt x="2665324" y="13755"/>
                    </a:cubicBezTo>
                    <a:cubicBezTo>
                      <a:pt x="2660485" y="13338"/>
                      <a:pt x="2656898" y="11086"/>
                      <a:pt x="2653394" y="9334"/>
                    </a:cubicBezTo>
                    <a:lnTo>
                      <a:pt x="2651642" y="8416"/>
                    </a:lnTo>
                    <a:cubicBezTo>
                      <a:pt x="2633455" y="-927"/>
                      <a:pt x="2610429" y="408"/>
                      <a:pt x="2593160" y="11086"/>
                    </a:cubicBezTo>
                    <a:lnTo>
                      <a:pt x="2591825" y="12003"/>
                    </a:lnTo>
                    <a:cubicBezTo>
                      <a:pt x="2589155" y="13755"/>
                      <a:pt x="2585651" y="16008"/>
                      <a:pt x="2581647" y="16842"/>
                    </a:cubicBezTo>
                    <a:cubicBezTo>
                      <a:pt x="2572303" y="19094"/>
                      <a:pt x="2564377" y="14172"/>
                      <a:pt x="2557703" y="10669"/>
                    </a:cubicBezTo>
                    <a:lnTo>
                      <a:pt x="2555451" y="9334"/>
                    </a:lnTo>
                    <a:cubicBezTo>
                      <a:pt x="2542603" y="1826"/>
                      <a:pt x="2522247" y="-3096"/>
                      <a:pt x="2506730" y="2243"/>
                    </a:cubicBezTo>
                    <a:cubicBezTo>
                      <a:pt x="2497887" y="5330"/>
                      <a:pt x="2489877" y="12421"/>
                      <a:pt x="2488126" y="18594"/>
                    </a:cubicBezTo>
                    <a:cubicBezTo>
                      <a:pt x="2487208" y="22097"/>
                      <a:pt x="2488126" y="25685"/>
                      <a:pt x="2491213" y="29689"/>
                    </a:cubicBezTo>
                    <a:cubicBezTo>
                      <a:pt x="2494299" y="33192"/>
                      <a:pt x="2499221" y="35028"/>
                      <a:pt x="2504060" y="37697"/>
                    </a:cubicBezTo>
                    <a:cubicBezTo>
                      <a:pt x="2509817" y="40366"/>
                      <a:pt x="2516491" y="43036"/>
                      <a:pt x="2521329" y="48792"/>
                    </a:cubicBezTo>
                    <a:cubicBezTo>
                      <a:pt x="2526168" y="54131"/>
                      <a:pt x="2528421" y="60304"/>
                      <a:pt x="2530172" y="65643"/>
                    </a:cubicBezTo>
                    <a:cubicBezTo>
                      <a:pt x="2544772" y="108187"/>
                      <a:pt x="2547025" y="155153"/>
                      <a:pt x="2535929" y="198532"/>
                    </a:cubicBezTo>
                    <a:cubicBezTo>
                      <a:pt x="2531508" y="216718"/>
                      <a:pt x="2529755" y="230398"/>
                      <a:pt x="2530172" y="248167"/>
                    </a:cubicBezTo>
                    <a:cubicBezTo>
                      <a:pt x="2530590" y="267687"/>
                      <a:pt x="2519995" y="276530"/>
                      <a:pt x="2508899" y="285790"/>
                    </a:cubicBezTo>
                    <a:cubicBezTo>
                      <a:pt x="2507147" y="287124"/>
                      <a:pt x="2505812" y="288459"/>
                      <a:pt x="2504060" y="289794"/>
                    </a:cubicBezTo>
                    <a:cubicBezTo>
                      <a:pt x="2496969" y="295967"/>
                      <a:pt x="2492130" y="303975"/>
                      <a:pt x="2486373" y="311900"/>
                    </a:cubicBezTo>
                    <a:cubicBezTo>
                      <a:pt x="2483704" y="316322"/>
                      <a:pt x="2480617" y="320743"/>
                      <a:pt x="2477530" y="325164"/>
                    </a:cubicBezTo>
                    <a:cubicBezTo>
                      <a:pt x="2462430" y="345519"/>
                      <a:pt x="2425222" y="378803"/>
                      <a:pt x="2395105" y="360618"/>
                    </a:cubicBezTo>
                    <a:cubicBezTo>
                      <a:pt x="2393770" y="359700"/>
                      <a:pt x="2392852" y="359283"/>
                      <a:pt x="2391601" y="358365"/>
                    </a:cubicBezTo>
                    <a:cubicBezTo>
                      <a:pt x="2386261" y="354862"/>
                      <a:pt x="2381423" y="351692"/>
                      <a:pt x="2376501" y="352192"/>
                    </a:cubicBezTo>
                    <a:lnTo>
                      <a:pt x="2375583" y="352192"/>
                    </a:lnTo>
                    <a:cubicBezTo>
                      <a:pt x="2370744" y="352609"/>
                      <a:pt x="2366740" y="352609"/>
                      <a:pt x="2363153" y="354445"/>
                    </a:cubicBezTo>
                    <a:cubicBezTo>
                      <a:pt x="2353391" y="359784"/>
                      <a:pt x="2344965" y="359784"/>
                      <a:pt x="2336539" y="359283"/>
                    </a:cubicBezTo>
                    <a:cubicBezTo>
                      <a:pt x="2333452" y="359283"/>
                      <a:pt x="2330365" y="359283"/>
                      <a:pt x="2326778" y="359283"/>
                    </a:cubicBezTo>
                    <a:cubicBezTo>
                      <a:pt x="2311261" y="360201"/>
                      <a:pt x="2296661" y="354862"/>
                      <a:pt x="2286483" y="344685"/>
                    </a:cubicBezTo>
                    <a:cubicBezTo>
                      <a:pt x="2278975" y="337177"/>
                      <a:pt x="2273635" y="332755"/>
                      <a:pt x="2264375" y="329585"/>
                    </a:cubicBezTo>
                    <a:cubicBezTo>
                      <a:pt x="2263040" y="330002"/>
                      <a:pt x="2259953" y="331838"/>
                      <a:pt x="2253279" y="338929"/>
                    </a:cubicBezTo>
                    <a:lnTo>
                      <a:pt x="2252361" y="339846"/>
                    </a:lnTo>
                    <a:cubicBezTo>
                      <a:pt x="2247022" y="345185"/>
                      <a:pt x="2243935" y="350941"/>
                      <a:pt x="2243518" y="356197"/>
                    </a:cubicBezTo>
                    <a:cubicBezTo>
                      <a:pt x="2243101" y="357948"/>
                      <a:pt x="2243518" y="358449"/>
                      <a:pt x="2243518" y="358449"/>
                    </a:cubicBezTo>
                    <a:cubicBezTo>
                      <a:pt x="2243518" y="358449"/>
                      <a:pt x="2243935" y="358866"/>
                      <a:pt x="2245771" y="359367"/>
                    </a:cubicBezTo>
                    <a:cubicBezTo>
                      <a:pt x="2259536" y="364205"/>
                      <a:pt x="2274553" y="362870"/>
                      <a:pt x="2290487" y="361619"/>
                    </a:cubicBezTo>
                    <a:cubicBezTo>
                      <a:pt x="2293574" y="361202"/>
                      <a:pt x="2296661" y="361202"/>
                      <a:pt x="2299831" y="360701"/>
                    </a:cubicBezTo>
                    <a:cubicBezTo>
                      <a:pt x="2319353" y="359367"/>
                      <a:pt x="2338792" y="359784"/>
                      <a:pt x="2357896" y="362453"/>
                    </a:cubicBezTo>
                    <a:cubicBezTo>
                      <a:pt x="2363236" y="363371"/>
                      <a:pt x="2369410" y="364205"/>
                      <a:pt x="2374748" y="367292"/>
                    </a:cubicBezTo>
                    <a:cubicBezTo>
                      <a:pt x="2386261" y="373465"/>
                      <a:pt x="2392935" y="387229"/>
                      <a:pt x="2393352" y="404914"/>
                    </a:cubicBezTo>
                    <a:cubicBezTo>
                      <a:pt x="2393352" y="410253"/>
                      <a:pt x="2392935" y="415091"/>
                      <a:pt x="2392435" y="420013"/>
                    </a:cubicBezTo>
                    <a:cubicBezTo>
                      <a:pt x="2392018" y="427104"/>
                      <a:pt x="2391518" y="434195"/>
                      <a:pt x="2392435" y="440868"/>
                    </a:cubicBezTo>
                    <a:cubicBezTo>
                      <a:pt x="2392852" y="445290"/>
                      <a:pt x="2394187" y="449711"/>
                      <a:pt x="2395939" y="454633"/>
                    </a:cubicBezTo>
                    <a:cubicBezTo>
                      <a:pt x="2396856" y="457302"/>
                      <a:pt x="2397274" y="459471"/>
                      <a:pt x="2398192" y="462141"/>
                    </a:cubicBezTo>
                    <a:cubicBezTo>
                      <a:pt x="2405283" y="490087"/>
                      <a:pt x="2401278" y="519284"/>
                      <a:pt x="2397274" y="545394"/>
                    </a:cubicBezTo>
                    <a:cubicBezTo>
                      <a:pt x="2395939" y="555572"/>
                      <a:pt x="2394187" y="567501"/>
                      <a:pt x="2387930" y="577761"/>
                    </a:cubicBezTo>
                    <a:cubicBezTo>
                      <a:pt x="2380838" y="590191"/>
                      <a:pt x="2368408" y="597699"/>
                      <a:pt x="2356061" y="596781"/>
                    </a:cubicBezTo>
                    <a:cubicBezTo>
                      <a:pt x="2350722" y="596364"/>
                      <a:pt x="2345883" y="594529"/>
                      <a:pt x="2341462" y="592360"/>
                    </a:cubicBezTo>
                    <a:cubicBezTo>
                      <a:pt x="2337456" y="590608"/>
                      <a:pt x="2333953" y="589273"/>
                      <a:pt x="2330365" y="589273"/>
                    </a:cubicBezTo>
                    <a:cubicBezTo>
                      <a:pt x="2326361" y="589273"/>
                      <a:pt x="2322356" y="591025"/>
                      <a:pt x="2317935" y="593278"/>
                    </a:cubicBezTo>
                    <a:cubicBezTo>
                      <a:pt x="2316183" y="594195"/>
                      <a:pt x="2314431" y="595030"/>
                      <a:pt x="2312595" y="595530"/>
                    </a:cubicBezTo>
                    <a:cubicBezTo>
                      <a:pt x="2301083" y="600368"/>
                      <a:pt x="2288652" y="601286"/>
                      <a:pt x="2277139" y="602621"/>
                    </a:cubicBezTo>
                    <a:cubicBezTo>
                      <a:pt x="2270048" y="603038"/>
                      <a:pt x="2263374" y="603956"/>
                      <a:pt x="2256783" y="605290"/>
                    </a:cubicBezTo>
                    <a:cubicBezTo>
                      <a:pt x="2248357" y="607042"/>
                      <a:pt x="2240431" y="610129"/>
                      <a:pt x="2232005" y="613299"/>
                    </a:cubicBezTo>
                    <a:cubicBezTo>
                      <a:pt x="2226249" y="615551"/>
                      <a:pt x="2220075" y="617720"/>
                      <a:pt x="2213818" y="619472"/>
                    </a:cubicBezTo>
                    <a:cubicBezTo>
                      <a:pt x="2193879" y="625228"/>
                      <a:pt x="2177027" y="624811"/>
                      <a:pt x="2163762" y="617720"/>
                    </a:cubicBezTo>
                    <a:cubicBezTo>
                      <a:pt x="2159340" y="615468"/>
                      <a:pt x="2155753" y="612381"/>
                      <a:pt x="2151832" y="609711"/>
                    </a:cubicBezTo>
                    <a:cubicBezTo>
                      <a:pt x="2149580" y="607960"/>
                      <a:pt x="2147410" y="606208"/>
                      <a:pt x="2144740" y="604873"/>
                    </a:cubicBezTo>
                    <a:cubicBezTo>
                      <a:pt x="2135397" y="599117"/>
                      <a:pt x="2124385" y="596031"/>
                      <a:pt x="2113289" y="593361"/>
                    </a:cubicBezTo>
                    <a:cubicBezTo>
                      <a:pt x="2096437" y="588940"/>
                      <a:pt x="2081420" y="585853"/>
                      <a:pt x="2068072" y="590692"/>
                    </a:cubicBezTo>
                    <a:cubicBezTo>
                      <a:pt x="2065819" y="591609"/>
                      <a:pt x="2064067" y="592443"/>
                      <a:pt x="2061898" y="593361"/>
                    </a:cubicBezTo>
                    <a:cubicBezTo>
                      <a:pt x="2059228" y="594696"/>
                      <a:pt x="2056142" y="596031"/>
                      <a:pt x="2052554" y="597365"/>
                    </a:cubicBezTo>
                    <a:cubicBezTo>
                      <a:pt x="2041041" y="600869"/>
                      <a:pt x="2029945" y="600035"/>
                      <a:pt x="2018850" y="598700"/>
                    </a:cubicBezTo>
                    <a:cubicBezTo>
                      <a:pt x="2012676" y="597782"/>
                      <a:pt x="2006920" y="597365"/>
                      <a:pt x="2001163" y="597782"/>
                    </a:cubicBezTo>
                    <a:cubicBezTo>
                      <a:pt x="1993655" y="598199"/>
                      <a:pt x="1989233" y="599534"/>
                      <a:pt x="1986063" y="602621"/>
                    </a:cubicBezTo>
                    <a:cubicBezTo>
                      <a:pt x="1978972" y="610129"/>
                      <a:pt x="1971463" y="615050"/>
                      <a:pt x="1962620" y="617720"/>
                    </a:cubicBezTo>
                    <a:cubicBezTo>
                      <a:pt x="1957781" y="619055"/>
                      <a:pt x="1952859" y="619972"/>
                      <a:pt x="1948437" y="620389"/>
                    </a:cubicBezTo>
                    <a:cubicBezTo>
                      <a:pt x="1942264" y="621307"/>
                      <a:pt x="1936007" y="622141"/>
                      <a:pt x="1931585" y="624394"/>
                    </a:cubicBezTo>
                    <a:cubicBezTo>
                      <a:pt x="1927580" y="626646"/>
                      <a:pt x="1923576" y="630149"/>
                      <a:pt x="1920489" y="634154"/>
                    </a:cubicBezTo>
                    <a:cubicBezTo>
                      <a:pt x="1915651" y="639493"/>
                      <a:pt x="1911145" y="644748"/>
                      <a:pt x="1908976" y="651005"/>
                    </a:cubicBezTo>
                    <a:cubicBezTo>
                      <a:pt x="1907225" y="657678"/>
                      <a:pt x="1908059" y="665186"/>
                      <a:pt x="1909394" y="672694"/>
                    </a:cubicBezTo>
                    <a:cubicBezTo>
                      <a:pt x="1910728" y="681537"/>
                      <a:pt x="1912063" y="691714"/>
                      <a:pt x="1917402" y="698805"/>
                    </a:cubicBezTo>
                    <a:cubicBezTo>
                      <a:pt x="1920072" y="702308"/>
                      <a:pt x="1924076" y="705478"/>
                      <a:pt x="1928499" y="708982"/>
                    </a:cubicBezTo>
                    <a:cubicBezTo>
                      <a:pt x="1935173" y="714321"/>
                      <a:pt x="1943098" y="720494"/>
                      <a:pt x="1946686" y="729837"/>
                    </a:cubicBezTo>
                    <a:cubicBezTo>
                      <a:pt x="1948437" y="735176"/>
                      <a:pt x="1948437" y="740014"/>
                      <a:pt x="1945767" y="744018"/>
                    </a:cubicBezTo>
                    <a:cubicBezTo>
                      <a:pt x="1944016" y="747105"/>
                      <a:pt x="1941346" y="749358"/>
                      <a:pt x="1937759" y="750692"/>
                    </a:cubicBezTo>
                    <a:cubicBezTo>
                      <a:pt x="1932002" y="752944"/>
                      <a:pt x="1926246" y="752944"/>
                      <a:pt x="1920906" y="752444"/>
                    </a:cubicBezTo>
                    <a:cubicBezTo>
                      <a:pt x="1916902" y="752444"/>
                      <a:pt x="1913398" y="752027"/>
                      <a:pt x="1910728" y="752861"/>
                    </a:cubicBezTo>
                    <a:cubicBezTo>
                      <a:pt x="1908059" y="753779"/>
                      <a:pt x="1905889" y="755531"/>
                      <a:pt x="1903220" y="757700"/>
                    </a:cubicBezTo>
                    <a:cubicBezTo>
                      <a:pt x="1900551" y="759952"/>
                      <a:pt x="1897464" y="762121"/>
                      <a:pt x="1893459" y="763873"/>
                    </a:cubicBezTo>
                    <a:cubicBezTo>
                      <a:pt x="1887285" y="766542"/>
                      <a:pt x="1880194" y="766542"/>
                      <a:pt x="1874437" y="766542"/>
                    </a:cubicBezTo>
                    <a:cubicBezTo>
                      <a:pt x="1873103" y="766542"/>
                      <a:pt x="1871768" y="766542"/>
                      <a:pt x="1870934" y="766542"/>
                    </a:cubicBezTo>
                    <a:cubicBezTo>
                      <a:pt x="1854582" y="766959"/>
                      <a:pt x="1837229" y="771380"/>
                      <a:pt x="1823130" y="778471"/>
                    </a:cubicBezTo>
                    <a:cubicBezTo>
                      <a:pt x="1820878" y="779389"/>
                      <a:pt x="1818708" y="780723"/>
                      <a:pt x="1816957" y="781975"/>
                    </a:cubicBezTo>
                    <a:cubicBezTo>
                      <a:pt x="1812535" y="784227"/>
                      <a:pt x="1808113" y="786813"/>
                      <a:pt x="1803191" y="788648"/>
                    </a:cubicBezTo>
                    <a:cubicBezTo>
                      <a:pt x="1796100" y="791318"/>
                      <a:pt x="1789009" y="792152"/>
                      <a:pt x="1781918" y="793070"/>
                    </a:cubicBezTo>
                    <a:cubicBezTo>
                      <a:pt x="1779665" y="793487"/>
                      <a:pt x="1777496" y="793487"/>
                      <a:pt x="1775243" y="793987"/>
                    </a:cubicBezTo>
                    <a:cubicBezTo>
                      <a:pt x="1756639" y="797074"/>
                      <a:pt x="1736700" y="804582"/>
                      <a:pt x="1714592" y="817011"/>
                    </a:cubicBezTo>
                    <a:cubicBezTo>
                      <a:pt x="1703997" y="823185"/>
                      <a:pt x="1692901" y="830275"/>
                      <a:pt x="1687144" y="840453"/>
                    </a:cubicBezTo>
                    <a:cubicBezTo>
                      <a:pt x="1683641" y="846626"/>
                      <a:pt x="1681388" y="854217"/>
                      <a:pt x="1679136" y="861725"/>
                    </a:cubicBezTo>
                    <a:cubicBezTo>
                      <a:pt x="1676466" y="871485"/>
                      <a:pt x="1673796" y="881662"/>
                      <a:pt x="1667206" y="890088"/>
                    </a:cubicBezTo>
                    <a:cubicBezTo>
                      <a:pt x="1665870" y="891840"/>
                      <a:pt x="1664536" y="893591"/>
                      <a:pt x="1663201" y="894926"/>
                    </a:cubicBezTo>
                    <a:cubicBezTo>
                      <a:pt x="1661449" y="897179"/>
                      <a:pt x="1659697" y="898930"/>
                      <a:pt x="1658362" y="901099"/>
                    </a:cubicBezTo>
                    <a:cubicBezTo>
                      <a:pt x="1654859" y="907272"/>
                      <a:pt x="1654859" y="916199"/>
                      <a:pt x="1654859" y="924541"/>
                    </a:cubicBezTo>
                    <a:lnTo>
                      <a:pt x="1654859" y="924958"/>
                    </a:lnTo>
                    <a:cubicBezTo>
                      <a:pt x="1654859" y="939139"/>
                      <a:pt x="1654442" y="954155"/>
                      <a:pt x="1650436" y="968837"/>
                    </a:cubicBezTo>
                    <a:cubicBezTo>
                      <a:pt x="1646015" y="985187"/>
                      <a:pt x="1636671" y="998952"/>
                      <a:pt x="1625158" y="1007377"/>
                    </a:cubicBezTo>
                    <a:cubicBezTo>
                      <a:pt x="1622906" y="1009129"/>
                      <a:pt x="1620320" y="1010464"/>
                      <a:pt x="1618067" y="1011798"/>
                    </a:cubicBezTo>
                    <a:cubicBezTo>
                      <a:pt x="1612728" y="1014885"/>
                      <a:pt x="1607889" y="1017972"/>
                      <a:pt x="1605637" y="1022393"/>
                    </a:cubicBezTo>
                    <a:cubicBezTo>
                      <a:pt x="1602967" y="1027231"/>
                      <a:pt x="1603884" y="1031736"/>
                      <a:pt x="1605220" y="1039244"/>
                    </a:cubicBezTo>
                    <a:cubicBezTo>
                      <a:pt x="1605637" y="1042330"/>
                      <a:pt x="1606554" y="1045417"/>
                      <a:pt x="1606554" y="1049004"/>
                    </a:cubicBezTo>
                    <a:cubicBezTo>
                      <a:pt x="1607472" y="1059181"/>
                      <a:pt x="1606971" y="1070693"/>
                      <a:pt x="1606137" y="1083540"/>
                    </a:cubicBezTo>
                    <a:cubicBezTo>
                      <a:pt x="1605720" y="1087044"/>
                      <a:pt x="1605220" y="1095052"/>
                      <a:pt x="1599463" y="1099890"/>
                    </a:cubicBezTo>
                    <a:cubicBezTo>
                      <a:pt x="1594624" y="1103895"/>
                      <a:pt x="1588868" y="1103895"/>
                      <a:pt x="1583946" y="1103895"/>
                    </a:cubicBezTo>
                    <a:cubicBezTo>
                      <a:pt x="1563089" y="1102977"/>
                      <a:pt x="1544067" y="1095052"/>
                      <a:pt x="1527716" y="1087044"/>
                    </a:cubicBezTo>
                    <a:cubicBezTo>
                      <a:pt x="1519290" y="1083040"/>
                      <a:pt x="1510029" y="1078201"/>
                      <a:pt x="1502938" y="1070693"/>
                    </a:cubicBezTo>
                    <a:cubicBezTo>
                      <a:pt x="1501603" y="1069358"/>
                      <a:pt x="1500685" y="1068024"/>
                      <a:pt x="1499851" y="1067190"/>
                    </a:cubicBezTo>
                    <a:cubicBezTo>
                      <a:pt x="1498934" y="1066272"/>
                      <a:pt x="1497599" y="1064520"/>
                      <a:pt x="1496765" y="1063686"/>
                    </a:cubicBezTo>
                    <a:cubicBezTo>
                      <a:pt x="1494095" y="1061016"/>
                      <a:pt x="1490591" y="1058848"/>
                      <a:pt x="1487004" y="1056178"/>
                    </a:cubicBezTo>
                    <a:lnTo>
                      <a:pt x="1473238" y="1047336"/>
                    </a:lnTo>
                    <a:cubicBezTo>
                      <a:pt x="1467064" y="1043331"/>
                      <a:pt x="1459973" y="1038493"/>
                      <a:pt x="1455051" y="1031402"/>
                    </a:cubicBezTo>
                    <a:cubicBezTo>
                      <a:pt x="1453299" y="1028733"/>
                      <a:pt x="1451964" y="1026063"/>
                      <a:pt x="1450629" y="1022977"/>
                    </a:cubicBezTo>
                    <a:cubicBezTo>
                      <a:pt x="1449295" y="1020307"/>
                      <a:pt x="1448377" y="1018138"/>
                      <a:pt x="1447126" y="1016303"/>
                    </a:cubicBezTo>
                    <a:cubicBezTo>
                      <a:pt x="1445373" y="1013634"/>
                      <a:pt x="1442286" y="1012299"/>
                      <a:pt x="1440952" y="1012799"/>
                    </a:cubicBezTo>
                    <a:cubicBezTo>
                      <a:pt x="1440035" y="1013216"/>
                      <a:pt x="1439200" y="1014134"/>
                      <a:pt x="1437865" y="1015469"/>
                    </a:cubicBezTo>
                    <a:cubicBezTo>
                      <a:pt x="1435612" y="1017721"/>
                      <a:pt x="1432526" y="1020808"/>
                      <a:pt x="1428104" y="1022143"/>
                    </a:cubicBezTo>
                    <a:cubicBezTo>
                      <a:pt x="1421931" y="1023477"/>
                      <a:pt x="1415257" y="1019890"/>
                      <a:pt x="1409917" y="1017304"/>
                    </a:cubicBezTo>
                    <a:cubicBezTo>
                      <a:pt x="1409000" y="1016887"/>
                      <a:pt x="1408165" y="1016386"/>
                      <a:pt x="1407664" y="1015969"/>
                    </a:cubicBezTo>
                    <a:cubicBezTo>
                      <a:pt x="1400156" y="1012466"/>
                      <a:pt x="1393482" y="1006209"/>
                      <a:pt x="1388143" y="1001371"/>
                    </a:cubicBezTo>
                    <a:lnTo>
                      <a:pt x="1386808" y="1000453"/>
                    </a:lnTo>
                    <a:cubicBezTo>
                      <a:pt x="1384556" y="998201"/>
                      <a:pt x="1382803" y="996449"/>
                      <a:pt x="1380634" y="995615"/>
                    </a:cubicBezTo>
                    <a:cubicBezTo>
                      <a:pt x="1377548" y="994280"/>
                      <a:pt x="1373126" y="994697"/>
                      <a:pt x="1368204" y="994697"/>
                    </a:cubicBezTo>
                    <a:lnTo>
                      <a:pt x="1365534" y="994697"/>
                    </a:lnTo>
                    <a:cubicBezTo>
                      <a:pt x="1350017" y="995615"/>
                      <a:pt x="1338504" y="991193"/>
                      <a:pt x="1332747" y="981850"/>
                    </a:cubicBezTo>
                    <a:cubicBezTo>
                      <a:pt x="1330494" y="978347"/>
                      <a:pt x="1329660" y="974760"/>
                      <a:pt x="1328743" y="971673"/>
                    </a:cubicBezTo>
                    <a:cubicBezTo>
                      <a:pt x="1327825" y="969004"/>
                      <a:pt x="1327408" y="966835"/>
                      <a:pt x="1326073" y="965000"/>
                    </a:cubicBezTo>
                    <a:cubicBezTo>
                      <a:pt x="1322569" y="959660"/>
                      <a:pt x="1313226" y="959243"/>
                      <a:pt x="1309221" y="959243"/>
                    </a:cubicBezTo>
                    <a:cubicBezTo>
                      <a:pt x="1306969" y="959243"/>
                      <a:pt x="1304382" y="959660"/>
                      <a:pt x="1302129" y="959660"/>
                    </a:cubicBezTo>
                    <a:cubicBezTo>
                      <a:pt x="1295455" y="960078"/>
                      <a:pt x="1288865" y="960995"/>
                      <a:pt x="1281774" y="959243"/>
                    </a:cubicBezTo>
                    <a:cubicBezTo>
                      <a:pt x="1278270" y="958326"/>
                      <a:pt x="1275600" y="957492"/>
                      <a:pt x="1272430" y="956157"/>
                    </a:cubicBezTo>
                    <a:cubicBezTo>
                      <a:pt x="1270678" y="955239"/>
                      <a:pt x="1268926" y="954822"/>
                      <a:pt x="1267090" y="954405"/>
                    </a:cubicBezTo>
                    <a:cubicBezTo>
                      <a:pt x="1262669" y="953070"/>
                      <a:pt x="1258247" y="953070"/>
                      <a:pt x="1257330" y="953487"/>
                    </a:cubicBezTo>
                    <a:cubicBezTo>
                      <a:pt x="1256412" y="953905"/>
                      <a:pt x="1255077" y="956574"/>
                      <a:pt x="1254243" y="957909"/>
                    </a:cubicBezTo>
                    <a:cubicBezTo>
                      <a:pt x="1252908" y="960161"/>
                      <a:pt x="1251156" y="963248"/>
                      <a:pt x="1248903" y="965417"/>
                    </a:cubicBezTo>
                    <a:cubicBezTo>
                      <a:pt x="1246233" y="967669"/>
                      <a:pt x="1243564" y="969421"/>
                      <a:pt x="1240895" y="970755"/>
                    </a:cubicBezTo>
                    <a:cubicBezTo>
                      <a:pt x="1239142" y="971673"/>
                      <a:pt x="1237390" y="972507"/>
                      <a:pt x="1236056" y="973842"/>
                    </a:cubicBezTo>
                    <a:cubicBezTo>
                      <a:pt x="1234303" y="975177"/>
                      <a:pt x="1232969" y="977846"/>
                      <a:pt x="1231634" y="980516"/>
                    </a:cubicBezTo>
                    <a:cubicBezTo>
                      <a:pt x="1229882" y="983602"/>
                      <a:pt x="1228130" y="987189"/>
                      <a:pt x="1225461" y="990276"/>
                    </a:cubicBezTo>
                    <a:cubicBezTo>
                      <a:pt x="1222791" y="992945"/>
                      <a:pt x="1219704" y="995114"/>
                      <a:pt x="1217034" y="996949"/>
                    </a:cubicBezTo>
                    <a:cubicBezTo>
                      <a:pt x="1213948" y="999202"/>
                      <a:pt x="1211278" y="1000954"/>
                      <a:pt x="1210360" y="1002706"/>
                    </a:cubicBezTo>
                    <a:cubicBezTo>
                      <a:pt x="1209943" y="1004040"/>
                      <a:pt x="1210360" y="1006209"/>
                      <a:pt x="1211695" y="1008461"/>
                    </a:cubicBezTo>
                    <a:cubicBezTo>
                      <a:pt x="1213447" y="1010714"/>
                      <a:pt x="1215699" y="1012883"/>
                      <a:pt x="1218369" y="1015552"/>
                    </a:cubicBezTo>
                    <a:lnTo>
                      <a:pt x="1218786" y="1015969"/>
                    </a:lnTo>
                    <a:cubicBezTo>
                      <a:pt x="1223208" y="1019473"/>
                      <a:pt x="1227212" y="1023477"/>
                      <a:pt x="1231634" y="1027481"/>
                    </a:cubicBezTo>
                    <a:cubicBezTo>
                      <a:pt x="1234721" y="1030568"/>
                      <a:pt x="1237808" y="1033654"/>
                      <a:pt x="1240060" y="1037659"/>
                    </a:cubicBezTo>
                    <a:cubicBezTo>
                      <a:pt x="1245399" y="1047002"/>
                      <a:pt x="1245399" y="1057596"/>
                      <a:pt x="1244482" y="1067356"/>
                    </a:cubicBezTo>
                    <a:cubicBezTo>
                      <a:pt x="1244065" y="1074447"/>
                      <a:pt x="1243147" y="1081538"/>
                      <a:pt x="1242229" y="1088212"/>
                    </a:cubicBezTo>
                    <a:cubicBezTo>
                      <a:pt x="1241812" y="1091715"/>
                      <a:pt x="1241312" y="1095719"/>
                      <a:pt x="1240895" y="1099307"/>
                    </a:cubicBezTo>
                    <a:cubicBezTo>
                      <a:pt x="1240895" y="1101058"/>
                      <a:pt x="1240477" y="1102810"/>
                      <a:pt x="1239976" y="1105063"/>
                    </a:cubicBezTo>
                    <a:cubicBezTo>
                      <a:pt x="1239559" y="1107315"/>
                      <a:pt x="1239059" y="1109484"/>
                      <a:pt x="1239059" y="1111236"/>
                    </a:cubicBezTo>
                    <a:cubicBezTo>
                      <a:pt x="1239059" y="1112987"/>
                      <a:pt x="1239059" y="1114739"/>
                      <a:pt x="1239059" y="1116575"/>
                    </a:cubicBezTo>
                    <a:cubicBezTo>
                      <a:pt x="1239059" y="1120078"/>
                      <a:pt x="1239059" y="1123665"/>
                      <a:pt x="1238642" y="1127169"/>
                    </a:cubicBezTo>
                    <a:cubicBezTo>
                      <a:pt x="1237307" y="1147523"/>
                      <a:pt x="1231133" y="1167961"/>
                      <a:pt x="1220955" y="1190485"/>
                    </a:cubicBezTo>
                    <a:cubicBezTo>
                      <a:pt x="1211611" y="1211340"/>
                      <a:pt x="1199681" y="1230360"/>
                      <a:pt x="1187751" y="1249380"/>
                    </a:cubicBezTo>
                    <a:cubicBezTo>
                      <a:pt x="1184665" y="1254218"/>
                      <a:pt x="1181995" y="1259140"/>
                      <a:pt x="1178909" y="1263979"/>
                    </a:cubicBezTo>
                    <a:cubicBezTo>
                      <a:pt x="1164309" y="1288338"/>
                      <a:pt x="1147456" y="1304771"/>
                      <a:pt x="1126600" y="1315783"/>
                    </a:cubicBezTo>
                    <a:cubicBezTo>
                      <a:pt x="1119091" y="1319787"/>
                      <a:pt x="1111499" y="1322874"/>
                      <a:pt x="1103991" y="1325960"/>
                    </a:cubicBezTo>
                    <a:cubicBezTo>
                      <a:pt x="1099986" y="1327712"/>
                      <a:pt x="1095565" y="1329464"/>
                      <a:pt x="1091561" y="1331299"/>
                    </a:cubicBezTo>
                    <a:cubicBezTo>
                      <a:pt x="1084469" y="1334385"/>
                      <a:pt x="1076961" y="1338390"/>
                      <a:pt x="1069870" y="1341893"/>
                    </a:cubicBezTo>
                    <a:cubicBezTo>
                      <a:pt x="1059274" y="1347232"/>
                      <a:pt x="1048179" y="1352988"/>
                      <a:pt x="1036666" y="1357410"/>
                    </a:cubicBezTo>
                    <a:cubicBezTo>
                      <a:pt x="1019813" y="1363583"/>
                      <a:pt x="995035" y="1368921"/>
                      <a:pt x="972427" y="1358744"/>
                    </a:cubicBezTo>
                    <a:cubicBezTo>
                      <a:pt x="967588" y="1356492"/>
                      <a:pt x="963083" y="1353906"/>
                      <a:pt x="959162" y="1351237"/>
                    </a:cubicBezTo>
                    <a:cubicBezTo>
                      <a:pt x="956909" y="1349902"/>
                      <a:pt x="954740" y="1348567"/>
                      <a:pt x="952488" y="1347232"/>
                    </a:cubicBezTo>
                    <a:cubicBezTo>
                      <a:pt x="944979" y="1343228"/>
                      <a:pt x="936971" y="1340141"/>
                      <a:pt x="928544" y="1338390"/>
                    </a:cubicBezTo>
                    <a:cubicBezTo>
                      <a:pt x="921870" y="1337055"/>
                      <a:pt x="915280" y="1336137"/>
                      <a:pt x="907687" y="1335720"/>
                    </a:cubicBezTo>
                    <a:cubicBezTo>
                      <a:pt x="893922" y="1334385"/>
                      <a:pt x="879322" y="1333051"/>
                      <a:pt x="866475" y="1325960"/>
                    </a:cubicBezTo>
                    <a:cubicBezTo>
                      <a:pt x="846953" y="1315366"/>
                      <a:pt x="836357" y="1295845"/>
                      <a:pt x="826179" y="1276825"/>
                    </a:cubicBezTo>
                    <a:cubicBezTo>
                      <a:pt x="824428" y="1273322"/>
                      <a:pt x="822175" y="1269735"/>
                      <a:pt x="820423" y="1266231"/>
                    </a:cubicBezTo>
                    <a:cubicBezTo>
                      <a:pt x="808493" y="1244959"/>
                      <a:pt x="793810" y="1226356"/>
                      <a:pt x="775706" y="1210005"/>
                    </a:cubicBezTo>
                    <a:cubicBezTo>
                      <a:pt x="772620" y="1206919"/>
                      <a:pt x="768198" y="1203832"/>
                      <a:pt x="765111" y="1203832"/>
                    </a:cubicBezTo>
                    <a:cubicBezTo>
                      <a:pt x="760272" y="1204249"/>
                      <a:pt x="756685" y="1212675"/>
                      <a:pt x="754933" y="1219349"/>
                    </a:cubicBezTo>
                    <a:cubicBezTo>
                      <a:pt x="751429" y="1232612"/>
                      <a:pt x="747842" y="1246794"/>
                      <a:pt x="746924" y="1260975"/>
                    </a:cubicBezTo>
                    <a:cubicBezTo>
                      <a:pt x="746924" y="1263228"/>
                      <a:pt x="746507" y="1265814"/>
                      <a:pt x="746006" y="1268483"/>
                    </a:cubicBezTo>
                    <a:cubicBezTo>
                      <a:pt x="745589" y="1271987"/>
                      <a:pt x="745089" y="1275157"/>
                      <a:pt x="745089" y="1278244"/>
                    </a:cubicBezTo>
                    <a:cubicBezTo>
                      <a:pt x="745089" y="1282248"/>
                      <a:pt x="746841" y="1287086"/>
                      <a:pt x="748592" y="1291507"/>
                    </a:cubicBezTo>
                    <a:cubicBezTo>
                      <a:pt x="749009" y="1292842"/>
                      <a:pt x="749510" y="1294177"/>
                      <a:pt x="749928" y="1295011"/>
                    </a:cubicBezTo>
                    <a:cubicBezTo>
                      <a:pt x="757436" y="1314949"/>
                      <a:pt x="760523" y="1338390"/>
                      <a:pt x="759689" y="1364083"/>
                    </a:cubicBezTo>
                    <a:cubicBezTo>
                      <a:pt x="758771" y="1387524"/>
                      <a:pt x="754849" y="1410632"/>
                      <a:pt x="750345" y="1431821"/>
                    </a:cubicBezTo>
                    <a:cubicBezTo>
                      <a:pt x="749427" y="1437160"/>
                      <a:pt x="748092" y="1443333"/>
                      <a:pt x="744588" y="1448671"/>
                    </a:cubicBezTo>
                    <a:cubicBezTo>
                      <a:pt x="734827" y="1463771"/>
                      <a:pt x="714054" y="1465940"/>
                      <a:pt x="702040" y="1466357"/>
                    </a:cubicBezTo>
                    <a:cubicBezTo>
                      <a:pt x="687858" y="1466357"/>
                      <a:pt x="673675" y="1467692"/>
                      <a:pt x="663914" y="1476117"/>
                    </a:cubicBezTo>
                    <a:cubicBezTo>
                      <a:pt x="653319" y="1485460"/>
                      <a:pt x="649731" y="1501393"/>
                      <a:pt x="647062" y="1515575"/>
                    </a:cubicBezTo>
                    <a:lnTo>
                      <a:pt x="646645" y="1517327"/>
                    </a:lnTo>
                    <a:cubicBezTo>
                      <a:pt x="643976" y="1533260"/>
                      <a:pt x="640889" y="1551029"/>
                      <a:pt x="628959" y="1564292"/>
                    </a:cubicBezTo>
                    <a:cubicBezTo>
                      <a:pt x="620115" y="1574053"/>
                      <a:pt x="608102" y="1579809"/>
                      <a:pt x="597507" y="1584230"/>
                    </a:cubicBezTo>
                    <a:cubicBezTo>
                      <a:pt x="589081" y="1587734"/>
                      <a:pt x="578903" y="1591738"/>
                      <a:pt x="568307" y="1593990"/>
                    </a:cubicBezTo>
                    <a:cubicBezTo>
                      <a:pt x="542195" y="1599329"/>
                      <a:pt x="514747" y="1595325"/>
                      <a:pt x="490803" y="1591321"/>
                    </a:cubicBezTo>
                    <a:cubicBezTo>
                      <a:pt x="484129" y="1590403"/>
                      <a:pt x="476621" y="1589068"/>
                      <a:pt x="469529" y="1585565"/>
                    </a:cubicBezTo>
                    <a:cubicBezTo>
                      <a:pt x="459352" y="1580726"/>
                      <a:pt x="452261" y="1571800"/>
                      <a:pt x="446087" y="1563875"/>
                    </a:cubicBezTo>
                    <a:cubicBezTo>
                      <a:pt x="442583" y="1559454"/>
                      <a:pt x="438078" y="1554115"/>
                      <a:pt x="435909" y="1547525"/>
                    </a:cubicBezTo>
                    <a:cubicBezTo>
                      <a:pt x="433656" y="1541352"/>
                      <a:pt x="433239" y="1535095"/>
                      <a:pt x="432822" y="1529339"/>
                    </a:cubicBezTo>
                    <a:cubicBezTo>
                      <a:pt x="431904" y="1511153"/>
                      <a:pt x="431904" y="1490382"/>
                      <a:pt x="437244" y="1472613"/>
                    </a:cubicBezTo>
                    <a:cubicBezTo>
                      <a:pt x="442583" y="1455762"/>
                      <a:pt x="445670" y="1442916"/>
                      <a:pt x="441665" y="1426982"/>
                    </a:cubicBezTo>
                    <a:cubicBezTo>
                      <a:pt x="440330" y="1421643"/>
                      <a:pt x="438578" y="1418140"/>
                      <a:pt x="435909" y="1415887"/>
                    </a:cubicBezTo>
                    <a:cubicBezTo>
                      <a:pt x="429235" y="1410549"/>
                      <a:pt x="417722" y="1414970"/>
                      <a:pt x="411548" y="1417639"/>
                    </a:cubicBezTo>
                    <a:cubicBezTo>
                      <a:pt x="368166" y="1437994"/>
                      <a:pt x="337132" y="1478786"/>
                      <a:pt x="307431" y="1521748"/>
                    </a:cubicBezTo>
                    <a:cubicBezTo>
                      <a:pt x="301258" y="1531091"/>
                      <a:pt x="294584" y="1540351"/>
                      <a:pt x="284823" y="1547441"/>
                    </a:cubicBezTo>
                    <a:cubicBezTo>
                      <a:pt x="272893" y="1555867"/>
                      <a:pt x="258711" y="1557619"/>
                      <a:pt x="247614" y="1552781"/>
                    </a:cubicBezTo>
                    <a:cubicBezTo>
                      <a:pt x="242776" y="1550528"/>
                      <a:pt x="239188" y="1547441"/>
                      <a:pt x="235684" y="1544355"/>
                    </a:cubicBezTo>
                    <a:cubicBezTo>
                      <a:pt x="234767" y="1543437"/>
                      <a:pt x="233933" y="1543020"/>
                      <a:pt x="233432" y="1542102"/>
                    </a:cubicBezTo>
                    <a:cubicBezTo>
                      <a:pt x="224088" y="1534595"/>
                      <a:pt x="213076" y="1528839"/>
                      <a:pt x="201563" y="1526169"/>
                    </a:cubicBezTo>
                    <a:cubicBezTo>
                      <a:pt x="201563" y="1526586"/>
                      <a:pt x="201563" y="1527504"/>
                      <a:pt x="201563" y="1528422"/>
                    </a:cubicBezTo>
                    <a:cubicBezTo>
                      <a:pt x="202481" y="1550528"/>
                      <a:pt x="190968" y="1572718"/>
                      <a:pt x="171863" y="1586899"/>
                    </a:cubicBezTo>
                    <a:cubicBezTo>
                      <a:pt x="166524" y="1590903"/>
                      <a:pt x="159933" y="1595742"/>
                      <a:pt x="152842" y="1597076"/>
                    </a:cubicBezTo>
                    <a:cubicBezTo>
                      <a:pt x="145333" y="1598411"/>
                      <a:pt x="138659" y="1596159"/>
                      <a:pt x="132485" y="1594407"/>
                    </a:cubicBezTo>
                    <a:lnTo>
                      <a:pt x="131568" y="1593990"/>
                    </a:lnTo>
                    <a:cubicBezTo>
                      <a:pt x="109877" y="1587317"/>
                      <a:pt x="86851" y="1587317"/>
                      <a:pt x="65160" y="1593072"/>
                    </a:cubicBezTo>
                    <a:cubicBezTo>
                      <a:pt x="50060" y="1597076"/>
                      <a:pt x="38130" y="1603250"/>
                      <a:pt x="29704" y="1612092"/>
                    </a:cubicBezTo>
                    <a:cubicBezTo>
                      <a:pt x="25699" y="1616514"/>
                      <a:pt x="22195" y="1621435"/>
                      <a:pt x="18607" y="1626274"/>
                    </a:cubicBezTo>
                    <a:lnTo>
                      <a:pt x="3090" y="1648881"/>
                    </a:lnTo>
                    <a:cubicBezTo>
                      <a:pt x="4842" y="1659058"/>
                      <a:pt x="3508" y="1668818"/>
                      <a:pt x="1756" y="1678578"/>
                    </a:cubicBezTo>
                    <a:cubicBezTo>
                      <a:pt x="421" y="1687421"/>
                      <a:pt x="-914" y="1696264"/>
                      <a:pt x="838" y="1704689"/>
                    </a:cubicBezTo>
                    <a:cubicBezTo>
                      <a:pt x="3090" y="1714449"/>
                      <a:pt x="8847" y="1719788"/>
                      <a:pt x="15938" y="1725961"/>
                    </a:cubicBezTo>
                    <a:cubicBezTo>
                      <a:pt x="21694" y="1731300"/>
                      <a:pt x="28369" y="1737056"/>
                      <a:pt x="32290" y="1745899"/>
                    </a:cubicBezTo>
                    <a:cubicBezTo>
                      <a:pt x="36294" y="1754324"/>
                      <a:pt x="37128" y="1762750"/>
                      <a:pt x="37629" y="1771175"/>
                    </a:cubicBezTo>
                    <a:cubicBezTo>
                      <a:pt x="38047" y="1779601"/>
                      <a:pt x="38547" y="1787526"/>
                      <a:pt x="42968" y="1794199"/>
                    </a:cubicBezTo>
                    <a:cubicBezTo>
                      <a:pt x="45638" y="1798621"/>
                      <a:pt x="50477" y="1802208"/>
                      <a:pt x="55399" y="1806629"/>
                    </a:cubicBezTo>
                    <a:cubicBezTo>
                      <a:pt x="66495" y="1815972"/>
                      <a:pt x="81094" y="1828318"/>
                      <a:pt x="72669" y="1849173"/>
                    </a:cubicBezTo>
                    <a:cubicBezTo>
                      <a:pt x="70916" y="1854512"/>
                      <a:pt x="67329" y="1858934"/>
                      <a:pt x="64242" y="1862437"/>
                    </a:cubicBezTo>
                    <a:cubicBezTo>
                      <a:pt x="62490" y="1865107"/>
                      <a:pt x="60238" y="1867276"/>
                      <a:pt x="58903" y="1869945"/>
                    </a:cubicBezTo>
                    <a:cubicBezTo>
                      <a:pt x="56651" y="1873949"/>
                      <a:pt x="54898" y="1877954"/>
                      <a:pt x="53564" y="1882375"/>
                    </a:cubicBezTo>
                    <a:cubicBezTo>
                      <a:pt x="51812" y="1886796"/>
                      <a:pt x="50060" y="1892135"/>
                      <a:pt x="47390" y="1896556"/>
                    </a:cubicBezTo>
                    <a:lnTo>
                      <a:pt x="46472" y="1897891"/>
                    </a:lnTo>
                    <a:cubicBezTo>
                      <a:pt x="41133" y="1907234"/>
                      <a:pt x="39381" y="1910321"/>
                      <a:pt x="42468" y="1919997"/>
                    </a:cubicBezTo>
                    <a:lnTo>
                      <a:pt x="43803" y="1924836"/>
                    </a:lnTo>
                    <a:cubicBezTo>
                      <a:pt x="46055" y="1932844"/>
                      <a:pt x="48224" y="1939017"/>
                      <a:pt x="46472" y="1950946"/>
                    </a:cubicBezTo>
                    <a:cubicBezTo>
                      <a:pt x="45555" y="1954450"/>
                      <a:pt x="45138" y="1957620"/>
                      <a:pt x="44220" y="1961124"/>
                    </a:cubicBezTo>
                    <a:cubicBezTo>
                      <a:pt x="40716" y="1977474"/>
                      <a:pt x="39381" y="1987735"/>
                      <a:pt x="50894" y="1993908"/>
                    </a:cubicBezTo>
                    <a:cubicBezTo>
                      <a:pt x="60655" y="1999247"/>
                      <a:pt x="70833" y="1995660"/>
                      <a:pt x="82763" y="1991238"/>
                    </a:cubicBezTo>
                    <a:cubicBezTo>
                      <a:pt x="90772" y="1988152"/>
                      <a:pt x="99114" y="1985482"/>
                      <a:pt x="108041" y="1985065"/>
                    </a:cubicBezTo>
                    <a:cubicBezTo>
                      <a:pt x="120889" y="1985065"/>
                      <a:pt x="131985" y="1989904"/>
                      <a:pt x="142997" y="1994826"/>
                    </a:cubicBezTo>
                    <a:cubicBezTo>
                      <a:pt x="151006" y="1998329"/>
                      <a:pt x="158514" y="2001916"/>
                      <a:pt x="166440" y="2002834"/>
                    </a:cubicBezTo>
                    <a:cubicBezTo>
                      <a:pt x="179288" y="2004586"/>
                      <a:pt x="191218" y="2003751"/>
                      <a:pt x="201396" y="2000165"/>
                    </a:cubicBezTo>
                    <a:cubicBezTo>
                      <a:pt x="203649" y="1999247"/>
                      <a:pt x="206235" y="1997912"/>
                      <a:pt x="208905" y="1996661"/>
                    </a:cubicBezTo>
                    <a:cubicBezTo>
                      <a:pt x="214243" y="1993574"/>
                      <a:pt x="219500" y="1990488"/>
                      <a:pt x="225256" y="1989987"/>
                    </a:cubicBezTo>
                    <a:cubicBezTo>
                      <a:pt x="227509" y="1989570"/>
                      <a:pt x="229677" y="1989570"/>
                      <a:pt x="231930" y="1989987"/>
                    </a:cubicBezTo>
                    <a:cubicBezTo>
                      <a:pt x="234600" y="1990404"/>
                      <a:pt x="236769" y="1991739"/>
                      <a:pt x="239021" y="1993074"/>
                    </a:cubicBezTo>
                    <a:cubicBezTo>
                      <a:pt x="247031" y="1997912"/>
                      <a:pt x="252287" y="2009007"/>
                      <a:pt x="256708" y="2017850"/>
                    </a:cubicBezTo>
                    <a:cubicBezTo>
                      <a:pt x="257625" y="2020519"/>
                      <a:pt x="258961" y="2023189"/>
                      <a:pt x="260212" y="2024941"/>
                    </a:cubicBezTo>
                    <a:cubicBezTo>
                      <a:pt x="273476" y="2047547"/>
                      <a:pt x="267303" y="2056807"/>
                      <a:pt x="255791" y="2069654"/>
                    </a:cubicBezTo>
                    <a:cubicBezTo>
                      <a:pt x="253121" y="2072323"/>
                      <a:pt x="250451" y="2075827"/>
                      <a:pt x="247364" y="2079414"/>
                    </a:cubicBezTo>
                    <a:cubicBezTo>
                      <a:pt x="242525" y="2085170"/>
                      <a:pt x="241191" y="2091844"/>
                      <a:pt x="242943" y="2095765"/>
                    </a:cubicBezTo>
                    <a:cubicBezTo>
                      <a:pt x="245195" y="2099769"/>
                      <a:pt x="251368" y="2100603"/>
                      <a:pt x="254872" y="2100603"/>
                    </a:cubicBezTo>
                    <a:cubicBezTo>
                      <a:pt x="255290" y="2100603"/>
                      <a:pt x="255290" y="2100603"/>
                      <a:pt x="255290" y="2100603"/>
                    </a:cubicBezTo>
                    <a:cubicBezTo>
                      <a:pt x="261046" y="2100603"/>
                      <a:pt x="266802" y="2099268"/>
                      <a:pt x="273476" y="2097934"/>
                    </a:cubicBezTo>
                    <a:cubicBezTo>
                      <a:pt x="283655" y="2095264"/>
                      <a:pt x="296086" y="2092594"/>
                      <a:pt x="308933" y="2097517"/>
                    </a:cubicBezTo>
                    <a:cubicBezTo>
                      <a:pt x="326619" y="2104190"/>
                      <a:pt x="337715" y="2120123"/>
                      <a:pt x="344806" y="2133387"/>
                    </a:cubicBezTo>
                    <a:cubicBezTo>
                      <a:pt x="349229" y="2140895"/>
                      <a:pt x="352816" y="2148903"/>
                      <a:pt x="355903" y="2156828"/>
                    </a:cubicBezTo>
                    <a:cubicBezTo>
                      <a:pt x="359406" y="2164837"/>
                      <a:pt x="362577" y="2172762"/>
                      <a:pt x="366998" y="2180269"/>
                    </a:cubicBezTo>
                    <a:cubicBezTo>
                      <a:pt x="368333" y="2182021"/>
                      <a:pt x="369668" y="2184274"/>
                      <a:pt x="371420" y="2186442"/>
                    </a:cubicBezTo>
                    <a:cubicBezTo>
                      <a:pt x="375841" y="2192199"/>
                      <a:pt x="380263" y="2198872"/>
                      <a:pt x="381181" y="2205963"/>
                    </a:cubicBezTo>
                    <a:cubicBezTo>
                      <a:pt x="382515" y="2216140"/>
                      <a:pt x="378094" y="2221896"/>
                      <a:pt x="374507" y="2226318"/>
                    </a:cubicBezTo>
                    <a:cubicBezTo>
                      <a:pt x="373589" y="2227653"/>
                      <a:pt x="372254" y="2228987"/>
                      <a:pt x="371003" y="2231156"/>
                    </a:cubicBezTo>
                    <a:cubicBezTo>
                      <a:pt x="364829" y="2242251"/>
                      <a:pt x="365663" y="2246672"/>
                      <a:pt x="366581" y="2248007"/>
                    </a:cubicBezTo>
                    <a:cubicBezTo>
                      <a:pt x="368333" y="2252011"/>
                      <a:pt x="379846" y="2253763"/>
                      <a:pt x="389607" y="2255098"/>
                    </a:cubicBezTo>
                    <a:cubicBezTo>
                      <a:pt x="401119" y="2256433"/>
                      <a:pt x="412633" y="2258184"/>
                      <a:pt x="421059" y="2263940"/>
                    </a:cubicBezTo>
                    <a:cubicBezTo>
                      <a:pt x="446337" y="2281208"/>
                      <a:pt x="437911" y="2304733"/>
                      <a:pt x="430820" y="2323753"/>
                    </a:cubicBezTo>
                    <a:cubicBezTo>
                      <a:pt x="424646" y="2342356"/>
                      <a:pt x="421059" y="2353868"/>
                      <a:pt x="429902" y="2364045"/>
                    </a:cubicBezTo>
                    <a:cubicBezTo>
                      <a:pt x="433406" y="2368883"/>
                      <a:pt x="437410" y="2372470"/>
                      <a:pt x="440998" y="2375974"/>
                    </a:cubicBezTo>
                    <a:cubicBezTo>
                      <a:pt x="450341" y="2384817"/>
                      <a:pt x="459602" y="2393242"/>
                      <a:pt x="464024" y="2410510"/>
                    </a:cubicBezTo>
                    <a:cubicBezTo>
                      <a:pt x="468028" y="2425109"/>
                      <a:pt x="472032" y="2431365"/>
                      <a:pt x="488384" y="2436204"/>
                    </a:cubicBezTo>
                    <a:cubicBezTo>
                      <a:pt x="491054" y="2436621"/>
                      <a:pt x="495059" y="2437121"/>
                      <a:pt x="499480" y="2437538"/>
                    </a:cubicBezTo>
                    <a:cubicBezTo>
                      <a:pt x="510576" y="2438456"/>
                      <a:pt x="524258" y="2439290"/>
                      <a:pt x="530932" y="2451303"/>
                    </a:cubicBezTo>
                    <a:cubicBezTo>
                      <a:pt x="538023" y="2463733"/>
                      <a:pt x="533602" y="2483670"/>
                      <a:pt x="530014" y="2501355"/>
                    </a:cubicBezTo>
                    <a:cubicBezTo>
                      <a:pt x="528679" y="2507528"/>
                      <a:pt x="527345" y="2513284"/>
                      <a:pt x="526928" y="2517705"/>
                    </a:cubicBezTo>
                    <a:cubicBezTo>
                      <a:pt x="526010" y="2530135"/>
                      <a:pt x="522923" y="2542481"/>
                      <a:pt x="520254" y="2554494"/>
                    </a:cubicBezTo>
                    <a:cubicBezTo>
                      <a:pt x="516750" y="2568675"/>
                      <a:pt x="513580" y="2582440"/>
                      <a:pt x="513162" y="2595704"/>
                    </a:cubicBezTo>
                    <a:cubicBezTo>
                      <a:pt x="513162" y="2605047"/>
                      <a:pt x="514497" y="2613889"/>
                      <a:pt x="516249" y="2623149"/>
                    </a:cubicBezTo>
                    <a:cubicBezTo>
                      <a:pt x="518918" y="2635996"/>
                      <a:pt x="521588" y="2649760"/>
                      <a:pt x="518501" y="2664359"/>
                    </a:cubicBezTo>
                    <a:cubicBezTo>
                      <a:pt x="515414" y="2678957"/>
                      <a:pt x="515414" y="2692305"/>
                      <a:pt x="515831" y="2706403"/>
                    </a:cubicBezTo>
                    <a:cubicBezTo>
                      <a:pt x="515831" y="2714411"/>
                      <a:pt x="515831" y="2722336"/>
                      <a:pt x="515414" y="2730761"/>
                    </a:cubicBezTo>
                    <a:cubicBezTo>
                      <a:pt x="514497" y="2750699"/>
                      <a:pt x="514497" y="2750699"/>
                      <a:pt x="531766" y="2761794"/>
                    </a:cubicBezTo>
                    <a:cubicBezTo>
                      <a:pt x="537940" y="2765798"/>
                      <a:pt x="542862" y="2771971"/>
                      <a:pt x="547701" y="2777727"/>
                    </a:cubicBezTo>
                    <a:cubicBezTo>
                      <a:pt x="553457" y="2785235"/>
                      <a:pt x="559213" y="2791909"/>
                      <a:pt x="566305" y="2793661"/>
                    </a:cubicBezTo>
                    <a:cubicBezTo>
                      <a:pt x="579570" y="2797164"/>
                      <a:pt x="601261" y="2785652"/>
                      <a:pt x="608352" y="2775058"/>
                    </a:cubicBezTo>
                    <a:cubicBezTo>
                      <a:pt x="610104" y="2772388"/>
                      <a:pt x="610605" y="2768384"/>
                      <a:pt x="611022" y="2763963"/>
                    </a:cubicBezTo>
                    <a:cubicBezTo>
                      <a:pt x="611939" y="2758207"/>
                      <a:pt x="612356" y="2751533"/>
                      <a:pt x="616778" y="2745777"/>
                    </a:cubicBezTo>
                    <a:cubicBezTo>
                      <a:pt x="622952" y="2737352"/>
                      <a:pt x="632713" y="2736017"/>
                      <a:pt x="640221" y="2734682"/>
                    </a:cubicBezTo>
                    <a:cubicBezTo>
                      <a:pt x="642474" y="2734265"/>
                      <a:pt x="644226" y="2733764"/>
                      <a:pt x="646394" y="2733347"/>
                    </a:cubicBezTo>
                    <a:cubicBezTo>
                      <a:pt x="662329" y="2729844"/>
                      <a:pt x="691612" y="2723170"/>
                      <a:pt x="706212" y="2709406"/>
                    </a:cubicBezTo>
                    <a:cubicBezTo>
                      <a:pt x="708881" y="2706319"/>
                      <a:pt x="711968" y="2700063"/>
                      <a:pt x="715055" y="2693890"/>
                    </a:cubicBezTo>
                    <a:cubicBezTo>
                      <a:pt x="722147" y="2679708"/>
                      <a:pt x="730572" y="2663358"/>
                      <a:pt x="745172" y="2664192"/>
                    </a:cubicBezTo>
                    <a:cubicBezTo>
                      <a:pt x="760689" y="2665527"/>
                      <a:pt x="771285" y="2680125"/>
                      <a:pt x="776624" y="2708071"/>
                    </a:cubicBezTo>
                    <a:lnTo>
                      <a:pt x="777041" y="2710740"/>
                    </a:lnTo>
                    <a:cubicBezTo>
                      <a:pt x="778793" y="2720084"/>
                      <a:pt x="780545" y="2723170"/>
                      <a:pt x="781880" y="2722670"/>
                    </a:cubicBezTo>
                    <a:cubicBezTo>
                      <a:pt x="784550" y="2722670"/>
                      <a:pt x="785384" y="2721335"/>
                      <a:pt x="787637" y="2717831"/>
                    </a:cubicBezTo>
                    <a:cubicBezTo>
                      <a:pt x="788554" y="2716497"/>
                      <a:pt x="788971" y="2715162"/>
                      <a:pt x="789889" y="2714328"/>
                    </a:cubicBezTo>
                    <a:cubicBezTo>
                      <a:pt x="796563" y="2704984"/>
                      <a:pt x="804071" y="2698811"/>
                      <a:pt x="812915" y="2692638"/>
                    </a:cubicBezTo>
                    <a:cubicBezTo>
                      <a:pt x="832436" y="2678874"/>
                      <a:pt x="837276" y="2674452"/>
                      <a:pt x="833271" y="2654098"/>
                    </a:cubicBezTo>
                    <a:cubicBezTo>
                      <a:pt x="827932" y="2627070"/>
                      <a:pt x="840362" y="2608467"/>
                      <a:pt x="852793" y="2590281"/>
                    </a:cubicBezTo>
                    <a:cubicBezTo>
                      <a:pt x="866058" y="2570344"/>
                      <a:pt x="874067" y="2551324"/>
                      <a:pt x="877154" y="2533138"/>
                    </a:cubicBezTo>
                    <a:cubicBezTo>
                      <a:pt x="881158" y="2509697"/>
                      <a:pt x="887332" y="2491929"/>
                      <a:pt x="895758" y="2471157"/>
                    </a:cubicBezTo>
                    <a:cubicBezTo>
                      <a:pt x="913027" y="2428612"/>
                      <a:pt x="932548" y="2412679"/>
                      <a:pt x="976348" y="2406005"/>
                    </a:cubicBezTo>
                    <a:cubicBezTo>
                      <a:pt x="1017144" y="2399332"/>
                      <a:pt x="1073374" y="2406422"/>
                      <a:pt x="1097734" y="2447215"/>
                    </a:cubicBezTo>
                    <a:cubicBezTo>
                      <a:pt x="1102156" y="2454723"/>
                      <a:pt x="1104825" y="2463566"/>
                      <a:pt x="1107495" y="2472492"/>
                    </a:cubicBezTo>
                    <a:cubicBezTo>
                      <a:pt x="1110999" y="2484421"/>
                      <a:pt x="1114586" y="2496433"/>
                      <a:pt x="1121677" y="2502189"/>
                    </a:cubicBezTo>
                    <a:cubicBezTo>
                      <a:pt x="1132773" y="2510198"/>
                      <a:pt x="1152212" y="2506611"/>
                      <a:pt x="1166895" y="2499103"/>
                    </a:cubicBezTo>
                    <a:cubicBezTo>
                      <a:pt x="1173569" y="2495599"/>
                      <a:pt x="1178408" y="2491094"/>
                      <a:pt x="1183246" y="2487173"/>
                    </a:cubicBezTo>
                    <a:cubicBezTo>
                      <a:pt x="1193841" y="2477831"/>
                      <a:pt x="1205354" y="2468154"/>
                      <a:pt x="1227129" y="2473409"/>
                    </a:cubicBezTo>
                    <a:cubicBezTo>
                      <a:pt x="1250155" y="2479165"/>
                      <a:pt x="1263920" y="2491595"/>
                      <a:pt x="1267424" y="2510615"/>
                    </a:cubicBezTo>
                    <a:lnTo>
                      <a:pt x="1267841" y="2513701"/>
                    </a:lnTo>
                    <a:cubicBezTo>
                      <a:pt x="1269593" y="2524796"/>
                      <a:pt x="1270094" y="2526965"/>
                      <a:pt x="1278019" y="2534974"/>
                    </a:cubicBezTo>
                    <a:lnTo>
                      <a:pt x="1282441" y="2539395"/>
                    </a:lnTo>
                    <a:cubicBezTo>
                      <a:pt x="1287781" y="2544734"/>
                      <a:pt x="1292202" y="2549155"/>
                      <a:pt x="1297041" y="2558915"/>
                    </a:cubicBezTo>
                    <a:cubicBezTo>
                      <a:pt x="1298792" y="2562419"/>
                      <a:pt x="1300545" y="2566006"/>
                      <a:pt x="1301879" y="2569092"/>
                    </a:cubicBezTo>
                    <a:cubicBezTo>
                      <a:pt x="1309388" y="2584192"/>
                      <a:pt x="1314727" y="2596121"/>
                      <a:pt x="1327992" y="2605380"/>
                    </a:cubicBezTo>
                    <a:cubicBezTo>
                      <a:pt x="1340423" y="2613806"/>
                      <a:pt x="1349683" y="2626236"/>
                      <a:pt x="1356774" y="2639916"/>
                    </a:cubicBezTo>
                    <a:lnTo>
                      <a:pt x="1362948" y="2652763"/>
                    </a:lnTo>
                    <a:cubicBezTo>
                      <a:pt x="1368287" y="2664692"/>
                      <a:pt x="1372292" y="2676705"/>
                      <a:pt x="1376213" y="2688634"/>
                    </a:cubicBezTo>
                    <a:cubicBezTo>
                      <a:pt x="1379299" y="2696142"/>
                      <a:pt x="1381552" y="2703233"/>
                      <a:pt x="1384222" y="2709906"/>
                    </a:cubicBezTo>
                    <a:cubicBezTo>
                      <a:pt x="1391313" y="2728926"/>
                      <a:pt x="1401074" y="2732513"/>
                      <a:pt x="1421847" y="2739103"/>
                    </a:cubicBezTo>
                    <a:cubicBezTo>
                      <a:pt x="1441786" y="2744860"/>
                      <a:pt x="1452382" y="2758123"/>
                      <a:pt x="1463477" y="2773640"/>
                    </a:cubicBezTo>
                    <a:cubicBezTo>
                      <a:pt x="1467899" y="2779813"/>
                      <a:pt x="1473655" y="2786069"/>
                      <a:pt x="1479828" y="2792242"/>
                    </a:cubicBezTo>
                    <a:cubicBezTo>
                      <a:pt x="1487838" y="2800251"/>
                      <a:pt x="1496181" y="2808593"/>
                      <a:pt x="1501519" y="2818353"/>
                    </a:cubicBezTo>
                    <a:cubicBezTo>
                      <a:pt x="1501937" y="2818770"/>
                      <a:pt x="1502438" y="2819271"/>
                      <a:pt x="1502438" y="2819688"/>
                    </a:cubicBezTo>
                    <a:cubicBezTo>
                      <a:pt x="1507776" y="2815266"/>
                      <a:pt x="1512616" y="2810345"/>
                      <a:pt x="1517037" y="2805506"/>
                    </a:cubicBezTo>
                    <a:cubicBezTo>
                      <a:pt x="1536976" y="2782065"/>
                      <a:pt x="1562672" y="2756789"/>
                      <a:pt x="1601632" y="2750115"/>
                    </a:cubicBezTo>
                    <a:cubicBezTo>
                      <a:pt x="1618484" y="2747445"/>
                      <a:pt x="1630414" y="2749698"/>
                      <a:pt x="1646349" y="2758123"/>
                    </a:cubicBezTo>
                    <a:cubicBezTo>
                      <a:pt x="1661866" y="2766966"/>
                      <a:pt x="1667623" y="2766132"/>
                      <a:pt x="1685810" y="2760793"/>
                    </a:cubicBezTo>
                    <a:cubicBezTo>
                      <a:pt x="1701744" y="2755954"/>
                      <a:pt x="1716845" y="2759875"/>
                      <a:pt x="1730526" y="2763045"/>
                    </a:cubicBezTo>
                    <a:cubicBezTo>
                      <a:pt x="1745627" y="2766549"/>
                      <a:pt x="1758474" y="2769719"/>
                      <a:pt x="1771322" y="2763045"/>
                    </a:cubicBezTo>
                    <a:cubicBezTo>
                      <a:pt x="1786839" y="2754620"/>
                      <a:pt x="1796100" y="2749781"/>
                      <a:pt x="1816039" y="2749281"/>
                    </a:cubicBezTo>
                    <a:cubicBezTo>
                      <a:pt x="1825383" y="2749281"/>
                      <a:pt x="1833308" y="2746611"/>
                      <a:pt x="1841318" y="2743942"/>
                    </a:cubicBezTo>
                    <a:cubicBezTo>
                      <a:pt x="1847074" y="2741689"/>
                      <a:pt x="1853748" y="2739938"/>
                      <a:pt x="1860839" y="2738603"/>
                    </a:cubicBezTo>
                    <a:cubicBezTo>
                      <a:pt x="1883448" y="2734599"/>
                      <a:pt x="1901635" y="2747445"/>
                      <a:pt x="1917069" y="2758958"/>
                    </a:cubicBezTo>
                    <a:cubicBezTo>
                      <a:pt x="1927664" y="2766465"/>
                      <a:pt x="1937425" y="2773556"/>
                      <a:pt x="1948104" y="2776225"/>
                    </a:cubicBezTo>
                    <a:cubicBezTo>
                      <a:pt x="1958699" y="2778895"/>
                      <a:pt x="1971547" y="2776643"/>
                      <a:pt x="1988399" y="2768217"/>
                    </a:cubicBezTo>
                    <a:cubicBezTo>
                      <a:pt x="1991069" y="2766883"/>
                      <a:pt x="1994572" y="2763379"/>
                      <a:pt x="1998160" y="2760209"/>
                    </a:cubicBezTo>
                    <a:cubicBezTo>
                      <a:pt x="2003916" y="2754870"/>
                      <a:pt x="2009673" y="2749614"/>
                      <a:pt x="2016764" y="2748280"/>
                    </a:cubicBezTo>
                    <a:cubicBezTo>
                      <a:pt x="2022520" y="2747362"/>
                      <a:pt x="2027860" y="2749614"/>
                      <a:pt x="2032281" y="2751366"/>
                    </a:cubicBezTo>
                    <a:cubicBezTo>
                      <a:pt x="2034951" y="2752701"/>
                      <a:pt x="2036703" y="2754036"/>
                      <a:pt x="2039790" y="2753619"/>
                    </a:cubicBezTo>
                    <a:cubicBezTo>
                      <a:pt x="2043294" y="2753619"/>
                      <a:pt x="2046464" y="2752284"/>
                      <a:pt x="2050885" y="2750115"/>
                    </a:cubicBezTo>
                    <a:cubicBezTo>
                      <a:pt x="2053138" y="2748780"/>
                      <a:pt x="2055725" y="2747028"/>
                      <a:pt x="2057976" y="2745694"/>
                    </a:cubicBezTo>
                    <a:cubicBezTo>
                      <a:pt x="2065485" y="2740355"/>
                      <a:pt x="2074829" y="2734182"/>
                      <a:pt x="2087176" y="2737685"/>
                    </a:cubicBezTo>
                    <a:cubicBezTo>
                      <a:pt x="2092933" y="2739437"/>
                      <a:pt x="2096520" y="2743024"/>
                      <a:pt x="2100024" y="2746111"/>
                    </a:cubicBezTo>
                    <a:cubicBezTo>
                      <a:pt x="2103528" y="2749197"/>
                      <a:pt x="2105781" y="2750949"/>
                      <a:pt x="2108867" y="2751450"/>
                    </a:cubicBezTo>
                    <a:cubicBezTo>
                      <a:pt x="2116375" y="2752785"/>
                      <a:pt x="2123467" y="2745694"/>
                      <a:pt x="2130141" y="2739020"/>
                    </a:cubicBezTo>
                    <a:cubicBezTo>
                      <a:pt x="2131893" y="2737268"/>
                      <a:pt x="2133645" y="2735016"/>
                      <a:pt x="2135480" y="2733681"/>
                    </a:cubicBezTo>
                    <a:cubicBezTo>
                      <a:pt x="2141237" y="2728843"/>
                      <a:pt x="2147410" y="2724338"/>
                      <a:pt x="2153667" y="2720834"/>
                    </a:cubicBezTo>
                    <a:cubicBezTo>
                      <a:pt x="2159841" y="2716830"/>
                      <a:pt x="2166098" y="2713326"/>
                      <a:pt x="2170937" y="2708405"/>
                    </a:cubicBezTo>
                    <a:cubicBezTo>
                      <a:pt x="2172271" y="2706653"/>
                      <a:pt x="2173189" y="2705318"/>
                      <a:pt x="2174441" y="2703984"/>
                    </a:cubicBezTo>
                    <a:cubicBezTo>
                      <a:pt x="2177528" y="2699979"/>
                      <a:pt x="2181115" y="2695975"/>
                      <a:pt x="2187288" y="2693389"/>
                    </a:cubicBezTo>
                    <a:cubicBezTo>
                      <a:pt x="2191293" y="2691637"/>
                      <a:pt x="2195715" y="2691137"/>
                      <a:pt x="2199219" y="2690719"/>
                    </a:cubicBezTo>
                    <a:cubicBezTo>
                      <a:pt x="2201888" y="2690719"/>
                      <a:pt x="2204057" y="2690719"/>
                      <a:pt x="2206310" y="2689802"/>
                    </a:cubicBezTo>
                    <a:cubicBezTo>
                      <a:pt x="2209813" y="2688050"/>
                      <a:pt x="2211649" y="2685798"/>
                      <a:pt x="2214319" y="2682711"/>
                    </a:cubicBezTo>
                    <a:cubicBezTo>
                      <a:pt x="2216070" y="2680042"/>
                      <a:pt x="2218323" y="2677372"/>
                      <a:pt x="2221410" y="2674703"/>
                    </a:cubicBezTo>
                    <a:cubicBezTo>
                      <a:pt x="2226249" y="2670699"/>
                      <a:pt x="2231588" y="2669364"/>
                      <a:pt x="2236010" y="2668029"/>
                    </a:cubicBezTo>
                    <a:cubicBezTo>
                      <a:pt x="2238262" y="2667112"/>
                      <a:pt x="2240431" y="2666694"/>
                      <a:pt x="2242684" y="2665777"/>
                    </a:cubicBezTo>
                    <a:cubicBezTo>
                      <a:pt x="2246688" y="2664025"/>
                      <a:pt x="2250192" y="2661773"/>
                      <a:pt x="2254197" y="2659103"/>
                    </a:cubicBezTo>
                    <a:cubicBezTo>
                      <a:pt x="2261288" y="2654682"/>
                      <a:pt x="2268379" y="2649760"/>
                      <a:pt x="2278140" y="2648509"/>
                    </a:cubicBezTo>
                    <a:cubicBezTo>
                      <a:pt x="2283897" y="2647591"/>
                      <a:pt x="2289653" y="2647591"/>
                      <a:pt x="2295410" y="2647174"/>
                    </a:cubicBezTo>
                    <a:cubicBezTo>
                      <a:pt x="2321105" y="2645839"/>
                      <a:pt x="2336205" y="2643670"/>
                      <a:pt x="2337456" y="2619228"/>
                    </a:cubicBezTo>
                    <a:cubicBezTo>
                      <a:pt x="2340126" y="2586027"/>
                      <a:pt x="2354726" y="2574515"/>
                      <a:pt x="2384843" y="2563420"/>
                    </a:cubicBezTo>
                    <a:cubicBezTo>
                      <a:pt x="2402112" y="2557247"/>
                      <a:pt x="2415878" y="2547070"/>
                      <a:pt x="2430060" y="2536809"/>
                    </a:cubicBezTo>
                    <a:cubicBezTo>
                      <a:pt x="2439404" y="2530135"/>
                      <a:pt x="2448665" y="2523545"/>
                      <a:pt x="2459260" y="2517288"/>
                    </a:cubicBezTo>
                    <a:cubicBezTo>
                      <a:pt x="2461512" y="2515953"/>
                      <a:pt x="2463265" y="2515036"/>
                      <a:pt x="2465433" y="2514202"/>
                    </a:cubicBezTo>
                    <a:cubicBezTo>
                      <a:pt x="2462764" y="2509363"/>
                      <a:pt x="2460595" y="2504859"/>
                      <a:pt x="2457925" y="2500438"/>
                    </a:cubicBezTo>
                    <a:cubicBezTo>
                      <a:pt x="2450834" y="2488008"/>
                      <a:pt x="2443743" y="2475662"/>
                      <a:pt x="2438904" y="2460145"/>
                    </a:cubicBezTo>
                    <a:cubicBezTo>
                      <a:pt x="2437569" y="2456642"/>
                      <a:pt x="2436234" y="2452637"/>
                      <a:pt x="2434482" y="2448216"/>
                    </a:cubicBezTo>
                    <a:cubicBezTo>
                      <a:pt x="2427391" y="2429613"/>
                      <a:pt x="2418547" y="2405672"/>
                      <a:pt x="2426974" y="2389321"/>
                    </a:cubicBezTo>
                    <a:cubicBezTo>
                      <a:pt x="2430477" y="2381313"/>
                      <a:pt x="2435817" y="2376058"/>
                      <a:pt x="2440739" y="2371636"/>
                    </a:cubicBezTo>
                    <a:cubicBezTo>
                      <a:pt x="2449582" y="2363211"/>
                      <a:pt x="2453170" y="2359707"/>
                      <a:pt x="2446913" y="2345943"/>
                    </a:cubicBezTo>
                    <a:cubicBezTo>
                      <a:pt x="2438487" y="2327340"/>
                      <a:pt x="2426557" y="2318914"/>
                      <a:pt x="2405700" y="2316245"/>
                    </a:cubicBezTo>
                    <a:lnTo>
                      <a:pt x="2401695" y="2315828"/>
                    </a:lnTo>
                    <a:cubicBezTo>
                      <a:pt x="2387095" y="2313576"/>
                      <a:pt x="2356478" y="2309655"/>
                      <a:pt x="2356979" y="2285296"/>
                    </a:cubicBezTo>
                    <a:cubicBezTo>
                      <a:pt x="2357396" y="2274702"/>
                      <a:pt x="2363653" y="2270197"/>
                      <a:pt x="2368074" y="2267611"/>
                    </a:cubicBezTo>
                    <a:cubicBezTo>
                      <a:pt x="2370744" y="2265859"/>
                      <a:pt x="2372496" y="2264941"/>
                      <a:pt x="2372913" y="2262272"/>
                    </a:cubicBezTo>
                    <a:cubicBezTo>
                      <a:pt x="2373831" y="2258768"/>
                      <a:pt x="2371995" y="2255181"/>
                      <a:pt x="2369410" y="2250343"/>
                    </a:cubicBezTo>
                    <a:cubicBezTo>
                      <a:pt x="2367657" y="2246839"/>
                      <a:pt x="2365404" y="2242835"/>
                      <a:pt x="2364570" y="2237913"/>
                    </a:cubicBezTo>
                    <a:cubicBezTo>
                      <a:pt x="2362818" y="2229488"/>
                      <a:pt x="2366323" y="2221062"/>
                      <a:pt x="2369910" y="2212637"/>
                    </a:cubicBezTo>
                    <a:cubicBezTo>
                      <a:pt x="2372580" y="2206880"/>
                      <a:pt x="2375249" y="2199790"/>
                      <a:pt x="2373914" y="2196703"/>
                    </a:cubicBezTo>
                    <a:cubicBezTo>
                      <a:pt x="2372997" y="2195786"/>
                      <a:pt x="2371661" y="2194451"/>
                      <a:pt x="2369493" y="2193617"/>
                    </a:cubicBezTo>
                    <a:cubicBezTo>
                      <a:pt x="2361067" y="2190113"/>
                      <a:pt x="2351306" y="2195869"/>
                      <a:pt x="2338959" y="2186943"/>
                    </a:cubicBezTo>
                    <a:cubicBezTo>
                      <a:pt x="2335455" y="2184274"/>
                      <a:pt x="2332785" y="2181604"/>
                      <a:pt x="2330115" y="2178518"/>
                    </a:cubicBezTo>
                    <a:cubicBezTo>
                      <a:pt x="2327028" y="2175431"/>
                      <a:pt x="2324359" y="2172762"/>
                      <a:pt x="2319937" y="2170509"/>
                    </a:cubicBezTo>
                    <a:cubicBezTo>
                      <a:pt x="2318602" y="2169592"/>
                      <a:pt x="2317268" y="2169175"/>
                      <a:pt x="2315098" y="2168758"/>
                    </a:cubicBezTo>
                    <a:cubicBezTo>
                      <a:pt x="2308007" y="2166505"/>
                      <a:pt x="2297412" y="2163419"/>
                      <a:pt x="2295160" y="2152824"/>
                    </a:cubicBezTo>
                    <a:cubicBezTo>
                      <a:pt x="2294743" y="2149320"/>
                      <a:pt x="2294241" y="2143981"/>
                      <a:pt x="2297412" y="2139977"/>
                    </a:cubicBezTo>
                    <a:cubicBezTo>
                      <a:pt x="2300498" y="2135556"/>
                      <a:pt x="2305421" y="2135556"/>
                      <a:pt x="2308508" y="2135139"/>
                    </a:cubicBezTo>
                    <a:cubicBezTo>
                      <a:pt x="2309842" y="2135139"/>
                      <a:pt x="2311177" y="2135139"/>
                      <a:pt x="2312011" y="2134722"/>
                    </a:cubicBezTo>
                    <a:cubicBezTo>
                      <a:pt x="2328363" y="2126714"/>
                      <a:pt x="2326611" y="2116119"/>
                      <a:pt x="2318185" y="2092177"/>
                    </a:cubicBezTo>
                    <a:cubicBezTo>
                      <a:pt x="2313764" y="2078913"/>
                      <a:pt x="2316433" y="2067402"/>
                      <a:pt x="2318602" y="2056724"/>
                    </a:cubicBezTo>
                    <a:cubicBezTo>
                      <a:pt x="2320354" y="2048298"/>
                      <a:pt x="2322106" y="2041208"/>
                      <a:pt x="2320855" y="2033700"/>
                    </a:cubicBezTo>
                    <a:cubicBezTo>
                      <a:pt x="2320438" y="2031030"/>
                      <a:pt x="2318185" y="2027526"/>
                      <a:pt x="2316016" y="2024357"/>
                    </a:cubicBezTo>
                    <a:cubicBezTo>
                      <a:pt x="2312011" y="2018183"/>
                      <a:pt x="2307590" y="2011510"/>
                      <a:pt x="2308508" y="2004002"/>
                    </a:cubicBezTo>
                    <a:cubicBezTo>
                      <a:pt x="2309425" y="1997328"/>
                      <a:pt x="2312011" y="1992907"/>
                      <a:pt x="2314681" y="1989820"/>
                    </a:cubicBezTo>
                    <a:cubicBezTo>
                      <a:pt x="2316934" y="1986317"/>
                      <a:pt x="2318685" y="1984065"/>
                      <a:pt x="2318185" y="1979643"/>
                    </a:cubicBezTo>
                    <a:cubicBezTo>
                      <a:pt x="2317768" y="1972552"/>
                      <a:pt x="2315515" y="1967213"/>
                      <a:pt x="2313347" y="1962375"/>
                    </a:cubicBezTo>
                    <a:cubicBezTo>
                      <a:pt x="2309342" y="1953032"/>
                      <a:pt x="2304920" y="1943772"/>
                      <a:pt x="2312929" y="1927422"/>
                    </a:cubicBezTo>
                    <a:lnTo>
                      <a:pt x="2315182" y="1923001"/>
                    </a:lnTo>
                    <a:cubicBezTo>
                      <a:pt x="2318685" y="1914992"/>
                      <a:pt x="2322691" y="1905732"/>
                      <a:pt x="2332451" y="1899559"/>
                    </a:cubicBezTo>
                    <a:cubicBezTo>
                      <a:pt x="2336456" y="1896890"/>
                      <a:pt x="2340877" y="1896056"/>
                      <a:pt x="2344882" y="1895138"/>
                    </a:cubicBezTo>
                    <a:cubicBezTo>
                      <a:pt x="2348386" y="1894721"/>
                      <a:pt x="2351556" y="1893803"/>
                      <a:pt x="2353725" y="1892051"/>
                    </a:cubicBezTo>
                    <a:cubicBezTo>
                      <a:pt x="2356394" y="1890300"/>
                      <a:pt x="2358147" y="1888047"/>
                      <a:pt x="2359899" y="1885378"/>
                    </a:cubicBezTo>
                    <a:cubicBezTo>
                      <a:pt x="2363403" y="1881374"/>
                      <a:pt x="2367407" y="1875618"/>
                      <a:pt x="2375833" y="1872948"/>
                    </a:cubicBezTo>
                    <a:cubicBezTo>
                      <a:pt x="2380672" y="1871196"/>
                      <a:pt x="2386011" y="1871613"/>
                      <a:pt x="2390432" y="1871613"/>
                    </a:cubicBezTo>
                    <a:cubicBezTo>
                      <a:pt x="2394438" y="1871613"/>
                      <a:pt x="2398859" y="1871613"/>
                      <a:pt x="2401028" y="1870279"/>
                    </a:cubicBezTo>
                    <a:cubicBezTo>
                      <a:pt x="2403698" y="1868527"/>
                      <a:pt x="2405449" y="1865440"/>
                      <a:pt x="2408119" y="1862271"/>
                    </a:cubicBezTo>
                    <a:cubicBezTo>
                      <a:pt x="2411206" y="1857432"/>
                      <a:pt x="2415628" y="1851175"/>
                      <a:pt x="2425389" y="1848089"/>
                    </a:cubicBezTo>
                    <a:cubicBezTo>
                      <a:pt x="2429393" y="1846754"/>
                      <a:pt x="2432897" y="1846337"/>
                      <a:pt x="2436484" y="1845837"/>
                    </a:cubicBezTo>
                    <a:cubicBezTo>
                      <a:pt x="2442241" y="1844919"/>
                      <a:pt x="2446245" y="1844085"/>
                      <a:pt x="2450250" y="1840498"/>
                    </a:cubicBezTo>
                    <a:cubicBezTo>
                      <a:pt x="2458676" y="1832990"/>
                      <a:pt x="2457341" y="1825899"/>
                      <a:pt x="2454254" y="1812552"/>
                    </a:cubicBezTo>
                    <a:cubicBezTo>
                      <a:pt x="2452919" y="1806379"/>
                      <a:pt x="2451585" y="1800122"/>
                      <a:pt x="2451168" y="1793032"/>
                    </a:cubicBezTo>
                    <a:cubicBezTo>
                      <a:pt x="2450751" y="1757578"/>
                      <a:pt x="2471523" y="1749653"/>
                      <a:pt x="2494133" y="1746066"/>
                    </a:cubicBezTo>
                    <a:cubicBezTo>
                      <a:pt x="2509233" y="1743813"/>
                      <a:pt x="2523832" y="1735889"/>
                      <a:pt x="2540184" y="1721707"/>
                    </a:cubicBezTo>
                    <a:cubicBezTo>
                      <a:pt x="2558371" y="1705774"/>
                      <a:pt x="2559206" y="1689840"/>
                      <a:pt x="2560123" y="1664564"/>
                    </a:cubicBezTo>
                    <a:lnTo>
                      <a:pt x="2560123" y="1657056"/>
                    </a:lnTo>
                    <a:cubicBezTo>
                      <a:pt x="2560123" y="1646879"/>
                      <a:pt x="2560123" y="1634449"/>
                      <a:pt x="2565880" y="1625606"/>
                    </a:cubicBezTo>
                    <a:cubicBezTo>
                      <a:pt x="2569884" y="1619433"/>
                      <a:pt x="2575223" y="1617181"/>
                      <a:pt x="2579645" y="1615012"/>
                    </a:cubicBezTo>
                    <a:cubicBezTo>
                      <a:pt x="2581897" y="1614095"/>
                      <a:pt x="2584067" y="1612760"/>
                      <a:pt x="2585818" y="1611508"/>
                    </a:cubicBezTo>
                    <a:cubicBezTo>
                      <a:pt x="2589322" y="1608839"/>
                      <a:pt x="2591158" y="1605753"/>
                      <a:pt x="2591158" y="1602666"/>
                    </a:cubicBezTo>
                    <a:cubicBezTo>
                      <a:pt x="2591158" y="1593323"/>
                      <a:pt x="2577893" y="1580977"/>
                      <a:pt x="2569884" y="1573469"/>
                    </a:cubicBezTo>
                    <a:cubicBezTo>
                      <a:pt x="2556119" y="1561039"/>
                      <a:pt x="2552197" y="1550862"/>
                      <a:pt x="2548193" y="1539767"/>
                    </a:cubicBezTo>
                    <a:cubicBezTo>
                      <a:pt x="2545940" y="1534928"/>
                      <a:pt x="2544189" y="1529589"/>
                      <a:pt x="2541102" y="1523833"/>
                    </a:cubicBezTo>
                    <a:cubicBezTo>
                      <a:pt x="2539349" y="1520747"/>
                      <a:pt x="2537598" y="1517160"/>
                      <a:pt x="2536263" y="1514490"/>
                    </a:cubicBezTo>
                    <a:cubicBezTo>
                      <a:pt x="2532759" y="1508317"/>
                      <a:pt x="2529172" y="1502561"/>
                      <a:pt x="2526502" y="1494553"/>
                    </a:cubicBezTo>
                    <a:cubicBezTo>
                      <a:pt x="2523832" y="1487879"/>
                      <a:pt x="2522498" y="1485210"/>
                      <a:pt x="2516324" y="1481706"/>
                    </a:cubicBezTo>
                    <a:cubicBezTo>
                      <a:pt x="2511902" y="1479036"/>
                      <a:pt x="2506563" y="1477285"/>
                      <a:pt x="2501224" y="1475533"/>
                    </a:cubicBezTo>
                    <a:cubicBezTo>
                      <a:pt x="2490629" y="1472446"/>
                      <a:pt x="2478615" y="1468442"/>
                      <a:pt x="2471106" y="1456013"/>
                    </a:cubicBezTo>
                    <a:cubicBezTo>
                      <a:pt x="2464015" y="1443166"/>
                      <a:pt x="2465768" y="1429401"/>
                      <a:pt x="2468854" y="1417472"/>
                    </a:cubicBezTo>
                    <a:lnTo>
                      <a:pt x="2469271" y="1414803"/>
                    </a:lnTo>
                    <a:cubicBezTo>
                      <a:pt x="2471523" y="1406795"/>
                      <a:pt x="2471523" y="1406795"/>
                      <a:pt x="2469271" y="1398870"/>
                    </a:cubicBezTo>
                    <a:lnTo>
                      <a:pt x="2468353" y="1396200"/>
                    </a:lnTo>
                    <a:cubicBezTo>
                      <a:pt x="2463014" y="1377597"/>
                      <a:pt x="2471023" y="1360746"/>
                      <a:pt x="2478532" y="1344813"/>
                    </a:cubicBezTo>
                    <a:cubicBezTo>
                      <a:pt x="2481201" y="1339057"/>
                      <a:pt x="2483870" y="1333301"/>
                      <a:pt x="2486040" y="1327128"/>
                    </a:cubicBezTo>
                    <a:cubicBezTo>
                      <a:pt x="2486957" y="1324041"/>
                      <a:pt x="2488293" y="1321372"/>
                      <a:pt x="2489127" y="1318703"/>
                    </a:cubicBezTo>
                    <a:cubicBezTo>
                      <a:pt x="2491796" y="1311195"/>
                      <a:pt x="2494883" y="1303603"/>
                      <a:pt x="2493966" y="1297013"/>
                    </a:cubicBezTo>
                    <a:cubicBezTo>
                      <a:pt x="2493548" y="1293926"/>
                      <a:pt x="2492213" y="1290840"/>
                      <a:pt x="2490879" y="1287670"/>
                    </a:cubicBezTo>
                    <a:cubicBezTo>
                      <a:pt x="2489127" y="1283666"/>
                      <a:pt x="2487375" y="1279661"/>
                      <a:pt x="2486457" y="1274823"/>
                    </a:cubicBezTo>
                    <a:cubicBezTo>
                      <a:pt x="2485539" y="1270819"/>
                      <a:pt x="2485539" y="1266815"/>
                      <a:pt x="2485539" y="1263311"/>
                    </a:cubicBezTo>
                    <a:cubicBezTo>
                      <a:pt x="2485539" y="1257972"/>
                      <a:pt x="2485956" y="1253968"/>
                      <a:pt x="2483287" y="1249547"/>
                    </a:cubicBezTo>
                    <a:cubicBezTo>
                      <a:pt x="2481952" y="1247795"/>
                      <a:pt x="2480617" y="1246460"/>
                      <a:pt x="2479282" y="1244708"/>
                    </a:cubicBezTo>
                    <a:cubicBezTo>
                      <a:pt x="2475779" y="1241205"/>
                      <a:pt x="2472191" y="1236700"/>
                      <a:pt x="2470856" y="1227858"/>
                    </a:cubicBezTo>
                    <a:cubicBezTo>
                      <a:pt x="2470439" y="1222518"/>
                      <a:pt x="2470856" y="1217263"/>
                      <a:pt x="2471774" y="1212341"/>
                    </a:cubicBezTo>
                    <a:cubicBezTo>
                      <a:pt x="2472191" y="1207003"/>
                      <a:pt x="2473109" y="1201747"/>
                      <a:pt x="2471356" y="1197242"/>
                    </a:cubicBezTo>
                    <a:cubicBezTo>
                      <a:pt x="2469605" y="1192738"/>
                      <a:pt x="2466018" y="1188817"/>
                      <a:pt x="2461596" y="1184395"/>
                    </a:cubicBezTo>
                    <a:cubicBezTo>
                      <a:pt x="2458092" y="1179974"/>
                      <a:pt x="2454088" y="1175970"/>
                      <a:pt x="2451418" y="1171132"/>
                    </a:cubicBezTo>
                    <a:cubicBezTo>
                      <a:pt x="2442574" y="1154781"/>
                      <a:pt x="2444327" y="1142351"/>
                      <a:pt x="2447414" y="1135261"/>
                    </a:cubicBezTo>
                    <a:cubicBezTo>
                      <a:pt x="2451835" y="1124166"/>
                      <a:pt x="2462013" y="1116241"/>
                      <a:pt x="2477113" y="1112237"/>
                    </a:cubicBezTo>
                    <a:cubicBezTo>
                      <a:pt x="2496134" y="1106898"/>
                      <a:pt x="2512987" y="1109984"/>
                      <a:pt x="2529422" y="1113154"/>
                    </a:cubicBezTo>
                    <a:cubicBezTo>
                      <a:pt x="2536096" y="1114072"/>
                      <a:pt x="2543605" y="1115407"/>
                      <a:pt x="2550696" y="1116241"/>
                    </a:cubicBezTo>
                    <a:cubicBezTo>
                      <a:pt x="2554200" y="1116241"/>
                      <a:pt x="2557370" y="1116658"/>
                      <a:pt x="2560874" y="1117576"/>
                    </a:cubicBezTo>
                    <a:cubicBezTo>
                      <a:pt x="2567047" y="1118910"/>
                      <a:pt x="2573721" y="1119828"/>
                      <a:pt x="2578143" y="1118493"/>
                    </a:cubicBezTo>
                    <a:cubicBezTo>
                      <a:pt x="2580396" y="1117576"/>
                      <a:pt x="2582565" y="1115407"/>
                      <a:pt x="2584817" y="1112737"/>
                    </a:cubicBezTo>
                    <a:cubicBezTo>
                      <a:pt x="2587487" y="1110068"/>
                      <a:pt x="2590157" y="1106981"/>
                      <a:pt x="2594161" y="1104729"/>
                    </a:cubicBezTo>
                    <a:cubicBezTo>
                      <a:pt x="2601669" y="1100725"/>
                      <a:pt x="2609262" y="1098973"/>
                      <a:pt x="2615852" y="1098055"/>
                    </a:cubicBezTo>
                    <a:cubicBezTo>
                      <a:pt x="2626030" y="1095803"/>
                      <a:pt x="2633539" y="1094551"/>
                      <a:pt x="2640630" y="1085208"/>
                    </a:cubicBezTo>
                    <a:cubicBezTo>
                      <a:pt x="2645051" y="1079452"/>
                      <a:pt x="2646804" y="1073279"/>
                      <a:pt x="2648638" y="1065688"/>
                    </a:cubicBezTo>
                    <a:cubicBezTo>
                      <a:pt x="2649557" y="1062184"/>
                      <a:pt x="2650391" y="1058597"/>
                      <a:pt x="2651308" y="1055511"/>
                    </a:cubicBezTo>
                    <a:cubicBezTo>
                      <a:pt x="2655730" y="1041329"/>
                      <a:pt x="2660152" y="1039160"/>
                      <a:pt x="2671248" y="1038243"/>
                    </a:cubicBezTo>
                    <a:cubicBezTo>
                      <a:pt x="2672999" y="1038243"/>
                      <a:pt x="2675252" y="1037825"/>
                      <a:pt x="2678339" y="1037325"/>
                    </a:cubicBezTo>
                    <a:cubicBezTo>
                      <a:pt x="2681843" y="1036908"/>
                      <a:pt x="2686348" y="1034656"/>
                      <a:pt x="2690269" y="1032487"/>
                    </a:cubicBezTo>
                    <a:cubicBezTo>
                      <a:pt x="2696443" y="1028983"/>
                      <a:pt x="2702700" y="1025813"/>
                      <a:pt x="2709290" y="1025813"/>
                    </a:cubicBezTo>
                    <a:lnTo>
                      <a:pt x="2710208" y="1025813"/>
                    </a:lnTo>
                    <a:cubicBezTo>
                      <a:pt x="2717299" y="1026230"/>
                      <a:pt x="2722138" y="1030234"/>
                      <a:pt x="2725308" y="1033321"/>
                    </a:cubicBezTo>
                    <a:cubicBezTo>
                      <a:pt x="2728395" y="1035990"/>
                      <a:pt x="2729730" y="1036407"/>
                      <a:pt x="2731065" y="1036824"/>
                    </a:cubicBezTo>
                    <a:cubicBezTo>
                      <a:pt x="2734151" y="1036824"/>
                      <a:pt x="2736404" y="1035907"/>
                      <a:pt x="2738156" y="1033738"/>
                    </a:cubicBezTo>
                    <a:cubicBezTo>
                      <a:pt x="2742578" y="1028900"/>
                      <a:pt x="2742995" y="1018639"/>
                      <a:pt x="2742160" y="1011632"/>
                    </a:cubicBezTo>
                    <a:cubicBezTo>
                      <a:pt x="2739908" y="995698"/>
                      <a:pt x="2738656" y="980182"/>
                      <a:pt x="2737739" y="964249"/>
                    </a:cubicBezTo>
                    <a:cubicBezTo>
                      <a:pt x="2737322" y="959827"/>
                      <a:pt x="2736821" y="954906"/>
                      <a:pt x="2736821" y="950067"/>
                    </a:cubicBezTo>
                    <a:cubicBezTo>
                      <a:pt x="2736821" y="947398"/>
                      <a:pt x="2736404" y="945229"/>
                      <a:pt x="2736404" y="942559"/>
                    </a:cubicBezTo>
                    <a:cubicBezTo>
                      <a:pt x="2735987" y="930630"/>
                      <a:pt x="2735987" y="927961"/>
                      <a:pt x="2729730" y="922622"/>
                    </a:cubicBezTo>
                    <a:cubicBezTo>
                      <a:pt x="2727978" y="921287"/>
                      <a:pt x="2726225" y="919952"/>
                      <a:pt x="2724391" y="919118"/>
                    </a:cubicBezTo>
                    <a:cubicBezTo>
                      <a:pt x="2720386" y="916866"/>
                      <a:pt x="2715547" y="914280"/>
                      <a:pt x="2712460" y="905354"/>
                    </a:cubicBezTo>
                    <a:cubicBezTo>
                      <a:pt x="2710208" y="899181"/>
                      <a:pt x="2710708" y="893425"/>
                      <a:pt x="2711126" y="888503"/>
                    </a:cubicBezTo>
                    <a:cubicBezTo>
                      <a:pt x="2711543" y="882747"/>
                      <a:pt x="2712043" y="879160"/>
                      <a:pt x="2709374" y="875656"/>
                    </a:cubicBezTo>
                    <a:cubicBezTo>
                      <a:pt x="2707121" y="872152"/>
                      <a:pt x="2702700" y="869483"/>
                      <a:pt x="2698277" y="866813"/>
                    </a:cubicBezTo>
                    <a:cubicBezTo>
                      <a:pt x="2696026" y="865062"/>
                      <a:pt x="2693856" y="863727"/>
                      <a:pt x="2691603" y="862392"/>
                    </a:cubicBezTo>
                    <a:cubicBezTo>
                      <a:pt x="2684095" y="857053"/>
                      <a:pt x="2677421" y="850880"/>
                      <a:pt x="2671248" y="845124"/>
                    </a:cubicBezTo>
                    <a:cubicBezTo>
                      <a:pt x="2661487" y="836282"/>
                      <a:pt x="2652644" y="828273"/>
                      <a:pt x="2640713" y="822100"/>
                    </a:cubicBezTo>
                    <a:cubicBezTo>
                      <a:pt x="2629200" y="816344"/>
                      <a:pt x="2626113" y="809670"/>
                      <a:pt x="2623027" y="802580"/>
                    </a:cubicBezTo>
                    <a:cubicBezTo>
                      <a:pt x="2622610" y="800828"/>
                      <a:pt x="2621275" y="798576"/>
                      <a:pt x="2619940" y="795906"/>
                    </a:cubicBezTo>
                    <a:cubicBezTo>
                      <a:pt x="2618188" y="792819"/>
                      <a:pt x="2616436" y="791485"/>
                      <a:pt x="2613766" y="789232"/>
                    </a:cubicBezTo>
                    <a:cubicBezTo>
                      <a:pt x="2611514" y="787481"/>
                      <a:pt x="2609345" y="785228"/>
                      <a:pt x="2607092" y="782559"/>
                    </a:cubicBezTo>
                    <a:cubicBezTo>
                      <a:pt x="2598666" y="773216"/>
                      <a:pt x="2596914" y="761286"/>
                      <a:pt x="2595162" y="748857"/>
                    </a:cubicBezTo>
                    <a:cubicBezTo>
                      <a:pt x="2592910" y="733758"/>
                      <a:pt x="2592910" y="733341"/>
                      <a:pt x="2584567" y="723163"/>
                    </a:cubicBezTo>
                    <a:lnTo>
                      <a:pt x="2582314" y="720911"/>
                    </a:lnTo>
                    <a:cubicBezTo>
                      <a:pt x="2574306" y="712485"/>
                      <a:pt x="2574306" y="709816"/>
                      <a:pt x="2576975" y="696969"/>
                    </a:cubicBezTo>
                    <a:cubicBezTo>
                      <a:pt x="2577893" y="693466"/>
                      <a:pt x="2578310" y="690296"/>
                      <a:pt x="2579228" y="687209"/>
                    </a:cubicBezTo>
                    <a:cubicBezTo>
                      <a:pt x="2581480" y="678367"/>
                      <a:pt x="2583232" y="671693"/>
                      <a:pt x="2581897" y="662433"/>
                    </a:cubicBezTo>
                    <a:cubicBezTo>
                      <a:pt x="2581480" y="659764"/>
                      <a:pt x="2580563" y="656677"/>
                      <a:pt x="2579645" y="653591"/>
                    </a:cubicBezTo>
                    <a:cubicBezTo>
                      <a:pt x="2576975" y="644748"/>
                      <a:pt x="2573471" y="634070"/>
                      <a:pt x="2580563" y="623893"/>
                    </a:cubicBezTo>
                    <a:cubicBezTo>
                      <a:pt x="2586319" y="615885"/>
                      <a:pt x="2594745" y="614550"/>
                      <a:pt x="2601419" y="613299"/>
                    </a:cubicBezTo>
                    <a:cubicBezTo>
                      <a:pt x="2604506" y="612381"/>
                      <a:pt x="2607593" y="611964"/>
                      <a:pt x="2609845" y="611046"/>
                    </a:cubicBezTo>
                    <a:cubicBezTo>
                      <a:pt x="2614267" y="608794"/>
                      <a:pt x="2615185" y="606625"/>
                      <a:pt x="2616519" y="602204"/>
                    </a:cubicBezTo>
                    <a:cubicBezTo>
                      <a:pt x="2617854" y="598700"/>
                      <a:pt x="2619189" y="594195"/>
                      <a:pt x="2622693" y="589774"/>
                    </a:cubicBezTo>
                    <a:cubicBezTo>
                      <a:pt x="2630201" y="580431"/>
                      <a:pt x="2640880" y="578262"/>
                      <a:pt x="2650641" y="577845"/>
                    </a:cubicBezTo>
                    <a:cubicBezTo>
                      <a:pt x="2660402" y="576927"/>
                      <a:pt x="2670998" y="576093"/>
                      <a:pt x="2674084" y="571672"/>
                    </a:cubicBezTo>
                    <a:cubicBezTo>
                      <a:pt x="2676753" y="568585"/>
                      <a:pt x="2675836" y="563246"/>
                      <a:pt x="2674501" y="558825"/>
                    </a:cubicBezTo>
                    <a:cubicBezTo>
                      <a:pt x="2671832" y="548648"/>
                      <a:pt x="2664323" y="545978"/>
                      <a:pt x="2652393" y="542475"/>
                    </a:cubicBezTo>
                    <a:cubicBezTo>
                      <a:pt x="2641297" y="539388"/>
                      <a:pt x="2628450" y="535384"/>
                      <a:pt x="2623193" y="521620"/>
                    </a:cubicBezTo>
                    <a:cubicBezTo>
                      <a:pt x="2614768" y="499513"/>
                      <a:pt x="2637376" y="488418"/>
                      <a:pt x="2651976" y="481327"/>
                    </a:cubicBezTo>
                    <a:cubicBezTo>
                      <a:pt x="2657732" y="478241"/>
                      <a:pt x="2663489" y="475571"/>
                      <a:pt x="2666575" y="472902"/>
                    </a:cubicBezTo>
                    <a:cubicBezTo>
                      <a:pt x="2676336" y="464059"/>
                      <a:pt x="2683428" y="454299"/>
                      <a:pt x="2686932" y="444122"/>
                    </a:cubicBezTo>
                    <a:cubicBezTo>
                      <a:pt x="2687849" y="440618"/>
                      <a:pt x="2688266" y="437031"/>
                      <a:pt x="2689184" y="433944"/>
                    </a:cubicBezTo>
                    <a:cubicBezTo>
                      <a:pt x="2690519" y="426437"/>
                      <a:pt x="2691854" y="418011"/>
                      <a:pt x="2698027" y="410920"/>
                    </a:cubicBezTo>
                    <a:cubicBezTo>
                      <a:pt x="2703784" y="403830"/>
                      <a:pt x="2709123" y="400743"/>
                      <a:pt x="2715297" y="400743"/>
                    </a:cubicBezTo>
                    <a:cubicBezTo>
                      <a:pt x="2715297" y="400743"/>
                      <a:pt x="2715297" y="400743"/>
                      <a:pt x="2715714" y="400743"/>
                    </a:cubicBezTo>
                    <a:cubicBezTo>
                      <a:pt x="2723723" y="400743"/>
                      <a:pt x="2729479" y="407417"/>
                      <a:pt x="2734318" y="412672"/>
                    </a:cubicBezTo>
                    <a:cubicBezTo>
                      <a:pt x="2737405" y="415759"/>
                      <a:pt x="2740492" y="419346"/>
                      <a:pt x="2743162" y="420681"/>
                    </a:cubicBezTo>
                    <a:cubicBezTo>
                      <a:pt x="2748000" y="422432"/>
                      <a:pt x="2767522" y="420264"/>
                      <a:pt x="2771944" y="417594"/>
                    </a:cubicBezTo>
                    <a:cubicBezTo>
                      <a:pt x="2776365" y="414507"/>
                      <a:pt x="2776365" y="412756"/>
                      <a:pt x="2774196" y="403830"/>
                    </a:cubicBezTo>
                    <a:cubicBezTo>
                      <a:pt x="2774196" y="402078"/>
                      <a:pt x="2773779" y="400326"/>
                      <a:pt x="2773279" y="398491"/>
                    </a:cubicBezTo>
                    <a:cubicBezTo>
                      <a:pt x="2770192" y="382557"/>
                      <a:pt x="2775531" y="372797"/>
                      <a:pt x="2780370" y="363538"/>
                    </a:cubicBezTo>
                    <a:cubicBezTo>
                      <a:pt x="2783040" y="357782"/>
                      <a:pt x="2786127" y="352443"/>
                      <a:pt x="2787461" y="345852"/>
                    </a:cubicBezTo>
                    <a:cubicBezTo>
                      <a:pt x="2787878" y="342766"/>
                      <a:pt x="2788378" y="340096"/>
                      <a:pt x="2788796" y="337010"/>
                    </a:cubicBezTo>
                    <a:cubicBezTo>
                      <a:pt x="2789714" y="329919"/>
                      <a:pt x="2791048" y="321494"/>
                      <a:pt x="2796304" y="313569"/>
                    </a:cubicBezTo>
                    <a:cubicBezTo>
                      <a:pt x="2799808" y="308730"/>
                      <a:pt x="2804313" y="305560"/>
                      <a:pt x="2808735" y="302474"/>
                    </a:cubicBezTo>
                    <a:cubicBezTo>
                      <a:pt x="2811822" y="300221"/>
                      <a:pt x="2814909" y="298053"/>
                      <a:pt x="2817161" y="295383"/>
                    </a:cubicBezTo>
                    <a:cubicBezTo>
                      <a:pt x="2823835" y="286040"/>
                      <a:pt x="2824252" y="260430"/>
                      <a:pt x="2817578" y="251504"/>
                    </a:cubicBezTo>
                    <a:cubicBezTo>
                      <a:pt x="2814075" y="247500"/>
                      <a:pt x="2810069" y="246165"/>
                      <a:pt x="2803395" y="244830"/>
                    </a:cubicBezTo>
                    <a:cubicBezTo>
                      <a:pt x="2799892" y="243912"/>
                      <a:pt x="2796304" y="243078"/>
                      <a:pt x="2792801" y="241744"/>
                    </a:cubicBezTo>
                    <a:cubicBezTo>
                      <a:pt x="2783457" y="237739"/>
                      <a:pt x="2777700" y="231566"/>
                      <a:pt x="2772444" y="225393"/>
                    </a:cubicBezTo>
                    <a:lnTo>
                      <a:pt x="2769774" y="222307"/>
                    </a:lnTo>
                    <a:cubicBezTo>
                      <a:pt x="2753840" y="205039"/>
                      <a:pt x="2740575" y="190440"/>
                      <a:pt x="2744996" y="161159"/>
                    </a:cubicBezTo>
                    <a:cubicBezTo>
                      <a:pt x="2749419" y="133714"/>
                      <a:pt x="2749419" y="127458"/>
                      <a:pt x="2729479" y="113359"/>
                    </a:cubicBezTo>
                    <a:cubicBezTo>
                      <a:pt x="2698444" y="90753"/>
                      <a:pt x="2700280" y="69063"/>
                      <a:pt x="2707371" y="54465"/>
                    </a:cubicBezTo>
                    <a:cubicBezTo>
                      <a:pt x="2710041" y="49626"/>
                      <a:pt x="2712711" y="45121"/>
                      <a:pt x="2715380" y="41618"/>
                    </a:cubicBezTo>
                    <a:cubicBezTo>
                      <a:pt x="2717633" y="38114"/>
                      <a:pt x="2720720" y="33192"/>
                      <a:pt x="2720219" y="31858"/>
                    </a:cubicBezTo>
                    <a:cubicBezTo>
                      <a:pt x="2720219" y="31858"/>
                      <a:pt x="2719301" y="29605"/>
                      <a:pt x="2710458" y="25184"/>
                    </a:cubicBezTo>
                    <a:cubicBezTo>
                      <a:pt x="2699363" y="19845"/>
                      <a:pt x="2693189" y="13672"/>
                      <a:pt x="2690936" y="5664"/>
                    </a:cubicBezTo>
                    <a:lnTo>
                      <a:pt x="2690936" y="5664"/>
                    </a:lnTo>
                    <a:cubicBezTo>
                      <a:pt x="2693272" y="5830"/>
                      <a:pt x="2689268" y="7582"/>
                      <a:pt x="2684846" y="93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4607063" name="Полилиния 442"/>
              <p:cNvSpPr/>
              <p:nvPr/>
            </p:nvSpPr>
            <p:spPr bwMode="auto">
              <a:xfrm>
                <a:off x="9310605" y="2038993"/>
                <a:ext cx="974836" cy="1328002"/>
              </a:xfrm>
              <a:custGeom>
                <a:avLst/>
                <a:gdLst>
                  <a:gd name="connsiteX0" fmla="*/ 617135 w 1094774"/>
                  <a:gd name="connsiteY0" fmla="*/ 39124 h 1491391"/>
                  <a:gd name="connsiteX1" fmla="*/ 594527 w 1094774"/>
                  <a:gd name="connsiteY1" fmla="*/ 54223 h 1491391"/>
                  <a:gd name="connsiteX2" fmla="*/ 567079 w 1094774"/>
                  <a:gd name="connsiteY2" fmla="*/ 58645 h 1491391"/>
                  <a:gd name="connsiteX3" fmla="*/ 559070 w 1094774"/>
                  <a:gd name="connsiteY3" fmla="*/ 59062 h 1491391"/>
                  <a:gd name="connsiteX4" fmla="*/ 523197 w 1094774"/>
                  <a:gd name="connsiteY4" fmla="*/ 67904 h 1491391"/>
                  <a:gd name="connsiteX5" fmla="*/ 508096 w 1094774"/>
                  <a:gd name="connsiteY5" fmla="*/ 78082 h 1491391"/>
                  <a:gd name="connsiteX6" fmla="*/ 504092 w 1094774"/>
                  <a:gd name="connsiteY6" fmla="*/ 84755 h 1491391"/>
                  <a:gd name="connsiteX7" fmla="*/ 499253 w 1094774"/>
                  <a:gd name="connsiteY7" fmla="*/ 92764 h 1491391"/>
                  <a:gd name="connsiteX8" fmla="*/ 447862 w 1094774"/>
                  <a:gd name="connsiteY8" fmla="*/ 109614 h 1491391"/>
                  <a:gd name="connsiteX9" fmla="*/ 443440 w 1094774"/>
                  <a:gd name="connsiteY9" fmla="*/ 109197 h 1491391"/>
                  <a:gd name="connsiteX10" fmla="*/ 417328 w 1094774"/>
                  <a:gd name="connsiteY10" fmla="*/ 110532 h 1491391"/>
                  <a:gd name="connsiteX11" fmla="*/ 402228 w 1094774"/>
                  <a:gd name="connsiteY11" fmla="*/ 118040 h 1491391"/>
                  <a:gd name="connsiteX12" fmla="*/ 372527 w 1094774"/>
                  <a:gd name="connsiteY12" fmla="*/ 135725 h 1491391"/>
                  <a:gd name="connsiteX13" fmla="*/ 346832 w 1094774"/>
                  <a:gd name="connsiteY13" fmla="*/ 145068 h 1491391"/>
                  <a:gd name="connsiteX14" fmla="*/ 342411 w 1094774"/>
                  <a:gd name="connsiteY14" fmla="*/ 144651 h 1491391"/>
                  <a:gd name="connsiteX15" fmla="*/ 316298 w 1094774"/>
                  <a:gd name="connsiteY15" fmla="*/ 124297 h 1491391"/>
                  <a:gd name="connsiteX16" fmla="*/ 306954 w 1094774"/>
                  <a:gd name="connsiteY16" fmla="*/ 113202 h 1491391"/>
                  <a:gd name="connsiteX17" fmla="*/ 271998 w 1094774"/>
                  <a:gd name="connsiteY17" fmla="*/ 104776 h 1491391"/>
                  <a:gd name="connsiteX18" fmla="*/ 248054 w 1094774"/>
                  <a:gd name="connsiteY18" fmla="*/ 111867 h 1491391"/>
                  <a:gd name="connsiteX19" fmla="*/ 257398 w 1094774"/>
                  <a:gd name="connsiteY19" fmla="*/ 115871 h 1491391"/>
                  <a:gd name="connsiteX20" fmla="*/ 258734 w 1094774"/>
                  <a:gd name="connsiteY20" fmla="*/ 117206 h 1491391"/>
                  <a:gd name="connsiteX21" fmla="*/ 262738 w 1094774"/>
                  <a:gd name="connsiteY21" fmla="*/ 120292 h 1491391"/>
                  <a:gd name="connsiteX22" fmla="*/ 271164 w 1094774"/>
                  <a:gd name="connsiteY22" fmla="*/ 127800 h 1491391"/>
                  <a:gd name="connsiteX23" fmla="*/ 276002 w 1094774"/>
                  <a:gd name="connsiteY23" fmla="*/ 137977 h 1491391"/>
                  <a:gd name="connsiteX24" fmla="*/ 267994 w 1094774"/>
                  <a:gd name="connsiteY24" fmla="*/ 161919 h 1491391"/>
                  <a:gd name="connsiteX25" fmla="*/ 264490 w 1094774"/>
                  <a:gd name="connsiteY25" fmla="*/ 170762 h 1491391"/>
                  <a:gd name="connsiteX26" fmla="*/ 261403 w 1094774"/>
                  <a:gd name="connsiteY26" fmla="*/ 179187 h 1491391"/>
                  <a:gd name="connsiteX27" fmla="*/ 257398 w 1094774"/>
                  <a:gd name="connsiteY27" fmla="*/ 196455 h 1491391"/>
                  <a:gd name="connsiteX28" fmla="*/ 259651 w 1094774"/>
                  <a:gd name="connsiteY28" fmla="*/ 206215 h 1491391"/>
                  <a:gd name="connsiteX29" fmla="*/ 259234 w 1094774"/>
                  <a:gd name="connsiteY29" fmla="*/ 234161 h 1491391"/>
                  <a:gd name="connsiteX30" fmla="*/ 226864 w 1094774"/>
                  <a:gd name="connsiteY30" fmla="*/ 241669 h 1491391"/>
                  <a:gd name="connsiteX31" fmla="*/ 204255 w 1094774"/>
                  <a:gd name="connsiteY31" fmla="*/ 246508 h 1491391"/>
                  <a:gd name="connsiteX32" fmla="*/ 203838 w 1094774"/>
                  <a:gd name="connsiteY32" fmla="*/ 255350 h 1491391"/>
                  <a:gd name="connsiteX33" fmla="*/ 201169 w 1094774"/>
                  <a:gd name="connsiteY33" fmla="*/ 273035 h 1491391"/>
                  <a:gd name="connsiteX34" fmla="*/ 183900 w 1094774"/>
                  <a:gd name="connsiteY34" fmla="*/ 288134 h 1491391"/>
                  <a:gd name="connsiteX35" fmla="*/ 177726 w 1094774"/>
                  <a:gd name="connsiteY35" fmla="*/ 291638 h 1491391"/>
                  <a:gd name="connsiteX36" fmla="*/ 126752 w 1094774"/>
                  <a:gd name="connsiteY36" fmla="*/ 339939 h 1491391"/>
                  <a:gd name="connsiteX37" fmla="*/ 116157 w 1094774"/>
                  <a:gd name="connsiteY37" fmla="*/ 361628 h 1491391"/>
                  <a:gd name="connsiteX38" fmla="*/ 127670 w 1094774"/>
                  <a:gd name="connsiteY38" fmla="*/ 371388 h 1491391"/>
                  <a:gd name="connsiteX39" fmla="*/ 144939 w 1094774"/>
                  <a:gd name="connsiteY39" fmla="*/ 386904 h 1491391"/>
                  <a:gd name="connsiteX40" fmla="*/ 138265 w 1094774"/>
                  <a:gd name="connsiteY40" fmla="*/ 408594 h 1491391"/>
                  <a:gd name="connsiteX41" fmla="*/ 131174 w 1094774"/>
                  <a:gd name="connsiteY41" fmla="*/ 420106 h 1491391"/>
                  <a:gd name="connsiteX42" fmla="*/ 148860 w 1094774"/>
                  <a:gd name="connsiteY42" fmla="*/ 461315 h 1491391"/>
                  <a:gd name="connsiteX43" fmla="*/ 170134 w 1094774"/>
                  <a:gd name="connsiteY43" fmla="*/ 522463 h 1491391"/>
                  <a:gd name="connsiteX44" fmla="*/ 191408 w 1094774"/>
                  <a:gd name="connsiteY44" fmla="*/ 572098 h 1491391"/>
                  <a:gd name="connsiteX45" fmla="*/ 194078 w 1094774"/>
                  <a:gd name="connsiteY45" fmla="*/ 575184 h 1491391"/>
                  <a:gd name="connsiteX46" fmla="*/ 209595 w 1094774"/>
                  <a:gd name="connsiteY46" fmla="*/ 587614 h 1491391"/>
                  <a:gd name="connsiteX47" fmla="*/ 218021 w 1094774"/>
                  <a:gd name="connsiteY47" fmla="*/ 590284 h 1491391"/>
                  <a:gd name="connsiteX48" fmla="*/ 240129 w 1094774"/>
                  <a:gd name="connsiteY48" fmla="*/ 602713 h 1491391"/>
                  <a:gd name="connsiteX49" fmla="*/ 239712 w 1094774"/>
                  <a:gd name="connsiteY49" fmla="*/ 662943 h 1491391"/>
                  <a:gd name="connsiteX50" fmla="*/ 228199 w 1094774"/>
                  <a:gd name="connsiteY50" fmla="*/ 673537 h 1491391"/>
                  <a:gd name="connsiteX51" fmla="*/ 219356 w 1094774"/>
                  <a:gd name="connsiteY51" fmla="*/ 681546 h 1491391"/>
                  <a:gd name="connsiteX52" fmla="*/ 214016 w 1094774"/>
                  <a:gd name="connsiteY52" fmla="*/ 699231 h 1491391"/>
                  <a:gd name="connsiteX53" fmla="*/ 212682 w 1094774"/>
                  <a:gd name="connsiteY53" fmla="*/ 709408 h 1491391"/>
                  <a:gd name="connsiteX54" fmla="*/ 203838 w 1094774"/>
                  <a:gd name="connsiteY54" fmla="*/ 730680 h 1491391"/>
                  <a:gd name="connsiteX55" fmla="*/ 198082 w 1094774"/>
                  <a:gd name="connsiteY55" fmla="*/ 756374 h 1491391"/>
                  <a:gd name="connsiteX56" fmla="*/ 199000 w 1094774"/>
                  <a:gd name="connsiteY56" fmla="*/ 760795 h 1491391"/>
                  <a:gd name="connsiteX57" fmla="*/ 190991 w 1094774"/>
                  <a:gd name="connsiteY57" fmla="*/ 789575 h 1491391"/>
                  <a:gd name="connsiteX58" fmla="*/ 148443 w 1094774"/>
                  <a:gd name="connsiteY58" fmla="*/ 793996 h 1491391"/>
                  <a:gd name="connsiteX59" fmla="*/ 134261 w 1094774"/>
                  <a:gd name="connsiteY59" fmla="*/ 782484 h 1491391"/>
                  <a:gd name="connsiteX60" fmla="*/ 126251 w 1094774"/>
                  <a:gd name="connsiteY60" fmla="*/ 775394 h 1491391"/>
                  <a:gd name="connsiteX61" fmla="*/ 125834 w 1094774"/>
                  <a:gd name="connsiteY61" fmla="*/ 775394 h 1491391"/>
                  <a:gd name="connsiteX62" fmla="*/ 119160 w 1094774"/>
                  <a:gd name="connsiteY62" fmla="*/ 780732 h 1491391"/>
                  <a:gd name="connsiteX63" fmla="*/ 113821 w 1094774"/>
                  <a:gd name="connsiteY63" fmla="*/ 796666 h 1491391"/>
                  <a:gd name="connsiteX64" fmla="*/ 110734 w 1094774"/>
                  <a:gd name="connsiteY64" fmla="*/ 808595 h 1491391"/>
                  <a:gd name="connsiteX65" fmla="*/ 86373 w 1094774"/>
                  <a:gd name="connsiteY65" fmla="*/ 843548 h 1491391"/>
                  <a:gd name="connsiteX66" fmla="*/ 68687 w 1094774"/>
                  <a:gd name="connsiteY66" fmla="*/ 853725 h 1491391"/>
                  <a:gd name="connsiteX67" fmla="*/ 46996 w 1094774"/>
                  <a:gd name="connsiteY67" fmla="*/ 875832 h 1491391"/>
                  <a:gd name="connsiteX68" fmla="*/ 66935 w 1094774"/>
                  <a:gd name="connsiteY68" fmla="*/ 888262 h 1491391"/>
                  <a:gd name="connsiteX69" fmla="*/ 98804 w 1094774"/>
                  <a:gd name="connsiteY69" fmla="*/ 914372 h 1491391"/>
                  <a:gd name="connsiteX70" fmla="*/ 96134 w 1094774"/>
                  <a:gd name="connsiteY70" fmla="*/ 939148 h 1491391"/>
                  <a:gd name="connsiteX71" fmla="*/ 62430 w 1094774"/>
                  <a:gd name="connsiteY71" fmla="*/ 951077 h 1491391"/>
                  <a:gd name="connsiteX72" fmla="*/ 44744 w 1094774"/>
                  <a:gd name="connsiteY72" fmla="*/ 957751 h 1491391"/>
                  <a:gd name="connsiteX73" fmla="*/ 41240 w 1094774"/>
                  <a:gd name="connsiteY73" fmla="*/ 965759 h 1491391"/>
                  <a:gd name="connsiteX74" fmla="*/ 27057 w 1094774"/>
                  <a:gd name="connsiteY74" fmla="*/ 983027 h 1491391"/>
                  <a:gd name="connsiteX75" fmla="*/ 15127 w 1094774"/>
                  <a:gd name="connsiteY75" fmla="*/ 986531 h 1491391"/>
                  <a:gd name="connsiteX76" fmla="*/ 3197 w 1094774"/>
                  <a:gd name="connsiteY76" fmla="*/ 991369 h 1491391"/>
                  <a:gd name="connsiteX77" fmla="*/ 4115 w 1094774"/>
                  <a:gd name="connsiteY77" fmla="*/ 1008637 h 1491391"/>
                  <a:gd name="connsiteX78" fmla="*/ 6785 w 1094774"/>
                  <a:gd name="connsiteY78" fmla="*/ 1019732 h 1491391"/>
                  <a:gd name="connsiteX79" fmla="*/ 3698 w 1094774"/>
                  <a:gd name="connsiteY79" fmla="*/ 1049847 h 1491391"/>
                  <a:gd name="connsiteX80" fmla="*/ 1445 w 1094774"/>
                  <a:gd name="connsiteY80" fmla="*/ 1058690 h 1491391"/>
                  <a:gd name="connsiteX81" fmla="*/ 110 w 1094774"/>
                  <a:gd name="connsiteY81" fmla="*/ 1066698 h 1491391"/>
                  <a:gd name="connsiteX82" fmla="*/ 3197 w 1094774"/>
                  <a:gd name="connsiteY82" fmla="*/ 1071119 h 1491391"/>
                  <a:gd name="connsiteX83" fmla="*/ 4949 w 1094774"/>
                  <a:gd name="connsiteY83" fmla="*/ 1073372 h 1491391"/>
                  <a:gd name="connsiteX84" fmla="*/ 19132 w 1094774"/>
                  <a:gd name="connsiteY84" fmla="*/ 1106156 h 1491391"/>
                  <a:gd name="connsiteX85" fmla="*/ 27557 w 1094774"/>
                  <a:gd name="connsiteY85" fmla="*/ 1133184 h 1491391"/>
                  <a:gd name="connsiteX86" fmla="*/ 32396 w 1094774"/>
                  <a:gd name="connsiteY86" fmla="*/ 1137605 h 1491391"/>
                  <a:gd name="connsiteX87" fmla="*/ 42157 w 1094774"/>
                  <a:gd name="connsiteY87" fmla="*/ 1148200 h 1491391"/>
                  <a:gd name="connsiteX88" fmla="*/ 45661 w 1094774"/>
                  <a:gd name="connsiteY88" fmla="*/ 1156208 h 1491391"/>
                  <a:gd name="connsiteX89" fmla="*/ 56757 w 1094774"/>
                  <a:gd name="connsiteY89" fmla="*/ 1169055 h 1491391"/>
                  <a:gd name="connsiteX90" fmla="*/ 89960 w 1094774"/>
                  <a:gd name="connsiteY90" fmla="*/ 1194331 h 1491391"/>
                  <a:gd name="connsiteX91" fmla="*/ 109483 w 1094774"/>
                  <a:gd name="connsiteY91" fmla="*/ 1210682 h 1491391"/>
                  <a:gd name="connsiteX92" fmla="*/ 114822 w 1094774"/>
                  <a:gd name="connsiteY92" fmla="*/ 1214186 h 1491391"/>
                  <a:gd name="connsiteX93" fmla="*/ 130339 w 1094774"/>
                  <a:gd name="connsiteY93" fmla="*/ 1227032 h 1491391"/>
                  <a:gd name="connsiteX94" fmla="*/ 134761 w 1094774"/>
                  <a:gd name="connsiteY94" fmla="*/ 1249139 h 1491391"/>
                  <a:gd name="connsiteX95" fmla="*/ 135178 w 1094774"/>
                  <a:gd name="connsiteY95" fmla="*/ 1260234 h 1491391"/>
                  <a:gd name="connsiteX96" fmla="*/ 140518 w 1094774"/>
                  <a:gd name="connsiteY96" fmla="*/ 1266407 h 1491391"/>
                  <a:gd name="connsiteX97" fmla="*/ 148526 w 1094774"/>
                  <a:gd name="connsiteY97" fmla="*/ 1271746 h 1491391"/>
                  <a:gd name="connsiteX98" fmla="*/ 160456 w 1094774"/>
                  <a:gd name="connsiteY98" fmla="*/ 1300109 h 1491391"/>
                  <a:gd name="connsiteX99" fmla="*/ 160873 w 1094774"/>
                  <a:gd name="connsiteY99" fmla="*/ 1308951 h 1491391"/>
                  <a:gd name="connsiteX100" fmla="*/ 182147 w 1094774"/>
                  <a:gd name="connsiteY100" fmla="*/ 1303612 h 1491391"/>
                  <a:gd name="connsiteX101" fmla="*/ 195412 w 1094774"/>
                  <a:gd name="connsiteY101" fmla="*/ 1293018 h 1491391"/>
                  <a:gd name="connsiteX102" fmla="*/ 200251 w 1094774"/>
                  <a:gd name="connsiteY102" fmla="*/ 1286344 h 1491391"/>
                  <a:gd name="connsiteX103" fmla="*/ 212181 w 1094774"/>
                  <a:gd name="connsiteY103" fmla="*/ 1272580 h 1491391"/>
                  <a:gd name="connsiteX104" fmla="*/ 252977 w 1094774"/>
                  <a:gd name="connsiteY104" fmla="*/ 1263737 h 1491391"/>
                  <a:gd name="connsiteX105" fmla="*/ 298612 w 1094774"/>
                  <a:gd name="connsiteY105" fmla="*/ 1270411 h 1491391"/>
                  <a:gd name="connsiteX106" fmla="*/ 327811 w 1094774"/>
                  <a:gd name="connsiteY106" fmla="*/ 1285009 h 1491391"/>
                  <a:gd name="connsiteX107" fmla="*/ 383623 w 1094774"/>
                  <a:gd name="connsiteY107" fmla="*/ 1325802 h 1491391"/>
                  <a:gd name="connsiteX108" fmla="*/ 395554 w 1094774"/>
                  <a:gd name="connsiteY108" fmla="*/ 1347992 h 1491391"/>
                  <a:gd name="connsiteX109" fmla="*/ 394218 w 1094774"/>
                  <a:gd name="connsiteY109" fmla="*/ 1354165 h 1491391"/>
                  <a:gd name="connsiteX110" fmla="*/ 393301 w 1094774"/>
                  <a:gd name="connsiteY110" fmla="*/ 1357252 h 1491391"/>
                  <a:gd name="connsiteX111" fmla="*/ 399975 w 1094774"/>
                  <a:gd name="connsiteY111" fmla="*/ 1367429 h 1491391"/>
                  <a:gd name="connsiteX112" fmla="*/ 410153 w 1094774"/>
                  <a:gd name="connsiteY112" fmla="*/ 1384697 h 1491391"/>
                  <a:gd name="connsiteX113" fmla="*/ 398640 w 1094774"/>
                  <a:gd name="connsiteY113" fmla="*/ 1411725 h 1491391"/>
                  <a:gd name="connsiteX114" fmla="*/ 396388 w 1094774"/>
                  <a:gd name="connsiteY114" fmla="*/ 1413978 h 1491391"/>
                  <a:gd name="connsiteX115" fmla="*/ 385793 w 1094774"/>
                  <a:gd name="connsiteY115" fmla="*/ 1460943 h 1491391"/>
                  <a:gd name="connsiteX116" fmla="*/ 403979 w 1094774"/>
                  <a:gd name="connsiteY116" fmla="*/ 1478629 h 1491391"/>
                  <a:gd name="connsiteX117" fmla="*/ 422583 w 1094774"/>
                  <a:gd name="connsiteY117" fmla="*/ 1477711 h 1491391"/>
                  <a:gd name="connsiteX118" fmla="*/ 436349 w 1094774"/>
                  <a:gd name="connsiteY118" fmla="*/ 1464447 h 1491391"/>
                  <a:gd name="connsiteX119" fmla="*/ 452701 w 1094774"/>
                  <a:gd name="connsiteY119" fmla="*/ 1448514 h 1491391"/>
                  <a:gd name="connsiteX120" fmla="*/ 486405 w 1094774"/>
                  <a:gd name="connsiteY120" fmla="*/ 1445844 h 1491391"/>
                  <a:gd name="connsiteX121" fmla="*/ 494414 w 1094774"/>
                  <a:gd name="connsiteY121" fmla="*/ 1449348 h 1491391"/>
                  <a:gd name="connsiteX122" fmla="*/ 506344 w 1094774"/>
                  <a:gd name="connsiteY122" fmla="*/ 1453769 h 1491391"/>
                  <a:gd name="connsiteX123" fmla="*/ 514353 w 1094774"/>
                  <a:gd name="connsiteY123" fmla="*/ 1449348 h 1491391"/>
                  <a:gd name="connsiteX124" fmla="*/ 521444 w 1094774"/>
                  <a:gd name="connsiteY124" fmla="*/ 1444510 h 1491391"/>
                  <a:gd name="connsiteX125" fmla="*/ 556400 w 1094774"/>
                  <a:gd name="connsiteY125" fmla="*/ 1447179 h 1491391"/>
                  <a:gd name="connsiteX126" fmla="*/ 579009 w 1094774"/>
                  <a:gd name="connsiteY126" fmla="*/ 1469286 h 1491391"/>
                  <a:gd name="connsiteX127" fmla="*/ 594110 w 1094774"/>
                  <a:gd name="connsiteY127" fmla="*/ 1491392 h 1491391"/>
                  <a:gd name="connsiteX128" fmla="*/ 598531 w 1094774"/>
                  <a:gd name="connsiteY128" fmla="*/ 1488305 h 1491391"/>
                  <a:gd name="connsiteX129" fmla="*/ 629065 w 1094774"/>
                  <a:gd name="connsiteY129" fmla="*/ 1470120 h 1491391"/>
                  <a:gd name="connsiteX130" fmla="*/ 637074 w 1094774"/>
                  <a:gd name="connsiteY130" fmla="*/ 1443091 h 1491391"/>
                  <a:gd name="connsiteX131" fmla="*/ 707486 w 1094774"/>
                  <a:gd name="connsiteY131" fmla="*/ 1390370 h 1491391"/>
                  <a:gd name="connsiteX132" fmla="*/ 696891 w 1094774"/>
                  <a:gd name="connsiteY132" fmla="*/ 1381944 h 1491391"/>
                  <a:gd name="connsiteX133" fmla="*/ 678704 w 1094774"/>
                  <a:gd name="connsiteY133" fmla="*/ 1377523 h 1491391"/>
                  <a:gd name="connsiteX134" fmla="*/ 679622 w 1094774"/>
                  <a:gd name="connsiteY134" fmla="*/ 1357168 h 1491391"/>
                  <a:gd name="connsiteX135" fmla="*/ 678704 w 1094774"/>
                  <a:gd name="connsiteY135" fmla="*/ 1327971 h 1491391"/>
                  <a:gd name="connsiteX136" fmla="*/ 773060 w 1094774"/>
                  <a:gd name="connsiteY136" fmla="*/ 1241130 h 1491391"/>
                  <a:gd name="connsiteX137" fmla="*/ 801008 w 1094774"/>
                  <a:gd name="connsiteY137" fmla="*/ 1199086 h 1491391"/>
                  <a:gd name="connsiteX138" fmla="*/ 853733 w 1094774"/>
                  <a:gd name="connsiteY138" fmla="*/ 1203925 h 1491391"/>
                  <a:gd name="connsiteX139" fmla="*/ 894529 w 1094774"/>
                  <a:gd name="connsiteY139" fmla="*/ 1185739 h 1491391"/>
                  <a:gd name="connsiteX140" fmla="*/ 861326 w 1094774"/>
                  <a:gd name="connsiteY140" fmla="*/ 1227783 h 1491391"/>
                  <a:gd name="connsiteX141" fmla="*/ 855986 w 1094774"/>
                  <a:gd name="connsiteY141" fmla="*/ 1270745 h 1491391"/>
                  <a:gd name="connsiteX142" fmla="*/ 906960 w 1094774"/>
                  <a:gd name="connsiteY142" fmla="*/ 1254811 h 1491391"/>
                  <a:gd name="connsiteX143" fmla="*/ 926899 w 1094774"/>
                  <a:gd name="connsiteY143" fmla="*/ 1230453 h 1491391"/>
                  <a:gd name="connsiteX144" fmla="*/ 926899 w 1094774"/>
                  <a:gd name="connsiteY144" fmla="*/ 1202507 h 1491391"/>
                  <a:gd name="connsiteX145" fmla="*/ 961438 w 1094774"/>
                  <a:gd name="connsiteY145" fmla="*/ 1171474 h 1491391"/>
                  <a:gd name="connsiteX146" fmla="*/ 961021 w 1094774"/>
                  <a:gd name="connsiteY146" fmla="*/ 1149785 h 1491391"/>
                  <a:gd name="connsiteX147" fmla="*/ 958351 w 1094774"/>
                  <a:gd name="connsiteY147" fmla="*/ 1141359 h 1491391"/>
                  <a:gd name="connsiteX148" fmla="*/ 963690 w 1094774"/>
                  <a:gd name="connsiteY148" fmla="*/ 1125426 h 1491391"/>
                  <a:gd name="connsiteX149" fmla="*/ 978790 w 1094774"/>
                  <a:gd name="connsiteY149" fmla="*/ 1081547 h 1491391"/>
                  <a:gd name="connsiteX150" fmla="*/ 1015581 w 1094774"/>
                  <a:gd name="connsiteY150" fmla="*/ 1063361 h 1491391"/>
                  <a:gd name="connsiteX151" fmla="*/ 1012078 w 1094774"/>
                  <a:gd name="connsiteY151" fmla="*/ 1042089 h 1491391"/>
                  <a:gd name="connsiteX152" fmla="*/ 1030682 w 1094774"/>
                  <a:gd name="connsiteY152" fmla="*/ 1019065 h 1491391"/>
                  <a:gd name="connsiteX153" fmla="*/ 989469 w 1094774"/>
                  <a:gd name="connsiteY153" fmla="*/ 981442 h 1491391"/>
                  <a:gd name="connsiteX154" fmla="*/ 975703 w 1094774"/>
                  <a:gd name="connsiteY154" fmla="*/ 996041 h 1491391"/>
                  <a:gd name="connsiteX155" fmla="*/ 980125 w 1094774"/>
                  <a:gd name="connsiteY155" fmla="*/ 1015561 h 1491391"/>
                  <a:gd name="connsiteX156" fmla="*/ 956682 w 1094774"/>
                  <a:gd name="connsiteY156" fmla="*/ 1029743 h 1491391"/>
                  <a:gd name="connsiteX157" fmla="*/ 942917 w 1094774"/>
                  <a:gd name="connsiteY157" fmla="*/ 1011140 h 1491391"/>
                  <a:gd name="connsiteX158" fmla="*/ 922977 w 1094774"/>
                  <a:gd name="connsiteY158" fmla="*/ 988116 h 1491391"/>
                  <a:gd name="connsiteX159" fmla="*/ 919891 w 1094774"/>
                  <a:gd name="connsiteY159" fmla="*/ 974852 h 1491391"/>
                  <a:gd name="connsiteX160" fmla="*/ 913717 w 1094774"/>
                  <a:gd name="connsiteY160" fmla="*/ 946906 h 1491391"/>
                  <a:gd name="connsiteX161" fmla="*/ 890275 w 1094774"/>
                  <a:gd name="connsiteY161" fmla="*/ 877333 h 1491391"/>
                  <a:gd name="connsiteX162" fmla="*/ 885435 w 1094774"/>
                  <a:gd name="connsiteY162" fmla="*/ 798084 h 1491391"/>
                  <a:gd name="connsiteX163" fmla="*/ 852232 w 1094774"/>
                  <a:gd name="connsiteY163" fmla="*/ 738272 h 1491391"/>
                  <a:gd name="connsiteX164" fmla="*/ 834045 w 1094774"/>
                  <a:gd name="connsiteY164" fmla="*/ 679794 h 1491391"/>
                  <a:gd name="connsiteX165" fmla="*/ 822532 w 1094774"/>
                  <a:gd name="connsiteY165" fmla="*/ 647010 h 1491391"/>
                  <a:gd name="connsiteX166" fmla="*/ 812771 w 1094774"/>
                  <a:gd name="connsiteY166" fmla="*/ 620899 h 1491391"/>
                  <a:gd name="connsiteX167" fmla="*/ 816275 w 1094774"/>
                  <a:gd name="connsiteY167" fmla="*/ 593871 h 1491391"/>
                  <a:gd name="connsiteX168" fmla="*/ 828205 w 1094774"/>
                  <a:gd name="connsiteY168" fmla="*/ 564173 h 1491391"/>
                  <a:gd name="connsiteX169" fmla="*/ 846392 w 1094774"/>
                  <a:gd name="connsiteY169" fmla="*/ 544235 h 1491391"/>
                  <a:gd name="connsiteX170" fmla="*/ 856987 w 1094774"/>
                  <a:gd name="connsiteY170" fmla="*/ 517207 h 1491391"/>
                  <a:gd name="connsiteX171" fmla="*/ 867583 w 1094774"/>
                  <a:gd name="connsiteY171" fmla="*/ 491097 h 1491391"/>
                  <a:gd name="connsiteX172" fmla="*/ 875091 w 1094774"/>
                  <a:gd name="connsiteY172" fmla="*/ 460064 h 1491391"/>
                  <a:gd name="connsiteX173" fmla="*/ 915386 w 1094774"/>
                  <a:gd name="connsiteY173" fmla="*/ 456560 h 1491391"/>
                  <a:gd name="connsiteX174" fmla="*/ 929151 w 1094774"/>
                  <a:gd name="connsiteY174" fmla="*/ 438375 h 1491391"/>
                  <a:gd name="connsiteX175" fmla="*/ 916720 w 1094774"/>
                  <a:gd name="connsiteY175" fmla="*/ 414016 h 1491391"/>
                  <a:gd name="connsiteX176" fmla="*/ 941081 w 1094774"/>
                  <a:gd name="connsiteY176" fmla="*/ 400752 h 1491391"/>
                  <a:gd name="connsiteX177" fmla="*/ 951677 w 1094774"/>
                  <a:gd name="connsiteY177" fmla="*/ 418938 h 1491391"/>
                  <a:gd name="connsiteX178" fmla="*/ 968946 w 1094774"/>
                  <a:gd name="connsiteY178" fmla="*/ 441545 h 1491391"/>
                  <a:gd name="connsiteX179" fmla="*/ 1007072 w 1094774"/>
                  <a:gd name="connsiteY179" fmla="*/ 486759 h 1491391"/>
                  <a:gd name="connsiteX180" fmla="*/ 1027428 w 1094774"/>
                  <a:gd name="connsiteY180" fmla="*/ 496519 h 1491391"/>
                  <a:gd name="connsiteX181" fmla="*/ 1037606 w 1094774"/>
                  <a:gd name="connsiteY181" fmla="*/ 478834 h 1491391"/>
                  <a:gd name="connsiteX182" fmla="*/ 1077484 w 1094774"/>
                  <a:gd name="connsiteY182" fmla="*/ 500523 h 1491391"/>
                  <a:gd name="connsiteX183" fmla="*/ 1089915 w 1094774"/>
                  <a:gd name="connsiteY183" fmla="*/ 481503 h 1491391"/>
                  <a:gd name="connsiteX184" fmla="*/ 1093002 w 1094774"/>
                  <a:gd name="connsiteY184" fmla="*/ 447801 h 1491391"/>
                  <a:gd name="connsiteX185" fmla="*/ 1083241 w 1094774"/>
                  <a:gd name="connsiteY185" fmla="*/ 421691 h 1491391"/>
                  <a:gd name="connsiteX186" fmla="*/ 1066889 w 1094774"/>
                  <a:gd name="connsiteY186" fmla="*/ 352118 h 1491391"/>
                  <a:gd name="connsiteX187" fmla="*/ 1060215 w 1094774"/>
                  <a:gd name="connsiteY187" fmla="*/ 318917 h 1491391"/>
                  <a:gd name="connsiteX188" fmla="*/ 1046449 w 1094774"/>
                  <a:gd name="connsiteY188" fmla="*/ 292806 h 1491391"/>
                  <a:gd name="connsiteX189" fmla="*/ 1043780 w 1094774"/>
                  <a:gd name="connsiteY189" fmla="*/ 284798 h 1491391"/>
                  <a:gd name="connsiteX190" fmla="*/ 1010576 w 1094774"/>
                  <a:gd name="connsiteY190" fmla="*/ 267530 h 1491391"/>
                  <a:gd name="connsiteX191" fmla="*/ 995059 w 1094774"/>
                  <a:gd name="connsiteY191" fmla="*/ 264443 h 1491391"/>
                  <a:gd name="connsiteX192" fmla="*/ 991554 w 1094774"/>
                  <a:gd name="connsiteY192" fmla="*/ 266695 h 1491391"/>
                  <a:gd name="connsiteX193" fmla="*/ 973368 w 1094774"/>
                  <a:gd name="connsiteY193" fmla="*/ 269782 h 1491391"/>
                  <a:gd name="connsiteX194" fmla="*/ 964024 w 1094774"/>
                  <a:gd name="connsiteY194" fmla="*/ 234328 h 1491391"/>
                  <a:gd name="connsiteX195" fmla="*/ 965359 w 1094774"/>
                  <a:gd name="connsiteY195" fmla="*/ 221481 h 1491391"/>
                  <a:gd name="connsiteX196" fmla="*/ 925063 w 1094774"/>
                  <a:gd name="connsiteY196" fmla="*/ 194453 h 1491391"/>
                  <a:gd name="connsiteX197" fmla="*/ 889190 w 1094774"/>
                  <a:gd name="connsiteY197" fmla="*/ 197123 h 1491391"/>
                  <a:gd name="connsiteX198" fmla="*/ 881181 w 1094774"/>
                  <a:gd name="connsiteY198" fmla="*/ 199375 h 1491391"/>
                  <a:gd name="connsiteX199" fmla="*/ 844390 w 1094774"/>
                  <a:gd name="connsiteY199" fmla="*/ 179021 h 1491391"/>
                  <a:gd name="connsiteX200" fmla="*/ 840385 w 1094774"/>
                  <a:gd name="connsiteY200" fmla="*/ 161335 h 1491391"/>
                  <a:gd name="connsiteX201" fmla="*/ 830625 w 1094774"/>
                  <a:gd name="connsiteY201" fmla="*/ 141815 h 1491391"/>
                  <a:gd name="connsiteX202" fmla="*/ 826202 w 1094774"/>
                  <a:gd name="connsiteY202" fmla="*/ 139145 h 1491391"/>
                  <a:gd name="connsiteX203" fmla="*/ 812020 w 1094774"/>
                  <a:gd name="connsiteY203" fmla="*/ 125381 h 1491391"/>
                  <a:gd name="connsiteX204" fmla="*/ 808516 w 1094774"/>
                  <a:gd name="connsiteY204" fmla="*/ 115204 h 1491391"/>
                  <a:gd name="connsiteX205" fmla="*/ 802760 w 1094774"/>
                  <a:gd name="connsiteY205" fmla="*/ 106361 h 1491391"/>
                  <a:gd name="connsiteX206" fmla="*/ 788577 w 1094774"/>
                  <a:gd name="connsiteY206" fmla="*/ 105026 h 1491391"/>
                  <a:gd name="connsiteX207" fmla="*/ 773060 w 1094774"/>
                  <a:gd name="connsiteY207" fmla="*/ 104109 h 1491391"/>
                  <a:gd name="connsiteX208" fmla="*/ 755791 w 1094774"/>
                  <a:gd name="connsiteY208" fmla="*/ 93014 h 1491391"/>
                  <a:gd name="connsiteX209" fmla="*/ 752704 w 1094774"/>
                  <a:gd name="connsiteY209" fmla="*/ 89927 h 1491391"/>
                  <a:gd name="connsiteX210" fmla="*/ 737187 w 1094774"/>
                  <a:gd name="connsiteY210" fmla="*/ 81085 h 1491391"/>
                  <a:gd name="connsiteX211" fmla="*/ 712826 w 1094774"/>
                  <a:gd name="connsiteY211" fmla="*/ 62899 h 1491391"/>
                  <a:gd name="connsiteX212" fmla="*/ 713743 w 1094774"/>
                  <a:gd name="connsiteY212" fmla="*/ 43379 h 1491391"/>
                  <a:gd name="connsiteX213" fmla="*/ 717747 w 1094774"/>
                  <a:gd name="connsiteY213" fmla="*/ 31867 h 1491391"/>
                  <a:gd name="connsiteX214" fmla="*/ 715078 w 1094774"/>
                  <a:gd name="connsiteY214" fmla="*/ 28363 h 1491391"/>
                  <a:gd name="connsiteX215" fmla="*/ 710656 w 1094774"/>
                  <a:gd name="connsiteY215" fmla="*/ 23525 h 1491391"/>
                  <a:gd name="connsiteX216" fmla="*/ 705818 w 1094774"/>
                  <a:gd name="connsiteY216" fmla="*/ 16434 h 1491391"/>
                  <a:gd name="connsiteX217" fmla="*/ 686296 w 1094774"/>
                  <a:gd name="connsiteY217" fmla="*/ 2252 h 1491391"/>
                  <a:gd name="connsiteX218" fmla="*/ 682792 w 1094774"/>
                  <a:gd name="connsiteY218" fmla="*/ 2669 h 1491391"/>
                  <a:gd name="connsiteX219" fmla="*/ 658848 w 1094774"/>
                  <a:gd name="connsiteY219" fmla="*/ 1335 h 1491391"/>
                  <a:gd name="connsiteX220" fmla="*/ 652675 w 1094774"/>
                  <a:gd name="connsiteY220" fmla="*/ 0 h 1491391"/>
                  <a:gd name="connsiteX221" fmla="*/ 617135 w 1094774"/>
                  <a:gd name="connsiteY221" fmla="*/ 39124 h 1491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094774" h="1491391" extrusionOk="0">
                    <a:moveTo>
                      <a:pt x="617135" y="39124"/>
                    </a:moveTo>
                    <a:cubicBezTo>
                      <a:pt x="610461" y="44463"/>
                      <a:pt x="603370" y="50636"/>
                      <a:pt x="594527" y="54223"/>
                    </a:cubicBezTo>
                    <a:cubicBezTo>
                      <a:pt x="585683" y="57727"/>
                      <a:pt x="576339" y="58228"/>
                      <a:pt x="567079" y="58645"/>
                    </a:cubicBezTo>
                    <a:cubicBezTo>
                      <a:pt x="564409" y="58645"/>
                      <a:pt x="561739" y="59062"/>
                      <a:pt x="559070" y="59062"/>
                    </a:cubicBezTo>
                    <a:cubicBezTo>
                      <a:pt x="546639" y="59979"/>
                      <a:pt x="534709" y="63066"/>
                      <a:pt x="523197" y="67904"/>
                    </a:cubicBezTo>
                    <a:cubicBezTo>
                      <a:pt x="518357" y="70157"/>
                      <a:pt x="512100" y="73243"/>
                      <a:pt x="508096" y="78082"/>
                    </a:cubicBezTo>
                    <a:cubicBezTo>
                      <a:pt x="506761" y="79833"/>
                      <a:pt x="505426" y="82086"/>
                      <a:pt x="504092" y="84755"/>
                    </a:cubicBezTo>
                    <a:cubicBezTo>
                      <a:pt x="502757" y="87425"/>
                      <a:pt x="501422" y="90094"/>
                      <a:pt x="499253" y="92764"/>
                    </a:cubicBezTo>
                    <a:cubicBezTo>
                      <a:pt x="489492" y="105610"/>
                      <a:pt x="473141" y="110949"/>
                      <a:pt x="447862" y="109614"/>
                    </a:cubicBezTo>
                    <a:lnTo>
                      <a:pt x="443440" y="109197"/>
                    </a:lnTo>
                    <a:cubicBezTo>
                      <a:pt x="434096" y="108780"/>
                      <a:pt x="425253" y="107863"/>
                      <a:pt x="417328" y="110532"/>
                    </a:cubicBezTo>
                    <a:cubicBezTo>
                      <a:pt x="412489" y="112284"/>
                      <a:pt x="407567" y="114954"/>
                      <a:pt x="402228" y="118040"/>
                    </a:cubicBezTo>
                    <a:lnTo>
                      <a:pt x="372527" y="135725"/>
                    </a:lnTo>
                    <a:cubicBezTo>
                      <a:pt x="366354" y="139729"/>
                      <a:pt x="357010" y="145068"/>
                      <a:pt x="346832" y="145068"/>
                    </a:cubicBezTo>
                    <a:cubicBezTo>
                      <a:pt x="345498" y="145068"/>
                      <a:pt x="343745" y="145068"/>
                      <a:pt x="342411" y="144651"/>
                    </a:cubicBezTo>
                    <a:cubicBezTo>
                      <a:pt x="329980" y="142399"/>
                      <a:pt x="322888" y="132722"/>
                      <a:pt x="316298" y="124297"/>
                    </a:cubicBezTo>
                    <a:cubicBezTo>
                      <a:pt x="313211" y="120292"/>
                      <a:pt x="310124" y="116288"/>
                      <a:pt x="306954" y="113202"/>
                    </a:cubicBezTo>
                    <a:cubicBezTo>
                      <a:pt x="298528" y="105694"/>
                      <a:pt x="286097" y="102607"/>
                      <a:pt x="271998" y="104776"/>
                    </a:cubicBezTo>
                    <a:cubicBezTo>
                      <a:pt x="263989" y="106111"/>
                      <a:pt x="256064" y="108780"/>
                      <a:pt x="248054" y="111867"/>
                    </a:cubicBezTo>
                    <a:lnTo>
                      <a:pt x="257398" y="115871"/>
                    </a:lnTo>
                    <a:cubicBezTo>
                      <a:pt x="257815" y="116288"/>
                      <a:pt x="258317" y="116789"/>
                      <a:pt x="258734" y="117206"/>
                    </a:cubicBezTo>
                    <a:cubicBezTo>
                      <a:pt x="259651" y="118124"/>
                      <a:pt x="260986" y="118958"/>
                      <a:pt x="262738" y="120292"/>
                    </a:cubicBezTo>
                    <a:cubicBezTo>
                      <a:pt x="265408" y="122545"/>
                      <a:pt x="268911" y="124714"/>
                      <a:pt x="271164" y="127800"/>
                    </a:cubicBezTo>
                    <a:cubicBezTo>
                      <a:pt x="273416" y="130887"/>
                      <a:pt x="275585" y="133973"/>
                      <a:pt x="276002" y="137977"/>
                    </a:cubicBezTo>
                    <a:cubicBezTo>
                      <a:pt x="276419" y="142816"/>
                      <a:pt x="272916" y="150824"/>
                      <a:pt x="267994" y="161919"/>
                    </a:cubicBezTo>
                    <a:cubicBezTo>
                      <a:pt x="266659" y="165923"/>
                      <a:pt x="264907" y="169010"/>
                      <a:pt x="264490" y="170762"/>
                    </a:cubicBezTo>
                    <a:cubicBezTo>
                      <a:pt x="263572" y="173848"/>
                      <a:pt x="262237" y="176518"/>
                      <a:pt x="261403" y="179187"/>
                    </a:cubicBezTo>
                    <a:cubicBezTo>
                      <a:pt x="259151" y="185360"/>
                      <a:pt x="256981" y="190282"/>
                      <a:pt x="257398" y="196455"/>
                    </a:cubicBezTo>
                    <a:cubicBezTo>
                      <a:pt x="257398" y="199125"/>
                      <a:pt x="258734" y="202628"/>
                      <a:pt x="259651" y="206215"/>
                    </a:cubicBezTo>
                    <a:cubicBezTo>
                      <a:pt x="262321" y="214641"/>
                      <a:pt x="265408" y="225235"/>
                      <a:pt x="259234" y="234161"/>
                    </a:cubicBezTo>
                    <a:cubicBezTo>
                      <a:pt x="251225" y="245673"/>
                      <a:pt x="237960" y="243504"/>
                      <a:pt x="226864" y="241669"/>
                    </a:cubicBezTo>
                    <a:cubicBezTo>
                      <a:pt x="214016" y="239417"/>
                      <a:pt x="207843" y="239000"/>
                      <a:pt x="204255" y="246508"/>
                    </a:cubicBezTo>
                    <a:cubicBezTo>
                      <a:pt x="203338" y="248760"/>
                      <a:pt x="203338" y="251846"/>
                      <a:pt x="203838" y="255350"/>
                    </a:cubicBezTo>
                    <a:cubicBezTo>
                      <a:pt x="204255" y="260689"/>
                      <a:pt x="204255" y="266862"/>
                      <a:pt x="201169" y="273035"/>
                    </a:cubicBezTo>
                    <a:cubicBezTo>
                      <a:pt x="197164" y="280126"/>
                      <a:pt x="190073" y="284547"/>
                      <a:pt x="183900" y="288134"/>
                    </a:cubicBezTo>
                    <a:cubicBezTo>
                      <a:pt x="181647" y="289052"/>
                      <a:pt x="179478" y="290387"/>
                      <a:pt x="177726" y="291638"/>
                    </a:cubicBezTo>
                    <a:cubicBezTo>
                      <a:pt x="158204" y="305820"/>
                      <a:pt x="139599" y="323505"/>
                      <a:pt x="126752" y="339939"/>
                    </a:cubicBezTo>
                    <a:cubicBezTo>
                      <a:pt x="121413" y="346612"/>
                      <a:pt x="114822" y="356289"/>
                      <a:pt x="116157" y="361628"/>
                    </a:cubicBezTo>
                    <a:cubicBezTo>
                      <a:pt x="117074" y="364714"/>
                      <a:pt x="120995" y="368302"/>
                      <a:pt x="127670" y="371388"/>
                    </a:cubicBezTo>
                    <a:cubicBezTo>
                      <a:pt x="138265" y="376227"/>
                      <a:pt x="143187" y="380731"/>
                      <a:pt x="144939" y="386904"/>
                    </a:cubicBezTo>
                    <a:cubicBezTo>
                      <a:pt x="147192" y="394913"/>
                      <a:pt x="142686" y="401503"/>
                      <a:pt x="138265" y="408594"/>
                    </a:cubicBezTo>
                    <a:cubicBezTo>
                      <a:pt x="136012" y="411680"/>
                      <a:pt x="133426" y="415684"/>
                      <a:pt x="131174" y="420106"/>
                    </a:cubicBezTo>
                    <a:cubicBezTo>
                      <a:pt x="127169" y="429449"/>
                      <a:pt x="124082" y="443130"/>
                      <a:pt x="148860" y="461315"/>
                    </a:cubicBezTo>
                    <a:cubicBezTo>
                      <a:pt x="175473" y="480335"/>
                      <a:pt x="174556" y="493683"/>
                      <a:pt x="170134" y="522463"/>
                    </a:cubicBezTo>
                    <a:cubicBezTo>
                      <a:pt x="167047" y="544152"/>
                      <a:pt x="174973" y="554329"/>
                      <a:pt x="191408" y="572098"/>
                    </a:cubicBezTo>
                    <a:lnTo>
                      <a:pt x="194078" y="575184"/>
                    </a:lnTo>
                    <a:cubicBezTo>
                      <a:pt x="199417" y="580523"/>
                      <a:pt x="203421" y="584945"/>
                      <a:pt x="209595" y="587614"/>
                    </a:cubicBezTo>
                    <a:cubicBezTo>
                      <a:pt x="212265" y="588949"/>
                      <a:pt x="215352" y="589366"/>
                      <a:pt x="218021" y="590284"/>
                    </a:cubicBezTo>
                    <a:cubicBezTo>
                      <a:pt x="225112" y="592035"/>
                      <a:pt x="233956" y="593787"/>
                      <a:pt x="240129" y="602713"/>
                    </a:cubicBezTo>
                    <a:cubicBezTo>
                      <a:pt x="250724" y="616895"/>
                      <a:pt x="250307" y="648344"/>
                      <a:pt x="239712" y="662943"/>
                    </a:cubicBezTo>
                    <a:cubicBezTo>
                      <a:pt x="236626" y="667781"/>
                      <a:pt x="231703" y="670951"/>
                      <a:pt x="228199" y="673537"/>
                    </a:cubicBezTo>
                    <a:cubicBezTo>
                      <a:pt x="224695" y="676207"/>
                      <a:pt x="221525" y="678376"/>
                      <a:pt x="219356" y="681546"/>
                    </a:cubicBezTo>
                    <a:cubicBezTo>
                      <a:pt x="215852" y="686884"/>
                      <a:pt x="214935" y="692641"/>
                      <a:pt x="214016" y="699231"/>
                    </a:cubicBezTo>
                    <a:cubicBezTo>
                      <a:pt x="213599" y="702734"/>
                      <a:pt x="213599" y="705904"/>
                      <a:pt x="212682" y="709408"/>
                    </a:cubicBezTo>
                    <a:cubicBezTo>
                      <a:pt x="210429" y="718251"/>
                      <a:pt x="206925" y="724924"/>
                      <a:pt x="203838" y="730680"/>
                    </a:cubicBezTo>
                    <a:cubicBezTo>
                      <a:pt x="199417" y="739106"/>
                      <a:pt x="195829" y="745279"/>
                      <a:pt x="198082" y="756374"/>
                    </a:cubicBezTo>
                    <a:cubicBezTo>
                      <a:pt x="198082" y="757709"/>
                      <a:pt x="198499" y="759460"/>
                      <a:pt x="199000" y="760795"/>
                    </a:cubicBezTo>
                    <a:cubicBezTo>
                      <a:pt x="201252" y="769638"/>
                      <a:pt x="203421" y="780732"/>
                      <a:pt x="190991" y="789575"/>
                    </a:cubicBezTo>
                    <a:cubicBezTo>
                      <a:pt x="182981" y="794914"/>
                      <a:pt x="158204" y="798001"/>
                      <a:pt x="148443" y="793996"/>
                    </a:cubicBezTo>
                    <a:cubicBezTo>
                      <a:pt x="142686" y="791327"/>
                      <a:pt x="138265" y="786906"/>
                      <a:pt x="134261" y="782484"/>
                    </a:cubicBezTo>
                    <a:cubicBezTo>
                      <a:pt x="131591" y="779815"/>
                      <a:pt x="128087" y="775394"/>
                      <a:pt x="126251" y="775394"/>
                    </a:cubicBezTo>
                    <a:lnTo>
                      <a:pt x="125834" y="775394"/>
                    </a:lnTo>
                    <a:cubicBezTo>
                      <a:pt x="125417" y="775394"/>
                      <a:pt x="123165" y="775811"/>
                      <a:pt x="119160" y="780732"/>
                    </a:cubicBezTo>
                    <a:cubicBezTo>
                      <a:pt x="116074" y="784737"/>
                      <a:pt x="114738" y="790493"/>
                      <a:pt x="113821" y="796666"/>
                    </a:cubicBezTo>
                    <a:cubicBezTo>
                      <a:pt x="112903" y="800670"/>
                      <a:pt x="112069" y="805091"/>
                      <a:pt x="110734" y="808595"/>
                    </a:cubicBezTo>
                    <a:cubicBezTo>
                      <a:pt x="106313" y="821442"/>
                      <a:pt x="97886" y="833371"/>
                      <a:pt x="86373" y="843548"/>
                    </a:cubicBezTo>
                    <a:cubicBezTo>
                      <a:pt x="81535" y="847052"/>
                      <a:pt x="75278" y="850639"/>
                      <a:pt x="68687" y="853725"/>
                    </a:cubicBezTo>
                    <a:cubicBezTo>
                      <a:pt x="50500" y="862568"/>
                      <a:pt x="43910" y="867490"/>
                      <a:pt x="46996" y="875832"/>
                    </a:cubicBezTo>
                    <a:cubicBezTo>
                      <a:pt x="49665" y="882923"/>
                      <a:pt x="56340" y="885175"/>
                      <a:pt x="66935" y="888262"/>
                    </a:cubicBezTo>
                    <a:cubicBezTo>
                      <a:pt x="78865" y="891348"/>
                      <a:pt x="94383" y="896270"/>
                      <a:pt x="98804" y="914372"/>
                    </a:cubicBezTo>
                    <a:cubicBezTo>
                      <a:pt x="101474" y="924967"/>
                      <a:pt x="100556" y="932975"/>
                      <a:pt x="96134" y="939148"/>
                    </a:cubicBezTo>
                    <a:cubicBezTo>
                      <a:pt x="89460" y="948908"/>
                      <a:pt x="74861" y="950243"/>
                      <a:pt x="62430" y="951077"/>
                    </a:cubicBezTo>
                    <a:cubicBezTo>
                      <a:pt x="55755" y="951494"/>
                      <a:pt x="48664" y="952829"/>
                      <a:pt x="44744" y="957751"/>
                    </a:cubicBezTo>
                    <a:cubicBezTo>
                      <a:pt x="42491" y="960420"/>
                      <a:pt x="42074" y="962589"/>
                      <a:pt x="41240" y="965759"/>
                    </a:cubicBezTo>
                    <a:cubicBezTo>
                      <a:pt x="39487" y="971098"/>
                      <a:pt x="37235" y="978189"/>
                      <a:pt x="27057" y="983027"/>
                    </a:cubicBezTo>
                    <a:cubicBezTo>
                      <a:pt x="23053" y="984779"/>
                      <a:pt x="19048" y="985697"/>
                      <a:pt x="15127" y="986531"/>
                    </a:cubicBezTo>
                    <a:cubicBezTo>
                      <a:pt x="9370" y="987866"/>
                      <a:pt x="5366" y="988783"/>
                      <a:pt x="3197" y="991369"/>
                    </a:cubicBezTo>
                    <a:cubicBezTo>
                      <a:pt x="528" y="995791"/>
                      <a:pt x="1445" y="1000713"/>
                      <a:pt x="4115" y="1008637"/>
                    </a:cubicBezTo>
                    <a:cubicBezTo>
                      <a:pt x="5449" y="1012141"/>
                      <a:pt x="6367" y="1016145"/>
                      <a:pt x="6785" y="1019732"/>
                    </a:cubicBezTo>
                    <a:cubicBezTo>
                      <a:pt x="8119" y="1031661"/>
                      <a:pt x="6367" y="1040087"/>
                      <a:pt x="3698" y="1049847"/>
                    </a:cubicBezTo>
                    <a:cubicBezTo>
                      <a:pt x="2779" y="1052517"/>
                      <a:pt x="2362" y="1055603"/>
                      <a:pt x="1445" y="1058690"/>
                    </a:cubicBezTo>
                    <a:cubicBezTo>
                      <a:pt x="528" y="1062193"/>
                      <a:pt x="-307" y="1065781"/>
                      <a:pt x="110" y="1066698"/>
                    </a:cubicBezTo>
                    <a:cubicBezTo>
                      <a:pt x="110" y="1067616"/>
                      <a:pt x="1862" y="1069367"/>
                      <a:pt x="3197" y="1071119"/>
                    </a:cubicBezTo>
                    <a:lnTo>
                      <a:pt x="4949" y="1073372"/>
                    </a:lnTo>
                    <a:cubicBezTo>
                      <a:pt x="16045" y="1086219"/>
                      <a:pt x="16879" y="1089722"/>
                      <a:pt x="19132" y="1106156"/>
                    </a:cubicBezTo>
                    <a:cubicBezTo>
                      <a:pt x="20466" y="1117251"/>
                      <a:pt x="22219" y="1126511"/>
                      <a:pt x="27557" y="1133184"/>
                    </a:cubicBezTo>
                    <a:cubicBezTo>
                      <a:pt x="29310" y="1134936"/>
                      <a:pt x="30644" y="1136271"/>
                      <a:pt x="32396" y="1137605"/>
                    </a:cubicBezTo>
                    <a:cubicBezTo>
                      <a:pt x="35483" y="1139858"/>
                      <a:pt x="39487" y="1142945"/>
                      <a:pt x="42157" y="1148200"/>
                    </a:cubicBezTo>
                    <a:cubicBezTo>
                      <a:pt x="43492" y="1151287"/>
                      <a:pt x="44827" y="1153539"/>
                      <a:pt x="45661" y="1156208"/>
                    </a:cubicBezTo>
                    <a:cubicBezTo>
                      <a:pt x="48331" y="1162882"/>
                      <a:pt x="49665" y="1165551"/>
                      <a:pt x="56757" y="1169055"/>
                    </a:cubicBezTo>
                    <a:cubicBezTo>
                      <a:pt x="70022" y="1176146"/>
                      <a:pt x="80200" y="1185405"/>
                      <a:pt x="89960" y="1194331"/>
                    </a:cubicBezTo>
                    <a:cubicBezTo>
                      <a:pt x="95717" y="1200088"/>
                      <a:pt x="102391" y="1205844"/>
                      <a:pt x="109483" y="1210682"/>
                    </a:cubicBezTo>
                    <a:cubicBezTo>
                      <a:pt x="111234" y="1211599"/>
                      <a:pt x="112570" y="1212934"/>
                      <a:pt x="114822" y="1214186"/>
                    </a:cubicBezTo>
                    <a:cubicBezTo>
                      <a:pt x="120161" y="1217272"/>
                      <a:pt x="126335" y="1221276"/>
                      <a:pt x="130339" y="1227032"/>
                    </a:cubicBezTo>
                    <a:cubicBezTo>
                      <a:pt x="135679" y="1235041"/>
                      <a:pt x="135178" y="1242966"/>
                      <a:pt x="134761" y="1249139"/>
                    </a:cubicBezTo>
                    <a:cubicBezTo>
                      <a:pt x="134344" y="1253143"/>
                      <a:pt x="133844" y="1257147"/>
                      <a:pt x="135178" y="1260234"/>
                    </a:cubicBezTo>
                    <a:cubicBezTo>
                      <a:pt x="136513" y="1263737"/>
                      <a:pt x="137431" y="1264655"/>
                      <a:pt x="140518" y="1266407"/>
                    </a:cubicBezTo>
                    <a:cubicBezTo>
                      <a:pt x="142770" y="1267741"/>
                      <a:pt x="145356" y="1269076"/>
                      <a:pt x="148526" y="1271746"/>
                    </a:cubicBezTo>
                    <a:cubicBezTo>
                      <a:pt x="159622" y="1281506"/>
                      <a:pt x="160039" y="1289014"/>
                      <a:pt x="160456" y="1300109"/>
                    </a:cubicBezTo>
                    <a:cubicBezTo>
                      <a:pt x="160456" y="1302778"/>
                      <a:pt x="160873" y="1305865"/>
                      <a:pt x="160873" y="1308951"/>
                    </a:cubicBezTo>
                    <a:cubicBezTo>
                      <a:pt x="168382" y="1308534"/>
                      <a:pt x="175473" y="1306699"/>
                      <a:pt x="182147" y="1303612"/>
                    </a:cubicBezTo>
                    <a:cubicBezTo>
                      <a:pt x="186987" y="1300943"/>
                      <a:pt x="191908" y="1297439"/>
                      <a:pt x="195412" y="1293018"/>
                    </a:cubicBezTo>
                    <a:cubicBezTo>
                      <a:pt x="197164" y="1290766"/>
                      <a:pt x="198916" y="1288597"/>
                      <a:pt x="200251" y="1286344"/>
                    </a:cubicBezTo>
                    <a:cubicBezTo>
                      <a:pt x="203755" y="1281506"/>
                      <a:pt x="207342" y="1276584"/>
                      <a:pt x="212181" y="1272580"/>
                    </a:cubicBezTo>
                    <a:cubicBezTo>
                      <a:pt x="224111" y="1262820"/>
                      <a:pt x="240963" y="1263237"/>
                      <a:pt x="252977" y="1263737"/>
                    </a:cubicBezTo>
                    <a:cubicBezTo>
                      <a:pt x="267159" y="1264154"/>
                      <a:pt x="283094" y="1265072"/>
                      <a:pt x="298612" y="1270411"/>
                    </a:cubicBezTo>
                    <a:cubicBezTo>
                      <a:pt x="309707" y="1273915"/>
                      <a:pt x="319468" y="1280171"/>
                      <a:pt x="327811" y="1285009"/>
                    </a:cubicBezTo>
                    <a:cubicBezTo>
                      <a:pt x="350419" y="1299191"/>
                      <a:pt x="368106" y="1312038"/>
                      <a:pt x="383623" y="1325802"/>
                    </a:cubicBezTo>
                    <a:cubicBezTo>
                      <a:pt x="387628" y="1329306"/>
                      <a:pt x="396471" y="1336897"/>
                      <a:pt x="395554" y="1347992"/>
                    </a:cubicBezTo>
                    <a:cubicBezTo>
                      <a:pt x="395554" y="1350662"/>
                      <a:pt x="395137" y="1352413"/>
                      <a:pt x="394218" y="1354165"/>
                    </a:cubicBezTo>
                    <a:cubicBezTo>
                      <a:pt x="393801" y="1355083"/>
                      <a:pt x="393801" y="1356418"/>
                      <a:pt x="393301" y="1357252"/>
                    </a:cubicBezTo>
                    <a:cubicBezTo>
                      <a:pt x="393301" y="1360338"/>
                      <a:pt x="395554" y="1363008"/>
                      <a:pt x="399975" y="1367429"/>
                    </a:cubicBezTo>
                    <a:cubicBezTo>
                      <a:pt x="403979" y="1372267"/>
                      <a:pt x="408818" y="1377189"/>
                      <a:pt x="410153" y="1384697"/>
                    </a:cubicBezTo>
                    <a:cubicBezTo>
                      <a:pt x="411905" y="1395792"/>
                      <a:pt x="404814" y="1404635"/>
                      <a:pt x="398640" y="1411725"/>
                    </a:cubicBezTo>
                    <a:lnTo>
                      <a:pt x="396388" y="1413978"/>
                    </a:lnTo>
                    <a:cubicBezTo>
                      <a:pt x="384457" y="1428159"/>
                      <a:pt x="380453" y="1446762"/>
                      <a:pt x="385793" y="1460943"/>
                    </a:cubicBezTo>
                    <a:cubicBezTo>
                      <a:pt x="388462" y="1468952"/>
                      <a:pt x="395554" y="1475542"/>
                      <a:pt x="403979" y="1478629"/>
                    </a:cubicBezTo>
                    <a:cubicBezTo>
                      <a:pt x="410654" y="1480881"/>
                      <a:pt x="417245" y="1480881"/>
                      <a:pt x="422583" y="1477711"/>
                    </a:cubicBezTo>
                    <a:cubicBezTo>
                      <a:pt x="427923" y="1474624"/>
                      <a:pt x="431927" y="1469703"/>
                      <a:pt x="436349" y="1464447"/>
                    </a:cubicBezTo>
                    <a:cubicBezTo>
                      <a:pt x="441187" y="1458691"/>
                      <a:pt x="446110" y="1452935"/>
                      <a:pt x="452701" y="1448514"/>
                    </a:cubicBezTo>
                    <a:cubicBezTo>
                      <a:pt x="462461" y="1442341"/>
                      <a:pt x="475727" y="1441423"/>
                      <a:pt x="486405" y="1445844"/>
                    </a:cubicBezTo>
                    <a:cubicBezTo>
                      <a:pt x="489492" y="1446762"/>
                      <a:pt x="491745" y="1448097"/>
                      <a:pt x="494414" y="1449348"/>
                    </a:cubicBezTo>
                    <a:cubicBezTo>
                      <a:pt x="499253" y="1452018"/>
                      <a:pt x="503257" y="1454186"/>
                      <a:pt x="506344" y="1453769"/>
                    </a:cubicBezTo>
                    <a:cubicBezTo>
                      <a:pt x="509014" y="1453352"/>
                      <a:pt x="511183" y="1451517"/>
                      <a:pt x="514353" y="1449348"/>
                    </a:cubicBezTo>
                    <a:cubicBezTo>
                      <a:pt x="516606" y="1447596"/>
                      <a:pt x="518774" y="1445844"/>
                      <a:pt x="521444" y="1444510"/>
                    </a:cubicBezTo>
                    <a:cubicBezTo>
                      <a:pt x="532040" y="1439171"/>
                      <a:pt x="545388" y="1440505"/>
                      <a:pt x="556400" y="1447179"/>
                    </a:cubicBezTo>
                    <a:cubicBezTo>
                      <a:pt x="565744" y="1452518"/>
                      <a:pt x="572752" y="1460943"/>
                      <a:pt x="579009" y="1469286"/>
                    </a:cubicBezTo>
                    <a:cubicBezTo>
                      <a:pt x="584348" y="1476376"/>
                      <a:pt x="589187" y="1483467"/>
                      <a:pt x="594110" y="1491392"/>
                    </a:cubicBezTo>
                    <a:cubicBezTo>
                      <a:pt x="595444" y="1490474"/>
                      <a:pt x="597196" y="1489140"/>
                      <a:pt x="598531" y="1488305"/>
                    </a:cubicBezTo>
                    <a:cubicBezTo>
                      <a:pt x="608709" y="1482549"/>
                      <a:pt x="619388" y="1477210"/>
                      <a:pt x="629065" y="1470120"/>
                    </a:cubicBezTo>
                    <a:cubicBezTo>
                      <a:pt x="643665" y="1459525"/>
                      <a:pt x="639243" y="1457690"/>
                      <a:pt x="637074" y="1443091"/>
                    </a:cubicBezTo>
                    <a:cubicBezTo>
                      <a:pt x="630900" y="1394374"/>
                      <a:pt x="697725" y="1427992"/>
                      <a:pt x="707486" y="1390370"/>
                    </a:cubicBezTo>
                    <a:cubicBezTo>
                      <a:pt x="710573" y="1378440"/>
                      <a:pt x="703982" y="1382361"/>
                      <a:pt x="696891" y="1381944"/>
                    </a:cubicBezTo>
                    <a:cubicBezTo>
                      <a:pt x="687548" y="1381944"/>
                      <a:pt x="686713" y="1389452"/>
                      <a:pt x="678704" y="1377523"/>
                    </a:cubicBezTo>
                    <a:cubicBezTo>
                      <a:pt x="672531" y="1368180"/>
                      <a:pt x="676451" y="1365594"/>
                      <a:pt x="679622" y="1357168"/>
                    </a:cubicBezTo>
                    <a:cubicBezTo>
                      <a:pt x="685378" y="1342069"/>
                      <a:pt x="683125" y="1343904"/>
                      <a:pt x="678704" y="1327971"/>
                    </a:cubicBezTo>
                    <a:cubicBezTo>
                      <a:pt x="663604" y="1271746"/>
                      <a:pt x="746947" y="1269493"/>
                      <a:pt x="773060" y="1241130"/>
                    </a:cubicBezTo>
                    <a:cubicBezTo>
                      <a:pt x="784573" y="1228284"/>
                      <a:pt x="786324" y="1208763"/>
                      <a:pt x="801008" y="1199086"/>
                    </a:cubicBezTo>
                    <a:cubicBezTo>
                      <a:pt x="820947" y="1185823"/>
                      <a:pt x="834212" y="1207929"/>
                      <a:pt x="853733" y="1203925"/>
                    </a:cubicBezTo>
                    <a:cubicBezTo>
                      <a:pt x="864329" y="1201672"/>
                      <a:pt x="883434" y="1169806"/>
                      <a:pt x="894529" y="1185739"/>
                    </a:cubicBezTo>
                    <a:cubicBezTo>
                      <a:pt x="906042" y="1202090"/>
                      <a:pt x="869251" y="1219441"/>
                      <a:pt x="861326" y="1227783"/>
                    </a:cubicBezTo>
                    <a:cubicBezTo>
                      <a:pt x="850730" y="1238378"/>
                      <a:pt x="841803" y="1258816"/>
                      <a:pt x="855986" y="1270745"/>
                    </a:cubicBezTo>
                    <a:cubicBezTo>
                      <a:pt x="874173" y="1286261"/>
                      <a:pt x="895447" y="1268492"/>
                      <a:pt x="906960" y="1254811"/>
                    </a:cubicBezTo>
                    <a:cubicBezTo>
                      <a:pt x="912716" y="1247721"/>
                      <a:pt x="922894" y="1239295"/>
                      <a:pt x="926899" y="1230453"/>
                    </a:cubicBezTo>
                    <a:cubicBezTo>
                      <a:pt x="931737" y="1219858"/>
                      <a:pt x="925564" y="1213185"/>
                      <a:pt x="926899" y="1202507"/>
                    </a:cubicBezTo>
                    <a:cubicBezTo>
                      <a:pt x="930403" y="1182152"/>
                      <a:pt x="952594" y="1186156"/>
                      <a:pt x="961438" y="1171474"/>
                    </a:cubicBezTo>
                    <a:cubicBezTo>
                      <a:pt x="965859" y="1163466"/>
                      <a:pt x="961438" y="1157710"/>
                      <a:pt x="961021" y="1149785"/>
                    </a:cubicBezTo>
                    <a:cubicBezTo>
                      <a:pt x="961021" y="1147116"/>
                      <a:pt x="958351" y="1144446"/>
                      <a:pt x="958351" y="1141359"/>
                    </a:cubicBezTo>
                    <a:cubicBezTo>
                      <a:pt x="958351" y="1135603"/>
                      <a:pt x="963189" y="1131599"/>
                      <a:pt x="963690" y="1125426"/>
                    </a:cubicBezTo>
                    <a:cubicBezTo>
                      <a:pt x="964608" y="1105906"/>
                      <a:pt x="949508" y="1085968"/>
                      <a:pt x="978790" y="1081547"/>
                    </a:cubicBezTo>
                    <a:cubicBezTo>
                      <a:pt x="994307" y="1079295"/>
                      <a:pt x="1012495" y="1084633"/>
                      <a:pt x="1015581" y="1063361"/>
                    </a:cubicBezTo>
                    <a:cubicBezTo>
                      <a:pt x="1016917" y="1055853"/>
                      <a:pt x="1011160" y="1048763"/>
                      <a:pt x="1012078" y="1042089"/>
                    </a:cubicBezTo>
                    <a:cubicBezTo>
                      <a:pt x="1013412" y="1032329"/>
                      <a:pt x="1024508" y="1025739"/>
                      <a:pt x="1030682" y="1019065"/>
                    </a:cubicBezTo>
                    <a:cubicBezTo>
                      <a:pt x="1065220" y="982277"/>
                      <a:pt x="1024008" y="950827"/>
                      <a:pt x="989469" y="981442"/>
                    </a:cubicBezTo>
                    <a:cubicBezTo>
                      <a:pt x="985464" y="984529"/>
                      <a:pt x="976622" y="990785"/>
                      <a:pt x="975703" y="996041"/>
                    </a:cubicBezTo>
                    <a:cubicBezTo>
                      <a:pt x="974369" y="1003549"/>
                      <a:pt x="982378" y="1008470"/>
                      <a:pt x="980125" y="1015561"/>
                    </a:cubicBezTo>
                    <a:cubicBezTo>
                      <a:pt x="977039" y="1024904"/>
                      <a:pt x="963773" y="1032412"/>
                      <a:pt x="956682" y="1029743"/>
                    </a:cubicBezTo>
                    <a:cubicBezTo>
                      <a:pt x="950925" y="1027073"/>
                      <a:pt x="946504" y="1016479"/>
                      <a:pt x="942917" y="1011140"/>
                    </a:cubicBezTo>
                    <a:cubicBezTo>
                      <a:pt x="937160" y="1002715"/>
                      <a:pt x="928317" y="996041"/>
                      <a:pt x="922977" y="988116"/>
                    </a:cubicBezTo>
                    <a:cubicBezTo>
                      <a:pt x="917639" y="980108"/>
                      <a:pt x="920308" y="982360"/>
                      <a:pt x="919891" y="974852"/>
                    </a:cubicBezTo>
                    <a:cubicBezTo>
                      <a:pt x="918973" y="963340"/>
                      <a:pt x="919474" y="958001"/>
                      <a:pt x="913717" y="946906"/>
                    </a:cubicBezTo>
                    <a:cubicBezTo>
                      <a:pt x="901286" y="923882"/>
                      <a:pt x="893778" y="903528"/>
                      <a:pt x="890275" y="877333"/>
                    </a:cubicBezTo>
                    <a:cubicBezTo>
                      <a:pt x="886771" y="852057"/>
                      <a:pt x="892527" y="822443"/>
                      <a:pt x="885435" y="798084"/>
                    </a:cubicBezTo>
                    <a:cubicBezTo>
                      <a:pt x="878761" y="772808"/>
                      <a:pt x="854901" y="766217"/>
                      <a:pt x="852232" y="738272"/>
                    </a:cubicBezTo>
                    <a:cubicBezTo>
                      <a:pt x="849562" y="712161"/>
                      <a:pt x="853984" y="698396"/>
                      <a:pt x="834045" y="679794"/>
                    </a:cubicBezTo>
                    <a:cubicBezTo>
                      <a:pt x="821614" y="668699"/>
                      <a:pt x="824284" y="661608"/>
                      <a:pt x="822532" y="647010"/>
                    </a:cubicBezTo>
                    <a:cubicBezTo>
                      <a:pt x="821197" y="636415"/>
                      <a:pt x="814523" y="630659"/>
                      <a:pt x="812771" y="620899"/>
                    </a:cubicBezTo>
                    <a:cubicBezTo>
                      <a:pt x="811019" y="612056"/>
                      <a:pt x="815441" y="602713"/>
                      <a:pt x="816275" y="593871"/>
                    </a:cubicBezTo>
                    <a:cubicBezTo>
                      <a:pt x="817610" y="581441"/>
                      <a:pt x="818528" y="573933"/>
                      <a:pt x="828205" y="564173"/>
                    </a:cubicBezTo>
                    <a:cubicBezTo>
                      <a:pt x="835296" y="556665"/>
                      <a:pt x="841470" y="553996"/>
                      <a:pt x="846392" y="544235"/>
                    </a:cubicBezTo>
                    <a:cubicBezTo>
                      <a:pt x="850396" y="534892"/>
                      <a:pt x="851731" y="526050"/>
                      <a:pt x="856987" y="517207"/>
                    </a:cubicBezTo>
                    <a:cubicBezTo>
                      <a:pt x="862744" y="507447"/>
                      <a:pt x="866748" y="503026"/>
                      <a:pt x="867583" y="491097"/>
                    </a:cubicBezTo>
                    <a:cubicBezTo>
                      <a:pt x="868500" y="480002"/>
                      <a:pt x="865330" y="468490"/>
                      <a:pt x="875091" y="460064"/>
                    </a:cubicBezTo>
                    <a:cubicBezTo>
                      <a:pt x="890608" y="446300"/>
                      <a:pt x="899035" y="468490"/>
                      <a:pt x="915386" y="456560"/>
                    </a:cubicBezTo>
                    <a:cubicBezTo>
                      <a:pt x="920225" y="453057"/>
                      <a:pt x="928651" y="445048"/>
                      <a:pt x="929151" y="438375"/>
                    </a:cubicBezTo>
                    <a:cubicBezTo>
                      <a:pt x="930069" y="428615"/>
                      <a:pt x="918973" y="422858"/>
                      <a:pt x="916720" y="414016"/>
                    </a:cubicBezTo>
                    <a:cubicBezTo>
                      <a:pt x="913217" y="396331"/>
                      <a:pt x="928234" y="391826"/>
                      <a:pt x="941081" y="400752"/>
                    </a:cubicBezTo>
                    <a:cubicBezTo>
                      <a:pt x="949508" y="406925"/>
                      <a:pt x="946838" y="411847"/>
                      <a:pt x="951677" y="418938"/>
                    </a:cubicBezTo>
                    <a:cubicBezTo>
                      <a:pt x="957851" y="427363"/>
                      <a:pt x="964108" y="431785"/>
                      <a:pt x="968946" y="441545"/>
                    </a:cubicBezTo>
                    <a:cubicBezTo>
                      <a:pt x="977789" y="460148"/>
                      <a:pt x="988885" y="476081"/>
                      <a:pt x="1007072" y="486759"/>
                    </a:cubicBezTo>
                    <a:cubicBezTo>
                      <a:pt x="1010158" y="489011"/>
                      <a:pt x="1022589" y="497854"/>
                      <a:pt x="1027428" y="496519"/>
                    </a:cubicBezTo>
                    <a:cubicBezTo>
                      <a:pt x="1034102" y="494767"/>
                      <a:pt x="1033602" y="483255"/>
                      <a:pt x="1037606" y="478834"/>
                    </a:cubicBezTo>
                    <a:cubicBezTo>
                      <a:pt x="1052206" y="460231"/>
                      <a:pt x="1066806" y="490763"/>
                      <a:pt x="1077484" y="500523"/>
                    </a:cubicBezTo>
                    <a:cubicBezTo>
                      <a:pt x="1099592" y="520460"/>
                      <a:pt x="1089915" y="497019"/>
                      <a:pt x="1089915" y="481503"/>
                    </a:cubicBezTo>
                    <a:cubicBezTo>
                      <a:pt x="1089915" y="467739"/>
                      <a:pt x="1098341" y="462483"/>
                      <a:pt x="1093002" y="447801"/>
                    </a:cubicBezTo>
                    <a:cubicBezTo>
                      <a:pt x="1088997" y="438959"/>
                      <a:pt x="1084575" y="432285"/>
                      <a:pt x="1083241" y="421691"/>
                    </a:cubicBezTo>
                    <a:cubicBezTo>
                      <a:pt x="1080154" y="398249"/>
                      <a:pt x="1076150" y="374308"/>
                      <a:pt x="1066889" y="352118"/>
                    </a:cubicBezTo>
                    <a:cubicBezTo>
                      <a:pt x="1061133" y="338354"/>
                      <a:pt x="1062467" y="333098"/>
                      <a:pt x="1060215" y="318917"/>
                    </a:cubicBezTo>
                    <a:cubicBezTo>
                      <a:pt x="1058880" y="307822"/>
                      <a:pt x="1051372" y="302566"/>
                      <a:pt x="1046449" y="292806"/>
                    </a:cubicBezTo>
                    <a:cubicBezTo>
                      <a:pt x="1045115" y="289719"/>
                      <a:pt x="1044197" y="287050"/>
                      <a:pt x="1043780" y="284798"/>
                    </a:cubicBezTo>
                    <a:cubicBezTo>
                      <a:pt x="1032267" y="282128"/>
                      <a:pt x="1022506" y="276372"/>
                      <a:pt x="1010576" y="267530"/>
                    </a:cubicBezTo>
                    <a:cubicBezTo>
                      <a:pt x="1003484" y="262191"/>
                      <a:pt x="1002150" y="262191"/>
                      <a:pt x="995059" y="264443"/>
                    </a:cubicBezTo>
                    <a:cubicBezTo>
                      <a:pt x="994141" y="264860"/>
                      <a:pt x="992806" y="265778"/>
                      <a:pt x="991554" y="266695"/>
                    </a:cubicBezTo>
                    <a:cubicBezTo>
                      <a:pt x="988050" y="269365"/>
                      <a:pt x="981793" y="273786"/>
                      <a:pt x="973368" y="269782"/>
                    </a:cubicBezTo>
                    <a:cubicBezTo>
                      <a:pt x="958268" y="263108"/>
                      <a:pt x="961855" y="245423"/>
                      <a:pt x="964024" y="234328"/>
                    </a:cubicBezTo>
                    <a:cubicBezTo>
                      <a:pt x="964942" y="229490"/>
                      <a:pt x="965776" y="224151"/>
                      <a:pt x="965359" y="221481"/>
                    </a:cubicBezTo>
                    <a:cubicBezTo>
                      <a:pt x="962689" y="211721"/>
                      <a:pt x="939246" y="198040"/>
                      <a:pt x="925063" y="194453"/>
                    </a:cubicBezTo>
                    <a:cubicBezTo>
                      <a:pt x="910881" y="190449"/>
                      <a:pt x="902038" y="193118"/>
                      <a:pt x="889190" y="197123"/>
                    </a:cubicBezTo>
                    <a:lnTo>
                      <a:pt x="881181" y="199375"/>
                    </a:lnTo>
                    <a:cubicBezTo>
                      <a:pt x="863911" y="204213"/>
                      <a:pt x="851481" y="197123"/>
                      <a:pt x="844390" y="179021"/>
                    </a:cubicBezTo>
                    <a:cubicBezTo>
                      <a:pt x="841720" y="172347"/>
                      <a:pt x="841303" y="166591"/>
                      <a:pt x="840385" y="161335"/>
                    </a:cubicBezTo>
                    <a:cubicBezTo>
                      <a:pt x="839050" y="152493"/>
                      <a:pt x="838633" y="146737"/>
                      <a:pt x="830625" y="141815"/>
                    </a:cubicBezTo>
                    <a:cubicBezTo>
                      <a:pt x="828872" y="140480"/>
                      <a:pt x="827538" y="140063"/>
                      <a:pt x="826202" y="139145"/>
                    </a:cubicBezTo>
                    <a:cubicBezTo>
                      <a:pt x="820863" y="136059"/>
                      <a:pt x="816442" y="133389"/>
                      <a:pt x="812020" y="125381"/>
                    </a:cubicBezTo>
                    <a:cubicBezTo>
                      <a:pt x="810268" y="121377"/>
                      <a:pt x="809351" y="117873"/>
                      <a:pt x="808516" y="115204"/>
                    </a:cubicBezTo>
                    <a:cubicBezTo>
                      <a:pt x="807181" y="110782"/>
                      <a:pt x="806764" y="108530"/>
                      <a:pt x="802760" y="106361"/>
                    </a:cubicBezTo>
                    <a:cubicBezTo>
                      <a:pt x="799256" y="104609"/>
                      <a:pt x="793917" y="104609"/>
                      <a:pt x="788577" y="105026"/>
                    </a:cubicBezTo>
                    <a:cubicBezTo>
                      <a:pt x="783238" y="105026"/>
                      <a:pt x="777982" y="105443"/>
                      <a:pt x="773060" y="104109"/>
                    </a:cubicBezTo>
                    <a:cubicBezTo>
                      <a:pt x="764216" y="101857"/>
                      <a:pt x="760212" y="97435"/>
                      <a:pt x="755791" y="93014"/>
                    </a:cubicBezTo>
                    <a:cubicBezTo>
                      <a:pt x="754872" y="92096"/>
                      <a:pt x="754038" y="90762"/>
                      <a:pt x="752704" y="89927"/>
                    </a:cubicBezTo>
                    <a:cubicBezTo>
                      <a:pt x="749617" y="86841"/>
                      <a:pt x="743360" y="84171"/>
                      <a:pt x="737187" y="81085"/>
                    </a:cubicBezTo>
                    <a:cubicBezTo>
                      <a:pt x="727008" y="76663"/>
                      <a:pt x="716830" y="71742"/>
                      <a:pt x="712826" y="62899"/>
                    </a:cubicBezTo>
                    <a:cubicBezTo>
                      <a:pt x="709322" y="55808"/>
                      <a:pt x="711908" y="48717"/>
                      <a:pt x="713743" y="43379"/>
                    </a:cubicBezTo>
                    <a:cubicBezTo>
                      <a:pt x="715078" y="40292"/>
                      <a:pt x="716413" y="37206"/>
                      <a:pt x="717747" y="31867"/>
                    </a:cubicBezTo>
                    <a:cubicBezTo>
                      <a:pt x="717747" y="30532"/>
                      <a:pt x="717330" y="29614"/>
                      <a:pt x="715078" y="28363"/>
                    </a:cubicBezTo>
                    <a:cubicBezTo>
                      <a:pt x="713743" y="27028"/>
                      <a:pt x="711991" y="25694"/>
                      <a:pt x="710656" y="23525"/>
                    </a:cubicBezTo>
                    <a:cubicBezTo>
                      <a:pt x="708905" y="21272"/>
                      <a:pt x="707153" y="18686"/>
                      <a:pt x="705818" y="16434"/>
                    </a:cubicBezTo>
                    <a:cubicBezTo>
                      <a:pt x="699143" y="6674"/>
                      <a:pt x="696474" y="2252"/>
                      <a:pt x="686296" y="2252"/>
                    </a:cubicBezTo>
                    <a:lnTo>
                      <a:pt x="682792" y="2669"/>
                    </a:lnTo>
                    <a:cubicBezTo>
                      <a:pt x="674783" y="3087"/>
                      <a:pt x="666440" y="3587"/>
                      <a:pt x="658848" y="1335"/>
                    </a:cubicBezTo>
                    <a:lnTo>
                      <a:pt x="652675" y="0"/>
                    </a:lnTo>
                    <a:cubicBezTo>
                      <a:pt x="644583" y="14765"/>
                      <a:pt x="631318" y="27195"/>
                      <a:pt x="617135" y="3912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  <p:grpSp>
          <p:nvGrpSpPr>
            <p:cNvPr id="728493970" name="Группа 2"/>
            <p:cNvGrpSpPr/>
            <p:nvPr/>
          </p:nvGrpSpPr>
          <p:grpSpPr bwMode="auto">
            <a:xfrm>
              <a:off x="2275120" y="375825"/>
              <a:ext cx="8343499" cy="4393270"/>
              <a:chOff x="2275120" y="375825"/>
              <a:chExt cx="8343499" cy="4393270"/>
            </a:xfrm>
          </p:grpSpPr>
          <p:sp>
            <p:nvSpPr>
              <p:cNvPr id="1838044931" name="Полилиния 444"/>
              <p:cNvSpPr/>
              <p:nvPr/>
            </p:nvSpPr>
            <p:spPr bwMode="auto">
              <a:xfrm>
                <a:off x="7800539" y="2607787"/>
                <a:ext cx="41213" cy="31621"/>
              </a:xfrm>
              <a:custGeom>
                <a:avLst/>
                <a:gdLst>
                  <a:gd name="connsiteX0" fmla="*/ 8988 w 46285"/>
                  <a:gd name="connsiteY0" fmla="*/ 10320 h 35513"/>
                  <a:gd name="connsiteX1" fmla="*/ 16496 w 46285"/>
                  <a:gd name="connsiteY1" fmla="*/ 12990 h 35513"/>
                  <a:gd name="connsiteX2" fmla="*/ 18249 w 46285"/>
                  <a:gd name="connsiteY2" fmla="*/ 16493 h 35513"/>
                  <a:gd name="connsiteX3" fmla="*/ 22670 w 46285"/>
                  <a:gd name="connsiteY3" fmla="*/ 19997 h 35513"/>
                  <a:gd name="connsiteX4" fmla="*/ 25340 w 46285"/>
                  <a:gd name="connsiteY4" fmla="*/ 26671 h 35513"/>
                  <a:gd name="connsiteX5" fmla="*/ 29344 w 46285"/>
                  <a:gd name="connsiteY5" fmla="*/ 33344 h 35513"/>
                  <a:gd name="connsiteX6" fmla="*/ 36853 w 46285"/>
                  <a:gd name="connsiteY6" fmla="*/ 35096 h 35513"/>
                  <a:gd name="connsiteX7" fmla="*/ 39940 w 46285"/>
                  <a:gd name="connsiteY7" fmla="*/ 35513 h 35513"/>
                  <a:gd name="connsiteX8" fmla="*/ 43026 w 46285"/>
                  <a:gd name="connsiteY8" fmla="*/ 35513 h 35513"/>
                  <a:gd name="connsiteX9" fmla="*/ 46113 w 46285"/>
                  <a:gd name="connsiteY9" fmla="*/ 32010 h 35513"/>
                  <a:gd name="connsiteX10" fmla="*/ 45695 w 46285"/>
                  <a:gd name="connsiteY10" fmla="*/ 27171 h 35513"/>
                  <a:gd name="connsiteX11" fmla="*/ 43443 w 46285"/>
                  <a:gd name="connsiteY11" fmla="*/ 24502 h 35513"/>
                  <a:gd name="connsiteX12" fmla="*/ 41191 w 46285"/>
                  <a:gd name="connsiteY12" fmla="*/ 24502 h 35513"/>
                  <a:gd name="connsiteX13" fmla="*/ 34100 w 46285"/>
                  <a:gd name="connsiteY13" fmla="*/ 22750 h 35513"/>
                  <a:gd name="connsiteX14" fmla="*/ 30095 w 46285"/>
                  <a:gd name="connsiteY14" fmla="*/ 16577 h 35513"/>
                  <a:gd name="connsiteX15" fmla="*/ 29677 w 46285"/>
                  <a:gd name="connsiteY15" fmla="*/ 14324 h 35513"/>
                  <a:gd name="connsiteX16" fmla="*/ 27926 w 46285"/>
                  <a:gd name="connsiteY16" fmla="*/ 12990 h 35513"/>
                  <a:gd name="connsiteX17" fmla="*/ 25673 w 46285"/>
                  <a:gd name="connsiteY17" fmla="*/ 11238 h 35513"/>
                  <a:gd name="connsiteX18" fmla="*/ 23921 w 46285"/>
                  <a:gd name="connsiteY18" fmla="*/ 10821 h 35513"/>
                  <a:gd name="connsiteX19" fmla="*/ 12409 w 46285"/>
                  <a:gd name="connsiteY19" fmla="*/ 5065 h 35513"/>
                  <a:gd name="connsiteX20" fmla="*/ 7986 w 46285"/>
                  <a:gd name="connsiteY20" fmla="*/ 1061 h 35513"/>
                  <a:gd name="connsiteX21" fmla="*/ 2648 w 46285"/>
                  <a:gd name="connsiteY21" fmla="*/ 643 h 35513"/>
                  <a:gd name="connsiteX22" fmla="*/ 8988 w 46285"/>
                  <a:gd name="connsiteY22" fmla="*/ 10320 h 35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6285" h="35513" extrusionOk="0">
                    <a:moveTo>
                      <a:pt x="8988" y="10320"/>
                    </a:moveTo>
                    <a:cubicBezTo>
                      <a:pt x="11657" y="10737"/>
                      <a:pt x="14744" y="10737"/>
                      <a:pt x="16496" y="12990"/>
                    </a:cubicBezTo>
                    <a:cubicBezTo>
                      <a:pt x="17414" y="13907"/>
                      <a:pt x="17831" y="15242"/>
                      <a:pt x="18249" y="16493"/>
                    </a:cubicBezTo>
                    <a:cubicBezTo>
                      <a:pt x="19583" y="18245"/>
                      <a:pt x="21335" y="18746"/>
                      <a:pt x="22670" y="19997"/>
                    </a:cubicBezTo>
                    <a:cubicBezTo>
                      <a:pt x="24005" y="21332"/>
                      <a:pt x="24422" y="24418"/>
                      <a:pt x="25340" y="26671"/>
                    </a:cubicBezTo>
                    <a:cubicBezTo>
                      <a:pt x="26257" y="29340"/>
                      <a:pt x="27091" y="31509"/>
                      <a:pt x="29344" y="33344"/>
                    </a:cubicBezTo>
                    <a:cubicBezTo>
                      <a:pt x="31597" y="34679"/>
                      <a:pt x="34183" y="35096"/>
                      <a:pt x="36853" y="35096"/>
                    </a:cubicBezTo>
                    <a:cubicBezTo>
                      <a:pt x="37770" y="35096"/>
                      <a:pt x="39105" y="35096"/>
                      <a:pt x="39940" y="35513"/>
                    </a:cubicBezTo>
                    <a:cubicBezTo>
                      <a:pt x="40857" y="35513"/>
                      <a:pt x="41691" y="35513"/>
                      <a:pt x="43026" y="35513"/>
                    </a:cubicBezTo>
                    <a:cubicBezTo>
                      <a:pt x="44778" y="35096"/>
                      <a:pt x="45695" y="33261"/>
                      <a:pt x="46113" y="32010"/>
                    </a:cubicBezTo>
                    <a:cubicBezTo>
                      <a:pt x="46530" y="30258"/>
                      <a:pt x="46113" y="28506"/>
                      <a:pt x="45695" y="27171"/>
                    </a:cubicBezTo>
                    <a:cubicBezTo>
                      <a:pt x="45278" y="25836"/>
                      <a:pt x="44361" y="24919"/>
                      <a:pt x="43443" y="24502"/>
                    </a:cubicBezTo>
                    <a:cubicBezTo>
                      <a:pt x="42525" y="24502"/>
                      <a:pt x="42108" y="24502"/>
                      <a:pt x="41191" y="24502"/>
                    </a:cubicBezTo>
                    <a:cubicBezTo>
                      <a:pt x="38521" y="24919"/>
                      <a:pt x="36352" y="24085"/>
                      <a:pt x="34100" y="22750"/>
                    </a:cubicBezTo>
                    <a:cubicBezTo>
                      <a:pt x="31847" y="21415"/>
                      <a:pt x="30596" y="19246"/>
                      <a:pt x="30095" y="16577"/>
                    </a:cubicBezTo>
                    <a:cubicBezTo>
                      <a:pt x="30095" y="15659"/>
                      <a:pt x="29677" y="15242"/>
                      <a:pt x="29677" y="14324"/>
                    </a:cubicBezTo>
                    <a:cubicBezTo>
                      <a:pt x="29260" y="13407"/>
                      <a:pt x="28760" y="13407"/>
                      <a:pt x="27926" y="12990"/>
                    </a:cubicBezTo>
                    <a:cubicBezTo>
                      <a:pt x="27008" y="12573"/>
                      <a:pt x="26591" y="11655"/>
                      <a:pt x="25673" y="11238"/>
                    </a:cubicBezTo>
                    <a:cubicBezTo>
                      <a:pt x="25256" y="10821"/>
                      <a:pt x="24339" y="10821"/>
                      <a:pt x="23921" y="10821"/>
                    </a:cubicBezTo>
                    <a:cubicBezTo>
                      <a:pt x="19500" y="9903"/>
                      <a:pt x="15912" y="8151"/>
                      <a:pt x="12409" y="5065"/>
                    </a:cubicBezTo>
                    <a:cubicBezTo>
                      <a:pt x="11073" y="3730"/>
                      <a:pt x="9739" y="2395"/>
                      <a:pt x="7986" y="1061"/>
                    </a:cubicBezTo>
                    <a:cubicBezTo>
                      <a:pt x="6235" y="-274"/>
                      <a:pt x="3982" y="-274"/>
                      <a:pt x="2648" y="643"/>
                    </a:cubicBezTo>
                    <a:cubicBezTo>
                      <a:pt x="-4778" y="4147"/>
                      <a:pt x="5400" y="9903"/>
                      <a:pt x="8988" y="1032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88925878" name="Полилиния 445"/>
              <p:cNvSpPr/>
              <p:nvPr/>
            </p:nvSpPr>
            <p:spPr bwMode="auto">
              <a:xfrm>
                <a:off x="3505761" y="2802384"/>
                <a:ext cx="1218603" cy="733779"/>
              </a:xfrm>
              <a:custGeom>
                <a:avLst/>
                <a:gdLst>
                  <a:gd name="connsiteX0" fmla="*/ 6174 w 1368533"/>
                  <a:gd name="connsiteY0" fmla="*/ 348114 h 824058"/>
                  <a:gd name="connsiteX1" fmla="*/ 0 w 1368533"/>
                  <a:gd name="connsiteY1" fmla="*/ 321086 h 824058"/>
                  <a:gd name="connsiteX2" fmla="*/ 13265 w 1368533"/>
                  <a:gd name="connsiteY2" fmla="*/ 313077 h 824058"/>
                  <a:gd name="connsiteX3" fmla="*/ 50890 w 1368533"/>
                  <a:gd name="connsiteY3" fmla="*/ 225819 h 824058"/>
                  <a:gd name="connsiteX4" fmla="*/ 48221 w 1368533"/>
                  <a:gd name="connsiteY4" fmla="*/ 192618 h 824058"/>
                  <a:gd name="connsiteX5" fmla="*/ 86764 w 1368533"/>
                  <a:gd name="connsiteY5" fmla="*/ 166925 h 824058"/>
                  <a:gd name="connsiteX6" fmla="*/ 121303 w 1368533"/>
                  <a:gd name="connsiteY6" fmla="*/ 135475 h 824058"/>
                  <a:gd name="connsiteX7" fmla="*/ 155007 w 1368533"/>
                  <a:gd name="connsiteY7" fmla="*/ 108030 h 824058"/>
                  <a:gd name="connsiteX8" fmla="*/ 174946 w 1368533"/>
                  <a:gd name="connsiteY8" fmla="*/ 70824 h 824058"/>
                  <a:gd name="connsiteX9" fmla="*/ 165185 w 1368533"/>
                  <a:gd name="connsiteY9" fmla="*/ 36288 h 824058"/>
                  <a:gd name="connsiteX10" fmla="*/ 164768 w 1368533"/>
                  <a:gd name="connsiteY10" fmla="*/ 4838 h 824058"/>
                  <a:gd name="connsiteX11" fmla="*/ 186459 w 1368533"/>
                  <a:gd name="connsiteY11" fmla="*/ 10177 h 824058"/>
                  <a:gd name="connsiteX12" fmla="*/ 201559 w 1368533"/>
                  <a:gd name="connsiteY12" fmla="*/ 43379 h 824058"/>
                  <a:gd name="connsiteX13" fmla="*/ 238350 w 1368533"/>
                  <a:gd name="connsiteY13" fmla="*/ 63316 h 824058"/>
                  <a:gd name="connsiteX14" fmla="*/ 270220 w 1368533"/>
                  <a:gd name="connsiteY14" fmla="*/ 97018 h 824058"/>
                  <a:gd name="connsiteX15" fmla="*/ 270637 w 1368533"/>
                  <a:gd name="connsiteY15" fmla="*/ 136476 h 824058"/>
                  <a:gd name="connsiteX16" fmla="*/ 275976 w 1368533"/>
                  <a:gd name="connsiteY16" fmla="*/ 180355 h 824058"/>
                  <a:gd name="connsiteX17" fmla="*/ 260459 w 1368533"/>
                  <a:gd name="connsiteY17" fmla="*/ 216226 h 824058"/>
                  <a:gd name="connsiteX18" fmla="*/ 240520 w 1368533"/>
                  <a:gd name="connsiteY18" fmla="*/ 233911 h 824058"/>
                  <a:gd name="connsiteX19" fmla="*/ 228089 w 1368533"/>
                  <a:gd name="connsiteY19" fmla="*/ 219313 h 824058"/>
                  <a:gd name="connsiteX20" fmla="*/ 205981 w 1368533"/>
                  <a:gd name="connsiteY20" fmla="*/ 211304 h 824058"/>
                  <a:gd name="connsiteX21" fmla="*/ 163433 w 1368533"/>
                  <a:gd name="connsiteY21" fmla="*/ 205965 h 824058"/>
                  <a:gd name="connsiteX22" fmla="*/ 128477 w 1368533"/>
                  <a:gd name="connsiteY22" fmla="*/ 218395 h 824058"/>
                  <a:gd name="connsiteX23" fmla="*/ 124473 w 1368533"/>
                  <a:gd name="connsiteY23" fmla="*/ 260439 h 824058"/>
                  <a:gd name="connsiteX24" fmla="*/ 125808 w 1368533"/>
                  <a:gd name="connsiteY24" fmla="*/ 295392 h 824058"/>
                  <a:gd name="connsiteX25" fmla="*/ 144829 w 1368533"/>
                  <a:gd name="connsiteY25" fmla="*/ 366717 h 824058"/>
                  <a:gd name="connsiteX26" fmla="*/ 198890 w 1368533"/>
                  <a:gd name="connsiteY26" fmla="*/ 385319 h 824058"/>
                  <a:gd name="connsiteX27" fmla="*/ 239185 w 1368533"/>
                  <a:gd name="connsiteY27" fmla="*/ 374225 h 824058"/>
                  <a:gd name="connsiteX28" fmla="*/ 310098 w 1368533"/>
                  <a:gd name="connsiteY28" fmla="*/ 311325 h 824058"/>
                  <a:gd name="connsiteX29" fmla="*/ 343302 w 1368533"/>
                  <a:gd name="connsiteY29" fmla="*/ 326842 h 824058"/>
                  <a:gd name="connsiteX30" fmla="*/ 354397 w 1368533"/>
                  <a:gd name="connsiteY30" fmla="*/ 335684 h 824058"/>
                  <a:gd name="connsiteX31" fmla="*/ 357067 w 1368533"/>
                  <a:gd name="connsiteY31" fmla="*/ 325090 h 824058"/>
                  <a:gd name="connsiteX32" fmla="*/ 369498 w 1368533"/>
                  <a:gd name="connsiteY32" fmla="*/ 297644 h 824058"/>
                  <a:gd name="connsiteX33" fmla="*/ 378341 w 1368533"/>
                  <a:gd name="connsiteY33" fmla="*/ 310491 h 824058"/>
                  <a:gd name="connsiteX34" fmla="*/ 393858 w 1368533"/>
                  <a:gd name="connsiteY34" fmla="*/ 317165 h 824058"/>
                  <a:gd name="connsiteX35" fmla="*/ 444832 w 1368533"/>
                  <a:gd name="connsiteY35" fmla="*/ 314495 h 824058"/>
                  <a:gd name="connsiteX36" fmla="*/ 491384 w 1368533"/>
                  <a:gd name="connsiteY36" fmla="*/ 305653 h 824058"/>
                  <a:gd name="connsiteX37" fmla="*/ 515328 w 1368533"/>
                  <a:gd name="connsiteY37" fmla="*/ 304318 h 824058"/>
                  <a:gd name="connsiteX38" fmla="*/ 530845 w 1368533"/>
                  <a:gd name="connsiteY38" fmla="*/ 311409 h 824058"/>
                  <a:gd name="connsiteX39" fmla="*/ 555206 w 1368533"/>
                  <a:gd name="connsiteY39" fmla="*/ 312744 h 824058"/>
                  <a:gd name="connsiteX40" fmla="*/ 580484 w 1368533"/>
                  <a:gd name="connsiteY40" fmla="*/ 315830 h 824058"/>
                  <a:gd name="connsiteX41" fmla="*/ 607931 w 1368533"/>
                  <a:gd name="connsiteY41" fmla="*/ 332180 h 824058"/>
                  <a:gd name="connsiteX42" fmla="*/ 600840 w 1368533"/>
                  <a:gd name="connsiteY42" fmla="*/ 359209 h 824058"/>
                  <a:gd name="connsiteX43" fmla="*/ 624784 w 1368533"/>
                  <a:gd name="connsiteY43" fmla="*/ 340189 h 824058"/>
                  <a:gd name="connsiteX44" fmla="*/ 652732 w 1368533"/>
                  <a:gd name="connsiteY44" fmla="*/ 309657 h 824058"/>
                  <a:gd name="connsiteX45" fmla="*/ 748005 w 1368533"/>
                  <a:gd name="connsiteY45" fmla="*/ 312744 h 824058"/>
                  <a:gd name="connsiteX46" fmla="*/ 765692 w 1368533"/>
                  <a:gd name="connsiteY46" fmla="*/ 325173 h 824058"/>
                  <a:gd name="connsiteX47" fmla="*/ 740413 w 1368533"/>
                  <a:gd name="connsiteY47" fmla="*/ 317665 h 824058"/>
                  <a:gd name="connsiteX48" fmla="*/ 699200 w 1368533"/>
                  <a:gd name="connsiteY48" fmla="*/ 367301 h 824058"/>
                  <a:gd name="connsiteX49" fmla="*/ 680596 w 1368533"/>
                  <a:gd name="connsiteY49" fmla="*/ 395246 h 824058"/>
                  <a:gd name="connsiteX50" fmla="*/ 653149 w 1368533"/>
                  <a:gd name="connsiteY50" fmla="*/ 390825 h 824058"/>
                  <a:gd name="connsiteX51" fmla="*/ 709378 w 1368533"/>
                  <a:gd name="connsiteY51" fmla="*/ 439543 h 824058"/>
                  <a:gd name="connsiteX52" fmla="*/ 786048 w 1368533"/>
                  <a:gd name="connsiteY52" fmla="*/ 415184 h 824058"/>
                  <a:gd name="connsiteX53" fmla="*/ 874230 w 1368533"/>
                  <a:gd name="connsiteY53" fmla="*/ 461733 h 824058"/>
                  <a:gd name="connsiteX54" fmla="*/ 911856 w 1368533"/>
                  <a:gd name="connsiteY54" fmla="*/ 458646 h 824058"/>
                  <a:gd name="connsiteX55" fmla="*/ 930042 w 1368533"/>
                  <a:gd name="connsiteY55" fmla="*/ 458229 h 824058"/>
                  <a:gd name="connsiteX56" fmla="*/ 947312 w 1368533"/>
                  <a:gd name="connsiteY56" fmla="*/ 451555 h 824058"/>
                  <a:gd name="connsiteX57" fmla="*/ 953986 w 1368533"/>
                  <a:gd name="connsiteY57" fmla="*/ 463484 h 824058"/>
                  <a:gd name="connsiteX58" fmla="*/ 954903 w 1368533"/>
                  <a:gd name="connsiteY58" fmla="*/ 468323 h 824058"/>
                  <a:gd name="connsiteX59" fmla="*/ 955821 w 1368533"/>
                  <a:gd name="connsiteY59" fmla="*/ 471827 h 824058"/>
                  <a:gd name="connsiteX60" fmla="*/ 956238 w 1368533"/>
                  <a:gd name="connsiteY60" fmla="*/ 473161 h 824058"/>
                  <a:gd name="connsiteX61" fmla="*/ 958908 w 1368533"/>
                  <a:gd name="connsiteY61" fmla="*/ 474079 h 824058"/>
                  <a:gd name="connsiteX62" fmla="*/ 963330 w 1368533"/>
                  <a:gd name="connsiteY62" fmla="*/ 468740 h 824058"/>
                  <a:gd name="connsiteX63" fmla="*/ 967751 w 1368533"/>
                  <a:gd name="connsiteY63" fmla="*/ 459397 h 824058"/>
                  <a:gd name="connsiteX64" fmla="*/ 974843 w 1368533"/>
                  <a:gd name="connsiteY64" fmla="*/ 447468 h 824058"/>
                  <a:gd name="connsiteX65" fmla="*/ 1009799 w 1368533"/>
                  <a:gd name="connsiteY65" fmla="*/ 453641 h 824058"/>
                  <a:gd name="connsiteX66" fmla="*/ 1018642 w 1368533"/>
                  <a:gd name="connsiteY66" fmla="*/ 492181 h 824058"/>
                  <a:gd name="connsiteX67" fmla="*/ 988525 w 1368533"/>
                  <a:gd name="connsiteY67" fmla="*/ 522713 h 824058"/>
                  <a:gd name="connsiteX68" fmla="*/ 993363 w 1368533"/>
                  <a:gd name="connsiteY68" fmla="*/ 560336 h 824058"/>
                  <a:gd name="connsiteX69" fmla="*/ 1038581 w 1368533"/>
                  <a:gd name="connsiteY69" fmla="*/ 533307 h 824058"/>
                  <a:gd name="connsiteX70" fmla="*/ 1081546 w 1368533"/>
                  <a:gd name="connsiteY70" fmla="*/ 528886 h 824058"/>
                  <a:gd name="connsiteX71" fmla="*/ 1117002 w 1368533"/>
                  <a:gd name="connsiteY71" fmla="*/ 501858 h 824058"/>
                  <a:gd name="connsiteX72" fmla="*/ 1122758 w 1368533"/>
                  <a:gd name="connsiteY72" fmla="*/ 466404 h 824058"/>
                  <a:gd name="connsiteX73" fmla="*/ 1118754 w 1368533"/>
                  <a:gd name="connsiteY73" fmla="*/ 415434 h 824058"/>
                  <a:gd name="connsiteX74" fmla="*/ 1139110 w 1368533"/>
                  <a:gd name="connsiteY74" fmla="*/ 379980 h 824058"/>
                  <a:gd name="connsiteX75" fmla="*/ 1157714 w 1368533"/>
                  <a:gd name="connsiteY75" fmla="*/ 373307 h 824058"/>
                  <a:gd name="connsiteX76" fmla="*/ 1174984 w 1368533"/>
                  <a:gd name="connsiteY76" fmla="*/ 363130 h 824058"/>
                  <a:gd name="connsiteX77" fmla="*/ 1215279 w 1368533"/>
                  <a:gd name="connsiteY77" fmla="*/ 394162 h 824058"/>
                  <a:gd name="connsiteX78" fmla="*/ 1264000 w 1368533"/>
                  <a:gd name="connsiteY78" fmla="*/ 425611 h 824058"/>
                  <a:gd name="connsiteX79" fmla="*/ 1344590 w 1368533"/>
                  <a:gd name="connsiteY79" fmla="*/ 496519 h 824058"/>
                  <a:gd name="connsiteX80" fmla="*/ 1362778 w 1368533"/>
                  <a:gd name="connsiteY80" fmla="*/ 524465 h 824058"/>
                  <a:gd name="connsiteX81" fmla="*/ 1364112 w 1368533"/>
                  <a:gd name="connsiteY81" fmla="*/ 538229 h 824058"/>
                  <a:gd name="connsiteX82" fmla="*/ 1368534 w 1368533"/>
                  <a:gd name="connsiteY82" fmla="*/ 551076 h 824058"/>
                  <a:gd name="connsiteX83" fmla="*/ 1357939 w 1368533"/>
                  <a:gd name="connsiteY83" fmla="*/ 559501 h 824058"/>
                  <a:gd name="connsiteX84" fmla="*/ 1349512 w 1368533"/>
                  <a:gd name="connsiteY84" fmla="*/ 565257 h 824058"/>
                  <a:gd name="connsiteX85" fmla="*/ 1323817 w 1368533"/>
                  <a:gd name="connsiteY85" fmla="*/ 591869 h 824058"/>
                  <a:gd name="connsiteX86" fmla="*/ 1340169 w 1368533"/>
                  <a:gd name="connsiteY86" fmla="*/ 623318 h 824058"/>
                  <a:gd name="connsiteX87" fmla="*/ 1343255 w 1368533"/>
                  <a:gd name="connsiteY87" fmla="*/ 625070 h 824058"/>
                  <a:gd name="connsiteX88" fmla="*/ 1358773 w 1368533"/>
                  <a:gd name="connsiteY88" fmla="*/ 650764 h 824058"/>
                  <a:gd name="connsiteX89" fmla="*/ 1351264 w 1368533"/>
                  <a:gd name="connsiteY89" fmla="*/ 690639 h 824058"/>
                  <a:gd name="connsiteX90" fmla="*/ 1345091 w 1368533"/>
                  <a:gd name="connsiteY90" fmla="*/ 689304 h 824058"/>
                  <a:gd name="connsiteX91" fmla="*/ 1282187 w 1368533"/>
                  <a:gd name="connsiteY91" fmla="*/ 693308 h 824058"/>
                  <a:gd name="connsiteX92" fmla="*/ 1270674 w 1368533"/>
                  <a:gd name="connsiteY92" fmla="*/ 704820 h 824058"/>
                  <a:gd name="connsiteX93" fmla="*/ 1253405 w 1368533"/>
                  <a:gd name="connsiteY93" fmla="*/ 717667 h 824058"/>
                  <a:gd name="connsiteX94" fmla="*/ 1218866 w 1368533"/>
                  <a:gd name="connsiteY94" fmla="*/ 746030 h 824058"/>
                  <a:gd name="connsiteX95" fmla="*/ 1184327 w 1368533"/>
                  <a:gd name="connsiteY95" fmla="*/ 759794 h 824058"/>
                  <a:gd name="connsiteX96" fmla="*/ 1145784 w 1368533"/>
                  <a:gd name="connsiteY96" fmla="*/ 768637 h 824058"/>
                  <a:gd name="connsiteX97" fmla="*/ 1127597 w 1368533"/>
                  <a:gd name="connsiteY97" fmla="*/ 787239 h 824058"/>
                  <a:gd name="connsiteX98" fmla="*/ 1114749 w 1368533"/>
                  <a:gd name="connsiteY98" fmla="*/ 801421 h 824058"/>
                  <a:gd name="connsiteX99" fmla="*/ 1085049 w 1368533"/>
                  <a:gd name="connsiteY99" fmla="*/ 807594 h 824058"/>
                  <a:gd name="connsiteX100" fmla="*/ 1072202 w 1368533"/>
                  <a:gd name="connsiteY100" fmla="*/ 808512 h 824058"/>
                  <a:gd name="connsiteX101" fmla="*/ 1044754 w 1368533"/>
                  <a:gd name="connsiteY101" fmla="*/ 817354 h 824058"/>
                  <a:gd name="connsiteX102" fmla="*/ 1032824 w 1368533"/>
                  <a:gd name="connsiteY102" fmla="*/ 822693 h 824058"/>
                  <a:gd name="connsiteX103" fmla="*/ 995199 w 1368533"/>
                  <a:gd name="connsiteY103" fmla="*/ 812516 h 824058"/>
                  <a:gd name="connsiteX104" fmla="*/ 985438 w 1368533"/>
                  <a:gd name="connsiteY104" fmla="*/ 807177 h 824058"/>
                  <a:gd name="connsiteX105" fmla="*/ 867639 w 1368533"/>
                  <a:gd name="connsiteY105" fmla="*/ 746947 h 824058"/>
                  <a:gd name="connsiteX106" fmla="*/ 784379 w 1368533"/>
                  <a:gd name="connsiteY106" fmla="*/ 705738 h 824058"/>
                  <a:gd name="connsiteX107" fmla="*/ 647058 w 1368533"/>
                  <a:gd name="connsiteY107" fmla="*/ 636665 h 824058"/>
                  <a:gd name="connsiteX108" fmla="*/ 629372 w 1368533"/>
                  <a:gd name="connsiteY108" fmla="*/ 626905 h 824058"/>
                  <a:gd name="connsiteX109" fmla="*/ 550117 w 1368533"/>
                  <a:gd name="connsiteY109" fmla="*/ 577771 h 824058"/>
                  <a:gd name="connsiteX110" fmla="*/ 537269 w 1368533"/>
                  <a:gd name="connsiteY110" fmla="*/ 566258 h 824058"/>
                  <a:gd name="connsiteX111" fmla="*/ 461100 w 1368533"/>
                  <a:gd name="connsiteY111" fmla="*/ 532557 h 824058"/>
                  <a:gd name="connsiteX112" fmla="*/ 431901 w 1368533"/>
                  <a:gd name="connsiteY112" fmla="*/ 542734 h 824058"/>
                  <a:gd name="connsiteX113" fmla="*/ 400449 w 1368533"/>
                  <a:gd name="connsiteY113" fmla="*/ 552494 h 824058"/>
                  <a:gd name="connsiteX114" fmla="*/ 368997 w 1368533"/>
                  <a:gd name="connsiteY114" fmla="*/ 552911 h 824058"/>
                  <a:gd name="connsiteX115" fmla="*/ 353062 w 1368533"/>
                  <a:gd name="connsiteY115" fmla="*/ 552494 h 824058"/>
                  <a:gd name="connsiteX116" fmla="*/ 319358 w 1368533"/>
                  <a:gd name="connsiteY116" fmla="*/ 552077 h 824058"/>
                  <a:gd name="connsiteX117" fmla="*/ 250281 w 1368533"/>
                  <a:gd name="connsiteY117" fmla="*/ 552494 h 824058"/>
                  <a:gd name="connsiteX118" fmla="*/ 231259 w 1368533"/>
                  <a:gd name="connsiteY118" fmla="*/ 556915 h 824058"/>
                  <a:gd name="connsiteX119" fmla="*/ 215325 w 1368533"/>
                  <a:gd name="connsiteY119" fmla="*/ 540565 h 824058"/>
                  <a:gd name="connsiteX120" fmla="*/ 147582 w 1368533"/>
                  <a:gd name="connsiteY120" fmla="*/ 525966 h 824058"/>
                  <a:gd name="connsiteX121" fmla="*/ 135652 w 1368533"/>
                  <a:gd name="connsiteY121" fmla="*/ 533474 h 824058"/>
                  <a:gd name="connsiteX122" fmla="*/ 118383 w 1368533"/>
                  <a:gd name="connsiteY122" fmla="*/ 541483 h 824058"/>
                  <a:gd name="connsiteX123" fmla="*/ 117966 w 1368533"/>
                  <a:gd name="connsiteY123" fmla="*/ 541483 h 824058"/>
                  <a:gd name="connsiteX124" fmla="*/ 96275 w 1368533"/>
                  <a:gd name="connsiteY124" fmla="*/ 521962 h 824058"/>
                  <a:gd name="connsiteX125" fmla="*/ 83844 w 1368533"/>
                  <a:gd name="connsiteY125" fmla="*/ 496686 h 824058"/>
                  <a:gd name="connsiteX126" fmla="*/ 64823 w 1368533"/>
                  <a:gd name="connsiteY126" fmla="*/ 459480 h 824058"/>
                  <a:gd name="connsiteX127" fmla="*/ 59984 w 1368533"/>
                  <a:gd name="connsiteY127" fmla="*/ 452389 h 824058"/>
                  <a:gd name="connsiteX128" fmla="*/ 49806 w 1368533"/>
                  <a:gd name="connsiteY128" fmla="*/ 436039 h 824058"/>
                  <a:gd name="connsiteX129" fmla="*/ 46302 w 1368533"/>
                  <a:gd name="connsiteY129" fmla="*/ 427197 h 824058"/>
                  <a:gd name="connsiteX130" fmla="*/ 40546 w 1368533"/>
                  <a:gd name="connsiteY130" fmla="*/ 413432 h 824058"/>
                  <a:gd name="connsiteX131" fmla="*/ 23276 w 1368533"/>
                  <a:gd name="connsiteY131" fmla="*/ 392160 h 824058"/>
                  <a:gd name="connsiteX132" fmla="*/ 6424 w 1368533"/>
                  <a:gd name="connsiteY132" fmla="*/ 369136 h 824058"/>
                  <a:gd name="connsiteX133" fmla="*/ 5089 w 1368533"/>
                  <a:gd name="connsiteY133" fmla="*/ 353620 h 824058"/>
                  <a:gd name="connsiteX134" fmla="*/ 6174 w 1368533"/>
                  <a:gd name="connsiteY134" fmla="*/ 348114 h 82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368533" h="824058" extrusionOk="0">
                    <a:moveTo>
                      <a:pt x="6174" y="348114"/>
                    </a:moveTo>
                    <a:cubicBezTo>
                      <a:pt x="5757" y="338771"/>
                      <a:pt x="3504" y="329511"/>
                      <a:pt x="0" y="321086"/>
                    </a:cubicBezTo>
                    <a:cubicBezTo>
                      <a:pt x="4422" y="318833"/>
                      <a:pt x="8843" y="316247"/>
                      <a:pt x="13265" y="313077"/>
                    </a:cubicBezTo>
                    <a:cubicBezTo>
                      <a:pt x="39878" y="294892"/>
                      <a:pt x="65991" y="259021"/>
                      <a:pt x="50890" y="225819"/>
                    </a:cubicBezTo>
                    <a:cubicBezTo>
                      <a:pt x="44216" y="210303"/>
                      <a:pt x="34956" y="208134"/>
                      <a:pt x="48221" y="192618"/>
                    </a:cubicBezTo>
                    <a:cubicBezTo>
                      <a:pt x="58399" y="180689"/>
                      <a:pt x="72581" y="174432"/>
                      <a:pt x="86764" y="166925"/>
                    </a:cubicBezTo>
                    <a:cubicBezTo>
                      <a:pt x="103116" y="158499"/>
                      <a:pt x="110207" y="149239"/>
                      <a:pt x="121303" y="135475"/>
                    </a:cubicBezTo>
                    <a:cubicBezTo>
                      <a:pt x="131481" y="123045"/>
                      <a:pt x="145663" y="120376"/>
                      <a:pt x="155007" y="108030"/>
                    </a:cubicBezTo>
                    <a:cubicBezTo>
                      <a:pt x="163016" y="96935"/>
                      <a:pt x="175363" y="85006"/>
                      <a:pt x="174946" y="70824"/>
                    </a:cubicBezTo>
                    <a:cubicBezTo>
                      <a:pt x="174946" y="59312"/>
                      <a:pt x="168272" y="46882"/>
                      <a:pt x="165185" y="36288"/>
                    </a:cubicBezTo>
                    <a:cubicBezTo>
                      <a:pt x="162516" y="27445"/>
                      <a:pt x="157677" y="12847"/>
                      <a:pt x="164768" y="4838"/>
                    </a:cubicBezTo>
                    <a:cubicBezTo>
                      <a:pt x="173611" y="-4922"/>
                      <a:pt x="181620" y="1752"/>
                      <a:pt x="186459" y="10177"/>
                    </a:cubicBezTo>
                    <a:cubicBezTo>
                      <a:pt x="192633" y="21272"/>
                      <a:pt x="191798" y="33619"/>
                      <a:pt x="201559" y="43379"/>
                    </a:cubicBezTo>
                    <a:cubicBezTo>
                      <a:pt x="211737" y="53139"/>
                      <a:pt x="227255" y="55308"/>
                      <a:pt x="238350" y="63316"/>
                    </a:cubicBezTo>
                    <a:cubicBezTo>
                      <a:pt x="250781" y="72159"/>
                      <a:pt x="262294" y="84171"/>
                      <a:pt x="270220" y="97018"/>
                    </a:cubicBezTo>
                    <a:cubicBezTo>
                      <a:pt x="280397" y="112952"/>
                      <a:pt x="272889" y="120042"/>
                      <a:pt x="270637" y="136476"/>
                    </a:cubicBezTo>
                    <a:cubicBezTo>
                      <a:pt x="267967" y="151992"/>
                      <a:pt x="279063" y="165256"/>
                      <a:pt x="275976" y="180355"/>
                    </a:cubicBezTo>
                    <a:cubicBezTo>
                      <a:pt x="273306" y="192785"/>
                      <a:pt x="264046" y="203796"/>
                      <a:pt x="260459" y="216226"/>
                    </a:cubicBezTo>
                    <a:cubicBezTo>
                      <a:pt x="257372" y="226821"/>
                      <a:pt x="253784" y="241002"/>
                      <a:pt x="240520" y="233911"/>
                    </a:cubicBezTo>
                    <a:cubicBezTo>
                      <a:pt x="235681" y="231242"/>
                      <a:pt x="232511" y="222816"/>
                      <a:pt x="228089" y="219313"/>
                    </a:cubicBezTo>
                    <a:cubicBezTo>
                      <a:pt x="221915" y="214891"/>
                      <a:pt x="212989" y="213974"/>
                      <a:pt x="205981" y="211304"/>
                    </a:cubicBezTo>
                    <a:cubicBezTo>
                      <a:pt x="187377" y="205131"/>
                      <a:pt x="180703" y="195371"/>
                      <a:pt x="163433" y="205965"/>
                    </a:cubicBezTo>
                    <a:cubicBezTo>
                      <a:pt x="151503" y="213473"/>
                      <a:pt x="139490" y="210804"/>
                      <a:pt x="128477" y="218395"/>
                    </a:cubicBezTo>
                    <a:cubicBezTo>
                      <a:pt x="111208" y="230825"/>
                      <a:pt x="114712" y="245423"/>
                      <a:pt x="124473" y="260439"/>
                    </a:cubicBezTo>
                    <a:cubicBezTo>
                      <a:pt x="134234" y="275955"/>
                      <a:pt x="129812" y="279959"/>
                      <a:pt x="125808" y="295392"/>
                    </a:cubicBezTo>
                    <a:cubicBezTo>
                      <a:pt x="117799" y="322837"/>
                      <a:pt x="116964" y="351617"/>
                      <a:pt x="144829" y="366717"/>
                    </a:cubicBezTo>
                    <a:cubicBezTo>
                      <a:pt x="159929" y="375142"/>
                      <a:pt x="182037" y="379980"/>
                      <a:pt x="198890" y="385319"/>
                    </a:cubicBezTo>
                    <a:cubicBezTo>
                      <a:pt x="215241" y="390658"/>
                      <a:pt x="228089" y="388406"/>
                      <a:pt x="239185" y="374225"/>
                    </a:cubicBezTo>
                    <a:cubicBezTo>
                      <a:pt x="254702" y="354704"/>
                      <a:pt x="281232" y="311325"/>
                      <a:pt x="310098" y="311325"/>
                    </a:cubicBezTo>
                    <a:cubicBezTo>
                      <a:pt x="322945" y="311325"/>
                      <a:pt x="334041" y="318833"/>
                      <a:pt x="343302" y="326842"/>
                    </a:cubicBezTo>
                    <a:cubicBezTo>
                      <a:pt x="346388" y="329511"/>
                      <a:pt x="349475" y="336185"/>
                      <a:pt x="354397" y="335684"/>
                    </a:cubicBezTo>
                    <a:cubicBezTo>
                      <a:pt x="363241" y="334767"/>
                      <a:pt x="356650" y="328594"/>
                      <a:pt x="357067" y="325090"/>
                    </a:cubicBezTo>
                    <a:cubicBezTo>
                      <a:pt x="358402" y="317999"/>
                      <a:pt x="359736" y="296310"/>
                      <a:pt x="369498" y="297644"/>
                    </a:cubicBezTo>
                    <a:cubicBezTo>
                      <a:pt x="373919" y="298562"/>
                      <a:pt x="375671" y="307822"/>
                      <a:pt x="378341" y="310491"/>
                    </a:cubicBezTo>
                    <a:cubicBezTo>
                      <a:pt x="382762" y="313995"/>
                      <a:pt x="388519" y="315830"/>
                      <a:pt x="393858" y="317165"/>
                    </a:cubicBezTo>
                    <a:cubicBezTo>
                      <a:pt x="410710" y="320669"/>
                      <a:pt x="428397" y="318500"/>
                      <a:pt x="444832" y="314495"/>
                    </a:cubicBezTo>
                    <a:cubicBezTo>
                      <a:pt x="460349" y="310992"/>
                      <a:pt x="476701" y="311409"/>
                      <a:pt x="491384" y="305653"/>
                    </a:cubicBezTo>
                    <a:cubicBezTo>
                      <a:pt x="504232" y="300814"/>
                      <a:pt x="503815" y="298979"/>
                      <a:pt x="515328" y="304318"/>
                    </a:cubicBezTo>
                    <a:cubicBezTo>
                      <a:pt x="521501" y="306987"/>
                      <a:pt x="522836" y="310491"/>
                      <a:pt x="530845" y="311409"/>
                    </a:cubicBezTo>
                    <a:cubicBezTo>
                      <a:pt x="539271" y="312327"/>
                      <a:pt x="546780" y="310491"/>
                      <a:pt x="555206" y="312744"/>
                    </a:cubicBezTo>
                    <a:cubicBezTo>
                      <a:pt x="564549" y="314495"/>
                      <a:pt x="571140" y="315830"/>
                      <a:pt x="580484" y="315830"/>
                    </a:cubicBezTo>
                    <a:cubicBezTo>
                      <a:pt x="592914" y="315413"/>
                      <a:pt x="614605" y="313161"/>
                      <a:pt x="607931" y="332180"/>
                    </a:cubicBezTo>
                    <a:cubicBezTo>
                      <a:pt x="604428" y="341524"/>
                      <a:pt x="582653" y="350366"/>
                      <a:pt x="600840" y="359209"/>
                    </a:cubicBezTo>
                    <a:cubicBezTo>
                      <a:pt x="614605" y="365382"/>
                      <a:pt x="620362" y="349449"/>
                      <a:pt x="624784" y="340189"/>
                    </a:cubicBezTo>
                    <a:cubicBezTo>
                      <a:pt x="631875" y="326925"/>
                      <a:pt x="638549" y="316247"/>
                      <a:pt x="652732" y="309657"/>
                    </a:cubicBezTo>
                    <a:cubicBezTo>
                      <a:pt x="681514" y="297227"/>
                      <a:pt x="718305" y="308322"/>
                      <a:pt x="748005" y="312744"/>
                    </a:cubicBezTo>
                    <a:cubicBezTo>
                      <a:pt x="752844" y="313661"/>
                      <a:pt x="771949" y="315830"/>
                      <a:pt x="765692" y="325173"/>
                    </a:cubicBezTo>
                    <a:cubicBezTo>
                      <a:pt x="760352" y="332681"/>
                      <a:pt x="745753" y="319000"/>
                      <a:pt x="740413" y="317665"/>
                    </a:cubicBezTo>
                    <a:cubicBezTo>
                      <a:pt x="719140" y="311492"/>
                      <a:pt x="702788" y="349532"/>
                      <a:pt x="699200" y="367301"/>
                    </a:cubicBezTo>
                    <a:cubicBezTo>
                      <a:pt x="696531" y="379230"/>
                      <a:pt x="697866" y="396998"/>
                      <a:pt x="680596" y="395246"/>
                    </a:cubicBezTo>
                    <a:cubicBezTo>
                      <a:pt x="670835" y="394329"/>
                      <a:pt x="662409" y="379313"/>
                      <a:pt x="653149" y="390825"/>
                    </a:cubicBezTo>
                    <a:cubicBezTo>
                      <a:pt x="642553" y="404589"/>
                      <a:pt x="699200" y="434704"/>
                      <a:pt x="709378" y="439543"/>
                    </a:cubicBezTo>
                    <a:cubicBezTo>
                      <a:pt x="739078" y="454141"/>
                      <a:pt x="754596" y="412932"/>
                      <a:pt x="786048" y="415184"/>
                    </a:cubicBezTo>
                    <a:cubicBezTo>
                      <a:pt x="825509" y="417853"/>
                      <a:pt x="845448" y="438208"/>
                      <a:pt x="874230" y="461733"/>
                    </a:cubicBezTo>
                    <a:cubicBezTo>
                      <a:pt x="892834" y="477249"/>
                      <a:pt x="894169" y="464819"/>
                      <a:pt x="911856" y="458646"/>
                    </a:cubicBezTo>
                    <a:cubicBezTo>
                      <a:pt x="918530" y="456394"/>
                      <a:pt x="923368" y="459981"/>
                      <a:pt x="930042" y="458229"/>
                    </a:cubicBezTo>
                    <a:cubicBezTo>
                      <a:pt x="936216" y="456894"/>
                      <a:pt x="940638" y="449386"/>
                      <a:pt x="947312" y="451555"/>
                    </a:cubicBezTo>
                    <a:cubicBezTo>
                      <a:pt x="951733" y="452890"/>
                      <a:pt x="952651" y="459564"/>
                      <a:pt x="953986" y="463484"/>
                    </a:cubicBezTo>
                    <a:cubicBezTo>
                      <a:pt x="954403" y="464819"/>
                      <a:pt x="954903" y="466571"/>
                      <a:pt x="954903" y="468323"/>
                    </a:cubicBezTo>
                    <a:cubicBezTo>
                      <a:pt x="955321" y="469657"/>
                      <a:pt x="955821" y="470992"/>
                      <a:pt x="955821" y="471827"/>
                    </a:cubicBezTo>
                    <a:cubicBezTo>
                      <a:pt x="956238" y="472244"/>
                      <a:pt x="956238" y="472744"/>
                      <a:pt x="956238" y="473161"/>
                    </a:cubicBezTo>
                    <a:cubicBezTo>
                      <a:pt x="956655" y="474079"/>
                      <a:pt x="957990" y="474496"/>
                      <a:pt x="958908" y="474079"/>
                    </a:cubicBezTo>
                    <a:cubicBezTo>
                      <a:pt x="961995" y="473662"/>
                      <a:pt x="962412" y="470992"/>
                      <a:pt x="963330" y="468740"/>
                    </a:cubicBezTo>
                    <a:cubicBezTo>
                      <a:pt x="964665" y="465653"/>
                      <a:pt x="966417" y="462567"/>
                      <a:pt x="967751" y="459397"/>
                    </a:cubicBezTo>
                    <a:cubicBezTo>
                      <a:pt x="970004" y="455893"/>
                      <a:pt x="971756" y="450554"/>
                      <a:pt x="974843" y="447468"/>
                    </a:cubicBezTo>
                    <a:cubicBezTo>
                      <a:pt x="987690" y="434621"/>
                      <a:pt x="1002791" y="437290"/>
                      <a:pt x="1009799" y="453641"/>
                    </a:cubicBezTo>
                    <a:cubicBezTo>
                      <a:pt x="1014220" y="463818"/>
                      <a:pt x="1023981" y="481086"/>
                      <a:pt x="1018642" y="492181"/>
                    </a:cubicBezTo>
                    <a:cubicBezTo>
                      <a:pt x="1012468" y="505028"/>
                      <a:pt x="995616" y="508532"/>
                      <a:pt x="988525" y="522713"/>
                    </a:cubicBezTo>
                    <a:cubicBezTo>
                      <a:pt x="980516" y="538646"/>
                      <a:pt x="985855" y="547072"/>
                      <a:pt x="993363" y="560336"/>
                    </a:cubicBezTo>
                    <a:cubicBezTo>
                      <a:pt x="1016389" y="600628"/>
                      <a:pt x="1024815" y="546154"/>
                      <a:pt x="1038581" y="533307"/>
                    </a:cubicBezTo>
                    <a:cubicBezTo>
                      <a:pt x="1051846" y="521378"/>
                      <a:pt x="1066529" y="532390"/>
                      <a:pt x="1081546" y="528886"/>
                    </a:cubicBezTo>
                    <a:cubicBezTo>
                      <a:pt x="1095311" y="525800"/>
                      <a:pt x="1107658" y="512035"/>
                      <a:pt x="1117002" y="501858"/>
                    </a:cubicBezTo>
                    <a:cubicBezTo>
                      <a:pt x="1129433" y="488094"/>
                      <a:pt x="1129850" y="481503"/>
                      <a:pt x="1122758" y="466404"/>
                    </a:cubicBezTo>
                    <a:cubicBezTo>
                      <a:pt x="1116084" y="452223"/>
                      <a:pt x="1119671" y="431451"/>
                      <a:pt x="1118754" y="415434"/>
                    </a:cubicBezTo>
                    <a:cubicBezTo>
                      <a:pt x="1117836" y="396831"/>
                      <a:pt x="1121006" y="385737"/>
                      <a:pt x="1139110" y="379980"/>
                    </a:cubicBezTo>
                    <a:cubicBezTo>
                      <a:pt x="1146201" y="377728"/>
                      <a:pt x="1151541" y="377311"/>
                      <a:pt x="1157714" y="373307"/>
                    </a:cubicBezTo>
                    <a:cubicBezTo>
                      <a:pt x="1163471" y="369803"/>
                      <a:pt x="1167475" y="363547"/>
                      <a:pt x="1174984" y="363130"/>
                    </a:cubicBezTo>
                    <a:cubicBezTo>
                      <a:pt x="1192253" y="361378"/>
                      <a:pt x="1204684" y="383484"/>
                      <a:pt x="1215279" y="394162"/>
                    </a:cubicBezTo>
                    <a:cubicBezTo>
                      <a:pt x="1229461" y="407926"/>
                      <a:pt x="1246731" y="415851"/>
                      <a:pt x="1264000" y="425611"/>
                    </a:cubicBezTo>
                    <a:cubicBezTo>
                      <a:pt x="1293700" y="442880"/>
                      <a:pt x="1322065" y="470325"/>
                      <a:pt x="1344590" y="496519"/>
                    </a:cubicBezTo>
                    <a:cubicBezTo>
                      <a:pt x="1351682" y="504944"/>
                      <a:pt x="1359190" y="513787"/>
                      <a:pt x="1362778" y="524465"/>
                    </a:cubicBezTo>
                    <a:cubicBezTo>
                      <a:pt x="1364529" y="529303"/>
                      <a:pt x="1364112" y="533307"/>
                      <a:pt x="1364112" y="538229"/>
                    </a:cubicBezTo>
                    <a:cubicBezTo>
                      <a:pt x="1364529" y="542233"/>
                      <a:pt x="1366365" y="547572"/>
                      <a:pt x="1368534" y="551076"/>
                    </a:cubicBezTo>
                    <a:cubicBezTo>
                      <a:pt x="1365030" y="553745"/>
                      <a:pt x="1361443" y="556415"/>
                      <a:pt x="1357939" y="559501"/>
                    </a:cubicBezTo>
                    <a:cubicBezTo>
                      <a:pt x="1355686" y="561253"/>
                      <a:pt x="1353100" y="563005"/>
                      <a:pt x="1349512" y="565257"/>
                    </a:cubicBezTo>
                    <a:cubicBezTo>
                      <a:pt x="1339752" y="571931"/>
                      <a:pt x="1327404" y="579856"/>
                      <a:pt x="1323817" y="591869"/>
                    </a:cubicBezTo>
                    <a:cubicBezTo>
                      <a:pt x="1318478" y="610054"/>
                      <a:pt x="1330908" y="617562"/>
                      <a:pt x="1340169" y="623318"/>
                    </a:cubicBezTo>
                    <a:lnTo>
                      <a:pt x="1343255" y="625070"/>
                    </a:lnTo>
                    <a:cubicBezTo>
                      <a:pt x="1353016" y="631243"/>
                      <a:pt x="1356521" y="636999"/>
                      <a:pt x="1358773" y="650764"/>
                    </a:cubicBezTo>
                    <a:cubicBezTo>
                      <a:pt x="1361443" y="666697"/>
                      <a:pt x="1357855" y="679126"/>
                      <a:pt x="1351264" y="690639"/>
                    </a:cubicBezTo>
                    <a:cubicBezTo>
                      <a:pt x="1349012" y="690221"/>
                      <a:pt x="1346843" y="689721"/>
                      <a:pt x="1345091" y="689304"/>
                    </a:cubicBezTo>
                    <a:cubicBezTo>
                      <a:pt x="1325152" y="683965"/>
                      <a:pt x="1302126" y="677375"/>
                      <a:pt x="1282187" y="693308"/>
                    </a:cubicBezTo>
                    <a:cubicBezTo>
                      <a:pt x="1277348" y="697312"/>
                      <a:pt x="1273761" y="701316"/>
                      <a:pt x="1270674" y="704820"/>
                    </a:cubicBezTo>
                    <a:cubicBezTo>
                      <a:pt x="1265835" y="710993"/>
                      <a:pt x="1261831" y="714997"/>
                      <a:pt x="1253405" y="717667"/>
                    </a:cubicBezTo>
                    <a:cubicBezTo>
                      <a:pt x="1233883" y="723423"/>
                      <a:pt x="1227292" y="726092"/>
                      <a:pt x="1218866" y="746030"/>
                    </a:cubicBezTo>
                    <a:cubicBezTo>
                      <a:pt x="1214027" y="757542"/>
                      <a:pt x="1202932" y="758876"/>
                      <a:pt x="1184327" y="759794"/>
                    </a:cubicBezTo>
                    <a:cubicBezTo>
                      <a:pt x="1171897" y="760712"/>
                      <a:pt x="1157297" y="761129"/>
                      <a:pt x="1145784" y="768637"/>
                    </a:cubicBezTo>
                    <a:cubicBezTo>
                      <a:pt x="1137358" y="773475"/>
                      <a:pt x="1132019" y="781066"/>
                      <a:pt x="1127597" y="787239"/>
                    </a:cubicBezTo>
                    <a:cubicBezTo>
                      <a:pt x="1123593" y="792578"/>
                      <a:pt x="1120089" y="797834"/>
                      <a:pt x="1114749" y="801421"/>
                    </a:cubicBezTo>
                    <a:cubicBezTo>
                      <a:pt x="1106740" y="806760"/>
                      <a:pt x="1096145" y="807177"/>
                      <a:pt x="1085049" y="807594"/>
                    </a:cubicBezTo>
                    <a:cubicBezTo>
                      <a:pt x="1080628" y="807594"/>
                      <a:pt x="1076206" y="808011"/>
                      <a:pt x="1072202" y="808512"/>
                    </a:cubicBezTo>
                    <a:cubicBezTo>
                      <a:pt x="1061106" y="809846"/>
                      <a:pt x="1052680" y="813850"/>
                      <a:pt x="1044754" y="817354"/>
                    </a:cubicBezTo>
                    <a:cubicBezTo>
                      <a:pt x="1041250" y="819607"/>
                      <a:pt x="1036745" y="820858"/>
                      <a:pt x="1032824" y="822693"/>
                    </a:cubicBezTo>
                    <a:cubicBezTo>
                      <a:pt x="1020394" y="827115"/>
                      <a:pt x="1008046" y="820024"/>
                      <a:pt x="995199" y="812516"/>
                    </a:cubicBezTo>
                    <a:cubicBezTo>
                      <a:pt x="992112" y="810764"/>
                      <a:pt x="988525" y="809012"/>
                      <a:pt x="985438" y="807177"/>
                    </a:cubicBezTo>
                    <a:cubicBezTo>
                      <a:pt x="946478" y="786822"/>
                      <a:pt x="907017" y="766885"/>
                      <a:pt x="867639" y="746947"/>
                    </a:cubicBezTo>
                    <a:cubicBezTo>
                      <a:pt x="840192" y="732766"/>
                      <a:pt x="812244" y="719502"/>
                      <a:pt x="784379" y="705738"/>
                    </a:cubicBezTo>
                    <a:cubicBezTo>
                      <a:pt x="739162" y="684048"/>
                      <a:pt x="692276" y="661024"/>
                      <a:pt x="647058" y="636665"/>
                    </a:cubicBezTo>
                    <a:cubicBezTo>
                      <a:pt x="641302" y="633579"/>
                      <a:pt x="635129" y="630492"/>
                      <a:pt x="629372" y="626905"/>
                    </a:cubicBezTo>
                    <a:cubicBezTo>
                      <a:pt x="602342" y="612724"/>
                      <a:pt x="573977" y="597708"/>
                      <a:pt x="550117" y="577771"/>
                    </a:cubicBezTo>
                    <a:cubicBezTo>
                      <a:pt x="545695" y="574267"/>
                      <a:pt x="541273" y="570263"/>
                      <a:pt x="537269" y="566258"/>
                    </a:cubicBezTo>
                    <a:cubicBezTo>
                      <a:pt x="516913" y="547656"/>
                      <a:pt x="493887" y="526801"/>
                      <a:pt x="461100" y="532557"/>
                    </a:cubicBezTo>
                    <a:cubicBezTo>
                      <a:pt x="450505" y="534308"/>
                      <a:pt x="441161" y="538730"/>
                      <a:pt x="431901" y="542734"/>
                    </a:cubicBezTo>
                    <a:cubicBezTo>
                      <a:pt x="421723" y="547572"/>
                      <a:pt x="411962" y="552494"/>
                      <a:pt x="400449" y="552494"/>
                    </a:cubicBezTo>
                    <a:cubicBezTo>
                      <a:pt x="389854" y="552911"/>
                      <a:pt x="379175" y="552911"/>
                      <a:pt x="368997" y="552911"/>
                    </a:cubicBezTo>
                    <a:lnTo>
                      <a:pt x="353062" y="552494"/>
                    </a:lnTo>
                    <a:cubicBezTo>
                      <a:pt x="341967" y="552494"/>
                      <a:pt x="330954" y="552077"/>
                      <a:pt x="319358" y="552077"/>
                    </a:cubicBezTo>
                    <a:cubicBezTo>
                      <a:pt x="296749" y="551660"/>
                      <a:pt x="273306" y="551159"/>
                      <a:pt x="250281" y="552494"/>
                    </a:cubicBezTo>
                    <a:cubicBezTo>
                      <a:pt x="243189" y="552911"/>
                      <a:pt x="237016" y="554746"/>
                      <a:pt x="231259" y="556915"/>
                    </a:cubicBezTo>
                    <a:cubicBezTo>
                      <a:pt x="226421" y="551159"/>
                      <a:pt x="221081" y="545820"/>
                      <a:pt x="215325" y="540565"/>
                    </a:cubicBezTo>
                    <a:cubicBezTo>
                      <a:pt x="199390" y="526383"/>
                      <a:pt x="171442" y="513954"/>
                      <a:pt x="147582" y="525966"/>
                    </a:cubicBezTo>
                    <a:cubicBezTo>
                      <a:pt x="143578" y="528219"/>
                      <a:pt x="139573" y="530805"/>
                      <a:pt x="135652" y="533474"/>
                    </a:cubicBezTo>
                    <a:cubicBezTo>
                      <a:pt x="129478" y="537896"/>
                      <a:pt x="124556" y="541483"/>
                      <a:pt x="118383" y="541483"/>
                    </a:cubicBezTo>
                    <a:cubicBezTo>
                      <a:pt x="118383" y="541483"/>
                      <a:pt x="118383" y="541483"/>
                      <a:pt x="117966" y="541483"/>
                    </a:cubicBezTo>
                    <a:cubicBezTo>
                      <a:pt x="108622" y="541483"/>
                      <a:pt x="100696" y="530888"/>
                      <a:pt x="96275" y="521962"/>
                    </a:cubicBezTo>
                    <a:cubicBezTo>
                      <a:pt x="91853" y="513537"/>
                      <a:pt x="87848" y="505111"/>
                      <a:pt x="83844" y="496686"/>
                    </a:cubicBezTo>
                    <a:cubicBezTo>
                      <a:pt x="78505" y="484256"/>
                      <a:pt x="72331" y="471409"/>
                      <a:pt x="64823" y="459480"/>
                    </a:cubicBezTo>
                    <a:cubicBezTo>
                      <a:pt x="63488" y="457228"/>
                      <a:pt x="61736" y="454642"/>
                      <a:pt x="59984" y="452389"/>
                    </a:cubicBezTo>
                    <a:cubicBezTo>
                      <a:pt x="55979" y="447051"/>
                      <a:pt x="52476" y="441795"/>
                      <a:pt x="49806" y="436039"/>
                    </a:cubicBezTo>
                    <a:cubicBezTo>
                      <a:pt x="48471" y="433370"/>
                      <a:pt x="47136" y="430283"/>
                      <a:pt x="46302" y="427197"/>
                    </a:cubicBezTo>
                    <a:cubicBezTo>
                      <a:pt x="44550" y="422358"/>
                      <a:pt x="43215" y="417853"/>
                      <a:pt x="40546" y="413432"/>
                    </a:cubicBezTo>
                    <a:cubicBezTo>
                      <a:pt x="36124" y="405007"/>
                      <a:pt x="29950" y="398834"/>
                      <a:pt x="23276" y="392160"/>
                    </a:cubicBezTo>
                    <a:cubicBezTo>
                      <a:pt x="16185" y="385069"/>
                      <a:pt x="9094" y="377978"/>
                      <a:pt x="6424" y="369136"/>
                    </a:cubicBezTo>
                    <a:cubicBezTo>
                      <a:pt x="5089" y="364297"/>
                      <a:pt x="5089" y="358959"/>
                      <a:pt x="5089" y="353620"/>
                    </a:cubicBezTo>
                    <a:cubicBezTo>
                      <a:pt x="6591" y="352618"/>
                      <a:pt x="6591" y="350366"/>
                      <a:pt x="6174" y="34811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64846845" name="Полилиния 446"/>
              <p:cNvSpPr/>
              <p:nvPr/>
            </p:nvSpPr>
            <p:spPr bwMode="auto">
              <a:xfrm>
                <a:off x="4354630" y="2826617"/>
                <a:ext cx="1418025" cy="1728437"/>
              </a:xfrm>
              <a:custGeom>
                <a:avLst/>
                <a:gdLst>
                  <a:gd name="connsiteX0" fmla="*/ 414140 w 1592490"/>
                  <a:gd name="connsiteY0" fmla="*/ 544633 h 1941092"/>
                  <a:gd name="connsiteX1" fmla="*/ 424318 w 1592490"/>
                  <a:gd name="connsiteY1" fmla="*/ 536625 h 1941092"/>
                  <a:gd name="connsiteX2" fmla="*/ 434079 w 1592490"/>
                  <a:gd name="connsiteY2" fmla="*/ 544133 h 1941092"/>
                  <a:gd name="connsiteX3" fmla="*/ 455770 w 1592490"/>
                  <a:gd name="connsiteY3" fmla="*/ 568074 h 1941092"/>
                  <a:gd name="connsiteX4" fmla="*/ 477878 w 1592490"/>
                  <a:gd name="connsiteY4" fmla="*/ 603028 h 1941092"/>
                  <a:gd name="connsiteX5" fmla="*/ 508913 w 1592490"/>
                  <a:gd name="connsiteY5" fmla="*/ 638898 h 1941092"/>
                  <a:gd name="connsiteX6" fmla="*/ 527100 w 1592490"/>
                  <a:gd name="connsiteY6" fmla="*/ 694290 h 1941092"/>
                  <a:gd name="connsiteX7" fmla="*/ 548374 w 1592490"/>
                  <a:gd name="connsiteY7" fmla="*/ 725739 h 1941092"/>
                  <a:gd name="connsiteX8" fmla="*/ 550126 w 1592490"/>
                  <a:gd name="connsiteY8" fmla="*/ 747428 h 1941092"/>
                  <a:gd name="connsiteX9" fmla="*/ 568313 w 1592490"/>
                  <a:gd name="connsiteY9" fmla="*/ 749681 h 1941092"/>
                  <a:gd name="connsiteX10" fmla="*/ 596261 w 1592490"/>
                  <a:gd name="connsiteY10" fmla="*/ 712058 h 1941092"/>
                  <a:gd name="connsiteX11" fmla="*/ 623291 w 1592490"/>
                  <a:gd name="connsiteY11" fmla="*/ 666844 h 1941092"/>
                  <a:gd name="connsiteX12" fmla="*/ 600682 w 1592490"/>
                  <a:gd name="connsiteY12" fmla="*/ 644738 h 1941092"/>
                  <a:gd name="connsiteX13" fmla="*/ 591339 w 1592490"/>
                  <a:gd name="connsiteY13" fmla="*/ 601776 h 1941092"/>
                  <a:gd name="connsiteX14" fmla="*/ 592256 w 1592490"/>
                  <a:gd name="connsiteY14" fmla="*/ 576500 h 1941092"/>
                  <a:gd name="connsiteX15" fmla="*/ 603769 w 1592490"/>
                  <a:gd name="connsiteY15" fmla="*/ 561401 h 1941092"/>
                  <a:gd name="connsiteX16" fmla="*/ 587418 w 1592490"/>
                  <a:gd name="connsiteY16" fmla="*/ 534790 h 1941092"/>
                  <a:gd name="connsiteX17" fmla="*/ 563974 w 1592490"/>
                  <a:gd name="connsiteY17" fmla="*/ 510431 h 1941092"/>
                  <a:gd name="connsiteX18" fmla="*/ 533440 w 1592490"/>
                  <a:gd name="connsiteY18" fmla="*/ 512183 h 1941092"/>
                  <a:gd name="connsiteX19" fmla="*/ 535693 w 1592490"/>
                  <a:gd name="connsiteY19" fmla="*/ 484737 h 1941092"/>
                  <a:gd name="connsiteX20" fmla="*/ 558719 w 1592490"/>
                  <a:gd name="connsiteY20" fmla="*/ 451536 h 1941092"/>
                  <a:gd name="connsiteX21" fmla="*/ 588419 w 1592490"/>
                  <a:gd name="connsiteY21" fmla="*/ 428929 h 1941092"/>
                  <a:gd name="connsiteX22" fmla="*/ 592840 w 1592490"/>
                  <a:gd name="connsiteY22" fmla="*/ 400983 h 1941092"/>
                  <a:gd name="connsiteX23" fmla="*/ 605688 w 1592490"/>
                  <a:gd name="connsiteY23" fmla="*/ 386384 h 1941092"/>
                  <a:gd name="connsiteX24" fmla="*/ 611444 w 1592490"/>
                  <a:gd name="connsiteY24" fmla="*/ 362443 h 1941092"/>
                  <a:gd name="connsiteX25" fmla="*/ 624292 w 1592490"/>
                  <a:gd name="connsiteY25" fmla="*/ 342922 h 1941092"/>
                  <a:gd name="connsiteX26" fmla="*/ 625627 w 1592490"/>
                  <a:gd name="connsiteY26" fmla="*/ 331410 h 1941092"/>
                  <a:gd name="connsiteX27" fmla="*/ 618953 w 1592490"/>
                  <a:gd name="connsiteY27" fmla="*/ 317229 h 1941092"/>
                  <a:gd name="connsiteX28" fmla="*/ 595009 w 1592490"/>
                  <a:gd name="connsiteY28" fmla="*/ 307052 h 1941092"/>
                  <a:gd name="connsiteX29" fmla="*/ 612696 w 1592490"/>
                  <a:gd name="connsiteY29" fmla="*/ 276019 h 1941092"/>
                  <a:gd name="connsiteX30" fmla="*/ 615783 w 1592490"/>
                  <a:gd name="connsiteY30" fmla="*/ 258751 h 1941092"/>
                  <a:gd name="connsiteX31" fmla="*/ 633052 w 1592490"/>
                  <a:gd name="connsiteY31" fmla="*/ 242818 h 1941092"/>
                  <a:gd name="connsiteX32" fmla="*/ 679104 w 1592490"/>
                  <a:gd name="connsiteY32" fmla="*/ 226467 h 1941092"/>
                  <a:gd name="connsiteX33" fmla="*/ 727408 w 1592490"/>
                  <a:gd name="connsiteY33" fmla="*/ 196770 h 1941092"/>
                  <a:gd name="connsiteX34" fmla="*/ 781886 w 1592490"/>
                  <a:gd name="connsiteY34" fmla="*/ 106842 h 1941092"/>
                  <a:gd name="connsiteX35" fmla="*/ 805829 w 1592490"/>
                  <a:gd name="connsiteY35" fmla="*/ 57207 h 1941092"/>
                  <a:gd name="connsiteX36" fmla="*/ 828438 w 1592490"/>
                  <a:gd name="connsiteY36" fmla="*/ 28010 h 1941092"/>
                  <a:gd name="connsiteX37" fmla="*/ 850546 w 1592490"/>
                  <a:gd name="connsiteY37" fmla="*/ 64 h 1941092"/>
                  <a:gd name="connsiteX38" fmla="*/ 880663 w 1592490"/>
                  <a:gd name="connsiteY38" fmla="*/ 22170 h 1941092"/>
                  <a:gd name="connsiteX39" fmla="*/ 940897 w 1592490"/>
                  <a:gd name="connsiteY39" fmla="*/ 35017 h 1941092"/>
                  <a:gd name="connsiteX40" fmla="*/ 962588 w 1592490"/>
                  <a:gd name="connsiteY40" fmla="*/ 57207 h 1941092"/>
                  <a:gd name="connsiteX41" fmla="*/ 999379 w 1592490"/>
                  <a:gd name="connsiteY41" fmla="*/ 75393 h 1941092"/>
                  <a:gd name="connsiteX42" fmla="*/ 998462 w 1592490"/>
                  <a:gd name="connsiteY42" fmla="*/ 122359 h 1941092"/>
                  <a:gd name="connsiteX43" fmla="*/ 955914 w 1592490"/>
                  <a:gd name="connsiteY43" fmla="*/ 221128 h 1941092"/>
                  <a:gd name="connsiteX44" fmla="*/ 935975 w 1592490"/>
                  <a:gd name="connsiteY44" fmla="*/ 254830 h 1941092"/>
                  <a:gd name="connsiteX45" fmla="*/ 909862 w 1592490"/>
                  <a:gd name="connsiteY45" fmla="*/ 280524 h 1941092"/>
                  <a:gd name="connsiteX46" fmla="*/ 929801 w 1592490"/>
                  <a:gd name="connsiteY46" fmla="*/ 356687 h 1941092"/>
                  <a:gd name="connsiteX47" fmla="*/ 912115 w 1592490"/>
                  <a:gd name="connsiteY47" fmla="*/ 456791 h 1941092"/>
                  <a:gd name="connsiteX48" fmla="*/ 887337 w 1592490"/>
                  <a:gd name="connsiteY48" fmla="*/ 491745 h 1941092"/>
                  <a:gd name="connsiteX49" fmla="*/ 882498 w 1592490"/>
                  <a:gd name="connsiteY49" fmla="*/ 539545 h 1941092"/>
                  <a:gd name="connsiteX50" fmla="*/ 868733 w 1592490"/>
                  <a:gd name="connsiteY50" fmla="*/ 601109 h 1941092"/>
                  <a:gd name="connsiteX51" fmla="*/ 854968 w 1592490"/>
                  <a:gd name="connsiteY51" fmla="*/ 649827 h 1941092"/>
                  <a:gd name="connsiteX52" fmla="*/ 832359 w 1592490"/>
                  <a:gd name="connsiteY52" fmla="*/ 689284 h 1941092"/>
                  <a:gd name="connsiteX53" fmla="*/ 846958 w 1592490"/>
                  <a:gd name="connsiteY53" fmla="*/ 737084 h 1941092"/>
                  <a:gd name="connsiteX54" fmla="*/ 866897 w 1592490"/>
                  <a:gd name="connsiteY54" fmla="*/ 810161 h 1941092"/>
                  <a:gd name="connsiteX55" fmla="*/ 832359 w 1592490"/>
                  <a:gd name="connsiteY55" fmla="*/ 855375 h 1941092"/>
                  <a:gd name="connsiteX56" fmla="*/ 821263 w 1592490"/>
                  <a:gd name="connsiteY56" fmla="*/ 900588 h 1941092"/>
                  <a:gd name="connsiteX57" fmla="*/ 813254 w 1592490"/>
                  <a:gd name="connsiteY57" fmla="*/ 920943 h 1941092"/>
                  <a:gd name="connsiteX58" fmla="*/ 795067 w 1592490"/>
                  <a:gd name="connsiteY58" fmla="*/ 927116 h 1941092"/>
                  <a:gd name="connsiteX59" fmla="*/ 760111 w 1592490"/>
                  <a:gd name="connsiteY59" fmla="*/ 962570 h 1941092"/>
                  <a:gd name="connsiteX60" fmla="*/ 683943 w 1592490"/>
                  <a:gd name="connsiteY60" fmla="*/ 1027221 h 1941092"/>
                  <a:gd name="connsiteX61" fmla="*/ 631634 w 1592490"/>
                  <a:gd name="connsiteY61" fmla="*/ 1037398 h 1941092"/>
                  <a:gd name="connsiteX62" fmla="*/ 592173 w 1592490"/>
                  <a:gd name="connsiteY62" fmla="*/ 1039651 h 1941092"/>
                  <a:gd name="connsiteX63" fmla="*/ 577573 w 1592490"/>
                  <a:gd name="connsiteY63" fmla="*/ 1022382 h 1941092"/>
                  <a:gd name="connsiteX64" fmla="*/ 562974 w 1592490"/>
                  <a:gd name="connsiteY64" fmla="*/ 1020130 h 1941092"/>
                  <a:gd name="connsiteX65" fmla="*/ 539948 w 1592490"/>
                  <a:gd name="connsiteY65" fmla="*/ 1005949 h 1941092"/>
                  <a:gd name="connsiteX66" fmla="*/ 475292 w 1592490"/>
                  <a:gd name="connsiteY66" fmla="*/ 1005949 h 1941092"/>
                  <a:gd name="connsiteX67" fmla="*/ 493479 w 1592490"/>
                  <a:gd name="connsiteY67" fmla="*/ 1030724 h 1941092"/>
                  <a:gd name="connsiteX68" fmla="*/ 538196 w 1592490"/>
                  <a:gd name="connsiteY68" fmla="*/ 1048910 h 1941092"/>
                  <a:gd name="connsiteX69" fmla="*/ 568730 w 1592490"/>
                  <a:gd name="connsiteY69" fmla="*/ 1060839 h 1941092"/>
                  <a:gd name="connsiteX70" fmla="*/ 568730 w 1592490"/>
                  <a:gd name="connsiteY70" fmla="*/ 1085198 h 1941092"/>
                  <a:gd name="connsiteX71" fmla="*/ 605938 w 1592490"/>
                  <a:gd name="connsiteY71" fmla="*/ 1102466 h 1941092"/>
                  <a:gd name="connsiteX72" fmla="*/ 658247 w 1592490"/>
                  <a:gd name="connsiteY72" fmla="*/ 1124155 h 1941092"/>
                  <a:gd name="connsiteX73" fmla="*/ 690617 w 1592490"/>
                  <a:gd name="connsiteY73" fmla="*/ 1147597 h 1941092"/>
                  <a:gd name="connsiteX74" fmla="*/ 713642 w 1592490"/>
                  <a:gd name="connsiteY74" fmla="*/ 1120151 h 1941092"/>
                  <a:gd name="connsiteX75" fmla="*/ 742007 w 1592490"/>
                  <a:gd name="connsiteY75" fmla="*/ 1098045 h 1941092"/>
                  <a:gd name="connsiteX76" fmla="*/ 827520 w 1592490"/>
                  <a:gd name="connsiteY76" fmla="*/ 1052831 h 1941092"/>
                  <a:gd name="connsiteX77" fmla="*/ 854550 w 1592490"/>
                  <a:gd name="connsiteY77" fmla="*/ 1013373 h 1941092"/>
                  <a:gd name="connsiteX78" fmla="*/ 858972 w 1592490"/>
                  <a:gd name="connsiteY78" fmla="*/ 989932 h 1941092"/>
                  <a:gd name="connsiteX79" fmla="*/ 877993 w 1592490"/>
                  <a:gd name="connsiteY79" fmla="*/ 979337 h 1941092"/>
                  <a:gd name="connsiteX80" fmla="*/ 916536 w 1592490"/>
                  <a:gd name="connsiteY80" fmla="*/ 946136 h 1941092"/>
                  <a:gd name="connsiteX81" fmla="*/ 931136 w 1592490"/>
                  <a:gd name="connsiteY81" fmla="*/ 894332 h 1941092"/>
                  <a:gd name="connsiteX82" fmla="*/ 920958 w 1592490"/>
                  <a:gd name="connsiteY82" fmla="*/ 844280 h 1941092"/>
                  <a:gd name="connsiteX83" fmla="*/ 931136 w 1592490"/>
                  <a:gd name="connsiteY83" fmla="*/ 802653 h 1941092"/>
                  <a:gd name="connsiteX84" fmla="*/ 960335 w 1592490"/>
                  <a:gd name="connsiteY84" fmla="*/ 767700 h 1941092"/>
                  <a:gd name="connsiteX85" fmla="*/ 985113 w 1592490"/>
                  <a:gd name="connsiteY85" fmla="*/ 765447 h 1941092"/>
                  <a:gd name="connsiteX86" fmla="*/ 1005970 w 1592490"/>
                  <a:gd name="connsiteY86" fmla="*/ 755270 h 1941092"/>
                  <a:gd name="connsiteX87" fmla="*/ 1055609 w 1592490"/>
                  <a:gd name="connsiteY87" fmla="*/ 753935 h 1941092"/>
                  <a:gd name="connsiteX88" fmla="*/ 1073796 w 1592490"/>
                  <a:gd name="connsiteY88" fmla="*/ 781381 h 1941092"/>
                  <a:gd name="connsiteX89" fmla="*/ 1095904 w 1592490"/>
                  <a:gd name="connsiteY89" fmla="*/ 827429 h 1941092"/>
                  <a:gd name="connsiteX90" fmla="*/ 1098991 w 1592490"/>
                  <a:gd name="connsiteY90" fmla="*/ 869973 h 1941092"/>
                  <a:gd name="connsiteX91" fmla="*/ 1087478 w 1592490"/>
                  <a:gd name="connsiteY91" fmla="*/ 922278 h 1941092"/>
                  <a:gd name="connsiteX92" fmla="*/ 1071960 w 1592490"/>
                  <a:gd name="connsiteY92" fmla="*/ 966574 h 1941092"/>
                  <a:gd name="connsiteX93" fmla="*/ 1148630 w 1592490"/>
                  <a:gd name="connsiteY93" fmla="*/ 1017961 h 1941092"/>
                  <a:gd name="connsiteX94" fmla="*/ 1180082 w 1592490"/>
                  <a:gd name="connsiteY94" fmla="*/ 1011288 h 1941092"/>
                  <a:gd name="connsiteX95" fmla="*/ 1150382 w 1592490"/>
                  <a:gd name="connsiteY95" fmla="*/ 1000192 h 1941092"/>
                  <a:gd name="connsiteX96" fmla="*/ 1092817 w 1592490"/>
                  <a:gd name="connsiteY96" fmla="*/ 954979 h 1941092"/>
                  <a:gd name="connsiteX97" fmla="*/ 1132695 w 1592490"/>
                  <a:gd name="connsiteY97" fmla="*/ 896084 h 1941092"/>
                  <a:gd name="connsiteX98" fmla="*/ 1140704 w 1592490"/>
                  <a:gd name="connsiteY98" fmla="*/ 863717 h 1941092"/>
                  <a:gd name="connsiteX99" fmla="*/ 1138452 w 1592490"/>
                  <a:gd name="connsiteY99" fmla="*/ 815416 h 1941092"/>
                  <a:gd name="connsiteX100" fmla="*/ 1127356 w 1592490"/>
                  <a:gd name="connsiteY100" fmla="*/ 774623 h 1941092"/>
                  <a:gd name="connsiteX101" fmla="*/ 1100743 w 1592490"/>
                  <a:gd name="connsiteY101" fmla="*/ 751599 h 1941092"/>
                  <a:gd name="connsiteX102" fmla="*/ 1052439 w 1592490"/>
                  <a:gd name="connsiteY102" fmla="*/ 714811 h 1941092"/>
                  <a:gd name="connsiteX103" fmla="*/ 1012978 w 1592490"/>
                  <a:gd name="connsiteY103" fmla="*/ 707303 h 1941092"/>
                  <a:gd name="connsiteX104" fmla="*/ 971765 w 1592490"/>
                  <a:gd name="connsiteY104" fmla="*/ 721902 h 1941092"/>
                  <a:gd name="connsiteX105" fmla="*/ 938561 w 1592490"/>
                  <a:gd name="connsiteY105" fmla="*/ 709055 h 1941092"/>
                  <a:gd name="connsiteX106" fmla="*/ 930135 w 1592490"/>
                  <a:gd name="connsiteY106" fmla="*/ 645739 h 1941092"/>
                  <a:gd name="connsiteX107" fmla="*/ 923961 w 1592490"/>
                  <a:gd name="connsiteY107" fmla="*/ 599691 h 1941092"/>
                  <a:gd name="connsiteX108" fmla="*/ 942983 w 1592490"/>
                  <a:gd name="connsiteY108" fmla="*/ 563403 h 1941092"/>
                  <a:gd name="connsiteX109" fmla="*/ 960669 w 1592490"/>
                  <a:gd name="connsiteY109" fmla="*/ 526197 h 1941092"/>
                  <a:gd name="connsiteX110" fmla="*/ 984613 w 1592490"/>
                  <a:gd name="connsiteY110" fmla="*/ 487240 h 1941092"/>
                  <a:gd name="connsiteX111" fmla="*/ 1003217 w 1592490"/>
                  <a:gd name="connsiteY111" fmla="*/ 448700 h 1941092"/>
                  <a:gd name="connsiteX112" fmla="*/ 986865 w 1592490"/>
                  <a:gd name="connsiteY112" fmla="*/ 401734 h 1941092"/>
                  <a:gd name="connsiteX113" fmla="*/ 984613 w 1592490"/>
                  <a:gd name="connsiteY113" fmla="*/ 345926 h 1941092"/>
                  <a:gd name="connsiteX114" fmla="*/ 966926 w 1592490"/>
                  <a:gd name="connsiteY114" fmla="*/ 314893 h 1941092"/>
                  <a:gd name="connsiteX115" fmla="*/ 991704 w 1592490"/>
                  <a:gd name="connsiteY115" fmla="*/ 280357 h 1941092"/>
                  <a:gd name="connsiteX116" fmla="*/ 1013812 w 1592490"/>
                  <a:gd name="connsiteY116" fmla="*/ 244069 h 1941092"/>
                  <a:gd name="connsiteX117" fmla="*/ 1064285 w 1592490"/>
                  <a:gd name="connsiteY117" fmla="*/ 230805 h 1941092"/>
                  <a:gd name="connsiteX118" fmla="*/ 1101077 w 1592490"/>
                  <a:gd name="connsiteY118" fmla="*/ 202442 h 1941092"/>
                  <a:gd name="connsiteX119" fmla="*/ 1106416 w 1592490"/>
                  <a:gd name="connsiteY119" fmla="*/ 159898 h 1941092"/>
                  <a:gd name="connsiteX120" fmla="*/ 1111755 w 1592490"/>
                  <a:gd name="connsiteY120" fmla="*/ 135956 h 1941092"/>
                  <a:gd name="connsiteX121" fmla="*/ 1110837 w 1592490"/>
                  <a:gd name="connsiteY121" fmla="*/ 108928 h 1941092"/>
                  <a:gd name="connsiteX122" fmla="*/ 1132946 w 1592490"/>
                  <a:gd name="connsiteY122" fmla="*/ 100502 h 1941092"/>
                  <a:gd name="connsiteX123" fmla="*/ 1141372 w 1592490"/>
                  <a:gd name="connsiteY123" fmla="*/ 132369 h 1941092"/>
                  <a:gd name="connsiteX124" fmla="*/ 1141789 w 1592490"/>
                  <a:gd name="connsiteY124" fmla="*/ 172244 h 1941092"/>
                  <a:gd name="connsiteX125" fmla="*/ 1129358 w 1592490"/>
                  <a:gd name="connsiteY125" fmla="*/ 207197 h 1941092"/>
                  <a:gd name="connsiteX126" fmla="*/ 1119180 w 1592490"/>
                  <a:gd name="connsiteY126" fmla="*/ 233808 h 1941092"/>
                  <a:gd name="connsiteX127" fmla="*/ 1104080 w 1592490"/>
                  <a:gd name="connsiteY127" fmla="*/ 252411 h 1941092"/>
                  <a:gd name="connsiteX128" fmla="*/ 1100576 w 1592490"/>
                  <a:gd name="connsiteY128" fmla="*/ 303798 h 1941092"/>
                  <a:gd name="connsiteX129" fmla="*/ 1106750 w 1592490"/>
                  <a:gd name="connsiteY129" fmla="*/ 369367 h 1941092"/>
                  <a:gd name="connsiteX130" fmla="*/ 1148379 w 1592490"/>
                  <a:gd name="connsiteY130" fmla="*/ 384883 h 1941092"/>
                  <a:gd name="connsiteX131" fmla="*/ 1164314 w 1592490"/>
                  <a:gd name="connsiteY131" fmla="*/ 408324 h 1941092"/>
                  <a:gd name="connsiteX132" fmla="*/ 1178497 w 1592490"/>
                  <a:gd name="connsiteY132" fmla="*/ 402985 h 1941092"/>
                  <a:gd name="connsiteX133" fmla="*/ 1196684 w 1592490"/>
                  <a:gd name="connsiteY133" fmla="*/ 402068 h 1941092"/>
                  <a:gd name="connsiteX134" fmla="*/ 1216206 w 1592490"/>
                  <a:gd name="connsiteY134" fmla="*/ 433100 h 1941092"/>
                  <a:gd name="connsiteX135" fmla="*/ 1268013 w 1592490"/>
                  <a:gd name="connsiteY135" fmla="*/ 459211 h 1941092"/>
                  <a:gd name="connsiteX136" fmla="*/ 1260005 w 1592490"/>
                  <a:gd name="connsiteY136" fmla="*/ 442860 h 1941092"/>
                  <a:gd name="connsiteX137" fmla="*/ 1241818 w 1592490"/>
                  <a:gd name="connsiteY137" fmla="*/ 445112 h 1941092"/>
                  <a:gd name="connsiteX138" fmla="*/ 1247157 w 1592490"/>
                  <a:gd name="connsiteY138" fmla="*/ 425592 h 1941092"/>
                  <a:gd name="connsiteX139" fmla="*/ 1240983 w 1592490"/>
                  <a:gd name="connsiteY139" fmla="*/ 405238 h 1941092"/>
                  <a:gd name="connsiteX140" fmla="*/ 1206028 w 1592490"/>
                  <a:gd name="connsiteY140" fmla="*/ 374706 h 1941092"/>
                  <a:gd name="connsiteX141" fmla="*/ 1144876 w 1592490"/>
                  <a:gd name="connsiteY141" fmla="*/ 317563 h 1941092"/>
                  <a:gd name="connsiteX142" fmla="*/ 1160393 w 1592490"/>
                  <a:gd name="connsiteY142" fmla="*/ 248907 h 1941092"/>
                  <a:gd name="connsiteX143" fmla="*/ 1223714 w 1592490"/>
                  <a:gd name="connsiteY143" fmla="*/ 287448 h 1941092"/>
                  <a:gd name="connsiteX144" fmla="*/ 1252496 w 1592490"/>
                  <a:gd name="connsiteY144" fmla="*/ 256415 h 1941092"/>
                  <a:gd name="connsiteX145" fmla="*/ 1226801 w 1592490"/>
                  <a:gd name="connsiteY145" fmla="*/ 225383 h 1941092"/>
                  <a:gd name="connsiteX146" fmla="*/ 1287953 w 1592490"/>
                  <a:gd name="connsiteY146" fmla="*/ 202359 h 1941092"/>
                  <a:gd name="connsiteX147" fmla="*/ 1293709 w 1592490"/>
                  <a:gd name="connsiteY147" fmla="*/ 233391 h 1941092"/>
                  <a:gd name="connsiteX148" fmla="*/ 1328248 w 1592490"/>
                  <a:gd name="connsiteY148" fmla="*/ 280357 h 1941092"/>
                  <a:gd name="connsiteX149" fmla="*/ 1339343 w 1592490"/>
                  <a:gd name="connsiteY149" fmla="*/ 285696 h 1941092"/>
                  <a:gd name="connsiteX150" fmla="*/ 1364121 w 1592490"/>
                  <a:gd name="connsiteY150" fmla="*/ 310055 h 1941092"/>
                  <a:gd name="connsiteX151" fmla="*/ 1338843 w 1592490"/>
                  <a:gd name="connsiteY151" fmla="*/ 348178 h 1941092"/>
                  <a:gd name="connsiteX152" fmla="*/ 1335756 w 1592490"/>
                  <a:gd name="connsiteY152" fmla="*/ 350430 h 1941092"/>
                  <a:gd name="connsiteX153" fmla="*/ 1299466 w 1592490"/>
                  <a:gd name="connsiteY153" fmla="*/ 395144 h 1941092"/>
                  <a:gd name="connsiteX154" fmla="*/ 1332252 w 1592490"/>
                  <a:gd name="connsiteY154" fmla="*/ 437688 h 1941092"/>
                  <a:gd name="connsiteX155" fmla="*/ 1337592 w 1592490"/>
                  <a:gd name="connsiteY155" fmla="*/ 440775 h 1941092"/>
                  <a:gd name="connsiteX156" fmla="*/ 1363704 w 1592490"/>
                  <a:gd name="connsiteY156" fmla="*/ 528033 h 1941092"/>
                  <a:gd name="connsiteX157" fmla="*/ 1334004 w 1592490"/>
                  <a:gd name="connsiteY157" fmla="*/ 563486 h 1941092"/>
                  <a:gd name="connsiteX158" fmla="*/ 1275522 w 1592490"/>
                  <a:gd name="connsiteY158" fmla="*/ 603361 h 1941092"/>
                  <a:gd name="connsiteX159" fmla="*/ 1245822 w 1592490"/>
                  <a:gd name="connsiteY159" fmla="*/ 662757 h 1941092"/>
                  <a:gd name="connsiteX160" fmla="*/ 1261339 w 1592490"/>
                  <a:gd name="connsiteY160" fmla="*/ 689785 h 1941092"/>
                  <a:gd name="connsiteX161" fmla="*/ 1273270 w 1592490"/>
                  <a:gd name="connsiteY161" fmla="*/ 709305 h 1941092"/>
                  <a:gd name="connsiteX162" fmla="*/ 1314482 w 1592490"/>
                  <a:gd name="connsiteY162" fmla="*/ 749180 h 1941092"/>
                  <a:gd name="connsiteX163" fmla="*/ 1329583 w 1592490"/>
                  <a:gd name="connsiteY163" fmla="*/ 760692 h 1941092"/>
                  <a:gd name="connsiteX164" fmla="*/ 1363287 w 1592490"/>
                  <a:gd name="connsiteY164" fmla="*/ 775791 h 1941092"/>
                  <a:gd name="connsiteX165" fmla="*/ 1380557 w 1592490"/>
                  <a:gd name="connsiteY165" fmla="*/ 768283 h 1941092"/>
                  <a:gd name="connsiteX166" fmla="*/ 1398744 w 1592490"/>
                  <a:gd name="connsiteY166" fmla="*/ 761610 h 1941092"/>
                  <a:gd name="connsiteX167" fmla="*/ 1401830 w 1592490"/>
                  <a:gd name="connsiteY167" fmla="*/ 768283 h 1941092"/>
                  <a:gd name="connsiteX168" fmla="*/ 1403582 w 1592490"/>
                  <a:gd name="connsiteY168" fmla="*/ 776292 h 1941092"/>
                  <a:gd name="connsiteX169" fmla="*/ 1413760 w 1592490"/>
                  <a:gd name="connsiteY169" fmla="*/ 790890 h 1941092"/>
                  <a:gd name="connsiteX170" fmla="*/ 1417765 w 1592490"/>
                  <a:gd name="connsiteY170" fmla="*/ 794394 h 1941092"/>
                  <a:gd name="connsiteX171" fmla="*/ 1422187 w 1592490"/>
                  <a:gd name="connsiteY171" fmla="*/ 797898 h 1941092"/>
                  <a:gd name="connsiteX172" fmla="*/ 1425273 w 1592490"/>
                  <a:gd name="connsiteY172" fmla="*/ 802319 h 1941092"/>
                  <a:gd name="connsiteX173" fmla="*/ 1428360 w 1592490"/>
                  <a:gd name="connsiteY173" fmla="*/ 816084 h 1941092"/>
                  <a:gd name="connsiteX174" fmla="*/ 1431447 w 1592490"/>
                  <a:gd name="connsiteY174" fmla="*/ 830682 h 1941092"/>
                  <a:gd name="connsiteX175" fmla="*/ 1438121 w 1592490"/>
                  <a:gd name="connsiteY175" fmla="*/ 845281 h 1941092"/>
                  <a:gd name="connsiteX176" fmla="*/ 1442125 w 1592490"/>
                  <a:gd name="connsiteY176" fmla="*/ 877147 h 1941092"/>
                  <a:gd name="connsiteX177" fmla="*/ 1438621 w 1592490"/>
                  <a:gd name="connsiteY177" fmla="*/ 881569 h 1941092"/>
                  <a:gd name="connsiteX178" fmla="*/ 1429778 w 1592490"/>
                  <a:gd name="connsiteY178" fmla="*/ 894415 h 1941092"/>
                  <a:gd name="connsiteX179" fmla="*/ 1431113 w 1592490"/>
                  <a:gd name="connsiteY179" fmla="*/ 913936 h 1941092"/>
                  <a:gd name="connsiteX180" fmla="*/ 1432448 w 1592490"/>
                  <a:gd name="connsiteY180" fmla="*/ 919692 h 1941092"/>
                  <a:gd name="connsiteX181" fmla="*/ 1429361 w 1592490"/>
                  <a:gd name="connsiteY181" fmla="*/ 934290 h 1941092"/>
                  <a:gd name="connsiteX182" fmla="*/ 1424522 w 1592490"/>
                  <a:gd name="connsiteY182" fmla="*/ 941798 h 1941092"/>
                  <a:gd name="connsiteX183" fmla="*/ 1421436 w 1592490"/>
                  <a:gd name="connsiteY183" fmla="*/ 946637 h 1941092"/>
                  <a:gd name="connsiteX184" fmla="*/ 1414762 w 1592490"/>
                  <a:gd name="connsiteY184" fmla="*/ 960818 h 1941092"/>
                  <a:gd name="connsiteX185" fmla="*/ 1407253 w 1592490"/>
                  <a:gd name="connsiteY185" fmla="*/ 975000 h 1941092"/>
                  <a:gd name="connsiteX186" fmla="*/ 1393071 w 1592490"/>
                  <a:gd name="connsiteY186" fmla="*/ 983425 h 1941092"/>
                  <a:gd name="connsiteX187" fmla="*/ 1370963 w 1592490"/>
                  <a:gd name="connsiteY187" fmla="*/ 1016626 h 1941092"/>
                  <a:gd name="connsiteX188" fmla="*/ 1381557 w 1592490"/>
                  <a:gd name="connsiteY188" fmla="*/ 1041903 h 1941092"/>
                  <a:gd name="connsiteX189" fmla="*/ 1389567 w 1592490"/>
                  <a:gd name="connsiteY189" fmla="*/ 1074270 h 1941092"/>
                  <a:gd name="connsiteX190" fmla="*/ 1387314 w 1592490"/>
                  <a:gd name="connsiteY190" fmla="*/ 1084030 h 1941092"/>
                  <a:gd name="connsiteX191" fmla="*/ 1392153 w 1592490"/>
                  <a:gd name="connsiteY191" fmla="*/ 1134499 h 1941092"/>
                  <a:gd name="connsiteX192" fmla="*/ 1409839 w 1592490"/>
                  <a:gd name="connsiteY192" fmla="*/ 1155772 h 1941092"/>
                  <a:gd name="connsiteX193" fmla="*/ 1432865 w 1592490"/>
                  <a:gd name="connsiteY193" fmla="*/ 1187639 h 1941092"/>
                  <a:gd name="connsiteX194" fmla="*/ 1435118 w 1592490"/>
                  <a:gd name="connsiteY194" fmla="*/ 1213332 h 1941092"/>
                  <a:gd name="connsiteX195" fmla="*/ 1431113 w 1592490"/>
                  <a:gd name="connsiteY195" fmla="*/ 1223092 h 1941092"/>
                  <a:gd name="connsiteX196" fmla="*/ 1426274 w 1592490"/>
                  <a:gd name="connsiteY196" fmla="*/ 1245199 h 1941092"/>
                  <a:gd name="connsiteX197" fmla="*/ 1436035 w 1592490"/>
                  <a:gd name="connsiteY197" fmla="*/ 1264719 h 1941092"/>
                  <a:gd name="connsiteX198" fmla="*/ 1442209 w 1592490"/>
                  <a:gd name="connsiteY198" fmla="*/ 1274896 h 1941092"/>
                  <a:gd name="connsiteX199" fmla="*/ 1441291 w 1592490"/>
                  <a:gd name="connsiteY199" fmla="*/ 1301007 h 1941092"/>
                  <a:gd name="connsiteX200" fmla="*/ 1440874 w 1592490"/>
                  <a:gd name="connsiteY200" fmla="*/ 1303259 h 1941092"/>
                  <a:gd name="connsiteX201" fmla="*/ 1473244 w 1592490"/>
                  <a:gd name="connsiteY201" fmla="*/ 1372331 h 1941092"/>
                  <a:gd name="connsiteX202" fmla="*/ 1502443 w 1592490"/>
                  <a:gd name="connsiteY202" fmla="*/ 1402863 h 1941092"/>
                  <a:gd name="connsiteX203" fmla="*/ 1501108 w 1592490"/>
                  <a:gd name="connsiteY203" fmla="*/ 1455168 h 1941092"/>
                  <a:gd name="connsiteX204" fmla="*/ 1499356 w 1592490"/>
                  <a:gd name="connsiteY204" fmla="*/ 1458672 h 1941092"/>
                  <a:gd name="connsiteX205" fmla="*/ 1496687 w 1592490"/>
                  <a:gd name="connsiteY205" fmla="*/ 1516732 h 1941092"/>
                  <a:gd name="connsiteX206" fmla="*/ 1510869 w 1592490"/>
                  <a:gd name="connsiteY206" fmla="*/ 1518985 h 1941092"/>
                  <a:gd name="connsiteX207" fmla="*/ 1514874 w 1592490"/>
                  <a:gd name="connsiteY207" fmla="*/ 1518568 h 1941092"/>
                  <a:gd name="connsiteX208" fmla="*/ 1534396 w 1592490"/>
                  <a:gd name="connsiteY208" fmla="*/ 1528328 h 1941092"/>
                  <a:gd name="connsiteX209" fmla="*/ 1560508 w 1592490"/>
                  <a:gd name="connsiteY209" fmla="*/ 1541174 h 1941092"/>
                  <a:gd name="connsiteX210" fmla="*/ 1571103 w 1592490"/>
                  <a:gd name="connsiteY210" fmla="*/ 1540257 h 1941092"/>
                  <a:gd name="connsiteX211" fmla="*/ 1583951 w 1592490"/>
                  <a:gd name="connsiteY211" fmla="*/ 1542009 h 1941092"/>
                  <a:gd name="connsiteX212" fmla="*/ 1590625 w 1592490"/>
                  <a:gd name="connsiteY212" fmla="*/ 1573041 h 1941092"/>
                  <a:gd name="connsiteX213" fmla="*/ 1590625 w 1592490"/>
                  <a:gd name="connsiteY213" fmla="*/ 1581467 h 1941092"/>
                  <a:gd name="connsiteX214" fmla="*/ 1591543 w 1592490"/>
                  <a:gd name="connsiteY214" fmla="*/ 1596065 h 1941092"/>
                  <a:gd name="connsiteX215" fmla="*/ 1587121 w 1592490"/>
                  <a:gd name="connsiteY215" fmla="*/ 1649705 h 1941092"/>
                  <a:gd name="connsiteX216" fmla="*/ 1568934 w 1592490"/>
                  <a:gd name="connsiteY216" fmla="*/ 1670059 h 1941092"/>
                  <a:gd name="connsiteX217" fmla="*/ 1548578 w 1592490"/>
                  <a:gd name="connsiteY217" fmla="*/ 1690414 h 1941092"/>
                  <a:gd name="connsiteX218" fmla="*/ 1540569 w 1592490"/>
                  <a:gd name="connsiteY218" fmla="*/ 1701509 h 1941092"/>
                  <a:gd name="connsiteX219" fmla="*/ 1528639 w 1592490"/>
                  <a:gd name="connsiteY219" fmla="*/ 1753313 h 1941092"/>
                  <a:gd name="connsiteX220" fmla="*/ 1540569 w 1592490"/>
                  <a:gd name="connsiteY220" fmla="*/ 1768829 h 1941092"/>
                  <a:gd name="connsiteX221" fmla="*/ 1548995 w 1592490"/>
                  <a:gd name="connsiteY221" fmla="*/ 1794523 h 1941092"/>
                  <a:gd name="connsiteX222" fmla="*/ 1547660 w 1592490"/>
                  <a:gd name="connsiteY222" fmla="*/ 1810456 h 1941092"/>
                  <a:gd name="connsiteX223" fmla="*/ 1545908 w 1592490"/>
                  <a:gd name="connsiteY223" fmla="*/ 1828642 h 1941092"/>
                  <a:gd name="connsiteX224" fmla="*/ 1530391 w 1592490"/>
                  <a:gd name="connsiteY224" fmla="*/ 1854335 h 1941092"/>
                  <a:gd name="connsiteX225" fmla="*/ 1527721 w 1592490"/>
                  <a:gd name="connsiteY225" fmla="*/ 1857839 h 1941092"/>
                  <a:gd name="connsiteX226" fmla="*/ 1509117 w 1592490"/>
                  <a:gd name="connsiteY226" fmla="*/ 1883950 h 1941092"/>
                  <a:gd name="connsiteX227" fmla="*/ 1489595 w 1592490"/>
                  <a:gd name="connsiteY227" fmla="*/ 1911395 h 1941092"/>
                  <a:gd name="connsiteX228" fmla="*/ 1480752 w 1592490"/>
                  <a:gd name="connsiteY228" fmla="*/ 1921155 h 1941092"/>
                  <a:gd name="connsiteX229" fmla="*/ 1464401 w 1592490"/>
                  <a:gd name="connsiteY229" fmla="*/ 1941093 h 1941092"/>
                  <a:gd name="connsiteX230" fmla="*/ 1460896 w 1592490"/>
                  <a:gd name="connsiteY230" fmla="*/ 1937589 h 1941092"/>
                  <a:gd name="connsiteX231" fmla="*/ 1452470 w 1592490"/>
                  <a:gd name="connsiteY231" fmla="*/ 1925159 h 1941092"/>
                  <a:gd name="connsiteX232" fmla="*/ 1421936 w 1592490"/>
                  <a:gd name="connsiteY232" fmla="*/ 1898131 h 1941092"/>
                  <a:gd name="connsiteX233" fmla="*/ 1402414 w 1592490"/>
                  <a:gd name="connsiteY233" fmla="*/ 1895879 h 1941092"/>
                  <a:gd name="connsiteX234" fmla="*/ 1381557 w 1592490"/>
                  <a:gd name="connsiteY234" fmla="*/ 1892792 h 1941092"/>
                  <a:gd name="connsiteX235" fmla="*/ 1353610 w 1592490"/>
                  <a:gd name="connsiteY235" fmla="*/ 1871937 h 1941092"/>
                  <a:gd name="connsiteX236" fmla="*/ 1343432 w 1592490"/>
                  <a:gd name="connsiteY236" fmla="*/ 1862177 h 1941092"/>
                  <a:gd name="connsiteX237" fmla="*/ 1287202 w 1592490"/>
                  <a:gd name="connsiteY237" fmla="*/ 1844909 h 1941092"/>
                  <a:gd name="connsiteX238" fmla="*/ 1247741 w 1592490"/>
                  <a:gd name="connsiteY238" fmla="*/ 1823636 h 1941092"/>
                  <a:gd name="connsiteX239" fmla="*/ 1238397 w 1592490"/>
                  <a:gd name="connsiteY239" fmla="*/ 1808537 h 1941092"/>
                  <a:gd name="connsiteX240" fmla="*/ 1199437 w 1592490"/>
                  <a:gd name="connsiteY240" fmla="*/ 1769997 h 1941092"/>
                  <a:gd name="connsiteX241" fmla="*/ 1171072 w 1592490"/>
                  <a:gd name="connsiteY241" fmla="*/ 1786348 h 1941092"/>
                  <a:gd name="connsiteX242" fmla="*/ 1147128 w 1592490"/>
                  <a:gd name="connsiteY242" fmla="*/ 1807620 h 1941092"/>
                  <a:gd name="connsiteX243" fmla="*/ 1137367 w 1592490"/>
                  <a:gd name="connsiteY243" fmla="*/ 1814711 h 1941092"/>
                  <a:gd name="connsiteX244" fmla="*/ 1131193 w 1592490"/>
                  <a:gd name="connsiteY244" fmla="*/ 1819549 h 1941092"/>
                  <a:gd name="connsiteX245" fmla="*/ 1087311 w 1592490"/>
                  <a:gd name="connsiteY245" fmla="*/ 1839486 h 1941092"/>
                  <a:gd name="connsiteX246" fmla="*/ 1043429 w 1592490"/>
                  <a:gd name="connsiteY246" fmla="*/ 1841739 h 1941092"/>
                  <a:gd name="connsiteX247" fmla="*/ 1021738 w 1592490"/>
                  <a:gd name="connsiteY247" fmla="*/ 1842657 h 1941092"/>
                  <a:gd name="connsiteX248" fmla="*/ 973434 w 1592490"/>
                  <a:gd name="connsiteY248" fmla="*/ 1827140 h 1941092"/>
                  <a:gd name="connsiteX249" fmla="*/ 931386 w 1592490"/>
                  <a:gd name="connsiteY249" fmla="*/ 1777088 h 1941092"/>
                  <a:gd name="connsiteX250" fmla="*/ 883583 w 1592490"/>
                  <a:gd name="connsiteY250" fmla="*/ 1743386 h 1941092"/>
                  <a:gd name="connsiteX251" fmla="*/ 859639 w 1592490"/>
                  <a:gd name="connsiteY251" fmla="*/ 1729205 h 1941092"/>
                  <a:gd name="connsiteX252" fmla="*/ 843705 w 1592490"/>
                  <a:gd name="connsiteY252" fmla="*/ 1717275 h 1941092"/>
                  <a:gd name="connsiteX253" fmla="*/ 798988 w 1592490"/>
                  <a:gd name="connsiteY253" fmla="*/ 1708433 h 1941092"/>
                  <a:gd name="connsiteX254" fmla="*/ 776880 w 1592490"/>
                  <a:gd name="connsiteY254" fmla="*/ 1707098 h 1941092"/>
                  <a:gd name="connsiteX255" fmla="*/ 734833 w 1592490"/>
                  <a:gd name="connsiteY255" fmla="*/ 1687577 h 1941092"/>
                  <a:gd name="connsiteX256" fmla="*/ 700711 w 1592490"/>
                  <a:gd name="connsiteY256" fmla="*/ 1671227 h 1941092"/>
                  <a:gd name="connsiteX257" fmla="*/ 684360 w 1592490"/>
                  <a:gd name="connsiteY257" fmla="*/ 1664554 h 1941092"/>
                  <a:gd name="connsiteX258" fmla="*/ 668008 w 1592490"/>
                  <a:gd name="connsiteY258" fmla="*/ 1646368 h 1941092"/>
                  <a:gd name="connsiteX259" fmla="*/ 655160 w 1592490"/>
                  <a:gd name="connsiteY259" fmla="*/ 1626847 h 1941092"/>
                  <a:gd name="connsiteX260" fmla="*/ 612613 w 1592490"/>
                  <a:gd name="connsiteY260" fmla="*/ 1624178 h 1941092"/>
                  <a:gd name="connsiteX261" fmla="*/ 605104 w 1592490"/>
                  <a:gd name="connsiteY261" fmla="*/ 1627265 h 1941092"/>
                  <a:gd name="connsiteX262" fmla="*/ 562556 w 1592490"/>
                  <a:gd name="connsiteY262" fmla="*/ 1625012 h 1941092"/>
                  <a:gd name="connsiteX263" fmla="*/ 552795 w 1592490"/>
                  <a:gd name="connsiteY263" fmla="*/ 1593146 h 1941092"/>
                  <a:gd name="connsiteX264" fmla="*/ 553713 w 1592490"/>
                  <a:gd name="connsiteY264" fmla="*/ 1580716 h 1941092"/>
                  <a:gd name="connsiteX265" fmla="*/ 526683 w 1592490"/>
                  <a:gd name="connsiteY265" fmla="*/ 1532415 h 1941092"/>
                  <a:gd name="connsiteX266" fmla="*/ 512500 w 1592490"/>
                  <a:gd name="connsiteY266" fmla="*/ 1492958 h 1941092"/>
                  <a:gd name="connsiteX267" fmla="*/ 518674 w 1592490"/>
                  <a:gd name="connsiteY267" fmla="*/ 1478776 h 1941092"/>
                  <a:gd name="connsiteX268" fmla="*/ 522178 w 1592490"/>
                  <a:gd name="connsiteY268" fmla="*/ 1441988 h 1941092"/>
                  <a:gd name="connsiteX269" fmla="*/ 481883 w 1592490"/>
                  <a:gd name="connsiteY269" fmla="*/ 1407869 h 1941092"/>
                  <a:gd name="connsiteX270" fmla="*/ 475208 w 1592490"/>
                  <a:gd name="connsiteY270" fmla="*/ 1404365 h 1941092"/>
                  <a:gd name="connsiteX271" fmla="*/ 459691 w 1592490"/>
                  <a:gd name="connsiteY271" fmla="*/ 1394188 h 1941092"/>
                  <a:gd name="connsiteX272" fmla="*/ 422065 w 1592490"/>
                  <a:gd name="connsiteY272" fmla="*/ 1373833 h 1941092"/>
                  <a:gd name="connsiteX273" fmla="*/ 387944 w 1592490"/>
                  <a:gd name="connsiteY273" fmla="*/ 1384928 h 1941092"/>
                  <a:gd name="connsiteX274" fmla="*/ 376431 w 1592490"/>
                  <a:gd name="connsiteY274" fmla="*/ 1393771 h 1941092"/>
                  <a:gd name="connsiteX275" fmla="*/ 368923 w 1592490"/>
                  <a:gd name="connsiteY275" fmla="*/ 1392436 h 1941092"/>
                  <a:gd name="connsiteX276" fmla="*/ 359162 w 1592490"/>
                  <a:gd name="connsiteY276" fmla="*/ 1389766 h 1941092"/>
                  <a:gd name="connsiteX277" fmla="*/ 336553 w 1592490"/>
                  <a:gd name="connsiteY277" fmla="*/ 1394188 h 1941092"/>
                  <a:gd name="connsiteX278" fmla="*/ 329044 w 1592490"/>
                  <a:gd name="connsiteY278" fmla="*/ 1396857 h 1941092"/>
                  <a:gd name="connsiteX279" fmla="*/ 283827 w 1592490"/>
                  <a:gd name="connsiteY279" fmla="*/ 1395940 h 1941092"/>
                  <a:gd name="connsiteX280" fmla="*/ 259884 w 1592490"/>
                  <a:gd name="connsiteY280" fmla="*/ 1364490 h 1941092"/>
                  <a:gd name="connsiteX281" fmla="*/ 262553 w 1592490"/>
                  <a:gd name="connsiteY281" fmla="*/ 1344970 h 1941092"/>
                  <a:gd name="connsiteX282" fmla="*/ 248788 w 1592490"/>
                  <a:gd name="connsiteY282" fmla="*/ 1304177 h 1941092"/>
                  <a:gd name="connsiteX283" fmla="*/ 235940 w 1592490"/>
                  <a:gd name="connsiteY283" fmla="*/ 1295752 h 1941092"/>
                  <a:gd name="connsiteX284" fmla="*/ 176123 w 1592490"/>
                  <a:gd name="connsiteY284" fmla="*/ 1267806 h 1941092"/>
                  <a:gd name="connsiteX285" fmla="*/ 135828 w 1592490"/>
                  <a:gd name="connsiteY285" fmla="*/ 1270892 h 1941092"/>
                  <a:gd name="connsiteX286" fmla="*/ 110132 w 1592490"/>
                  <a:gd name="connsiteY286" fmla="*/ 1273979 h 1941092"/>
                  <a:gd name="connsiteX287" fmla="*/ 99955 w 1592490"/>
                  <a:gd name="connsiteY287" fmla="*/ 1274896 h 1941092"/>
                  <a:gd name="connsiteX288" fmla="*/ 37968 w 1592490"/>
                  <a:gd name="connsiteY288" fmla="*/ 1266888 h 1941092"/>
                  <a:gd name="connsiteX289" fmla="*/ 31294 w 1592490"/>
                  <a:gd name="connsiteY289" fmla="*/ 1249620 h 1941092"/>
                  <a:gd name="connsiteX290" fmla="*/ 10020 w 1592490"/>
                  <a:gd name="connsiteY290" fmla="*/ 1219088 h 1941092"/>
                  <a:gd name="connsiteX291" fmla="*/ 3346 w 1592490"/>
                  <a:gd name="connsiteY291" fmla="*/ 1216836 h 1941092"/>
                  <a:gd name="connsiteX292" fmla="*/ 1094 w 1592490"/>
                  <a:gd name="connsiteY292" fmla="*/ 1215918 h 1941092"/>
                  <a:gd name="connsiteX293" fmla="*/ 176 w 1592490"/>
                  <a:gd name="connsiteY293" fmla="*/ 1212415 h 1941092"/>
                  <a:gd name="connsiteX294" fmla="*/ 8185 w 1592490"/>
                  <a:gd name="connsiteY294" fmla="*/ 1197816 h 1941092"/>
                  <a:gd name="connsiteX295" fmla="*/ 15276 w 1592490"/>
                  <a:gd name="connsiteY295" fmla="*/ 1190308 h 1941092"/>
                  <a:gd name="connsiteX296" fmla="*/ 28124 w 1592490"/>
                  <a:gd name="connsiteY296" fmla="*/ 1155772 h 1941092"/>
                  <a:gd name="connsiteX297" fmla="*/ 34298 w 1592490"/>
                  <a:gd name="connsiteY297" fmla="*/ 1133665 h 1941092"/>
                  <a:gd name="connsiteX298" fmla="*/ 39136 w 1592490"/>
                  <a:gd name="connsiteY298" fmla="*/ 1125240 h 1941092"/>
                  <a:gd name="connsiteX299" fmla="*/ 48480 w 1592490"/>
                  <a:gd name="connsiteY299" fmla="*/ 1103968 h 1941092"/>
                  <a:gd name="connsiteX300" fmla="*/ 42724 w 1592490"/>
                  <a:gd name="connsiteY300" fmla="*/ 1078274 h 1941092"/>
                  <a:gd name="connsiteX301" fmla="*/ 38302 w 1592490"/>
                  <a:gd name="connsiteY301" fmla="*/ 1065427 h 1941092"/>
                  <a:gd name="connsiteX302" fmla="*/ 34798 w 1592490"/>
                  <a:gd name="connsiteY302" fmla="*/ 1019379 h 1941092"/>
                  <a:gd name="connsiteX303" fmla="*/ 40555 w 1592490"/>
                  <a:gd name="connsiteY303" fmla="*/ 1018462 h 1941092"/>
                  <a:gd name="connsiteX304" fmla="*/ 77763 w 1592490"/>
                  <a:gd name="connsiteY304" fmla="*/ 1010036 h 1941092"/>
                  <a:gd name="connsiteX305" fmla="*/ 113219 w 1592490"/>
                  <a:gd name="connsiteY305" fmla="*/ 979921 h 1941092"/>
                  <a:gd name="connsiteX306" fmla="*/ 136245 w 1592490"/>
                  <a:gd name="connsiteY306" fmla="*/ 956480 h 1941092"/>
                  <a:gd name="connsiteX307" fmla="*/ 229683 w 1592490"/>
                  <a:gd name="connsiteY307" fmla="*/ 922361 h 1941092"/>
                  <a:gd name="connsiteX308" fmla="*/ 238526 w 1592490"/>
                  <a:gd name="connsiteY308" fmla="*/ 921026 h 1941092"/>
                  <a:gd name="connsiteX309" fmla="*/ 284578 w 1592490"/>
                  <a:gd name="connsiteY309" fmla="*/ 907262 h 1941092"/>
                  <a:gd name="connsiteX310" fmla="*/ 300513 w 1592490"/>
                  <a:gd name="connsiteY310" fmla="*/ 890912 h 1941092"/>
                  <a:gd name="connsiteX311" fmla="*/ 312443 w 1592490"/>
                  <a:gd name="connsiteY311" fmla="*/ 878065 h 1941092"/>
                  <a:gd name="connsiteX312" fmla="*/ 340391 w 1592490"/>
                  <a:gd name="connsiteY312" fmla="*/ 864801 h 1941092"/>
                  <a:gd name="connsiteX313" fmla="*/ 390030 w 1592490"/>
                  <a:gd name="connsiteY313" fmla="*/ 827178 h 1941092"/>
                  <a:gd name="connsiteX314" fmla="*/ 390947 w 1592490"/>
                  <a:gd name="connsiteY314" fmla="*/ 818336 h 1941092"/>
                  <a:gd name="connsiteX315" fmla="*/ 393617 w 1592490"/>
                  <a:gd name="connsiteY315" fmla="*/ 811245 h 1941092"/>
                  <a:gd name="connsiteX316" fmla="*/ 396704 w 1592490"/>
                  <a:gd name="connsiteY316" fmla="*/ 807742 h 1941092"/>
                  <a:gd name="connsiteX317" fmla="*/ 403378 w 1592490"/>
                  <a:gd name="connsiteY317" fmla="*/ 797981 h 1941092"/>
                  <a:gd name="connsiteX318" fmla="*/ 398039 w 1592490"/>
                  <a:gd name="connsiteY318" fmla="*/ 750599 h 1941092"/>
                  <a:gd name="connsiteX319" fmla="*/ 383856 w 1592490"/>
                  <a:gd name="connsiteY319" fmla="*/ 743925 h 1941092"/>
                  <a:gd name="connsiteX320" fmla="*/ 374095 w 1592490"/>
                  <a:gd name="connsiteY320" fmla="*/ 739086 h 1941092"/>
                  <a:gd name="connsiteX321" fmla="*/ 382938 w 1592490"/>
                  <a:gd name="connsiteY321" fmla="*/ 709389 h 1941092"/>
                  <a:gd name="connsiteX322" fmla="*/ 383856 w 1592490"/>
                  <a:gd name="connsiteY322" fmla="*/ 707637 h 1941092"/>
                  <a:gd name="connsiteX323" fmla="*/ 395786 w 1592490"/>
                  <a:gd name="connsiteY323" fmla="*/ 690369 h 1941092"/>
                  <a:gd name="connsiteX324" fmla="*/ 404629 w 1592490"/>
                  <a:gd name="connsiteY324" fmla="*/ 677939 h 1941092"/>
                  <a:gd name="connsiteX325" fmla="*/ 412638 w 1592490"/>
                  <a:gd name="connsiteY325" fmla="*/ 665093 h 1941092"/>
                  <a:gd name="connsiteX326" fmla="*/ 419730 w 1592490"/>
                  <a:gd name="connsiteY326" fmla="*/ 619461 h 1941092"/>
                  <a:gd name="connsiteX327" fmla="*/ 397621 w 1592490"/>
                  <a:gd name="connsiteY327" fmla="*/ 584008 h 1941092"/>
                  <a:gd name="connsiteX328" fmla="*/ 394535 w 1592490"/>
                  <a:gd name="connsiteY328" fmla="*/ 581755 h 1941092"/>
                  <a:gd name="connsiteX329" fmla="*/ 384357 w 1592490"/>
                  <a:gd name="connsiteY329" fmla="*/ 567157 h 1941092"/>
                  <a:gd name="connsiteX330" fmla="*/ 404296 w 1592490"/>
                  <a:gd name="connsiteY330" fmla="*/ 548137 h 1941092"/>
                  <a:gd name="connsiteX331" fmla="*/ 414140 w 1592490"/>
                  <a:gd name="connsiteY331" fmla="*/ 544633 h 1941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</a:cxnLst>
                <a:rect l="l" t="t" r="r" b="b"/>
                <a:pathLst>
                  <a:path w="1592490" h="1941092" extrusionOk="0">
                    <a:moveTo>
                      <a:pt x="414140" y="544633"/>
                    </a:moveTo>
                    <a:cubicBezTo>
                      <a:pt x="417227" y="541964"/>
                      <a:pt x="420814" y="539294"/>
                      <a:pt x="424318" y="536625"/>
                    </a:cubicBezTo>
                    <a:cubicBezTo>
                      <a:pt x="427405" y="539294"/>
                      <a:pt x="430492" y="541964"/>
                      <a:pt x="434079" y="544133"/>
                    </a:cubicBezTo>
                    <a:cubicBezTo>
                      <a:pt x="442505" y="550806"/>
                      <a:pt x="450430" y="558731"/>
                      <a:pt x="455770" y="568074"/>
                    </a:cubicBezTo>
                    <a:cubicBezTo>
                      <a:pt x="462861" y="580504"/>
                      <a:pt x="467283" y="591515"/>
                      <a:pt x="477878" y="603028"/>
                    </a:cubicBezTo>
                    <a:cubicBezTo>
                      <a:pt x="488974" y="614957"/>
                      <a:pt x="503156" y="622965"/>
                      <a:pt x="508913" y="638898"/>
                    </a:cubicBezTo>
                    <a:cubicBezTo>
                      <a:pt x="515086" y="657501"/>
                      <a:pt x="517756" y="676521"/>
                      <a:pt x="527100" y="694290"/>
                    </a:cubicBezTo>
                    <a:cubicBezTo>
                      <a:pt x="533274" y="705384"/>
                      <a:pt x="546622" y="712892"/>
                      <a:pt x="548374" y="725739"/>
                    </a:cubicBezTo>
                    <a:cubicBezTo>
                      <a:pt x="549291" y="733247"/>
                      <a:pt x="543535" y="739920"/>
                      <a:pt x="550126" y="747428"/>
                    </a:cubicBezTo>
                    <a:cubicBezTo>
                      <a:pt x="555465" y="754102"/>
                      <a:pt x="561222" y="753602"/>
                      <a:pt x="568313" y="749681"/>
                    </a:cubicBezTo>
                    <a:cubicBezTo>
                      <a:pt x="579408" y="742590"/>
                      <a:pt x="587835" y="722236"/>
                      <a:pt x="596261" y="712058"/>
                    </a:cubicBezTo>
                    <a:cubicBezTo>
                      <a:pt x="608191" y="698294"/>
                      <a:pt x="618870" y="685030"/>
                      <a:pt x="623291" y="666844"/>
                    </a:cubicBezTo>
                    <a:cubicBezTo>
                      <a:pt x="629465" y="643403"/>
                      <a:pt x="611778" y="656250"/>
                      <a:pt x="600682" y="644738"/>
                    </a:cubicBezTo>
                    <a:cubicBezTo>
                      <a:pt x="593174" y="636730"/>
                      <a:pt x="592256" y="612371"/>
                      <a:pt x="591339" y="601776"/>
                    </a:cubicBezTo>
                    <a:cubicBezTo>
                      <a:pt x="590922" y="594268"/>
                      <a:pt x="590004" y="584091"/>
                      <a:pt x="592256" y="576500"/>
                    </a:cubicBezTo>
                    <a:cubicBezTo>
                      <a:pt x="594509" y="569826"/>
                      <a:pt x="602434" y="565905"/>
                      <a:pt x="603769" y="561401"/>
                    </a:cubicBezTo>
                    <a:cubicBezTo>
                      <a:pt x="607273" y="549472"/>
                      <a:pt x="596261" y="542381"/>
                      <a:pt x="587418" y="534790"/>
                    </a:cubicBezTo>
                    <a:cubicBezTo>
                      <a:pt x="578991" y="527699"/>
                      <a:pt x="572317" y="516604"/>
                      <a:pt x="563974" y="510431"/>
                    </a:cubicBezTo>
                    <a:cubicBezTo>
                      <a:pt x="550209" y="499336"/>
                      <a:pt x="542701" y="519273"/>
                      <a:pt x="533440" y="512183"/>
                    </a:cubicBezTo>
                    <a:cubicBezTo>
                      <a:pt x="526766" y="506844"/>
                      <a:pt x="533023" y="490910"/>
                      <a:pt x="535693" y="484737"/>
                    </a:cubicBezTo>
                    <a:cubicBezTo>
                      <a:pt x="539697" y="474560"/>
                      <a:pt x="548541" y="457292"/>
                      <a:pt x="558719" y="451536"/>
                    </a:cubicBezTo>
                    <a:cubicBezTo>
                      <a:pt x="573318" y="443528"/>
                      <a:pt x="585332" y="451953"/>
                      <a:pt x="588419" y="428929"/>
                    </a:cubicBezTo>
                    <a:cubicBezTo>
                      <a:pt x="589753" y="418752"/>
                      <a:pt x="587084" y="410743"/>
                      <a:pt x="592840" y="400983"/>
                    </a:cubicBezTo>
                    <a:cubicBezTo>
                      <a:pt x="596344" y="395227"/>
                      <a:pt x="602601" y="392140"/>
                      <a:pt x="605688" y="386384"/>
                    </a:cubicBezTo>
                    <a:cubicBezTo>
                      <a:pt x="609192" y="378877"/>
                      <a:pt x="608775" y="370451"/>
                      <a:pt x="611444" y="362443"/>
                    </a:cubicBezTo>
                    <a:cubicBezTo>
                      <a:pt x="614114" y="354017"/>
                      <a:pt x="620788" y="350013"/>
                      <a:pt x="624292" y="342922"/>
                    </a:cubicBezTo>
                    <a:cubicBezTo>
                      <a:pt x="629131" y="333162"/>
                      <a:pt x="627796" y="340253"/>
                      <a:pt x="625627" y="331410"/>
                    </a:cubicBezTo>
                    <a:cubicBezTo>
                      <a:pt x="625210" y="331410"/>
                      <a:pt x="618953" y="318564"/>
                      <a:pt x="618953" y="317229"/>
                    </a:cubicBezTo>
                    <a:cubicBezTo>
                      <a:pt x="610944" y="312391"/>
                      <a:pt x="595510" y="322985"/>
                      <a:pt x="595009" y="307052"/>
                    </a:cubicBezTo>
                    <a:cubicBezTo>
                      <a:pt x="594592" y="297291"/>
                      <a:pt x="610527" y="285779"/>
                      <a:pt x="612696" y="276019"/>
                    </a:cubicBezTo>
                    <a:cubicBezTo>
                      <a:pt x="614448" y="268928"/>
                      <a:pt x="610443" y="266676"/>
                      <a:pt x="615783" y="258751"/>
                    </a:cubicBezTo>
                    <a:cubicBezTo>
                      <a:pt x="619287" y="253412"/>
                      <a:pt x="627295" y="246322"/>
                      <a:pt x="633052" y="242818"/>
                    </a:cubicBezTo>
                    <a:cubicBezTo>
                      <a:pt x="646818" y="233975"/>
                      <a:pt x="664504" y="233475"/>
                      <a:pt x="679104" y="226467"/>
                    </a:cubicBezTo>
                    <a:cubicBezTo>
                      <a:pt x="695455" y="218459"/>
                      <a:pt x="714560" y="210117"/>
                      <a:pt x="727408" y="196770"/>
                    </a:cubicBezTo>
                    <a:cubicBezTo>
                      <a:pt x="750016" y="173746"/>
                      <a:pt x="768621" y="135622"/>
                      <a:pt x="781886" y="106842"/>
                    </a:cubicBezTo>
                    <a:cubicBezTo>
                      <a:pt x="789895" y="89991"/>
                      <a:pt x="800490" y="74976"/>
                      <a:pt x="805829" y="57207"/>
                    </a:cubicBezTo>
                    <a:cubicBezTo>
                      <a:pt x="810668" y="40857"/>
                      <a:pt x="815590" y="37687"/>
                      <a:pt x="828438" y="28010"/>
                    </a:cubicBezTo>
                    <a:cubicBezTo>
                      <a:pt x="836447" y="21837"/>
                      <a:pt x="840868" y="1899"/>
                      <a:pt x="850546" y="64"/>
                    </a:cubicBezTo>
                    <a:cubicBezTo>
                      <a:pt x="858972" y="-1271"/>
                      <a:pt x="872654" y="18667"/>
                      <a:pt x="880663" y="22170"/>
                    </a:cubicBezTo>
                    <a:cubicBezTo>
                      <a:pt x="900185" y="31514"/>
                      <a:pt x="921876" y="27009"/>
                      <a:pt x="940897" y="35017"/>
                    </a:cubicBezTo>
                    <a:cubicBezTo>
                      <a:pt x="951993" y="39439"/>
                      <a:pt x="953745" y="49616"/>
                      <a:pt x="962588" y="57207"/>
                    </a:cubicBezTo>
                    <a:cubicBezTo>
                      <a:pt x="973183" y="66967"/>
                      <a:pt x="990536" y="63380"/>
                      <a:pt x="999379" y="75393"/>
                    </a:cubicBezTo>
                    <a:cubicBezTo>
                      <a:pt x="1009974" y="89157"/>
                      <a:pt x="1000714" y="107259"/>
                      <a:pt x="998462" y="122359"/>
                    </a:cubicBezTo>
                    <a:cubicBezTo>
                      <a:pt x="993122" y="158646"/>
                      <a:pt x="980775" y="193683"/>
                      <a:pt x="955914" y="221128"/>
                    </a:cubicBezTo>
                    <a:cubicBezTo>
                      <a:pt x="946570" y="231306"/>
                      <a:pt x="944818" y="244153"/>
                      <a:pt x="935975" y="254830"/>
                    </a:cubicBezTo>
                    <a:cubicBezTo>
                      <a:pt x="927966" y="264591"/>
                      <a:pt x="916453" y="270346"/>
                      <a:pt x="909862" y="280524"/>
                    </a:cubicBezTo>
                    <a:cubicBezTo>
                      <a:pt x="888588" y="311973"/>
                      <a:pt x="928883" y="327072"/>
                      <a:pt x="929801" y="356687"/>
                    </a:cubicBezTo>
                    <a:cubicBezTo>
                      <a:pt x="930719" y="390389"/>
                      <a:pt x="926297" y="425342"/>
                      <a:pt x="912115" y="456791"/>
                    </a:cubicBezTo>
                    <a:cubicBezTo>
                      <a:pt x="905941" y="470055"/>
                      <a:pt x="892176" y="477646"/>
                      <a:pt x="887337" y="491745"/>
                    </a:cubicBezTo>
                    <a:cubicBezTo>
                      <a:pt x="882498" y="505843"/>
                      <a:pt x="883333" y="524946"/>
                      <a:pt x="882498" y="539545"/>
                    </a:cubicBezTo>
                    <a:cubicBezTo>
                      <a:pt x="881163" y="561234"/>
                      <a:pt x="875407" y="580337"/>
                      <a:pt x="868733" y="601109"/>
                    </a:cubicBezTo>
                    <a:cubicBezTo>
                      <a:pt x="863393" y="617042"/>
                      <a:pt x="862559" y="635645"/>
                      <a:pt x="854968" y="649827"/>
                    </a:cubicBezTo>
                    <a:cubicBezTo>
                      <a:pt x="847459" y="664008"/>
                      <a:pt x="834111" y="671933"/>
                      <a:pt x="832359" y="689284"/>
                    </a:cubicBezTo>
                    <a:cubicBezTo>
                      <a:pt x="830607" y="705635"/>
                      <a:pt x="837698" y="723820"/>
                      <a:pt x="846958" y="737084"/>
                    </a:cubicBezTo>
                    <a:cubicBezTo>
                      <a:pt x="864228" y="761443"/>
                      <a:pt x="892176" y="781381"/>
                      <a:pt x="866897" y="810161"/>
                    </a:cubicBezTo>
                    <a:cubicBezTo>
                      <a:pt x="854467" y="824342"/>
                      <a:pt x="837698" y="835854"/>
                      <a:pt x="832359" y="855375"/>
                    </a:cubicBezTo>
                    <a:cubicBezTo>
                      <a:pt x="827937" y="871308"/>
                      <a:pt x="827020" y="885072"/>
                      <a:pt x="821263" y="900588"/>
                    </a:cubicBezTo>
                    <a:cubicBezTo>
                      <a:pt x="818176" y="909014"/>
                      <a:pt x="821680" y="915187"/>
                      <a:pt x="813254" y="920943"/>
                    </a:cubicBezTo>
                    <a:cubicBezTo>
                      <a:pt x="808415" y="924447"/>
                      <a:pt x="800406" y="924030"/>
                      <a:pt x="795067" y="927116"/>
                    </a:cubicBezTo>
                    <a:cubicBezTo>
                      <a:pt x="781301" y="935124"/>
                      <a:pt x="772959" y="952393"/>
                      <a:pt x="760111" y="962570"/>
                    </a:cubicBezTo>
                    <a:cubicBezTo>
                      <a:pt x="733999" y="983842"/>
                      <a:pt x="719816" y="1021048"/>
                      <a:pt x="683943" y="1027221"/>
                    </a:cubicBezTo>
                    <a:cubicBezTo>
                      <a:pt x="666256" y="1030307"/>
                      <a:pt x="648986" y="1033394"/>
                      <a:pt x="631634" y="1037398"/>
                    </a:cubicBezTo>
                    <a:cubicBezTo>
                      <a:pt x="615699" y="1040902"/>
                      <a:pt x="608608" y="1049327"/>
                      <a:pt x="592173" y="1039651"/>
                    </a:cubicBezTo>
                    <a:cubicBezTo>
                      <a:pt x="585082" y="1035229"/>
                      <a:pt x="583330" y="1026804"/>
                      <a:pt x="577573" y="1022382"/>
                    </a:cubicBezTo>
                    <a:cubicBezTo>
                      <a:pt x="570482" y="1017044"/>
                      <a:pt x="570899" y="1021048"/>
                      <a:pt x="562974" y="1020130"/>
                    </a:cubicBezTo>
                    <a:cubicBezTo>
                      <a:pt x="552378" y="1018795"/>
                      <a:pt x="550126" y="1011288"/>
                      <a:pt x="539948" y="1005949"/>
                    </a:cubicBezTo>
                    <a:cubicBezTo>
                      <a:pt x="519592" y="994854"/>
                      <a:pt x="496065" y="995354"/>
                      <a:pt x="475292" y="1005949"/>
                    </a:cubicBezTo>
                    <a:cubicBezTo>
                      <a:pt x="444257" y="1021882"/>
                      <a:pt x="477961" y="1026804"/>
                      <a:pt x="493479" y="1030724"/>
                    </a:cubicBezTo>
                    <a:cubicBezTo>
                      <a:pt x="509413" y="1035146"/>
                      <a:pt x="523179" y="1043571"/>
                      <a:pt x="538196" y="1048910"/>
                    </a:cubicBezTo>
                    <a:cubicBezTo>
                      <a:pt x="545704" y="1051580"/>
                      <a:pt x="566978" y="1051580"/>
                      <a:pt x="568730" y="1060839"/>
                    </a:cubicBezTo>
                    <a:cubicBezTo>
                      <a:pt x="571399" y="1075438"/>
                      <a:pt x="554965" y="1069682"/>
                      <a:pt x="568730" y="1085198"/>
                    </a:cubicBezTo>
                    <a:cubicBezTo>
                      <a:pt x="580660" y="1098963"/>
                      <a:pt x="587334" y="1100714"/>
                      <a:pt x="605938" y="1102466"/>
                    </a:cubicBezTo>
                    <a:cubicBezTo>
                      <a:pt x="624960" y="1104218"/>
                      <a:pt x="643564" y="1111809"/>
                      <a:pt x="658247" y="1124155"/>
                    </a:cubicBezTo>
                    <a:cubicBezTo>
                      <a:pt x="667591" y="1132581"/>
                      <a:pt x="676434" y="1147597"/>
                      <a:pt x="690617" y="1147597"/>
                    </a:cubicBezTo>
                    <a:cubicBezTo>
                      <a:pt x="706551" y="1147180"/>
                      <a:pt x="708303" y="1131663"/>
                      <a:pt x="713642" y="1120151"/>
                    </a:cubicBezTo>
                    <a:cubicBezTo>
                      <a:pt x="720316" y="1104635"/>
                      <a:pt x="726490" y="1102466"/>
                      <a:pt x="742007" y="1098045"/>
                    </a:cubicBezTo>
                    <a:cubicBezTo>
                      <a:pt x="771707" y="1088702"/>
                      <a:pt x="803159" y="1071934"/>
                      <a:pt x="827520" y="1052831"/>
                    </a:cubicBezTo>
                    <a:cubicBezTo>
                      <a:pt x="840368" y="1042654"/>
                      <a:pt x="850129" y="1029807"/>
                      <a:pt x="854550" y="1013373"/>
                    </a:cubicBezTo>
                    <a:cubicBezTo>
                      <a:pt x="856302" y="1006282"/>
                      <a:pt x="855468" y="996105"/>
                      <a:pt x="858972" y="989932"/>
                    </a:cubicBezTo>
                    <a:cubicBezTo>
                      <a:pt x="863810" y="981923"/>
                      <a:pt x="870902" y="983258"/>
                      <a:pt x="877993" y="979337"/>
                    </a:cubicBezTo>
                    <a:cubicBezTo>
                      <a:pt x="890841" y="973164"/>
                      <a:pt x="907693" y="957231"/>
                      <a:pt x="916536" y="946136"/>
                    </a:cubicBezTo>
                    <a:cubicBezTo>
                      <a:pt x="926715" y="933289"/>
                      <a:pt x="928466" y="910682"/>
                      <a:pt x="931136" y="894332"/>
                    </a:cubicBezTo>
                    <a:cubicBezTo>
                      <a:pt x="934640" y="873477"/>
                      <a:pt x="927632" y="862883"/>
                      <a:pt x="920958" y="844280"/>
                    </a:cubicBezTo>
                    <a:cubicBezTo>
                      <a:pt x="914784" y="827929"/>
                      <a:pt x="927132" y="818169"/>
                      <a:pt x="931136" y="802653"/>
                    </a:cubicBezTo>
                    <a:cubicBezTo>
                      <a:pt x="935558" y="784467"/>
                      <a:pt x="939562" y="772121"/>
                      <a:pt x="960335" y="767700"/>
                    </a:cubicBezTo>
                    <a:cubicBezTo>
                      <a:pt x="968345" y="765948"/>
                      <a:pt x="976687" y="767283"/>
                      <a:pt x="985113" y="765447"/>
                    </a:cubicBezTo>
                    <a:cubicBezTo>
                      <a:pt x="993539" y="763195"/>
                      <a:pt x="998378" y="758356"/>
                      <a:pt x="1005970" y="755270"/>
                    </a:cubicBezTo>
                    <a:cubicBezTo>
                      <a:pt x="1018401" y="749931"/>
                      <a:pt x="1041427" y="749931"/>
                      <a:pt x="1055609" y="753935"/>
                    </a:cubicBezTo>
                    <a:cubicBezTo>
                      <a:pt x="1070209" y="757939"/>
                      <a:pt x="1070709" y="768117"/>
                      <a:pt x="1073796" y="781381"/>
                    </a:cubicBezTo>
                    <a:cubicBezTo>
                      <a:pt x="1078217" y="799566"/>
                      <a:pt x="1085309" y="812413"/>
                      <a:pt x="1095904" y="827429"/>
                    </a:cubicBezTo>
                    <a:cubicBezTo>
                      <a:pt x="1107000" y="842945"/>
                      <a:pt x="1110504" y="853539"/>
                      <a:pt x="1098991" y="869973"/>
                    </a:cubicBezTo>
                    <a:cubicBezTo>
                      <a:pt x="1087061" y="887241"/>
                      <a:pt x="1093234" y="903175"/>
                      <a:pt x="1087478" y="922278"/>
                    </a:cubicBezTo>
                    <a:cubicBezTo>
                      <a:pt x="1083056" y="936042"/>
                      <a:pt x="1069792" y="951976"/>
                      <a:pt x="1071960" y="966574"/>
                    </a:cubicBezTo>
                    <a:cubicBezTo>
                      <a:pt x="1076382" y="995354"/>
                      <a:pt x="1124269" y="1013957"/>
                      <a:pt x="1148630" y="1017961"/>
                    </a:cubicBezTo>
                    <a:cubicBezTo>
                      <a:pt x="1156639" y="1019296"/>
                      <a:pt x="1190677" y="1025970"/>
                      <a:pt x="1180082" y="1011288"/>
                    </a:cubicBezTo>
                    <a:cubicBezTo>
                      <a:pt x="1174742" y="1003780"/>
                      <a:pt x="1158391" y="1002445"/>
                      <a:pt x="1150382" y="1000192"/>
                    </a:cubicBezTo>
                    <a:cubicBezTo>
                      <a:pt x="1127773" y="993519"/>
                      <a:pt x="1095904" y="982007"/>
                      <a:pt x="1092817" y="954979"/>
                    </a:cubicBezTo>
                    <a:cubicBezTo>
                      <a:pt x="1089313" y="924447"/>
                      <a:pt x="1108752" y="906678"/>
                      <a:pt x="1132695" y="896084"/>
                    </a:cubicBezTo>
                    <a:cubicBezTo>
                      <a:pt x="1148213" y="888993"/>
                      <a:pt x="1143791" y="879733"/>
                      <a:pt x="1140704" y="863717"/>
                    </a:cubicBezTo>
                    <a:cubicBezTo>
                      <a:pt x="1137618" y="847700"/>
                      <a:pt x="1138452" y="831850"/>
                      <a:pt x="1138452" y="815416"/>
                    </a:cubicBezTo>
                    <a:cubicBezTo>
                      <a:pt x="1138035" y="800317"/>
                      <a:pt x="1138869" y="785719"/>
                      <a:pt x="1127356" y="774623"/>
                    </a:cubicBezTo>
                    <a:cubicBezTo>
                      <a:pt x="1118513" y="766198"/>
                      <a:pt x="1109169" y="760025"/>
                      <a:pt x="1100743" y="751599"/>
                    </a:cubicBezTo>
                    <a:cubicBezTo>
                      <a:pt x="1086143" y="737835"/>
                      <a:pt x="1069708" y="725906"/>
                      <a:pt x="1052439" y="714811"/>
                    </a:cubicBezTo>
                    <a:cubicBezTo>
                      <a:pt x="1032917" y="702882"/>
                      <a:pt x="1029413" y="699295"/>
                      <a:pt x="1012978" y="707303"/>
                    </a:cubicBezTo>
                    <a:cubicBezTo>
                      <a:pt x="1000547" y="713476"/>
                      <a:pt x="985030" y="726824"/>
                      <a:pt x="971765" y="721902"/>
                    </a:cubicBezTo>
                    <a:cubicBezTo>
                      <a:pt x="958000" y="717063"/>
                      <a:pt x="954496" y="708138"/>
                      <a:pt x="938561" y="709055"/>
                    </a:cubicBezTo>
                    <a:cubicBezTo>
                      <a:pt x="888505" y="710390"/>
                      <a:pt x="922626" y="671433"/>
                      <a:pt x="930135" y="645739"/>
                    </a:cubicBezTo>
                    <a:cubicBezTo>
                      <a:pt x="935474" y="628054"/>
                      <a:pt x="922126" y="616542"/>
                      <a:pt x="923961" y="599691"/>
                    </a:cubicBezTo>
                    <a:cubicBezTo>
                      <a:pt x="924879" y="586844"/>
                      <a:pt x="938144" y="575332"/>
                      <a:pt x="942983" y="563403"/>
                    </a:cubicBezTo>
                    <a:cubicBezTo>
                      <a:pt x="949156" y="549638"/>
                      <a:pt x="951409" y="538126"/>
                      <a:pt x="960669" y="526197"/>
                    </a:cubicBezTo>
                    <a:cubicBezTo>
                      <a:pt x="970430" y="513768"/>
                      <a:pt x="974435" y="498752"/>
                      <a:pt x="984613" y="487240"/>
                    </a:cubicBezTo>
                    <a:cubicBezTo>
                      <a:pt x="995208" y="474810"/>
                      <a:pt x="1007222" y="467719"/>
                      <a:pt x="1003217" y="448700"/>
                    </a:cubicBezTo>
                    <a:cubicBezTo>
                      <a:pt x="1000130" y="431849"/>
                      <a:pt x="988116" y="419919"/>
                      <a:pt x="986865" y="401734"/>
                    </a:cubicBezTo>
                    <a:cubicBezTo>
                      <a:pt x="985948" y="383131"/>
                      <a:pt x="989952" y="364528"/>
                      <a:pt x="984613" y="345926"/>
                    </a:cubicBezTo>
                    <a:cubicBezTo>
                      <a:pt x="981109" y="333079"/>
                      <a:pt x="971765" y="325988"/>
                      <a:pt x="966926" y="314893"/>
                    </a:cubicBezTo>
                    <a:cubicBezTo>
                      <a:pt x="959835" y="297208"/>
                      <a:pt x="981526" y="290952"/>
                      <a:pt x="991704" y="280357"/>
                    </a:cubicBezTo>
                    <a:cubicBezTo>
                      <a:pt x="1001882" y="269763"/>
                      <a:pt x="1004135" y="254664"/>
                      <a:pt x="1013812" y="244069"/>
                    </a:cubicBezTo>
                    <a:cubicBezTo>
                      <a:pt x="1027578" y="229888"/>
                      <a:pt x="1047517" y="236978"/>
                      <a:pt x="1064285" y="230805"/>
                    </a:cubicBezTo>
                    <a:cubicBezTo>
                      <a:pt x="1077133" y="225967"/>
                      <a:pt x="1093485" y="214455"/>
                      <a:pt x="1101077" y="202442"/>
                    </a:cubicBezTo>
                    <a:cubicBezTo>
                      <a:pt x="1109920" y="188678"/>
                      <a:pt x="1103746" y="174496"/>
                      <a:pt x="1106416" y="159898"/>
                    </a:cubicBezTo>
                    <a:cubicBezTo>
                      <a:pt x="1107751" y="151889"/>
                      <a:pt x="1111255" y="144382"/>
                      <a:pt x="1111755" y="135956"/>
                    </a:cubicBezTo>
                    <a:cubicBezTo>
                      <a:pt x="1112673" y="127113"/>
                      <a:pt x="1109503" y="117770"/>
                      <a:pt x="1110837" y="108928"/>
                    </a:cubicBezTo>
                    <a:cubicBezTo>
                      <a:pt x="1112589" y="94746"/>
                      <a:pt x="1121016" y="87656"/>
                      <a:pt x="1132946" y="100502"/>
                    </a:cubicBezTo>
                    <a:cubicBezTo>
                      <a:pt x="1140037" y="108511"/>
                      <a:pt x="1140955" y="122192"/>
                      <a:pt x="1141372" y="132369"/>
                    </a:cubicBezTo>
                    <a:cubicBezTo>
                      <a:pt x="1141789" y="145633"/>
                      <a:pt x="1141789" y="158980"/>
                      <a:pt x="1141789" y="172244"/>
                    </a:cubicBezTo>
                    <a:cubicBezTo>
                      <a:pt x="1142206" y="188177"/>
                      <a:pt x="1136032" y="193516"/>
                      <a:pt x="1129358" y="207197"/>
                    </a:cubicBezTo>
                    <a:cubicBezTo>
                      <a:pt x="1124936" y="215623"/>
                      <a:pt x="1124019" y="225383"/>
                      <a:pt x="1119180" y="233808"/>
                    </a:cubicBezTo>
                    <a:cubicBezTo>
                      <a:pt x="1115176" y="240899"/>
                      <a:pt x="1109002" y="246238"/>
                      <a:pt x="1104080" y="252411"/>
                    </a:cubicBezTo>
                    <a:cubicBezTo>
                      <a:pt x="1090815" y="270096"/>
                      <a:pt x="1101410" y="283861"/>
                      <a:pt x="1100576" y="303798"/>
                    </a:cubicBezTo>
                    <a:cubicBezTo>
                      <a:pt x="1098824" y="335248"/>
                      <a:pt x="1068206" y="346343"/>
                      <a:pt x="1106750" y="369367"/>
                    </a:cubicBezTo>
                    <a:cubicBezTo>
                      <a:pt x="1120014" y="377375"/>
                      <a:pt x="1135949" y="378209"/>
                      <a:pt x="1148379" y="384883"/>
                    </a:cubicBezTo>
                    <a:cubicBezTo>
                      <a:pt x="1157223" y="389721"/>
                      <a:pt x="1156389" y="405738"/>
                      <a:pt x="1164314" y="408324"/>
                    </a:cubicBezTo>
                    <a:cubicBezTo>
                      <a:pt x="1165649" y="408741"/>
                      <a:pt x="1177162" y="403486"/>
                      <a:pt x="1178497" y="402985"/>
                    </a:cubicBezTo>
                    <a:cubicBezTo>
                      <a:pt x="1185171" y="400733"/>
                      <a:pt x="1190009" y="399481"/>
                      <a:pt x="1196684" y="402068"/>
                    </a:cubicBezTo>
                    <a:cubicBezTo>
                      <a:pt x="1208614" y="406906"/>
                      <a:pt x="1212201" y="422005"/>
                      <a:pt x="1216206" y="433100"/>
                    </a:cubicBezTo>
                    <a:cubicBezTo>
                      <a:pt x="1223297" y="452620"/>
                      <a:pt x="1244154" y="481400"/>
                      <a:pt x="1268013" y="459211"/>
                    </a:cubicBezTo>
                    <a:cubicBezTo>
                      <a:pt x="1276857" y="450785"/>
                      <a:pt x="1272852" y="438856"/>
                      <a:pt x="1260005" y="442860"/>
                    </a:cubicBezTo>
                    <a:cubicBezTo>
                      <a:pt x="1252914" y="445112"/>
                      <a:pt x="1245822" y="458794"/>
                      <a:pt x="1241818" y="445112"/>
                    </a:cubicBezTo>
                    <a:cubicBezTo>
                      <a:pt x="1240483" y="440274"/>
                      <a:pt x="1246657" y="430931"/>
                      <a:pt x="1247157" y="425592"/>
                    </a:cubicBezTo>
                    <a:cubicBezTo>
                      <a:pt x="1247157" y="418501"/>
                      <a:pt x="1243653" y="411411"/>
                      <a:pt x="1240983" y="405238"/>
                    </a:cubicBezTo>
                    <a:cubicBezTo>
                      <a:pt x="1232974" y="383965"/>
                      <a:pt x="1227218" y="381796"/>
                      <a:pt x="1206028" y="374706"/>
                    </a:cubicBezTo>
                    <a:cubicBezTo>
                      <a:pt x="1182084" y="366697"/>
                      <a:pt x="1153302" y="341921"/>
                      <a:pt x="1144876" y="317563"/>
                    </a:cubicBezTo>
                    <a:cubicBezTo>
                      <a:pt x="1137785" y="295456"/>
                      <a:pt x="1132028" y="258167"/>
                      <a:pt x="1160393" y="248907"/>
                    </a:cubicBezTo>
                    <a:cubicBezTo>
                      <a:pt x="1195849" y="237395"/>
                      <a:pt x="1201189" y="273266"/>
                      <a:pt x="1223714" y="287448"/>
                    </a:cubicBezTo>
                    <a:cubicBezTo>
                      <a:pt x="1241901" y="298543"/>
                      <a:pt x="1271518" y="268845"/>
                      <a:pt x="1252496" y="256415"/>
                    </a:cubicBezTo>
                    <a:cubicBezTo>
                      <a:pt x="1239231" y="247990"/>
                      <a:pt x="1205110" y="251076"/>
                      <a:pt x="1226801" y="225383"/>
                    </a:cubicBezTo>
                    <a:cubicBezTo>
                      <a:pt x="1242318" y="207197"/>
                      <a:pt x="1265344" y="198772"/>
                      <a:pt x="1287953" y="202359"/>
                    </a:cubicBezTo>
                    <a:cubicBezTo>
                      <a:pt x="1287536" y="212119"/>
                      <a:pt x="1289287" y="221879"/>
                      <a:pt x="1293709" y="233391"/>
                    </a:cubicBezTo>
                    <a:cubicBezTo>
                      <a:pt x="1300800" y="251577"/>
                      <a:pt x="1307892" y="268344"/>
                      <a:pt x="1328248" y="280357"/>
                    </a:cubicBezTo>
                    <a:cubicBezTo>
                      <a:pt x="1331752" y="282609"/>
                      <a:pt x="1335339" y="283861"/>
                      <a:pt x="1339343" y="285696"/>
                    </a:cubicBezTo>
                    <a:cubicBezTo>
                      <a:pt x="1353943" y="292787"/>
                      <a:pt x="1362786" y="297625"/>
                      <a:pt x="1364121" y="310055"/>
                    </a:cubicBezTo>
                    <a:cubicBezTo>
                      <a:pt x="1365456" y="324653"/>
                      <a:pt x="1357447" y="336666"/>
                      <a:pt x="1338843" y="348178"/>
                    </a:cubicBezTo>
                    <a:lnTo>
                      <a:pt x="1335756" y="350430"/>
                    </a:lnTo>
                    <a:cubicBezTo>
                      <a:pt x="1320239" y="360191"/>
                      <a:pt x="1300800" y="372119"/>
                      <a:pt x="1299466" y="395144"/>
                    </a:cubicBezTo>
                    <a:cubicBezTo>
                      <a:pt x="1298131" y="418168"/>
                      <a:pt x="1317652" y="429263"/>
                      <a:pt x="1332252" y="437688"/>
                    </a:cubicBezTo>
                    <a:lnTo>
                      <a:pt x="1337592" y="440775"/>
                    </a:lnTo>
                    <a:cubicBezTo>
                      <a:pt x="1370378" y="460295"/>
                      <a:pt x="1372548" y="498835"/>
                      <a:pt x="1363704" y="528033"/>
                    </a:cubicBezTo>
                    <a:cubicBezTo>
                      <a:pt x="1358866" y="544383"/>
                      <a:pt x="1350439" y="554644"/>
                      <a:pt x="1334004" y="563486"/>
                    </a:cubicBezTo>
                    <a:cubicBezTo>
                      <a:pt x="1312313" y="575415"/>
                      <a:pt x="1293709" y="585176"/>
                      <a:pt x="1275522" y="603361"/>
                    </a:cubicBezTo>
                    <a:cubicBezTo>
                      <a:pt x="1263091" y="615290"/>
                      <a:pt x="1240066" y="637897"/>
                      <a:pt x="1245822" y="662757"/>
                    </a:cubicBezTo>
                    <a:cubicBezTo>
                      <a:pt x="1248492" y="672934"/>
                      <a:pt x="1254665" y="681360"/>
                      <a:pt x="1261339" y="689785"/>
                    </a:cubicBezTo>
                    <a:cubicBezTo>
                      <a:pt x="1266178" y="696459"/>
                      <a:pt x="1271100" y="702632"/>
                      <a:pt x="1273270" y="709305"/>
                    </a:cubicBezTo>
                    <a:cubicBezTo>
                      <a:pt x="1283030" y="734999"/>
                      <a:pt x="1291457" y="739837"/>
                      <a:pt x="1314482" y="749180"/>
                    </a:cubicBezTo>
                    <a:cubicBezTo>
                      <a:pt x="1319822" y="751433"/>
                      <a:pt x="1324661" y="755854"/>
                      <a:pt x="1329583" y="760692"/>
                    </a:cubicBezTo>
                    <a:cubicBezTo>
                      <a:pt x="1338426" y="769118"/>
                      <a:pt x="1348187" y="778377"/>
                      <a:pt x="1363287" y="775791"/>
                    </a:cubicBezTo>
                    <a:cubicBezTo>
                      <a:pt x="1369043" y="774874"/>
                      <a:pt x="1374383" y="771787"/>
                      <a:pt x="1380557" y="768283"/>
                    </a:cubicBezTo>
                    <a:cubicBezTo>
                      <a:pt x="1387231" y="764279"/>
                      <a:pt x="1394739" y="759858"/>
                      <a:pt x="1398744" y="761610"/>
                    </a:cubicBezTo>
                    <a:cubicBezTo>
                      <a:pt x="1400496" y="762527"/>
                      <a:pt x="1400996" y="762945"/>
                      <a:pt x="1401830" y="768283"/>
                    </a:cubicBezTo>
                    <a:cubicBezTo>
                      <a:pt x="1402248" y="770536"/>
                      <a:pt x="1402748" y="773122"/>
                      <a:pt x="1403582" y="776292"/>
                    </a:cubicBezTo>
                    <a:cubicBezTo>
                      <a:pt x="1406669" y="784717"/>
                      <a:pt x="1408922" y="786886"/>
                      <a:pt x="1413760" y="790890"/>
                    </a:cubicBezTo>
                    <a:cubicBezTo>
                      <a:pt x="1414678" y="791808"/>
                      <a:pt x="1416430" y="793143"/>
                      <a:pt x="1417765" y="794394"/>
                    </a:cubicBezTo>
                    <a:cubicBezTo>
                      <a:pt x="1420017" y="796646"/>
                      <a:pt x="1420852" y="797481"/>
                      <a:pt x="1422187" y="797898"/>
                    </a:cubicBezTo>
                    <a:cubicBezTo>
                      <a:pt x="1423521" y="798815"/>
                      <a:pt x="1423521" y="799233"/>
                      <a:pt x="1425273" y="802319"/>
                    </a:cubicBezTo>
                    <a:cubicBezTo>
                      <a:pt x="1427025" y="805406"/>
                      <a:pt x="1427943" y="810745"/>
                      <a:pt x="1428360" y="816084"/>
                    </a:cubicBezTo>
                    <a:cubicBezTo>
                      <a:pt x="1429278" y="820922"/>
                      <a:pt x="1429695" y="826261"/>
                      <a:pt x="1431447" y="830682"/>
                    </a:cubicBezTo>
                    <a:cubicBezTo>
                      <a:pt x="1433199" y="835520"/>
                      <a:pt x="1435868" y="840859"/>
                      <a:pt x="1438121" y="845281"/>
                    </a:cubicBezTo>
                    <a:cubicBezTo>
                      <a:pt x="1445212" y="859045"/>
                      <a:pt x="1448716" y="867888"/>
                      <a:pt x="1442125" y="877147"/>
                    </a:cubicBezTo>
                    <a:cubicBezTo>
                      <a:pt x="1440791" y="878899"/>
                      <a:pt x="1439456" y="880234"/>
                      <a:pt x="1438621" y="881569"/>
                    </a:cubicBezTo>
                    <a:cubicBezTo>
                      <a:pt x="1435535" y="884655"/>
                      <a:pt x="1431530" y="888242"/>
                      <a:pt x="1429778" y="894415"/>
                    </a:cubicBezTo>
                    <a:cubicBezTo>
                      <a:pt x="1427526" y="901506"/>
                      <a:pt x="1429361" y="908180"/>
                      <a:pt x="1431113" y="913936"/>
                    </a:cubicBezTo>
                    <a:cubicBezTo>
                      <a:pt x="1431530" y="916188"/>
                      <a:pt x="1432031" y="917940"/>
                      <a:pt x="1432448" y="919692"/>
                    </a:cubicBezTo>
                    <a:lnTo>
                      <a:pt x="1429361" y="934290"/>
                    </a:lnTo>
                    <a:cubicBezTo>
                      <a:pt x="1428026" y="936960"/>
                      <a:pt x="1426691" y="939129"/>
                      <a:pt x="1424522" y="941798"/>
                    </a:cubicBezTo>
                    <a:lnTo>
                      <a:pt x="1421436" y="946637"/>
                    </a:lnTo>
                    <a:cubicBezTo>
                      <a:pt x="1418766" y="951058"/>
                      <a:pt x="1416597" y="956397"/>
                      <a:pt x="1414762" y="960818"/>
                    </a:cubicBezTo>
                    <a:cubicBezTo>
                      <a:pt x="1412509" y="966157"/>
                      <a:pt x="1410340" y="971412"/>
                      <a:pt x="1407253" y="975000"/>
                    </a:cubicBezTo>
                    <a:cubicBezTo>
                      <a:pt x="1404166" y="978503"/>
                      <a:pt x="1398827" y="981173"/>
                      <a:pt x="1393071" y="983425"/>
                    </a:cubicBezTo>
                    <a:cubicBezTo>
                      <a:pt x="1381975" y="988263"/>
                      <a:pt x="1366958" y="994937"/>
                      <a:pt x="1370963" y="1016626"/>
                    </a:cubicBezTo>
                    <a:cubicBezTo>
                      <a:pt x="1373215" y="1026804"/>
                      <a:pt x="1377637" y="1034812"/>
                      <a:pt x="1381557" y="1041903"/>
                    </a:cubicBezTo>
                    <a:cubicBezTo>
                      <a:pt x="1387731" y="1052080"/>
                      <a:pt x="1392654" y="1060506"/>
                      <a:pt x="1389567" y="1074270"/>
                    </a:cubicBezTo>
                    <a:cubicBezTo>
                      <a:pt x="1388649" y="1077356"/>
                      <a:pt x="1388232" y="1080944"/>
                      <a:pt x="1387314" y="1084030"/>
                    </a:cubicBezTo>
                    <a:cubicBezTo>
                      <a:pt x="1382892" y="1100381"/>
                      <a:pt x="1379305" y="1115897"/>
                      <a:pt x="1392153" y="1134499"/>
                    </a:cubicBezTo>
                    <a:cubicBezTo>
                      <a:pt x="1397492" y="1142508"/>
                      <a:pt x="1404083" y="1149098"/>
                      <a:pt x="1409839" y="1155772"/>
                    </a:cubicBezTo>
                    <a:cubicBezTo>
                      <a:pt x="1419600" y="1165949"/>
                      <a:pt x="1428444" y="1175292"/>
                      <a:pt x="1432865" y="1187639"/>
                    </a:cubicBezTo>
                    <a:cubicBezTo>
                      <a:pt x="1435952" y="1196481"/>
                      <a:pt x="1436870" y="1205324"/>
                      <a:pt x="1435118" y="1213332"/>
                    </a:cubicBezTo>
                    <a:cubicBezTo>
                      <a:pt x="1434200" y="1216419"/>
                      <a:pt x="1432865" y="1220006"/>
                      <a:pt x="1431113" y="1223092"/>
                    </a:cubicBezTo>
                    <a:cubicBezTo>
                      <a:pt x="1428444" y="1229265"/>
                      <a:pt x="1424939" y="1236356"/>
                      <a:pt x="1426274" y="1245199"/>
                    </a:cubicBezTo>
                    <a:cubicBezTo>
                      <a:pt x="1427192" y="1252707"/>
                      <a:pt x="1431614" y="1258963"/>
                      <a:pt x="1436035" y="1264719"/>
                    </a:cubicBezTo>
                    <a:cubicBezTo>
                      <a:pt x="1438705" y="1268223"/>
                      <a:pt x="1440874" y="1271393"/>
                      <a:pt x="1442209" y="1274896"/>
                    </a:cubicBezTo>
                    <a:cubicBezTo>
                      <a:pt x="1446213" y="1285074"/>
                      <a:pt x="1444878" y="1289996"/>
                      <a:pt x="1441291" y="1301007"/>
                    </a:cubicBezTo>
                    <a:lnTo>
                      <a:pt x="1440874" y="1303259"/>
                    </a:lnTo>
                    <a:cubicBezTo>
                      <a:pt x="1430696" y="1338213"/>
                      <a:pt x="1453305" y="1355981"/>
                      <a:pt x="1473244" y="1372331"/>
                    </a:cubicBezTo>
                    <a:cubicBezTo>
                      <a:pt x="1484340" y="1381675"/>
                      <a:pt x="1496269" y="1390934"/>
                      <a:pt x="1502443" y="1402863"/>
                    </a:cubicBezTo>
                    <a:cubicBezTo>
                      <a:pt x="1512204" y="1421049"/>
                      <a:pt x="1511787" y="1434730"/>
                      <a:pt x="1501108" y="1455168"/>
                    </a:cubicBezTo>
                    <a:lnTo>
                      <a:pt x="1499356" y="1458672"/>
                    </a:lnTo>
                    <a:cubicBezTo>
                      <a:pt x="1491347" y="1473270"/>
                      <a:pt x="1475413" y="1503886"/>
                      <a:pt x="1496687" y="1516732"/>
                    </a:cubicBezTo>
                    <a:cubicBezTo>
                      <a:pt x="1501108" y="1519402"/>
                      <a:pt x="1506448" y="1519402"/>
                      <a:pt x="1510869" y="1518985"/>
                    </a:cubicBezTo>
                    <a:cubicBezTo>
                      <a:pt x="1512204" y="1518568"/>
                      <a:pt x="1513539" y="1518568"/>
                      <a:pt x="1514874" y="1518568"/>
                    </a:cubicBezTo>
                    <a:cubicBezTo>
                      <a:pt x="1524635" y="1519485"/>
                      <a:pt x="1526387" y="1521237"/>
                      <a:pt x="1534396" y="1528328"/>
                    </a:cubicBezTo>
                    <a:cubicBezTo>
                      <a:pt x="1541487" y="1535001"/>
                      <a:pt x="1548161" y="1540757"/>
                      <a:pt x="1560508" y="1541174"/>
                    </a:cubicBezTo>
                    <a:cubicBezTo>
                      <a:pt x="1564012" y="1541592"/>
                      <a:pt x="1568016" y="1540757"/>
                      <a:pt x="1571103" y="1540257"/>
                    </a:cubicBezTo>
                    <a:cubicBezTo>
                      <a:pt x="1577778" y="1539339"/>
                      <a:pt x="1580864" y="1538922"/>
                      <a:pt x="1583951" y="1542009"/>
                    </a:cubicBezTo>
                    <a:cubicBezTo>
                      <a:pt x="1590625" y="1547765"/>
                      <a:pt x="1590625" y="1561947"/>
                      <a:pt x="1590625" y="1573041"/>
                    </a:cubicBezTo>
                    <a:lnTo>
                      <a:pt x="1590625" y="1581467"/>
                    </a:lnTo>
                    <a:cubicBezTo>
                      <a:pt x="1591042" y="1586305"/>
                      <a:pt x="1591042" y="1591644"/>
                      <a:pt x="1591543" y="1596065"/>
                    </a:cubicBezTo>
                    <a:cubicBezTo>
                      <a:pt x="1592878" y="1614668"/>
                      <a:pt x="1593795" y="1631019"/>
                      <a:pt x="1587121" y="1649705"/>
                    </a:cubicBezTo>
                    <a:cubicBezTo>
                      <a:pt x="1584035" y="1659465"/>
                      <a:pt x="1576943" y="1664303"/>
                      <a:pt x="1568934" y="1670059"/>
                    </a:cubicBezTo>
                    <a:cubicBezTo>
                      <a:pt x="1561843" y="1674898"/>
                      <a:pt x="1554335" y="1681154"/>
                      <a:pt x="1548578" y="1690414"/>
                    </a:cubicBezTo>
                    <a:cubicBezTo>
                      <a:pt x="1546325" y="1693918"/>
                      <a:pt x="1543239" y="1697922"/>
                      <a:pt x="1540569" y="1701509"/>
                    </a:cubicBezTo>
                    <a:cubicBezTo>
                      <a:pt x="1529974" y="1715690"/>
                      <a:pt x="1517126" y="1732959"/>
                      <a:pt x="1528639" y="1753313"/>
                    </a:cubicBezTo>
                    <a:cubicBezTo>
                      <a:pt x="1532644" y="1760404"/>
                      <a:pt x="1537065" y="1765242"/>
                      <a:pt x="1540569" y="1768829"/>
                    </a:cubicBezTo>
                    <a:cubicBezTo>
                      <a:pt x="1547660" y="1776837"/>
                      <a:pt x="1551164" y="1780758"/>
                      <a:pt x="1548995" y="1794523"/>
                    </a:cubicBezTo>
                    <a:cubicBezTo>
                      <a:pt x="1548078" y="1799361"/>
                      <a:pt x="1548078" y="1805117"/>
                      <a:pt x="1547660" y="1810456"/>
                    </a:cubicBezTo>
                    <a:cubicBezTo>
                      <a:pt x="1547660" y="1817130"/>
                      <a:pt x="1547243" y="1822886"/>
                      <a:pt x="1545908" y="1828642"/>
                    </a:cubicBezTo>
                    <a:cubicBezTo>
                      <a:pt x="1543239" y="1838819"/>
                      <a:pt x="1537482" y="1845910"/>
                      <a:pt x="1530391" y="1854335"/>
                    </a:cubicBezTo>
                    <a:lnTo>
                      <a:pt x="1527721" y="1857839"/>
                    </a:lnTo>
                    <a:cubicBezTo>
                      <a:pt x="1521047" y="1866264"/>
                      <a:pt x="1514874" y="1875524"/>
                      <a:pt x="1509117" y="1883950"/>
                    </a:cubicBezTo>
                    <a:cubicBezTo>
                      <a:pt x="1502944" y="1893293"/>
                      <a:pt x="1496687" y="1902552"/>
                      <a:pt x="1489595" y="1911395"/>
                    </a:cubicBezTo>
                    <a:cubicBezTo>
                      <a:pt x="1486926" y="1914481"/>
                      <a:pt x="1483422" y="1918069"/>
                      <a:pt x="1480752" y="1921155"/>
                    </a:cubicBezTo>
                    <a:cubicBezTo>
                      <a:pt x="1474996" y="1927328"/>
                      <a:pt x="1468822" y="1933585"/>
                      <a:pt x="1464401" y="1941093"/>
                    </a:cubicBezTo>
                    <a:cubicBezTo>
                      <a:pt x="1463066" y="1940175"/>
                      <a:pt x="1461731" y="1938840"/>
                      <a:pt x="1460896" y="1937589"/>
                    </a:cubicBezTo>
                    <a:cubicBezTo>
                      <a:pt x="1457810" y="1934085"/>
                      <a:pt x="1455140" y="1929580"/>
                      <a:pt x="1452470" y="1925159"/>
                    </a:cubicBezTo>
                    <a:cubicBezTo>
                      <a:pt x="1446297" y="1914565"/>
                      <a:pt x="1439623" y="1903053"/>
                      <a:pt x="1421936" y="1898131"/>
                    </a:cubicBezTo>
                    <a:cubicBezTo>
                      <a:pt x="1414845" y="1896379"/>
                      <a:pt x="1408671" y="1896379"/>
                      <a:pt x="1402414" y="1895879"/>
                    </a:cubicBezTo>
                    <a:cubicBezTo>
                      <a:pt x="1395323" y="1895879"/>
                      <a:pt x="1388649" y="1895462"/>
                      <a:pt x="1381557" y="1892792"/>
                    </a:cubicBezTo>
                    <a:cubicBezTo>
                      <a:pt x="1369628" y="1887954"/>
                      <a:pt x="1362036" y="1880362"/>
                      <a:pt x="1353610" y="1871937"/>
                    </a:cubicBezTo>
                    <a:cubicBezTo>
                      <a:pt x="1350523" y="1868850"/>
                      <a:pt x="1346935" y="1865263"/>
                      <a:pt x="1343432" y="1862177"/>
                    </a:cubicBezTo>
                    <a:cubicBezTo>
                      <a:pt x="1323492" y="1843991"/>
                      <a:pt x="1311980" y="1842239"/>
                      <a:pt x="1287202" y="1844909"/>
                    </a:cubicBezTo>
                    <a:cubicBezTo>
                      <a:pt x="1271685" y="1846661"/>
                      <a:pt x="1260171" y="1840487"/>
                      <a:pt x="1247741" y="1823636"/>
                    </a:cubicBezTo>
                    <a:cubicBezTo>
                      <a:pt x="1245071" y="1820133"/>
                      <a:pt x="1241567" y="1814294"/>
                      <a:pt x="1238397" y="1808537"/>
                    </a:cubicBezTo>
                    <a:cubicBezTo>
                      <a:pt x="1228219" y="1790852"/>
                      <a:pt x="1216706" y="1771332"/>
                      <a:pt x="1199437" y="1769997"/>
                    </a:cubicBezTo>
                    <a:cubicBezTo>
                      <a:pt x="1189676" y="1769079"/>
                      <a:pt x="1180415" y="1774835"/>
                      <a:pt x="1171072" y="1786348"/>
                    </a:cubicBezTo>
                    <a:cubicBezTo>
                      <a:pt x="1163563" y="1796108"/>
                      <a:pt x="1156472" y="1800946"/>
                      <a:pt x="1147128" y="1807620"/>
                    </a:cubicBezTo>
                    <a:cubicBezTo>
                      <a:pt x="1144042" y="1809872"/>
                      <a:pt x="1140955" y="1812041"/>
                      <a:pt x="1137367" y="1814711"/>
                    </a:cubicBezTo>
                    <a:lnTo>
                      <a:pt x="1131193" y="1819549"/>
                    </a:lnTo>
                    <a:cubicBezTo>
                      <a:pt x="1116594" y="1831061"/>
                      <a:pt x="1107250" y="1838151"/>
                      <a:pt x="1087311" y="1839486"/>
                    </a:cubicBezTo>
                    <a:cubicBezTo>
                      <a:pt x="1072712" y="1840821"/>
                      <a:pt x="1058112" y="1841238"/>
                      <a:pt x="1043429" y="1841739"/>
                    </a:cubicBezTo>
                    <a:cubicBezTo>
                      <a:pt x="1036337" y="1841739"/>
                      <a:pt x="1028829" y="1842156"/>
                      <a:pt x="1021738" y="1842657"/>
                    </a:cubicBezTo>
                    <a:cubicBezTo>
                      <a:pt x="997794" y="1843574"/>
                      <a:pt x="989868" y="1842239"/>
                      <a:pt x="973434" y="1827140"/>
                    </a:cubicBezTo>
                    <a:cubicBezTo>
                      <a:pt x="955747" y="1811207"/>
                      <a:pt x="942399" y="1795691"/>
                      <a:pt x="931386" y="1777088"/>
                    </a:cubicBezTo>
                    <a:cubicBezTo>
                      <a:pt x="918121" y="1755399"/>
                      <a:pt x="907443" y="1749142"/>
                      <a:pt x="883583" y="1743386"/>
                    </a:cubicBezTo>
                    <a:cubicBezTo>
                      <a:pt x="873405" y="1741134"/>
                      <a:pt x="867231" y="1735378"/>
                      <a:pt x="859639" y="1729205"/>
                    </a:cubicBezTo>
                    <a:cubicBezTo>
                      <a:pt x="854801" y="1725200"/>
                      <a:pt x="849878" y="1720779"/>
                      <a:pt x="843705" y="1717275"/>
                    </a:cubicBezTo>
                    <a:cubicBezTo>
                      <a:pt x="829522" y="1708850"/>
                      <a:pt x="814005" y="1708433"/>
                      <a:pt x="798988" y="1708433"/>
                    </a:cubicBezTo>
                    <a:cubicBezTo>
                      <a:pt x="790979" y="1708433"/>
                      <a:pt x="783471" y="1708433"/>
                      <a:pt x="776880" y="1707098"/>
                    </a:cubicBezTo>
                    <a:cubicBezTo>
                      <a:pt x="765784" y="1704846"/>
                      <a:pt x="750767" y="1698256"/>
                      <a:pt x="734833" y="1687577"/>
                    </a:cubicBezTo>
                    <a:cubicBezTo>
                      <a:pt x="722903" y="1679569"/>
                      <a:pt x="712224" y="1675648"/>
                      <a:pt x="700711" y="1671227"/>
                    </a:cubicBezTo>
                    <a:cubicBezTo>
                      <a:pt x="695372" y="1668975"/>
                      <a:pt x="690116" y="1666806"/>
                      <a:pt x="684360" y="1664554"/>
                    </a:cubicBezTo>
                    <a:cubicBezTo>
                      <a:pt x="674599" y="1660132"/>
                      <a:pt x="671929" y="1654376"/>
                      <a:pt x="668008" y="1646368"/>
                    </a:cubicBezTo>
                    <a:cubicBezTo>
                      <a:pt x="665338" y="1640195"/>
                      <a:pt x="661834" y="1633521"/>
                      <a:pt x="655160" y="1626847"/>
                    </a:cubicBezTo>
                    <a:cubicBezTo>
                      <a:pt x="639226" y="1612249"/>
                      <a:pt x="624626" y="1618839"/>
                      <a:pt x="612613" y="1624178"/>
                    </a:cubicBezTo>
                    <a:cubicBezTo>
                      <a:pt x="609943" y="1625096"/>
                      <a:pt x="607774" y="1626430"/>
                      <a:pt x="605104" y="1627265"/>
                    </a:cubicBezTo>
                    <a:cubicBezTo>
                      <a:pt x="593174" y="1632103"/>
                      <a:pt x="574570" y="1632603"/>
                      <a:pt x="562556" y="1625012"/>
                    </a:cubicBezTo>
                    <a:cubicBezTo>
                      <a:pt x="551460" y="1617921"/>
                      <a:pt x="551460" y="1608662"/>
                      <a:pt x="552795" y="1593146"/>
                    </a:cubicBezTo>
                    <a:cubicBezTo>
                      <a:pt x="553213" y="1589141"/>
                      <a:pt x="553713" y="1584720"/>
                      <a:pt x="553713" y="1580716"/>
                    </a:cubicBezTo>
                    <a:cubicBezTo>
                      <a:pt x="554130" y="1560361"/>
                      <a:pt x="545287" y="1544428"/>
                      <a:pt x="526683" y="1532415"/>
                    </a:cubicBezTo>
                    <a:cubicBezTo>
                      <a:pt x="510748" y="1521821"/>
                      <a:pt x="507661" y="1512895"/>
                      <a:pt x="512500" y="1492958"/>
                    </a:cubicBezTo>
                    <a:cubicBezTo>
                      <a:pt x="513835" y="1488119"/>
                      <a:pt x="516004" y="1483197"/>
                      <a:pt x="518674" y="1478776"/>
                    </a:cubicBezTo>
                    <a:cubicBezTo>
                      <a:pt x="524013" y="1468599"/>
                      <a:pt x="529769" y="1457087"/>
                      <a:pt x="522178" y="1441988"/>
                    </a:cubicBezTo>
                    <a:cubicBezTo>
                      <a:pt x="513752" y="1425637"/>
                      <a:pt x="496899" y="1416294"/>
                      <a:pt x="481883" y="1407869"/>
                    </a:cubicBezTo>
                    <a:lnTo>
                      <a:pt x="475208" y="1404365"/>
                    </a:lnTo>
                    <a:cubicBezTo>
                      <a:pt x="470370" y="1401279"/>
                      <a:pt x="465030" y="1397691"/>
                      <a:pt x="459691" y="1394188"/>
                    </a:cubicBezTo>
                    <a:cubicBezTo>
                      <a:pt x="447761" y="1386179"/>
                      <a:pt x="435331" y="1377337"/>
                      <a:pt x="422065" y="1373833"/>
                    </a:cubicBezTo>
                    <a:cubicBezTo>
                      <a:pt x="402544" y="1368494"/>
                      <a:pt x="394117" y="1377837"/>
                      <a:pt x="387944" y="1384928"/>
                    </a:cubicBezTo>
                    <a:cubicBezTo>
                      <a:pt x="384440" y="1388932"/>
                      <a:pt x="381270" y="1392436"/>
                      <a:pt x="376431" y="1393771"/>
                    </a:cubicBezTo>
                    <a:cubicBezTo>
                      <a:pt x="374178" y="1394688"/>
                      <a:pt x="372426" y="1393771"/>
                      <a:pt x="368923" y="1392436"/>
                    </a:cubicBezTo>
                    <a:cubicBezTo>
                      <a:pt x="366253" y="1391518"/>
                      <a:pt x="363166" y="1390183"/>
                      <a:pt x="359162" y="1389766"/>
                    </a:cubicBezTo>
                    <a:cubicBezTo>
                      <a:pt x="350735" y="1388849"/>
                      <a:pt x="343227" y="1392019"/>
                      <a:pt x="336553" y="1394188"/>
                    </a:cubicBezTo>
                    <a:lnTo>
                      <a:pt x="329044" y="1396857"/>
                    </a:lnTo>
                    <a:cubicBezTo>
                      <a:pt x="311775" y="1402613"/>
                      <a:pt x="297176" y="1407452"/>
                      <a:pt x="283827" y="1395940"/>
                    </a:cubicBezTo>
                    <a:cubicBezTo>
                      <a:pt x="273232" y="1386596"/>
                      <a:pt x="260801" y="1371581"/>
                      <a:pt x="259884" y="1364490"/>
                    </a:cubicBezTo>
                    <a:cubicBezTo>
                      <a:pt x="258966" y="1357399"/>
                      <a:pt x="260801" y="1351226"/>
                      <a:pt x="262553" y="1344970"/>
                    </a:cubicBezTo>
                    <a:cubicBezTo>
                      <a:pt x="266057" y="1332540"/>
                      <a:pt x="270980" y="1317524"/>
                      <a:pt x="248788" y="1304177"/>
                    </a:cubicBezTo>
                    <a:cubicBezTo>
                      <a:pt x="244783" y="1301508"/>
                      <a:pt x="240362" y="1298838"/>
                      <a:pt x="235940" y="1295752"/>
                    </a:cubicBezTo>
                    <a:cubicBezTo>
                      <a:pt x="217753" y="1283322"/>
                      <a:pt x="197397" y="1269641"/>
                      <a:pt x="176123" y="1267806"/>
                    </a:cubicBezTo>
                    <a:cubicBezTo>
                      <a:pt x="162358" y="1266888"/>
                      <a:pt x="149093" y="1269141"/>
                      <a:pt x="135828" y="1270892"/>
                    </a:cubicBezTo>
                    <a:cubicBezTo>
                      <a:pt x="126985" y="1272227"/>
                      <a:pt x="118559" y="1273562"/>
                      <a:pt x="110132" y="1273979"/>
                    </a:cubicBezTo>
                    <a:cubicBezTo>
                      <a:pt x="107046" y="1274396"/>
                      <a:pt x="103959" y="1274396"/>
                      <a:pt x="99955" y="1274896"/>
                    </a:cubicBezTo>
                    <a:cubicBezTo>
                      <a:pt x="80432" y="1276231"/>
                      <a:pt x="48147" y="1278400"/>
                      <a:pt x="37968" y="1266888"/>
                    </a:cubicBezTo>
                    <a:cubicBezTo>
                      <a:pt x="33130" y="1261549"/>
                      <a:pt x="32629" y="1256293"/>
                      <a:pt x="31294" y="1249620"/>
                    </a:cubicBezTo>
                    <a:cubicBezTo>
                      <a:pt x="29959" y="1239443"/>
                      <a:pt x="28625" y="1226596"/>
                      <a:pt x="10020" y="1219088"/>
                    </a:cubicBezTo>
                    <a:cubicBezTo>
                      <a:pt x="7351" y="1218171"/>
                      <a:pt x="5182" y="1217753"/>
                      <a:pt x="3346" y="1216836"/>
                    </a:cubicBezTo>
                    <a:cubicBezTo>
                      <a:pt x="2428" y="1216419"/>
                      <a:pt x="1094" y="1215918"/>
                      <a:pt x="1094" y="1215918"/>
                    </a:cubicBezTo>
                    <a:cubicBezTo>
                      <a:pt x="1094" y="1215918"/>
                      <a:pt x="677" y="1215000"/>
                      <a:pt x="176" y="1212415"/>
                    </a:cubicBezTo>
                    <a:cubicBezTo>
                      <a:pt x="-742" y="1205741"/>
                      <a:pt x="1928" y="1203572"/>
                      <a:pt x="8185" y="1197816"/>
                    </a:cubicBezTo>
                    <a:cubicBezTo>
                      <a:pt x="10855" y="1195563"/>
                      <a:pt x="13024" y="1192977"/>
                      <a:pt x="15276" y="1190308"/>
                    </a:cubicBezTo>
                    <a:cubicBezTo>
                      <a:pt x="23285" y="1179714"/>
                      <a:pt x="25871" y="1167284"/>
                      <a:pt x="28124" y="1155772"/>
                    </a:cubicBezTo>
                    <a:cubicBezTo>
                      <a:pt x="29459" y="1147764"/>
                      <a:pt x="31211" y="1140256"/>
                      <a:pt x="34298" y="1133665"/>
                    </a:cubicBezTo>
                    <a:cubicBezTo>
                      <a:pt x="35632" y="1130579"/>
                      <a:pt x="37385" y="1127909"/>
                      <a:pt x="39136" y="1125240"/>
                    </a:cubicBezTo>
                    <a:cubicBezTo>
                      <a:pt x="43141" y="1119067"/>
                      <a:pt x="47562" y="1112393"/>
                      <a:pt x="48480" y="1103968"/>
                    </a:cubicBezTo>
                    <a:cubicBezTo>
                      <a:pt x="49398" y="1094208"/>
                      <a:pt x="45810" y="1085782"/>
                      <a:pt x="42724" y="1078274"/>
                    </a:cubicBezTo>
                    <a:cubicBezTo>
                      <a:pt x="40972" y="1073853"/>
                      <a:pt x="39220" y="1069431"/>
                      <a:pt x="38302" y="1065427"/>
                    </a:cubicBezTo>
                    <a:cubicBezTo>
                      <a:pt x="35632" y="1051663"/>
                      <a:pt x="35215" y="1034895"/>
                      <a:pt x="34798" y="1019379"/>
                    </a:cubicBezTo>
                    <a:cubicBezTo>
                      <a:pt x="36550" y="1018962"/>
                      <a:pt x="38302" y="1018462"/>
                      <a:pt x="40555" y="1018462"/>
                    </a:cubicBezTo>
                    <a:cubicBezTo>
                      <a:pt x="52484" y="1016209"/>
                      <a:pt x="64915" y="1014457"/>
                      <a:pt x="77763" y="1010036"/>
                    </a:cubicBezTo>
                    <a:cubicBezTo>
                      <a:pt x="94115" y="1005198"/>
                      <a:pt x="103458" y="992351"/>
                      <a:pt x="113219" y="979921"/>
                    </a:cubicBezTo>
                    <a:cubicBezTo>
                      <a:pt x="120311" y="970578"/>
                      <a:pt x="126985" y="961736"/>
                      <a:pt x="136245" y="956480"/>
                    </a:cubicBezTo>
                    <a:cubicBezTo>
                      <a:pt x="161941" y="940547"/>
                      <a:pt x="197397" y="927700"/>
                      <a:pt x="229683" y="922361"/>
                    </a:cubicBezTo>
                    <a:lnTo>
                      <a:pt x="238526" y="921026"/>
                    </a:lnTo>
                    <a:cubicBezTo>
                      <a:pt x="254044" y="918774"/>
                      <a:pt x="271313" y="916605"/>
                      <a:pt x="284578" y="907262"/>
                    </a:cubicBezTo>
                    <a:cubicBezTo>
                      <a:pt x="291252" y="902841"/>
                      <a:pt x="296091" y="896668"/>
                      <a:pt x="300513" y="890912"/>
                    </a:cubicBezTo>
                    <a:cubicBezTo>
                      <a:pt x="304016" y="886073"/>
                      <a:pt x="307604" y="881152"/>
                      <a:pt x="312443" y="878065"/>
                    </a:cubicBezTo>
                    <a:cubicBezTo>
                      <a:pt x="319117" y="873227"/>
                      <a:pt x="329712" y="869222"/>
                      <a:pt x="340391" y="864801"/>
                    </a:cubicBezTo>
                    <a:cubicBezTo>
                      <a:pt x="361247" y="856793"/>
                      <a:pt x="384690" y="847533"/>
                      <a:pt x="390030" y="827178"/>
                    </a:cubicBezTo>
                    <a:cubicBezTo>
                      <a:pt x="390947" y="822757"/>
                      <a:pt x="390947" y="820088"/>
                      <a:pt x="390947" y="818336"/>
                    </a:cubicBezTo>
                    <a:cubicBezTo>
                      <a:pt x="391364" y="815667"/>
                      <a:pt x="391364" y="815249"/>
                      <a:pt x="393617" y="811245"/>
                    </a:cubicBezTo>
                    <a:cubicBezTo>
                      <a:pt x="394535" y="809911"/>
                      <a:pt x="395869" y="808576"/>
                      <a:pt x="396704" y="807742"/>
                    </a:cubicBezTo>
                    <a:cubicBezTo>
                      <a:pt x="398956" y="805072"/>
                      <a:pt x="401543" y="802403"/>
                      <a:pt x="403378" y="797981"/>
                    </a:cubicBezTo>
                    <a:cubicBezTo>
                      <a:pt x="410469" y="783383"/>
                      <a:pt x="410886" y="761693"/>
                      <a:pt x="398039" y="750599"/>
                    </a:cubicBezTo>
                    <a:cubicBezTo>
                      <a:pt x="393617" y="746594"/>
                      <a:pt x="388277" y="745260"/>
                      <a:pt x="383856" y="743925"/>
                    </a:cubicBezTo>
                    <a:cubicBezTo>
                      <a:pt x="379017" y="742590"/>
                      <a:pt x="375847" y="741672"/>
                      <a:pt x="374095" y="739086"/>
                    </a:cubicBezTo>
                    <a:cubicBezTo>
                      <a:pt x="368756" y="731078"/>
                      <a:pt x="376765" y="718732"/>
                      <a:pt x="382938" y="709389"/>
                    </a:cubicBezTo>
                    <a:lnTo>
                      <a:pt x="383856" y="707637"/>
                    </a:lnTo>
                    <a:cubicBezTo>
                      <a:pt x="387860" y="701464"/>
                      <a:pt x="391865" y="696125"/>
                      <a:pt x="395786" y="690369"/>
                    </a:cubicBezTo>
                    <a:cubicBezTo>
                      <a:pt x="398873" y="685948"/>
                      <a:pt x="401960" y="681943"/>
                      <a:pt x="404629" y="677939"/>
                    </a:cubicBezTo>
                    <a:cubicBezTo>
                      <a:pt x="407299" y="673518"/>
                      <a:pt x="409968" y="669514"/>
                      <a:pt x="412638" y="665093"/>
                    </a:cubicBezTo>
                    <a:cubicBezTo>
                      <a:pt x="419312" y="652246"/>
                      <a:pt x="422817" y="637647"/>
                      <a:pt x="419730" y="619461"/>
                    </a:cubicBezTo>
                    <a:cubicBezTo>
                      <a:pt x="417477" y="604863"/>
                      <a:pt x="412638" y="593768"/>
                      <a:pt x="397621" y="584008"/>
                    </a:cubicBezTo>
                    <a:lnTo>
                      <a:pt x="394535" y="581755"/>
                    </a:lnTo>
                    <a:cubicBezTo>
                      <a:pt x="384357" y="575582"/>
                      <a:pt x="382104" y="573330"/>
                      <a:pt x="384357" y="567157"/>
                    </a:cubicBezTo>
                    <a:cubicBezTo>
                      <a:pt x="386609" y="560066"/>
                      <a:pt x="396287" y="553392"/>
                      <a:pt x="404296" y="548137"/>
                    </a:cubicBezTo>
                    <a:cubicBezTo>
                      <a:pt x="408383" y="548637"/>
                      <a:pt x="411554" y="546385"/>
                      <a:pt x="414140" y="54463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2751073" name="Полилиния 447"/>
              <p:cNvSpPr/>
              <p:nvPr/>
            </p:nvSpPr>
            <p:spPr bwMode="auto">
              <a:xfrm>
                <a:off x="9307928" y="642603"/>
                <a:ext cx="111265" cy="197100"/>
              </a:xfrm>
              <a:custGeom>
                <a:avLst/>
                <a:gdLst>
                  <a:gd name="connsiteX0" fmla="*/ 124417 w 124955"/>
                  <a:gd name="connsiteY0" fmla="*/ 67623 h 221350"/>
                  <a:gd name="connsiteX1" fmla="*/ 116909 w 124955"/>
                  <a:gd name="connsiteY1" fmla="*/ 37926 h 221350"/>
                  <a:gd name="connsiteX2" fmla="*/ 114656 w 124955"/>
                  <a:gd name="connsiteY2" fmla="*/ 18405 h 221350"/>
                  <a:gd name="connsiteX3" fmla="*/ 105813 w 124955"/>
                  <a:gd name="connsiteY3" fmla="*/ 2055 h 221350"/>
                  <a:gd name="connsiteX4" fmla="*/ 80118 w 124955"/>
                  <a:gd name="connsiteY4" fmla="*/ 5141 h 221350"/>
                  <a:gd name="connsiteX5" fmla="*/ 63265 w 124955"/>
                  <a:gd name="connsiteY5" fmla="*/ 13150 h 221350"/>
                  <a:gd name="connsiteX6" fmla="*/ 43326 w 124955"/>
                  <a:gd name="connsiteY6" fmla="*/ 23744 h 221350"/>
                  <a:gd name="connsiteX7" fmla="*/ 32231 w 124955"/>
                  <a:gd name="connsiteY7" fmla="*/ 33504 h 221350"/>
                  <a:gd name="connsiteX8" fmla="*/ 20301 w 124955"/>
                  <a:gd name="connsiteY8" fmla="*/ 44599 h 221350"/>
                  <a:gd name="connsiteX9" fmla="*/ 12792 w 124955"/>
                  <a:gd name="connsiteY9" fmla="*/ 53442 h 221350"/>
                  <a:gd name="connsiteX10" fmla="*/ 9288 w 124955"/>
                  <a:gd name="connsiteY10" fmla="*/ 82222 h 221350"/>
                  <a:gd name="connsiteX11" fmla="*/ 1780 w 124955"/>
                  <a:gd name="connsiteY11" fmla="*/ 94151 h 221350"/>
                  <a:gd name="connsiteX12" fmla="*/ 2698 w 124955"/>
                  <a:gd name="connsiteY12" fmla="*/ 116758 h 221350"/>
                  <a:gd name="connsiteX13" fmla="*/ 11124 w 124955"/>
                  <a:gd name="connsiteY13" fmla="*/ 138030 h 221350"/>
                  <a:gd name="connsiteX14" fmla="*/ 16880 w 124955"/>
                  <a:gd name="connsiteY14" fmla="*/ 156633 h 221350"/>
                  <a:gd name="connsiteX15" fmla="*/ 24889 w 124955"/>
                  <a:gd name="connsiteY15" fmla="*/ 163307 h 221350"/>
                  <a:gd name="connsiteX16" fmla="*/ 35985 w 124955"/>
                  <a:gd name="connsiteY16" fmla="*/ 183661 h 221350"/>
                  <a:gd name="connsiteX17" fmla="*/ 50584 w 124955"/>
                  <a:gd name="connsiteY17" fmla="*/ 200929 h 221350"/>
                  <a:gd name="connsiteX18" fmla="*/ 57676 w 124955"/>
                  <a:gd name="connsiteY18" fmla="*/ 203182 h 221350"/>
                  <a:gd name="connsiteX19" fmla="*/ 65184 w 124955"/>
                  <a:gd name="connsiteY19" fmla="*/ 212942 h 221350"/>
                  <a:gd name="connsiteX20" fmla="*/ 75779 w 124955"/>
                  <a:gd name="connsiteY20" fmla="*/ 219616 h 221350"/>
                  <a:gd name="connsiteX21" fmla="*/ 94801 w 124955"/>
                  <a:gd name="connsiteY21" fmla="*/ 218698 h 221350"/>
                  <a:gd name="connsiteX22" fmla="*/ 105396 w 124955"/>
                  <a:gd name="connsiteY22" fmla="*/ 201013 h 221350"/>
                  <a:gd name="connsiteX23" fmla="*/ 109817 w 124955"/>
                  <a:gd name="connsiteY23" fmla="*/ 178906 h 221350"/>
                  <a:gd name="connsiteX24" fmla="*/ 103143 w 124955"/>
                  <a:gd name="connsiteY24" fmla="*/ 155882 h 221350"/>
                  <a:gd name="connsiteX25" fmla="*/ 103143 w 124955"/>
                  <a:gd name="connsiteY25" fmla="*/ 131523 h 221350"/>
                  <a:gd name="connsiteX26" fmla="*/ 115073 w 124955"/>
                  <a:gd name="connsiteY26" fmla="*/ 116007 h 221350"/>
                  <a:gd name="connsiteX27" fmla="*/ 119495 w 124955"/>
                  <a:gd name="connsiteY27" fmla="*/ 97404 h 221350"/>
                  <a:gd name="connsiteX28" fmla="*/ 119495 w 124955"/>
                  <a:gd name="connsiteY28" fmla="*/ 81888 h 221350"/>
                  <a:gd name="connsiteX29" fmla="*/ 124417 w 124955"/>
                  <a:gd name="connsiteY29" fmla="*/ 67623 h 22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24955" h="221350" extrusionOk="0">
                    <a:moveTo>
                      <a:pt x="124417" y="67623"/>
                    </a:moveTo>
                    <a:cubicBezTo>
                      <a:pt x="127087" y="57446"/>
                      <a:pt x="119078" y="48103"/>
                      <a:pt x="116909" y="37926"/>
                    </a:cubicBezTo>
                    <a:cubicBezTo>
                      <a:pt x="115157" y="31753"/>
                      <a:pt x="115574" y="25079"/>
                      <a:pt x="114656" y="18405"/>
                    </a:cubicBezTo>
                    <a:cubicBezTo>
                      <a:pt x="113739" y="12232"/>
                      <a:pt x="111153" y="5141"/>
                      <a:pt x="105813" y="2055"/>
                    </a:cubicBezTo>
                    <a:cubicBezTo>
                      <a:pt x="98305" y="-2366"/>
                      <a:pt x="88544" y="1137"/>
                      <a:pt x="80118" y="5141"/>
                    </a:cubicBezTo>
                    <a:cubicBezTo>
                      <a:pt x="74361" y="7811"/>
                      <a:pt x="69022" y="10480"/>
                      <a:pt x="63265" y="13150"/>
                    </a:cubicBezTo>
                    <a:cubicBezTo>
                      <a:pt x="56591" y="16236"/>
                      <a:pt x="49500" y="19323"/>
                      <a:pt x="43326" y="23744"/>
                    </a:cubicBezTo>
                    <a:cubicBezTo>
                      <a:pt x="39322" y="26831"/>
                      <a:pt x="35818" y="29917"/>
                      <a:pt x="32231" y="33504"/>
                    </a:cubicBezTo>
                    <a:cubicBezTo>
                      <a:pt x="28226" y="37008"/>
                      <a:pt x="24222" y="41012"/>
                      <a:pt x="20301" y="44599"/>
                    </a:cubicBezTo>
                    <a:cubicBezTo>
                      <a:pt x="17631" y="47269"/>
                      <a:pt x="14544" y="49938"/>
                      <a:pt x="12792" y="53442"/>
                    </a:cubicBezTo>
                    <a:cubicBezTo>
                      <a:pt x="8371" y="62284"/>
                      <a:pt x="12792" y="73379"/>
                      <a:pt x="9288" y="82222"/>
                    </a:cubicBezTo>
                    <a:cubicBezTo>
                      <a:pt x="7536" y="86643"/>
                      <a:pt x="3949" y="89730"/>
                      <a:pt x="1780" y="94151"/>
                    </a:cubicBezTo>
                    <a:cubicBezTo>
                      <a:pt x="-1307" y="101242"/>
                      <a:pt x="28" y="109250"/>
                      <a:pt x="2698" y="116758"/>
                    </a:cubicBezTo>
                    <a:cubicBezTo>
                      <a:pt x="5367" y="123849"/>
                      <a:pt x="9372" y="130939"/>
                      <a:pt x="11124" y="138030"/>
                    </a:cubicBezTo>
                    <a:cubicBezTo>
                      <a:pt x="12458" y="144704"/>
                      <a:pt x="12875" y="151795"/>
                      <a:pt x="16880" y="156633"/>
                    </a:cubicBezTo>
                    <a:cubicBezTo>
                      <a:pt x="19132" y="159302"/>
                      <a:pt x="22219" y="161054"/>
                      <a:pt x="24889" y="163307"/>
                    </a:cubicBezTo>
                    <a:cubicBezTo>
                      <a:pt x="30646" y="168646"/>
                      <a:pt x="33315" y="176153"/>
                      <a:pt x="35985" y="183661"/>
                    </a:cubicBezTo>
                    <a:cubicBezTo>
                      <a:pt x="38655" y="190752"/>
                      <a:pt x="43076" y="198260"/>
                      <a:pt x="50584" y="200929"/>
                    </a:cubicBezTo>
                    <a:cubicBezTo>
                      <a:pt x="52837" y="201847"/>
                      <a:pt x="55423" y="201847"/>
                      <a:pt x="57676" y="203182"/>
                    </a:cubicBezTo>
                    <a:cubicBezTo>
                      <a:pt x="61180" y="205434"/>
                      <a:pt x="62514" y="209855"/>
                      <a:pt x="65184" y="212942"/>
                    </a:cubicBezTo>
                    <a:cubicBezTo>
                      <a:pt x="67854" y="216028"/>
                      <a:pt x="71858" y="218281"/>
                      <a:pt x="75779" y="219616"/>
                    </a:cubicBezTo>
                    <a:cubicBezTo>
                      <a:pt x="81953" y="221868"/>
                      <a:pt x="89045" y="222285"/>
                      <a:pt x="94801" y="218698"/>
                    </a:cubicBezTo>
                    <a:cubicBezTo>
                      <a:pt x="100975" y="215194"/>
                      <a:pt x="103227" y="207603"/>
                      <a:pt x="105396" y="201013"/>
                    </a:cubicBezTo>
                    <a:cubicBezTo>
                      <a:pt x="107649" y="193922"/>
                      <a:pt x="109817" y="186414"/>
                      <a:pt x="109817" y="178906"/>
                    </a:cubicBezTo>
                    <a:cubicBezTo>
                      <a:pt x="109817" y="170898"/>
                      <a:pt x="107565" y="162556"/>
                      <a:pt x="103143" y="155882"/>
                    </a:cubicBezTo>
                    <a:cubicBezTo>
                      <a:pt x="97387" y="146539"/>
                      <a:pt x="96970" y="140783"/>
                      <a:pt x="103143" y="131523"/>
                    </a:cubicBezTo>
                    <a:cubicBezTo>
                      <a:pt x="106647" y="126185"/>
                      <a:pt x="111570" y="121346"/>
                      <a:pt x="115073" y="116007"/>
                    </a:cubicBezTo>
                    <a:cubicBezTo>
                      <a:pt x="118577" y="110251"/>
                      <a:pt x="119495" y="104078"/>
                      <a:pt x="119495" y="97404"/>
                    </a:cubicBezTo>
                    <a:cubicBezTo>
                      <a:pt x="119495" y="92066"/>
                      <a:pt x="119078" y="86810"/>
                      <a:pt x="119495" y="81888"/>
                    </a:cubicBezTo>
                    <a:cubicBezTo>
                      <a:pt x="120413" y="76466"/>
                      <a:pt x="123083" y="72462"/>
                      <a:pt x="124417" y="676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82198487" name="Полилиния 448"/>
              <p:cNvSpPr/>
              <p:nvPr/>
            </p:nvSpPr>
            <p:spPr bwMode="auto">
              <a:xfrm>
                <a:off x="9310930" y="1335074"/>
                <a:ext cx="81995" cy="77631"/>
              </a:xfrm>
              <a:custGeom>
                <a:avLst/>
                <a:gdLst>
                  <a:gd name="connsiteX0" fmla="*/ 82920 w 92084"/>
                  <a:gd name="connsiteY0" fmla="*/ 56674 h 87183"/>
                  <a:gd name="connsiteX1" fmla="*/ 91347 w 92084"/>
                  <a:gd name="connsiteY1" fmla="*/ 32732 h 87183"/>
                  <a:gd name="connsiteX2" fmla="*/ 90429 w 92084"/>
                  <a:gd name="connsiteY2" fmla="*/ 23389 h 87183"/>
                  <a:gd name="connsiteX3" fmla="*/ 83338 w 92084"/>
                  <a:gd name="connsiteY3" fmla="*/ 19885 h 87183"/>
                  <a:gd name="connsiteX4" fmla="*/ 75829 w 92084"/>
                  <a:gd name="connsiteY4" fmla="*/ 12377 h 87183"/>
                  <a:gd name="connsiteX5" fmla="*/ 65235 w 92084"/>
                  <a:gd name="connsiteY5" fmla="*/ 1282 h 87183"/>
                  <a:gd name="connsiteX6" fmla="*/ 43544 w 92084"/>
                  <a:gd name="connsiteY6" fmla="*/ 7956 h 87183"/>
                  <a:gd name="connsiteX7" fmla="*/ 36869 w 92084"/>
                  <a:gd name="connsiteY7" fmla="*/ 13712 h 87183"/>
                  <a:gd name="connsiteX8" fmla="*/ 34200 w 92084"/>
                  <a:gd name="connsiteY8" fmla="*/ 16381 h 87183"/>
                  <a:gd name="connsiteX9" fmla="*/ 27108 w 92084"/>
                  <a:gd name="connsiteY9" fmla="*/ 23055 h 87183"/>
                  <a:gd name="connsiteX10" fmla="*/ 16513 w 92084"/>
                  <a:gd name="connsiteY10" fmla="*/ 29729 h 87183"/>
                  <a:gd name="connsiteX11" fmla="*/ 2330 w 92084"/>
                  <a:gd name="connsiteY11" fmla="*/ 49249 h 87183"/>
                  <a:gd name="connsiteX12" fmla="*/ 78 w 92084"/>
                  <a:gd name="connsiteY12" fmla="*/ 60761 h 87183"/>
                  <a:gd name="connsiteX13" fmla="*/ 11173 w 92084"/>
                  <a:gd name="connsiteY13" fmla="*/ 81116 h 87183"/>
                  <a:gd name="connsiteX14" fmla="*/ 16513 w 92084"/>
                  <a:gd name="connsiteY14" fmla="*/ 85954 h 87183"/>
                  <a:gd name="connsiteX15" fmla="*/ 32447 w 92084"/>
                  <a:gd name="connsiteY15" fmla="*/ 84619 h 87183"/>
                  <a:gd name="connsiteX16" fmla="*/ 82920 w 92084"/>
                  <a:gd name="connsiteY16" fmla="*/ 56674 h 87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2084" h="87183" extrusionOk="0">
                    <a:moveTo>
                      <a:pt x="82920" y="56674"/>
                    </a:moveTo>
                    <a:cubicBezTo>
                      <a:pt x="87343" y="49583"/>
                      <a:pt x="89595" y="41157"/>
                      <a:pt x="91347" y="32732"/>
                    </a:cubicBezTo>
                    <a:cubicBezTo>
                      <a:pt x="92264" y="29645"/>
                      <a:pt x="92682" y="26058"/>
                      <a:pt x="90429" y="23389"/>
                    </a:cubicBezTo>
                    <a:cubicBezTo>
                      <a:pt x="88677" y="21637"/>
                      <a:pt x="85590" y="21136"/>
                      <a:pt x="83338" y="19885"/>
                    </a:cubicBezTo>
                    <a:cubicBezTo>
                      <a:pt x="80251" y="18133"/>
                      <a:pt x="77999" y="15047"/>
                      <a:pt x="75829" y="12377"/>
                    </a:cubicBezTo>
                    <a:cubicBezTo>
                      <a:pt x="72743" y="7956"/>
                      <a:pt x="69656" y="3952"/>
                      <a:pt x="65235" y="1282"/>
                    </a:cubicBezTo>
                    <a:cubicBezTo>
                      <a:pt x="57225" y="-2722"/>
                      <a:pt x="49717" y="3535"/>
                      <a:pt x="43544" y="7956"/>
                    </a:cubicBezTo>
                    <a:cubicBezTo>
                      <a:pt x="41291" y="9708"/>
                      <a:pt x="39121" y="11960"/>
                      <a:pt x="36869" y="13712"/>
                    </a:cubicBezTo>
                    <a:cubicBezTo>
                      <a:pt x="35951" y="14630"/>
                      <a:pt x="35117" y="15464"/>
                      <a:pt x="34200" y="16381"/>
                    </a:cubicBezTo>
                    <a:cubicBezTo>
                      <a:pt x="31113" y="19885"/>
                      <a:pt x="31530" y="21220"/>
                      <a:pt x="27108" y="23055"/>
                    </a:cubicBezTo>
                    <a:cubicBezTo>
                      <a:pt x="23104" y="24807"/>
                      <a:pt x="20017" y="27059"/>
                      <a:pt x="16513" y="29729"/>
                    </a:cubicBezTo>
                    <a:cubicBezTo>
                      <a:pt x="10339" y="35068"/>
                      <a:pt x="5417" y="41658"/>
                      <a:pt x="2330" y="49249"/>
                    </a:cubicBezTo>
                    <a:cubicBezTo>
                      <a:pt x="996" y="52753"/>
                      <a:pt x="-339" y="56757"/>
                      <a:pt x="78" y="60761"/>
                    </a:cubicBezTo>
                    <a:cubicBezTo>
                      <a:pt x="495" y="68769"/>
                      <a:pt x="5835" y="74943"/>
                      <a:pt x="11173" y="81116"/>
                    </a:cubicBezTo>
                    <a:cubicBezTo>
                      <a:pt x="12926" y="82867"/>
                      <a:pt x="14260" y="84619"/>
                      <a:pt x="16513" y="85954"/>
                    </a:cubicBezTo>
                    <a:cubicBezTo>
                      <a:pt x="21352" y="88624"/>
                      <a:pt x="27108" y="86371"/>
                      <a:pt x="32447" y="84619"/>
                    </a:cubicBezTo>
                    <a:cubicBezTo>
                      <a:pt x="48382" y="78446"/>
                      <a:pt x="73660" y="71356"/>
                      <a:pt x="82920" y="5667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3983210" name="Полилиния 449"/>
              <p:cNvSpPr/>
              <p:nvPr/>
            </p:nvSpPr>
            <p:spPr bwMode="auto">
              <a:xfrm>
                <a:off x="8070108" y="2013489"/>
                <a:ext cx="137956" cy="130964"/>
              </a:xfrm>
              <a:custGeom>
                <a:avLst/>
                <a:gdLst>
                  <a:gd name="connsiteX0" fmla="*/ 125724 w 154930"/>
                  <a:gd name="connsiteY0" fmla="*/ 11959 h 147078"/>
                  <a:gd name="connsiteX1" fmla="*/ 59316 w 154930"/>
                  <a:gd name="connsiteY1" fmla="*/ 1782 h 147078"/>
                  <a:gd name="connsiteX2" fmla="*/ 28281 w 154930"/>
                  <a:gd name="connsiteY2" fmla="*/ 1782 h 147078"/>
                  <a:gd name="connsiteX3" fmla="*/ 15017 w 154930"/>
                  <a:gd name="connsiteY3" fmla="*/ 19968 h 147078"/>
                  <a:gd name="connsiteX4" fmla="*/ 4421 w 154930"/>
                  <a:gd name="connsiteY4" fmla="*/ 74024 h 147078"/>
                  <a:gd name="connsiteX5" fmla="*/ 0 w 154930"/>
                  <a:gd name="connsiteY5" fmla="*/ 145766 h 147078"/>
                  <a:gd name="connsiteX6" fmla="*/ 36291 w 154930"/>
                  <a:gd name="connsiteY6" fmla="*/ 111647 h 147078"/>
                  <a:gd name="connsiteX7" fmla="*/ 69494 w 154930"/>
                  <a:gd name="connsiteY7" fmla="*/ 105891 h 147078"/>
                  <a:gd name="connsiteX8" fmla="*/ 101864 w 154930"/>
                  <a:gd name="connsiteY8" fmla="*/ 91292 h 147078"/>
                  <a:gd name="connsiteX9" fmla="*/ 154173 w 154930"/>
                  <a:gd name="connsiteY9" fmla="*/ 55004 h 147078"/>
                  <a:gd name="connsiteX10" fmla="*/ 125724 w 154930"/>
                  <a:gd name="connsiteY10" fmla="*/ 11959 h 147078"/>
                  <a:gd name="connsiteX11" fmla="*/ 125724 w 154930"/>
                  <a:gd name="connsiteY11" fmla="*/ 11959 h 147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930" h="147078" extrusionOk="0">
                    <a:moveTo>
                      <a:pt x="125724" y="11959"/>
                    </a:moveTo>
                    <a:cubicBezTo>
                      <a:pt x="108455" y="864"/>
                      <a:pt x="79172" y="3534"/>
                      <a:pt x="59316" y="1782"/>
                    </a:cubicBezTo>
                    <a:cubicBezTo>
                      <a:pt x="50473" y="864"/>
                      <a:pt x="37625" y="-1722"/>
                      <a:pt x="28281" y="1782"/>
                    </a:cubicBezTo>
                    <a:cubicBezTo>
                      <a:pt x="17186" y="5786"/>
                      <a:pt x="18937" y="10207"/>
                      <a:pt x="15017" y="19968"/>
                    </a:cubicBezTo>
                    <a:cubicBezTo>
                      <a:pt x="5673" y="41657"/>
                      <a:pt x="-5840" y="47913"/>
                      <a:pt x="4421" y="74024"/>
                    </a:cubicBezTo>
                    <a:cubicBezTo>
                      <a:pt x="14600" y="100635"/>
                      <a:pt x="11096" y="120072"/>
                      <a:pt x="0" y="145766"/>
                    </a:cubicBezTo>
                    <a:cubicBezTo>
                      <a:pt x="16351" y="154608"/>
                      <a:pt x="23943" y="116068"/>
                      <a:pt x="36291" y="111647"/>
                    </a:cubicBezTo>
                    <a:cubicBezTo>
                      <a:pt x="46885" y="107642"/>
                      <a:pt x="58399" y="110312"/>
                      <a:pt x="69494" y="105891"/>
                    </a:cubicBezTo>
                    <a:cubicBezTo>
                      <a:pt x="80590" y="101469"/>
                      <a:pt x="91185" y="95713"/>
                      <a:pt x="101864" y="91292"/>
                    </a:cubicBezTo>
                    <a:cubicBezTo>
                      <a:pt x="119550" y="83784"/>
                      <a:pt x="148416" y="76193"/>
                      <a:pt x="154173" y="55004"/>
                    </a:cubicBezTo>
                    <a:cubicBezTo>
                      <a:pt x="158928" y="35484"/>
                      <a:pt x="140323" y="21719"/>
                      <a:pt x="125724" y="11959"/>
                    </a:cubicBezTo>
                    <a:cubicBezTo>
                      <a:pt x="119550" y="7538"/>
                      <a:pt x="129729" y="14629"/>
                      <a:pt x="125724" y="1195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16176992" name="Полилиния 450"/>
              <p:cNvSpPr/>
              <p:nvPr/>
            </p:nvSpPr>
            <p:spPr bwMode="auto">
              <a:xfrm>
                <a:off x="8001972" y="2013618"/>
                <a:ext cx="50265" cy="50908"/>
              </a:xfrm>
              <a:custGeom>
                <a:avLst/>
                <a:gdLst>
                  <a:gd name="connsiteX0" fmla="*/ 2434 w 56449"/>
                  <a:gd name="connsiteY0" fmla="*/ 39258 h 57173"/>
                  <a:gd name="connsiteX1" fmla="*/ 54243 w 56449"/>
                  <a:gd name="connsiteY1" fmla="*/ 19320 h 57173"/>
                  <a:gd name="connsiteX2" fmla="*/ 2434 w 56449"/>
                  <a:gd name="connsiteY2" fmla="*/ 39258 h 57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449" h="57173" extrusionOk="0">
                    <a:moveTo>
                      <a:pt x="2434" y="39258"/>
                    </a:moveTo>
                    <a:cubicBezTo>
                      <a:pt x="-11748" y="3387"/>
                      <a:pt x="40060" y="-17468"/>
                      <a:pt x="54243" y="19320"/>
                    </a:cubicBezTo>
                    <a:cubicBezTo>
                      <a:pt x="67591" y="53439"/>
                      <a:pt x="16617" y="73877"/>
                      <a:pt x="2434" y="3925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1977764" name="Полилиния 451"/>
              <p:cNvSpPr/>
              <p:nvPr/>
            </p:nvSpPr>
            <p:spPr bwMode="auto">
              <a:xfrm>
                <a:off x="7844555" y="2159032"/>
                <a:ext cx="47129" cy="32153"/>
              </a:xfrm>
              <a:custGeom>
                <a:avLst/>
                <a:gdLst>
                  <a:gd name="connsiteX0" fmla="*/ 29969 w 52929"/>
                  <a:gd name="connsiteY0" fmla="*/ 2669 h 36110"/>
                  <a:gd name="connsiteX1" fmla="*/ 15370 w 52929"/>
                  <a:gd name="connsiteY1" fmla="*/ 0 h 36110"/>
                  <a:gd name="connsiteX2" fmla="*/ 4774 w 52929"/>
                  <a:gd name="connsiteY2" fmla="*/ 1335 h 36110"/>
                  <a:gd name="connsiteX3" fmla="*/ 353 w 52929"/>
                  <a:gd name="connsiteY3" fmla="*/ 10177 h 36110"/>
                  <a:gd name="connsiteX4" fmla="*/ 12283 w 52929"/>
                  <a:gd name="connsiteY4" fmla="*/ 16350 h 36110"/>
                  <a:gd name="connsiteX5" fmla="*/ 50826 w 52929"/>
                  <a:gd name="connsiteY5" fmla="*/ 33618 h 36110"/>
                  <a:gd name="connsiteX6" fmla="*/ 29969 w 52929"/>
                  <a:gd name="connsiteY6" fmla="*/ 2669 h 3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929" h="36110" extrusionOk="0">
                    <a:moveTo>
                      <a:pt x="29969" y="2669"/>
                    </a:moveTo>
                    <a:cubicBezTo>
                      <a:pt x="25548" y="417"/>
                      <a:pt x="20208" y="0"/>
                      <a:pt x="15370" y="0"/>
                    </a:cubicBezTo>
                    <a:cubicBezTo>
                      <a:pt x="11865" y="0"/>
                      <a:pt x="7861" y="0"/>
                      <a:pt x="4774" y="1335"/>
                    </a:cubicBezTo>
                    <a:cubicBezTo>
                      <a:pt x="1687" y="3087"/>
                      <a:pt x="-983" y="7091"/>
                      <a:pt x="353" y="10177"/>
                    </a:cubicBezTo>
                    <a:cubicBezTo>
                      <a:pt x="4774" y="10594"/>
                      <a:pt x="8779" y="13264"/>
                      <a:pt x="12283" y="16350"/>
                    </a:cubicBezTo>
                    <a:cubicBezTo>
                      <a:pt x="18957" y="21689"/>
                      <a:pt x="41482" y="43379"/>
                      <a:pt x="50826" y="33618"/>
                    </a:cubicBezTo>
                    <a:cubicBezTo>
                      <a:pt x="60086" y="24359"/>
                      <a:pt x="36142" y="5756"/>
                      <a:pt x="29969" y="266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80583224" name="Полилиния 452"/>
              <p:cNvSpPr/>
              <p:nvPr/>
            </p:nvSpPr>
            <p:spPr bwMode="auto">
              <a:xfrm>
                <a:off x="7696419" y="1950120"/>
                <a:ext cx="49628" cy="69367"/>
              </a:xfrm>
              <a:custGeom>
                <a:avLst/>
                <a:gdLst>
                  <a:gd name="connsiteX0" fmla="*/ 21385 w 55736"/>
                  <a:gd name="connsiteY0" fmla="*/ 53009 h 77903"/>
                  <a:gd name="connsiteX1" fmla="*/ 55507 w 55736"/>
                  <a:gd name="connsiteY1" fmla="*/ 61434 h 77903"/>
                  <a:gd name="connsiteX2" fmla="*/ 28893 w 55736"/>
                  <a:gd name="connsiteY2" fmla="*/ 7378 h 77903"/>
                  <a:gd name="connsiteX3" fmla="*/ 111 w 55736"/>
                  <a:gd name="connsiteY3" fmla="*/ 13551 h 77903"/>
                  <a:gd name="connsiteX4" fmla="*/ 21385 w 55736"/>
                  <a:gd name="connsiteY4" fmla="*/ 53009 h 77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77903" extrusionOk="0">
                    <a:moveTo>
                      <a:pt x="21385" y="53009"/>
                    </a:moveTo>
                    <a:cubicBezTo>
                      <a:pt x="31146" y="68525"/>
                      <a:pt x="51501" y="95553"/>
                      <a:pt x="55507" y="61434"/>
                    </a:cubicBezTo>
                    <a:cubicBezTo>
                      <a:pt x="57758" y="43749"/>
                      <a:pt x="43076" y="18890"/>
                      <a:pt x="28893" y="7378"/>
                    </a:cubicBezTo>
                    <a:cubicBezTo>
                      <a:pt x="17797" y="-1465"/>
                      <a:pt x="-1641" y="-5469"/>
                      <a:pt x="111" y="13551"/>
                    </a:cubicBezTo>
                    <a:cubicBezTo>
                      <a:pt x="1862" y="27315"/>
                      <a:pt x="14293" y="41497"/>
                      <a:pt x="21385" y="5300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4185204" name="Полилиния 453"/>
              <p:cNvSpPr/>
              <p:nvPr/>
            </p:nvSpPr>
            <p:spPr bwMode="auto">
              <a:xfrm>
                <a:off x="7742130" y="1739844"/>
                <a:ext cx="300520" cy="283568"/>
              </a:xfrm>
              <a:custGeom>
                <a:avLst/>
                <a:gdLst>
                  <a:gd name="connsiteX0" fmla="*/ 213657 w 337495"/>
                  <a:gd name="connsiteY0" fmla="*/ 249782 h 318457"/>
                  <a:gd name="connsiteX1" fmla="*/ 192800 w 337495"/>
                  <a:gd name="connsiteY1" fmla="*/ 264381 h 318457"/>
                  <a:gd name="connsiteX2" fmla="*/ 198139 w 337495"/>
                  <a:gd name="connsiteY2" fmla="*/ 303338 h 318457"/>
                  <a:gd name="connsiteX3" fmla="*/ 162683 w 337495"/>
                  <a:gd name="connsiteY3" fmla="*/ 314850 h 318457"/>
                  <a:gd name="connsiteX4" fmla="*/ 138322 w 337495"/>
                  <a:gd name="connsiteY4" fmla="*/ 317937 h 318457"/>
                  <a:gd name="connsiteX5" fmla="*/ 116214 w 337495"/>
                  <a:gd name="connsiteY5" fmla="*/ 305090 h 318457"/>
                  <a:gd name="connsiteX6" fmla="*/ 48889 w 337495"/>
                  <a:gd name="connsiteY6" fmla="*/ 275893 h 318457"/>
                  <a:gd name="connsiteX7" fmla="*/ 48889 w 337495"/>
                  <a:gd name="connsiteY7" fmla="*/ 243108 h 318457"/>
                  <a:gd name="connsiteX8" fmla="*/ 17854 w 337495"/>
                  <a:gd name="connsiteY8" fmla="*/ 209907 h 318457"/>
                  <a:gd name="connsiteX9" fmla="*/ 15601 w 337495"/>
                  <a:gd name="connsiteY9" fmla="*/ 193056 h 318457"/>
                  <a:gd name="connsiteX10" fmla="*/ 3171 w 337495"/>
                  <a:gd name="connsiteY10" fmla="*/ 183713 h 318457"/>
                  <a:gd name="connsiteX11" fmla="*/ 4505 w 337495"/>
                  <a:gd name="connsiteY11" fmla="*/ 152681 h 318457"/>
                  <a:gd name="connsiteX12" fmla="*/ 13849 w 337495"/>
                  <a:gd name="connsiteY12" fmla="*/ 135830 h 318457"/>
                  <a:gd name="connsiteX13" fmla="*/ 12098 w 337495"/>
                  <a:gd name="connsiteY13" fmla="*/ 116309 h 318457"/>
                  <a:gd name="connsiteX14" fmla="*/ 41797 w 337495"/>
                  <a:gd name="connsiteY14" fmla="*/ 110553 h 318457"/>
                  <a:gd name="connsiteX15" fmla="*/ 78588 w 337495"/>
                  <a:gd name="connsiteY15" fmla="*/ 111471 h 318457"/>
                  <a:gd name="connsiteX16" fmla="*/ 94523 w 337495"/>
                  <a:gd name="connsiteY16" fmla="*/ 124318 h 318457"/>
                  <a:gd name="connsiteX17" fmla="*/ 107370 w 337495"/>
                  <a:gd name="connsiteY17" fmla="*/ 115892 h 318457"/>
                  <a:gd name="connsiteX18" fmla="*/ 134818 w 337495"/>
                  <a:gd name="connsiteY18" fmla="*/ 131826 h 318457"/>
                  <a:gd name="connsiteX19" fmla="*/ 144996 w 337495"/>
                  <a:gd name="connsiteY19" fmla="*/ 106549 h 318457"/>
                  <a:gd name="connsiteX20" fmla="*/ 129896 w 337495"/>
                  <a:gd name="connsiteY20" fmla="*/ 97206 h 318457"/>
                  <a:gd name="connsiteX21" fmla="*/ 124557 w 337495"/>
                  <a:gd name="connsiteY21" fmla="*/ 87029 h 318457"/>
                  <a:gd name="connsiteX22" fmla="*/ 105035 w 337495"/>
                  <a:gd name="connsiteY22" fmla="*/ 64005 h 318457"/>
                  <a:gd name="connsiteX23" fmla="*/ 161765 w 337495"/>
                  <a:gd name="connsiteY23" fmla="*/ 44067 h 318457"/>
                  <a:gd name="connsiteX24" fmla="*/ 226004 w 337495"/>
                  <a:gd name="connsiteY24" fmla="*/ 11283 h 318457"/>
                  <a:gd name="connsiteX25" fmla="*/ 275642 w 337495"/>
                  <a:gd name="connsiteY25" fmla="*/ 1940 h 318457"/>
                  <a:gd name="connsiteX26" fmla="*/ 301338 w 337495"/>
                  <a:gd name="connsiteY26" fmla="*/ 1022 h 318457"/>
                  <a:gd name="connsiteX27" fmla="*/ 306677 w 337495"/>
                  <a:gd name="connsiteY27" fmla="*/ 11199 h 318457"/>
                  <a:gd name="connsiteX28" fmla="*/ 302673 w 337495"/>
                  <a:gd name="connsiteY28" fmla="*/ 25798 h 318457"/>
                  <a:gd name="connsiteX29" fmla="*/ 313769 w 337495"/>
                  <a:gd name="connsiteY29" fmla="*/ 41314 h 318457"/>
                  <a:gd name="connsiteX30" fmla="*/ 335877 w 337495"/>
                  <a:gd name="connsiteY30" fmla="*/ 71012 h 318457"/>
                  <a:gd name="connsiteX31" fmla="*/ 328786 w 337495"/>
                  <a:gd name="connsiteY31" fmla="*/ 100209 h 318457"/>
                  <a:gd name="connsiteX32" fmla="*/ 284903 w 337495"/>
                  <a:gd name="connsiteY32" fmla="*/ 127654 h 318457"/>
                  <a:gd name="connsiteX33" fmla="*/ 228673 w 337495"/>
                  <a:gd name="connsiteY33" fmla="*/ 93953 h 318457"/>
                  <a:gd name="connsiteX34" fmla="*/ 216242 w 337495"/>
                  <a:gd name="connsiteY34" fmla="*/ 55412 h 318457"/>
                  <a:gd name="connsiteX35" fmla="*/ 187877 w 337495"/>
                  <a:gd name="connsiteY35" fmla="*/ 75350 h 318457"/>
                  <a:gd name="connsiteX36" fmla="*/ 215325 w 337495"/>
                  <a:gd name="connsiteY36" fmla="*/ 109886 h 318457"/>
                  <a:gd name="connsiteX37" fmla="*/ 260041 w 337495"/>
                  <a:gd name="connsiteY37" fmla="*/ 135997 h 318457"/>
                  <a:gd name="connsiteX38" fmla="*/ 311433 w 337495"/>
                  <a:gd name="connsiteY38" fmla="*/ 127571 h 318457"/>
                  <a:gd name="connsiteX39" fmla="*/ 321194 w 337495"/>
                  <a:gd name="connsiteY39" fmla="*/ 147509 h 318457"/>
                  <a:gd name="connsiteX40" fmla="*/ 307429 w 337495"/>
                  <a:gd name="connsiteY40" fmla="*/ 162107 h 318457"/>
                  <a:gd name="connsiteX41" fmla="*/ 292328 w 337495"/>
                  <a:gd name="connsiteY41" fmla="*/ 184714 h 318457"/>
                  <a:gd name="connsiteX42" fmla="*/ 265298 w 337495"/>
                  <a:gd name="connsiteY42" fmla="*/ 183797 h 318457"/>
                  <a:gd name="connsiteX43" fmla="*/ 213657 w 337495"/>
                  <a:gd name="connsiteY43" fmla="*/ 249782 h 318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37495" h="318457" extrusionOk="0">
                    <a:moveTo>
                      <a:pt x="213657" y="249782"/>
                    </a:moveTo>
                    <a:cubicBezTo>
                      <a:pt x="202561" y="253286"/>
                      <a:pt x="188879" y="244443"/>
                      <a:pt x="192800" y="264381"/>
                    </a:cubicBezTo>
                    <a:cubicBezTo>
                      <a:pt x="195887" y="279480"/>
                      <a:pt x="217161" y="288739"/>
                      <a:pt x="198139" y="303338"/>
                    </a:cubicBezTo>
                    <a:cubicBezTo>
                      <a:pt x="189296" y="310012"/>
                      <a:pt x="172860" y="312181"/>
                      <a:pt x="162683" y="314850"/>
                    </a:cubicBezTo>
                    <a:cubicBezTo>
                      <a:pt x="155175" y="316602"/>
                      <a:pt x="146331" y="319688"/>
                      <a:pt x="138322" y="317937"/>
                    </a:cubicBezTo>
                    <a:cubicBezTo>
                      <a:pt x="128561" y="315684"/>
                      <a:pt x="125057" y="308176"/>
                      <a:pt x="116214" y="305090"/>
                    </a:cubicBezTo>
                    <a:cubicBezTo>
                      <a:pt x="100279" y="298917"/>
                      <a:pt x="47971" y="304673"/>
                      <a:pt x="48889" y="275893"/>
                    </a:cubicBezTo>
                    <a:cubicBezTo>
                      <a:pt x="49306" y="260376"/>
                      <a:pt x="63071" y="257707"/>
                      <a:pt x="48889" y="243108"/>
                    </a:cubicBezTo>
                    <a:cubicBezTo>
                      <a:pt x="36959" y="230679"/>
                      <a:pt x="22275" y="229344"/>
                      <a:pt x="17854" y="209907"/>
                    </a:cubicBezTo>
                    <a:cubicBezTo>
                      <a:pt x="16936" y="205486"/>
                      <a:pt x="18271" y="197477"/>
                      <a:pt x="15601" y="193056"/>
                    </a:cubicBezTo>
                    <a:cubicBezTo>
                      <a:pt x="12515" y="188218"/>
                      <a:pt x="5841" y="187717"/>
                      <a:pt x="3171" y="183713"/>
                    </a:cubicBezTo>
                    <a:cubicBezTo>
                      <a:pt x="-2586" y="175288"/>
                      <a:pt x="501" y="162024"/>
                      <a:pt x="4505" y="152681"/>
                    </a:cubicBezTo>
                    <a:cubicBezTo>
                      <a:pt x="6758" y="146925"/>
                      <a:pt x="12515" y="142086"/>
                      <a:pt x="13849" y="135830"/>
                    </a:cubicBezTo>
                    <a:cubicBezTo>
                      <a:pt x="15601" y="129156"/>
                      <a:pt x="12098" y="122983"/>
                      <a:pt x="12098" y="116309"/>
                    </a:cubicBezTo>
                    <a:cubicBezTo>
                      <a:pt x="13015" y="92868"/>
                      <a:pt x="28449" y="107884"/>
                      <a:pt x="41797" y="110553"/>
                    </a:cubicBezTo>
                    <a:cubicBezTo>
                      <a:pt x="54228" y="112806"/>
                      <a:pt x="66575" y="105214"/>
                      <a:pt x="78588" y="111471"/>
                    </a:cubicBezTo>
                    <a:cubicBezTo>
                      <a:pt x="84345" y="114557"/>
                      <a:pt x="87015" y="123400"/>
                      <a:pt x="94523" y="124318"/>
                    </a:cubicBezTo>
                    <a:cubicBezTo>
                      <a:pt x="104701" y="125235"/>
                      <a:pt x="100279" y="117227"/>
                      <a:pt x="107370" y="115892"/>
                    </a:cubicBezTo>
                    <a:cubicBezTo>
                      <a:pt x="123723" y="112388"/>
                      <a:pt x="121553" y="129156"/>
                      <a:pt x="134818" y="131826"/>
                    </a:cubicBezTo>
                    <a:cubicBezTo>
                      <a:pt x="149918" y="134912"/>
                      <a:pt x="151169" y="115475"/>
                      <a:pt x="144996" y="106549"/>
                    </a:cubicBezTo>
                    <a:cubicBezTo>
                      <a:pt x="142327" y="102545"/>
                      <a:pt x="133901" y="100793"/>
                      <a:pt x="129896" y="97206"/>
                    </a:cubicBezTo>
                    <a:cubicBezTo>
                      <a:pt x="127227" y="94954"/>
                      <a:pt x="127227" y="89698"/>
                      <a:pt x="124557" y="87029"/>
                    </a:cubicBezTo>
                    <a:cubicBezTo>
                      <a:pt x="116130" y="79020"/>
                      <a:pt x="106870" y="77268"/>
                      <a:pt x="105035" y="64005"/>
                    </a:cubicBezTo>
                    <a:cubicBezTo>
                      <a:pt x="100196" y="24130"/>
                      <a:pt x="143161" y="42732"/>
                      <a:pt x="161765" y="44067"/>
                    </a:cubicBezTo>
                    <a:cubicBezTo>
                      <a:pt x="192800" y="46319"/>
                      <a:pt x="201643" y="21043"/>
                      <a:pt x="226004" y="11283"/>
                    </a:cubicBezTo>
                    <a:cubicBezTo>
                      <a:pt x="241104" y="5110"/>
                      <a:pt x="259207" y="3274"/>
                      <a:pt x="275642" y="1940"/>
                    </a:cubicBezTo>
                    <a:cubicBezTo>
                      <a:pt x="281399" y="1523"/>
                      <a:pt x="295999" y="-1564"/>
                      <a:pt x="301338" y="1022"/>
                    </a:cubicBezTo>
                    <a:cubicBezTo>
                      <a:pt x="309764" y="5026"/>
                      <a:pt x="306177" y="2774"/>
                      <a:pt x="306677" y="11199"/>
                    </a:cubicBezTo>
                    <a:cubicBezTo>
                      <a:pt x="307095" y="15621"/>
                      <a:pt x="302256" y="20042"/>
                      <a:pt x="302673" y="25798"/>
                    </a:cubicBezTo>
                    <a:cubicBezTo>
                      <a:pt x="303590" y="33806"/>
                      <a:pt x="308012" y="36893"/>
                      <a:pt x="313769" y="41314"/>
                    </a:cubicBezTo>
                    <a:cubicBezTo>
                      <a:pt x="326617" y="51074"/>
                      <a:pt x="332790" y="54161"/>
                      <a:pt x="335877" y="71012"/>
                    </a:cubicBezTo>
                    <a:cubicBezTo>
                      <a:pt x="338547" y="85611"/>
                      <a:pt x="338964" y="90032"/>
                      <a:pt x="328786" y="100209"/>
                    </a:cubicBezTo>
                    <a:cubicBezTo>
                      <a:pt x="316355" y="113056"/>
                      <a:pt x="303507" y="125903"/>
                      <a:pt x="284903" y="127654"/>
                    </a:cubicBezTo>
                    <a:cubicBezTo>
                      <a:pt x="262795" y="129406"/>
                      <a:pt x="232595" y="117060"/>
                      <a:pt x="228673" y="93953"/>
                    </a:cubicBezTo>
                    <a:cubicBezTo>
                      <a:pt x="226922" y="83358"/>
                      <a:pt x="230926" y="59834"/>
                      <a:pt x="216242" y="55412"/>
                    </a:cubicBezTo>
                    <a:cubicBezTo>
                      <a:pt x="206899" y="52326"/>
                      <a:pt x="190547" y="67842"/>
                      <a:pt x="187877" y="75350"/>
                    </a:cubicBezTo>
                    <a:cubicBezTo>
                      <a:pt x="181203" y="94870"/>
                      <a:pt x="201643" y="103296"/>
                      <a:pt x="215325" y="109886"/>
                    </a:cubicBezTo>
                    <a:cubicBezTo>
                      <a:pt x="230425" y="117394"/>
                      <a:pt x="244107" y="129406"/>
                      <a:pt x="260041" y="135997"/>
                    </a:cubicBezTo>
                    <a:cubicBezTo>
                      <a:pt x="283485" y="145757"/>
                      <a:pt x="290576" y="128906"/>
                      <a:pt x="311433" y="127571"/>
                    </a:cubicBezTo>
                    <a:cubicBezTo>
                      <a:pt x="329120" y="126236"/>
                      <a:pt x="328702" y="137331"/>
                      <a:pt x="321194" y="147509"/>
                    </a:cubicBezTo>
                    <a:cubicBezTo>
                      <a:pt x="316772" y="152847"/>
                      <a:pt x="311433" y="156351"/>
                      <a:pt x="307429" y="162107"/>
                    </a:cubicBezTo>
                    <a:cubicBezTo>
                      <a:pt x="303006" y="168781"/>
                      <a:pt x="300754" y="181628"/>
                      <a:pt x="292328" y="184714"/>
                    </a:cubicBezTo>
                    <a:cubicBezTo>
                      <a:pt x="279898" y="189135"/>
                      <a:pt x="277228" y="172284"/>
                      <a:pt x="265298" y="183797"/>
                    </a:cubicBezTo>
                    <a:cubicBezTo>
                      <a:pt x="245526" y="202816"/>
                      <a:pt x="242022" y="240856"/>
                      <a:pt x="213657" y="24978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2781712" name="Полилиния 454"/>
              <p:cNvSpPr/>
              <p:nvPr/>
            </p:nvSpPr>
            <p:spPr bwMode="auto">
              <a:xfrm>
                <a:off x="8044079" y="1620951"/>
                <a:ext cx="194269" cy="129704"/>
              </a:xfrm>
              <a:custGeom>
                <a:avLst/>
                <a:gdLst>
                  <a:gd name="connsiteX0" fmla="*/ 782 w 218171"/>
                  <a:gd name="connsiteY0" fmla="*/ 98921 h 145663"/>
                  <a:gd name="connsiteX1" fmla="*/ 24225 w 218171"/>
                  <a:gd name="connsiteY1" fmla="*/ 100256 h 145663"/>
                  <a:gd name="connsiteX2" fmla="*/ 49921 w 218171"/>
                  <a:gd name="connsiteY2" fmla="*/ 85657 h 145663"/>
                  <a:gd name="connsiteX3" fmla="*/ 53425 w 218171"/>
                  <a:gd name="connsiteY3" fmla="*/ 68389 h 145663"/>
                  <a:gd name="connsiteX4" fmla="*/ 70693 w 218171"/>
                  <a:gd name="connsiteY4" fmla="*/ 56877 h 145663"/>
                  <a:gd name="connsiteX5" fmla="*/ 93720 w 218171"/>
                  <a:gd name="connsiteY5" fmla="*/ 58212 h 145663"/>
                  <a:gd name="connsiteX6" fmla="*/ 122085 w 218171"/>
                  <a:gd name="connsiteY6" fmla="*/ 40527 h 145663"/>
                  <a:gd name="connsiteX7" fmla="*/ 148197 w 218171"/>
                  <a:gd name="connsiteY7" fmla="*/ 13915 h 145663"/>
                  <a:gd name="connsiteX8" fmla="*/ 166801 w 218171"/>
                  <a:gd name="connsiteY8" fmla="*/ 15667 h 145663"/>
                  <a:gd name="connsiteX9" fmla="*/ 178314 w 218171"/>
                  <a:gd name="connsiteY9" fmla="*/ 7242 h 145663"/>
                  <a:gd name="connsiteX10" fmla="*/ 203092 w 218171"/>
                  <a:gd name="connsiteY10" fmla="*/ 12581 h 145663"/>
                  <a:gd name="connsiteX11" fmla="*/ 215940 w 218171"/>
                  <a:gd name="connsiteY11" fmla="*/ 53790 h 145663"/>
                  <a:gd name="connsiteX12" fmla="*/ 206179 w 218171"/>
                  <a:gd name="connsiteY12" fmla="*/ 63133 h 145663"/>
                  <a:gd name="connsiteX13" fmla="*/ 209266 w 218171"/>
                  <a:gd name="connsiteY13" fmla="*/ 80819 h 145663"/>
                  <a:gd name="connsiteX14" fmla="*/ 198170 w 218171"/>
                  <a:gd name="connsiteY14" fmla="*/ 94082 h 145663"/>
                  <a:gd name="connsiteX15" fmla="*/ 188409 w 218171"/>
                  <a:gd name="connsiteY15" fmla="*/ 111350 h 145663"/>
                  <a:gd name="connsiteX16" fmla="*/ 145862 w 218171"/>
                  <a:gd name="connsiteY16" fmla="*/ 133457 h 145663"/>
                  <a:gd name="connsiteX17" fmla="*/ 98058 w 218171"/>
                  <a:gd name="connsiteY17" fmla="*/ 138796 h 145663"/>
                  <a:gd name="connsiteX18" fmla="*/ 56011 w 218171"/>
                  <a:gd name="connsiteY18" fmla="*/ 141882 h 145663"/>
                  <a:gd name="connsiteX19" fmla="*/ 21472 w 218171"/>
                  <a:gd name="connsiteY19" fmla="*/ 138379 h 145663"/>
                  <a:gd name="connsiteX20" fmla="*/ 782 w 218171"/>
                  <a:gd name="connsiteY20" fmla="*/ 98921 h 145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8171" h="145663" extrusionOk="0">
                    <a:moveTo>
                      <a:pt x="782" y="98921"/>
                    </a:moveTo>
                    <a:cubicBezTo>
                      <a:pt x="-4974" y="82570"/>
                      <a:pt x="22890" y="100256"/>
                      <a:pt x="24225" y="100256"/>
                    </a:cubicBezTo>
                    <a:cubicBezTo>
                      <a:pt x="35321" y="102508"/>
                      <a:pt x="47251" y="94917"/>
                      <a:pt x="49921" y="85657"/>
                    </a:cubicBezTo>
                    <a:cubicBezTo>
                      <a:pt x="52173" y="79484"/>
                      <a:pt x="48168" y="74562"/>
                      <a:pt x="53425" y="68389"/>
                    </a:cubicBezTo>
                    <a:cubicBezTo>
                      <a:pt x="56928" y="64385"/>
                      <a:pt x="66689" y="60881"/>
                      <a:pt x="70693" y="56877"/>
                    </a:cubicBezTo>
                    <a:cubicBezTo>
                      <a:pt x="86629" y="42278"/>
                      <a:pt x="80872" y="46700"/>
                      <a:pt x="93720" y="58212"/>
                    </a:cubicBezTo>
                    <a:cubicBezTo>
                      <a:pt x="110989" y="73728"/>
                      <a:pt x="114075" y="51121"/>
                      <a:pt x="122085" y="40527"/>
                    </a:cubicBezTo>
                    <a:cubicBezTo>
                      <a:pt x="126924" y="33853"/>
                      <a:pt x="140689" y="17085"/>
                      <a:pt x="148197" y="13915"/>
                    </a:cubicBezTo>
                    <a:cubicBezTo>
                      <a:pt x="155706" y="10745"/>
                      <a:pt x="159710" y="17002"/>
                      <a:pt x="166801" y="15667"/>
                    </a:cubicBezTo>
                    <a:cubicBezTo>
                      <a:pt x="173476" y="14332"/>
                      <a:pt x="173476" y="11246"/>
                      <a:pt x="178314" y="7242"/>
                    </a:cubicBezTo>
                    <a:cubicBezTo>
                      <a:pt x="191162" y="-3353"/>
                      <a:pt x="193415" y="-2936"/>
                      <a:pt x="203092" y="12581"/>
                    </a:cubicBezTo>
                    <a:cubicBezTo>
                      <a:pt x="210183" y="24093"/>
                      <a:pt x="223449" y="39192"/>
                      <a:pt x="215940" y="53790"/>
                    </a:cubicBezTo>
                    <a:cubicBezTo>
                      <a:pt x="213270" y="58629"/>
                      <a:pt x="207931" y="57294"/>
                      <a:pt x="206179" y="63133"/>
                    </a:cubicBezTo>
                    <a:cubicBezTo>
                      <a:pt x="204845" y="68890"/>
                      <a:pt x="210183" y="75063"/>
                      <a:pt x="209266" y="80819"/>
                    </a:cubicBezTo>
                    <a:cubicBezTo>
                      <a:pt x="207931" y="89244"/>
                      <a:pt x="202592" y="88326"/>
                      <a:pt x="198170" y="94082"/>
                    </a:cubicBezTo>
                    <a:cubicBezTo>
                      <a:pt x="193748" y="99421"/>
                      <a:pt x="193331" y="106512"/>
                      <a:pt x="188409" y="111350"/>
                    </a:cubicBezTo>
                    <a:cubicBezTo>
                      <a:pt x="179065" y="121528"/>
                      <a:pt x="159210" y="131288"/>
                      <a:pt x="145862" y="133457"/>
                    </a:cubicBezTo>
                    <a:cubicBezTo>
                      <a:pt x="126840" y="136544"/>
                      <a:pt x="116161" y="130370"/>
                      <a:pt x="98058" y="138796"/>
                    </a:cubicBezTo>
                    <a:cubicBezTo>
                      <a:pt x="83458" y="145469"/>
                      <a:pt x="71028" y="139713"/>
                      <a:pt x="56011" y="141882"/>
                    </a:cubicBezTo>
                    <a:cubicBezTo>
                      <a:pt x="41828" y="144135"/>
                      <a:pt x="32985" y="150725"/>
                      <a:pt x="21472" y="138379"/>
                    </a:cubicBezTo>
                    <a:cubicBezTo>
                      <a:pt x="14547" y="129870"/>
                      <a:pt x="4369" y="109515"/>
                      <a:pt x="782" y="98921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6829692" name="Полилиния 455"/>
              <p:cNvSpPr/>
              <p:nvPr/>
            </p:nvSpPr>
            <p:spPr bwMode="auto">
              <a:xfrm>
                <a:off x="7965137" y="1495305"/>
                <a:ext cx="23115" cy="42720"/>
              </a:xfrm>
              <a:custGeom>
                <a:avLst/>
                <a:gdLst>
                  <a:gd name="connsiteX0" fmla="*/ 19441 w 25960"/>
                  <a:gd name="connsiteY0" fmla="*/ 24718 h 47977"/>
                  <a:gd name="connsiteX1" fmla="*/ 23863 w 25960"/>
                  <a:gd name="connsiteY1" fmla="*/ 7867 h 47977"/>
                  <a:gd name="connsiteX2" fmla="*/ 6593 w 25960"/>
                  <a:gd name="connsiteY2" fmla="*/ 19796 h 47977"/>
                  <a:gd name="connsiteX3" fmla="*/ 419 w 25960"/>
                  <a:gd name="connsiteY3" fmla="*/ 43738 h 47977"/>
                  <a:gd name="connsiteX4" fmla="*/ 19441 w 25960"/>
                  <a:gd name="connsiteY4" fmla="*/ 24718 h 4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60" h="47977" extrusionOk="0">
                    <a:moveTo>
                      <a:pt x="19441" y="24718"/>
                    </a:moveTo>
                    <a:cubicBezTo>
                      <a:pt x="25197" y="19879"/>
                      <a:pt x="28284" y="16292"/>
                      <a:pt x="23863" y="7867"/>
                    </a:cubicBezTo>
                    <a:cubicBezTo>
                      <a:pt x="13685" y="-11654"/>
                      <a:pt x="8345" y="10119"/>
                      <a:pt x="6593" y="19796"/>
                    </a:cubicBezTo>
                    <a:cubicBezTo>
                      <a:pt x="5676" y="25135"/>
                      <a:pt x="-1833" y="39733"/>
                      <a:pt x="419" y="43738"/>
                    </a:cubicBezTo>
                    <a:cubicBezTo>
                      <a:pt x="10180" y="59254"/>
                      <a:pt x="16354" y="27387"/>
                      <a:pt x="19441" y="2471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23543610" name="Полилиния 456"/>
              <p:cNvSpPr/>
              <p:nvPr/>
            </p:nvSpPr>
            <p:spPr bwMode="auto">
              <a:xfrm>
                <a:off x="5620698" y="1851779"/>
                <a:ext cx="39523" cy="39318"/>
              </a:xfrm>
              <a:custGeom>
                <a:avLst/>
                <a:gdLst>
                  <a:gd name="connsiteX0" fmla="*/ 33389 w 44387"/>
                  <a:gd name="connsiteY0" fmla="*/ 16379 h 44157"/>
                  <a:gd name="connsiteX1" fmla="*/ 32472 w 44387"/>
                  <a:gd name="connsiteY1" fmla="*/ 11541 h 44157"/>
                  <a:gd name="connsiteX2" fmla="*/ 28467 w 44387"/>
                  <a:gd name="connsiteY2" fmla="*/ 8037 h 44157"/>
                  <a:gd name="connsiteX3" fmla="*/ 519 w 44387"/>
                  <a:gd name="connsiteY3" fmla="*/ 1363 h 44157"/>
                  <a:gd name="connsiteX4" fmla="*/ 102 w 44387"/>
                  <a:gd name="connsiteY4" fmla="*/ 11541 h 44157"/>
                  <a:gd name="connsiteX5" fmla="*/ 3189 w 44387"/>
                  <a:gd name="connsiteY5" fmla="*/ 20884 h 44157"/>
                  <a:gd name="connsiteX6" fmla="*/ 8027 w 44387"/>
                  <a:gd name="connsiteY6" fmla="*/ 23553 h 44157"/>
                  <a:gd name="connsiteX7" fmla="*/ 11531 w 44387"/>
                  <a:gd name="connsiteY7" fmla="*/ 27557 h 44157"/>
                  <a:gd name="connsiteX8" fmla="*/ 27049 w 44387"/>
                  <a:gd name="connsiteY8" fmla="*/ 42156 h 44157"/>
                  <a:gd name="connsiteX9" fmla="*/ 44318 w 44387"/>
                  <a:gd name="connsiteY9" fmla="*/ 34147 h 44157"/>
                  <a:gd name="connsiteX10" fmla="*/ 33389 w 44387"/>
                  <a:gd name="connsiteY10" fmla="*/ 16379 h 44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387" h="44157" extrusionOk="0">
                    <a:moveTo>
                      <a:pt x="33389" y="16379"/>
                    </a:moveTo>
                    <a:cubicBezTo>
                      <a:pt x="32972" y="14627"/>
                      <a:pt x="33389" y="13292"/>
                      <a:pt x="32472" y="11541"/>
                    </a:cubicBezTo>
                    <a:cubicBezTo>
                      <a:pt x="31554" y="9789"/>
                      <a:pt x="30219" y="8871"/>
                      <a:pt x="28467" y="8037"/>
                    </a:cubicBezTo>
                    <a:cubicBezTo>
                      <a:pt x="20041" y="2698"/>
                      <a:pt x="9446" y="-2558"/>
                      <a:pt x="519" y="1363"/>
                    </a:cubicBezTo>
                    <a:cubicBezTo>
                      <a:pt x="1437" y="4867"/>
                      <a:pt x="519" y="8454"/>
                      <a:pt x="102" y="11541"/>
                    </a:cubicBezTo>
                    <a:cubicBezTo>
                      <a:pt x="-315" y="15044"/>
                      <a:pt x="519" y="19048"/>
                      <a:pt x="3189" y="20884"/>
                    </a:cubicBezTo>
                    <a:cubicBezTo>
                      <a:pt x="4524" y="21801"/>
                      <a:pt x="6276" y="22218"/>
                      <a:pt x="8027" y="23553"/>
                    </a:cubicBezTo>
                    <a:cubicBezTo>
                      <a:pt x="9362" y="24471"/>
                      <a:pt x="10280" y="26223"/>
                      <a:pt x="11531" y="27557"/>
                    </a:cubicBezTo>
                    <a:cubicBezTo>
                      <a:pt x="15536" y="33313"/>
                      <a:pt x="21292" y="37734"/>
                      <a:pt x="27049" y="42156"/>
                    </a:cubicBezTo>
                    <a:cubicBezTo>
                      <a:pt x="33723" y="46994"/>
                      <a:pt x="42983" y="42573"/>
                      <a:pt x="44318" y="34147"/>
                    </a:cubicBezTo>
                    <a:cubicBezTo>
                      <a:pt x="45319" y="25221"/>
                      <a:pt x="35141" y="24387"/>
                      <a:pt x="33389" y="1637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81136197" name="Полилиния 457"/>
              <p:cNvSpPr/>
              <p:nvPr/>
            </p:nvSpPr>
            <p:spPr bwMode="auto">
              <a:xfrm>
                <a:off x="5733163" y="1643476"/>
                <a:ext cx="42350" cy="37368"/>
              </a:xfrm>
              <a:custGeom>
                <a:avLst/>
                <a:gdLst>
                  <a:gd name="connsiteX0" fmla="*/ 21798 w 47562"/>
                  <a:gd name="connsiteY0" fmla="*/ 2717 h 41967"/>
                  <a:gd name="connsiteX1" fmla="*/ 9367 w 47562"/>
                  <a:gd name="connsiteY1" fmla="*/ 5803 h 41967"/>
                  <a:gd name="connsiteX2" fmla="*/ 23 w 47562"/>
                  <a:gd name="connsiteY2" fmla="*/ 12894 h 41967"/>
                  <a:gd name="connsiteX3" fmla="*/ 8032 w 47562"/>
                  <a:gd name="connsiteY3" fmla="*/ 23071 h 41967"/>
                  <a:gd name="connsiteX4" fmla="*/ 20880 w 47562"/>
                  <a:gd name="connsiteY4" fmla="*/ 40757 h 41967"/>
                  <a:gd name="connsiteX5" fmla="*/ 34646 w 47562"/>
                  <a:gd name="connsiteY5" fmla="*/ 40340 h 41967"/>
                  <a:gd name="connsiteX6" fmla="*/ 42154 w 47562"/>
                  <a:gd name="connsiteY6" fmla="*/ 36836 h 41967"/>
                  <a:gd name="connsiteX7" fmla="*/ 45658 w 47562"/>
                  <a:gd name="connsiteY7" fmla="*/ 18650 h 41967"/>
                  <a:gd name="connsiteX8" fmla="*/ 45241 w 47562"/>
                  <a:gd name="connsiteY8" fmla="*/ 1799 h 41967"/>
                  <a:gd name="connsiteX9" fmla="*/ 36398 w 47562"/>
                  <a:gd name="connsiteY9" fmla="*/ 47 h 41967"/>
                  <a:gd name="connsiteX10" fmla="*/ 24884 w 47562"/>
                  <a:gd name="connsiteY10" fmla="*/ 464 h 41967"/>
                  <a:gd name="connsiteX11" fmla="*/ 21798 w 47562"/>
                  <a:gd name="connsiteY11" fmla="*/ 2717 h 41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562" h="41967" extrusionOk="0">
                    <a:moveTo>
                      <a:pt x="21798" y="2717"/>
                    </a:moveTo>
                    <a:cubicBezTo>
                      <a:pt x="17793" y="3635"/>
                      <a:pt x="13372" y="4969"/>
                      <a:pt x="9367" y="5803"/>
                    </a:cubicBezTo>
                    <a:cubicBezTo>
                      <a:pt x="5363" y="6721"/>
                      <a:pt x="23" y="8890"/>
                      <a:pt x="23" y="12894"/>
                    </a:cubicBezTo>
                    <a:cubicBezTo>
                      <a:pt x="-394" y="17315"/>
                      <a:pt x="4862" y="19985"/>
                      <a:pt x="8032" y="23071"/>
                    </a:cubicBezTo>
                    <a:cubicBezTo>
                      <a:pt x="13372" y="28410"/>
                      <a:pt x="14206" y="37670"/>
                      <a:pt x="20880" y="40757"/>
                    </a:cubicBezTo>
                    <a:cubicBezTo>
                      <a:pt x="25302" y="43009"/>
                      <a:pt x="30224" y="41674"/>
                      <a:pt x="34646" y="40340"/>
                    </a:cubicBezTo>
                    <a:cubicBezTo>
                      <a:pt x="37315" y="39422"/>
                      <a:pt x="39985" y="38588"/>
                      <a:pt x="42154" y="36836"/>
                    </a:cubicBezTo>
                    <a:cubicBezTo>
                      <a:pt x="46575" y="32415"/>
                      <a:pt x="44823" y="24907"/>
                      <a:pt x="45658" y="18650"/>
                    </a:cubicBezTo>
                    <a:cubicBezTo>
                      <a:pt x="46575" y="12894"/>
                      <a:pt x="49662" y="5803"/>
                      <a:pt x="45241" y="1799"/>
                    </a:cubicBezTo>
                    <a:cubicBezTo>
                      <a:pt x="42988" y="-453"/>
                      <a:pt x="39484" y="47"/>
                      <a:pt x="36398" y="47"/>
                    </a:cubicBezTo>
                    <a:cubicBezTo>
                      <a:pt x="32393" y="47"/>
                      <a:pt x="28889" y="464"/>
                      <a:pt x="24884" y="464"/>
                    </a:cubicBezTo>
                    <a:cubicBezTo>
                      <a:pt x="24050" y="965"/>
                      <a:pt x="22715" y="2300"/>
                      <a:pt x="21798" y="27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08406269" name="Полилиния 458"/>
              <p:cNvSpPr/>
              <p:nvPr/>
            </p:nvSpPr>
            <p:spPr bwMode="auto">
              <a:xfrm>
                <a:off x="6035384" y="1619452"/>
                <a:ext cx="39119" cy="31440"/>
              </a:xfrm>
              <a:custGeom>
                <a:avLst/>
                <a:gdLst>
                  <a:gd name="connsiteX0" fmla="*/ 43883 w 43933"/>
                  <a:gd name="connsiteY0" fmla="*/ 16434 h 35309"/>
                  <a:gd name="connsiteX1" fmla="*/ 37208 w 43933"/>
                  <a:gd name="connsiteY1" fmla="*/ 2670 h 35309"/>
                  <a:gd name="connsiteX2" fmla="*/ 34956 w 43933"/>
                  <a:gd name="connsiteY2" fmla="*/ 417 h 35309"/>
                  <a:gd name="connsiteX3" fmla="*/ 31452 w 43933"/>
                  <a:gd name="connsiteY3" fmla="*/ 0 h 35309"/>
                  <a:gd name="connsiteX4" fmla="*/ 12431 w 43933"/>
                  <a:gd name="connsiteY4" fmla="*/ 5756 h 35309"/>
                  <a:gd name="connsiteX5" fmla="*/ 8426 w 43933"/>
                  <a:gd name="connsiteY5" fmla="*/ 6173 h 35309"/>
                  <a:gd name="connsiteX6" fmla="*/ 1335 w 43933"/>
                  <a:gd name="connsiteY6" fmla="*/ 15016 h 35309"/>
                  <a:gd name="connsiteX7" fmla="*/ 0 w 43933"/>
                  <a:gd name="connsiteY7" fmla="*/ 20355 h 35309"/>
                  <a:gd name="connsiteX8" fmla="*/ 24778 w 43933"/>
                  <a:gd name="connsiteY8" fmla="*/ 34953 h 35309"/>
                  <a:gd name="connsiteX9" fmla="*/ 29617 w 43933"/>
                  <a:gd name="connsiteY9" fmla="*/ 30949 h 35309"/>
                  <a:gd name="connsiteX10" fmla="*/ 37626 w 43933"/>
                  <a:gd name="connsiteY10" fmla="*/ 28280 h 35309"/>
                  <a:gd name="connsiteX11" fmla="*/ 43883 w 43933"/>
                  <a:gd name="connsiteY11" fmla="*/ 16434 h 35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3933" h="35309" extrusionOk="0">
                    <a:moveTo>
                      <a:pt x="43883" y="16434"/>
                    </a:moveTo>
                    <a:cubicBezTo>
                      <a:pt x="43465" y="11095"/>
                      <a:pt x="40379" y="6674"/>
                      <a:pt x="37208" y="2670"/>
                    </a:cubicBezTo>
                    <a:cubicBezTo>
                      <a:pt x="36291" y="1752"/>
                      <a:pt x="35874" y="918"/>
                      <a:pt x="34956" y="417"/>
                    </a:cubicBezTo>
                    <a:cubicBezTo>
                      <a:pt x="34038" y="0"/>
                      <a:pt x="32703" y="0"/>
                      <a:pt x="31452" y="0"/>
                    </a:cubicBezTo>
                    <a:cubicBezTo>
                      <a:pt x="24778" y="918"/>
                      <a:pt x="19022" y="5339"/>
                      <a:pt x="12431" y="5756"/>
                    </a:cubicBezTo>
                    <a:cubicBezTo>
                      <a:pt x="11096" y="5756"/>
                      <a:pt x="9761" y="5756"/>
                      <a:pt x="8426" y="6173"/>
                    </a:cubicBezTo>
                    <a:cubicBezTo>
                      <a:pt x="4422" y="7091"/>
                      <a:pt x="2670" y="11512"/>
                      <a:pt x="1335" y="15016"/>
                    </a:cubicBezTo>
                    <a:cubicBezTo>
                      <a:pt x="417" y="16768"/>
                      <a:pt x="0" y="18519"/>
                      <a:pt x="0" y="20355"/>
                    </a:cubicBezTo>
                    <a:cubicBezTo>
                      <a:pt x="0" y="28363"/>
                      <a:pt x="19022" y="37206"/>
                      <a:pt x="24778" y="34953"/>
                    </a:cubicBezTo>
                    <a:cubicBezTo>
                      <a:pt x="26530" y="34536"/>
                      <a:pt x="27864" y="31867"/>
                      <a:pt x="29617" y="30949"/>
                    </a:cubicBezTo>
                    <a:cubicBezTo>
                      <a:pt x="32286" y="29614"/>
                      <a:pt x="34956" y="29614"/>
                      <a:pt x="37626" y="28280"/>
                    </a:cubicBezTo>
                    <a:cubicBezTo>
                      <a:pt x="42131" y="26611"/>
                      <a:pt x="44300" y="21272"/>
                      <a:pt x="43883" y="1643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37771983" name="Полилиния 459"/>
              <p:cNvSpPr/>
              <p:nvPr/>
            </p:nvSpPr>
            <p:spPr bwMode="auto">
              <a:xfrm>
                <a:off x="6075075" y="1602849"/>
                <a:ext cx="272785" cy="415348"/>
              </a:xfrm>
              <a:custGeom>
                <a:avLst/>
                <a:gdLst>
                  <a:gd name="connsiteX0" fmla="*/ 134460 w 306348"/>
                  <a:gd name="connsiteY0" fmla="*/ 9386 h 466451"/>
                  <a:gd name="connsiteX1" fmla="*/ 126450 w 306348"/>
                  <a:gd name="connsiteY1" fmla="*/ 43 h 466451"/>
                  <a:gd name="connsiteX2" fmla="*/ 117607 w 306348"/>
                  <a:gd name="connsiteY2" fmla="*/ 5382 h 466451"/>
                  <a:gd name="connsiteX3" fmla="*/ 94165 w 306348"/>
                  <a:gd name="connsiteY3" fmla="*/ 40836 h 466451"/>
                  <a:gd name="connsiteX4" fmla="*/ 81316 w 306348"/>
                  <a:gd name="connsiteY4" fmla="*/ 47009 h 466451"/>
                  <a:gd name="connsiteX5" fmla="*/ 55204 w 306348"/>
                  <a:gd name="connsiteY5" fmla="*/ 62108 h 466451"/>
                  <a:gd name="connsiteX6" fmla="*/ 41439 w 306348"/>
                  <a:gd name="connsiteY6" fmla="*/ 76290 h 466451"/>
                  <a:gd name="connsiteX7" fmla="*/ 39687 w 306348"/>
                  <a:gd name="connsiteY7" fmla="*/ 93140 h 466451"/>
                  <a:gd name="connsiteX8" fmla="*/ 35682 w 306348"/>
                  <a:gd name="connsiteY8" fmla="*/ 106905 h 466451"/>
                  <a:gd name="connsiteX9" fmla="*/ 44526 w 306348"/>
                  <a:gd name="connsiteY9" fmla="*/ 122838 h 466451"/>
                  <a:gd name="connsiteX10" fmla="*/ 35682 w 306348"/>
                  <a:gd name="connsiteY10" fmla="*/ 152035 h 466451"/>
                  <a:gd name="connsiteX11" fmla="*/ 16160 w 306348"/>
                  <a:gd name="connsiteY11" fmla="*/ 178146 h 466451"/>
                  <a:gd name="connsiteX12" fmla="*/ 8652 w 306348"/>
                  <a:gd name="connsiteY12" fmla="*/ 192745 h 466451"/>
                  <a:gd name="connsiteX13" fmla="*/ 16160 w 306348"/>
                  <a:gd name="connsiteY13" fmla="*/ 206008 h 466451"/>
                  <a:gd name="connsiteX14" fmla="*/ 27256 w 306348"/>
                  <a:gd name="connsiteY14" fmla="*/ 203339 h 466451"/>
                  <a:gd name="connsiteX15" fmla="*/ 33012 w 306348"/>
                  <a:gd name="connsiteY15" fmla="*/ 202421 h 466451"/>
                  <a:gd name="connsiteX16" fmla="*/ 34764 w 306348"/>
                  <a:gd name="connsiteY16" fmla="*/ 204173 h 466451"/>
                  <a:gd name="connsiteX17" fmla="*/ 38269 w 306348"/>
                  <a:gd name="connsiteY17" fmla="*/ 221024 h 466451"/>
                  <a:gd name="connsiteX18" fmla="*/ 50198 w 306348"/>
                  <a:gd name="connsiteY18" fmla="*/ 242296 h 466451"/>
                  <a:gd name="connsiteX19" fmla="*/ 45360 w 306348"/>
                  <a:gd name="connsiteY19" fmla="*/ 250722 h 466451"/>
                  <a:gd name="connsiteX20" fmla="*/ 34264 w 306348"/>
                  <a:gd name="connsiteY20" fmla="*/ 250305 h 466451"/>
                  <a:gd name="connsiteX21" fmla="*/ 8986 w 306348"/>
                  <a:gd name="connsiteY21" fmla="*/ 256978 h 466451"/>
                  <a:gd name="connsiteX22" fmla="*/ 142 w 306348"/>
                  <a:gd name="connsiteY22" fmla="*/ 277333 h 466451"/>
                  <a:gd name="connsiteX23" fmla="*/ 16995 w 306348"/>
                  <a:gd name="connsiteY23" fmla="*/ 302109 h 466451"/>
                  <a:gd name="connsiteX24" fmla="*/ 45777 w 306348"/>
                  <a:gd name="connsiteY24" fmla="*/ 312286 h 466451"/>
                  <a:gd name="connsiteX25" fmla="*/ 50616 w 306348"/>
                  <a:gd name="connsiteY25" fmla="*/ 314956 h 466451"/>
                  <a:gd name="connsiteX26" fmla="*/ 59042 w 306348"/>
                  <a:gd name="connsiteY26" fmla="*/ 310951 h 466451"/>
                  <a:gd name="connsiteX27" fmla="*/ 76311 w 306348"/>
                  <a:gd name="connsiteY27" fmla="*/ 261316 h 466451"/>
                  <a:gd name="connsiteX28" fmla="*/ 76728 w 306348"/>
                  <a:gd name="connsiteY28" fmla="*/ 255143 h 466451"/>
                  <a:gd name="connsiteX29" fmla="*/ 81150 w 306348"/>
                  <a:gd name="connsiteY29" fmla="*/ 251639 h 466451"/>
                  <a:gd name="connsiteX30" fmla="*/ 83402 w 306348"/>
                  <a:gd name="connsiteY30" fmla="*/ 248970 h 466451"/>
                  <a:gd name="connsiteX31" fmla="*/ 101589 w 306348"/>
                  <a:gd name="connsiteY31" fmla="*/ 237458 h 466451"/>
                  <a:gd name="connsiteX32" fmla="*/ 106428 w 306348"/>
                  <a:gd name="connsiteY32" fmla="*/ 233954 h 466451"/>
                  <a:gd name="connsiteX33" fmla="*/ 112602 w 306348"/>
                  <a:gd name="connsiteY33" fmla="*/ 235289 h 466451"/>
                  <a:gd name="connsiteX34" fmla="*/ 113519 w 306348"/>
                  <a:gd name="connsiteY34" fmla="*/ 241462 h 466451"/>
                  <a:gd name="connsiteX35" fmla="*/ 111767 w 306348"/>
                  <a:gd name="connsiteY35" fmla="*/ 243714 h 466451"/>
                  <a:gd name="connsiteX36" fmla="*/ 107763 w 306348"/>
                  <a:gd name="connsiteY36" fmla="*/ 250805 h 466451"/>
                  <a:gd name="connsiteX37" fmla="*/ 104259 w 306348"/>
                  <a:gd name="connsiteY37" fmla="*/ 260565 h 466451"/>
                  <a:gd name="connsiteX38" fmla="*/ 101589 w 306348"/>
                  <a:gd name="connsiteY38" fmla="*/ 269908 h 466451"/>
                  <a:gd name="connsiteX39" fmla="*/ 101172 w 306348"/>
                  <a:gd name="connsiteY39" fmla="*/ 275247 h 466451"/>
                  <a:gd name="connsiteX40" fmla="*/ 100255 w 306348"/>
                  <a:gd name="connsiteY40" fmla="*/ 289846 h 466451"/>
                  <a:gd name="connsiteX41" fmla="*/ 98502 w 306348"/>
                  <a:gd name="connsiteY41" fmla="*/ 296937 h 466451"/>
                  <a:gd name="connsiteX42" fmla="*/ 94498 w 306348"/>
                  <a:gd name="connsiteY42" fmla="*/ 304445 h 466451"/>
                  <a:gd name="connsiteX43" fmla="*/ 84737 w 306348"/>
                  <a:gd name="connsiteY43" fmla="*/ 317291 h 466451"/>
                  <a:gd name="connsiteX44" fmla="*/ 70972 w 306348"/>
                  <a:gd name="connsiteY44" fmla="*/ 332808 h 466451"/>
                  <a:gd name="connsiteX45" fmla="*/ 73224 w 306348"/>
                  <a:gd name="connsiteY45" fmla="*/ 351410 h 466451"/>
                  <a:gd name="connsiteX46" fmla="*/ 80316 w 306348"/>
                  <a:gd name="connsiteY46" fmla="*/ 352328 h 466451"/>
                  <a:gd name="connsiteX47" fmla="*/ 84737 w 306348"/>
                  <a:gd name="connsiteY47" fmla="*/ 347907 h 466451"/>
                  <a:gd name="connsiteX48" fmla="*/ 87407 w 306348"/>
                  <a:gd name="connsiteY48" fmla="*/ 346989 h 466451"/>
                  <a:gd name="connsiteX49" fmla="*/ 90076 w 306348"/>
                  <a:gd name="connsiteY49" fmla="*/ 347406 h 466451"/>
                  <a:gd name="connsiteX50" fmla="*/ 93580 w 306348"/>
                  <a:gd name="connsiteY50" fmla="*/ 357166 h 466451"/>
                  <a:gd name="connsiteX51" fmla="*/ 134376 w 306348"/>
                  <a:gd name="connsiteY51" fmla="*/ 429826 h 466451"/>
                  <a:gd name="connsiteX52" fmla="*/ 139715 w 306348"/>
                  <a:gd name="connsiteY52" fmla="*/ 432912 h 466451"/>
                  <a:gd name="connsiteX53" fmla="*/ 152146 w 306348"/>
                  <a:gd name="connsiteY53" fmla="*/ 428491 h 466451"/>
                  <a:gd name="connsiteX54" fmla="*/ 174755 w 306348"/>
                  <a:gd name="connsiteY54" fmla="*/ 437834 h 466451"/>
                  <a:gd name="connsiteX55" fmla="*/ 184516 w 306348"/>
                  <a:gd name="connsiteY55" fmla="*/ 436499 h 466451"/>
                  <a:gd name="connsiteX56" fmla="*/ 220806 w 306348"/>
                  <a:gd name="connsiteY56" fmla="*/ 459940 h 466451"/>
                  <a:gd name="connsiteX57" fmla="*/ 277537 w 306348"/>
                  <a:gd name="connsiteY57" fmla="*/ 461275 h 466451"/>
                  <a:gd name="connsiteX58" fmla="*/ 293888 w 306348"/>
                  <a:gd name="connsiteY58" fmla="*/ 455102 h 466451"/>
                  <a:gd name="connsiteX59" fmla="*/ 306319 w 306348"/>
                  <a:gd name="connsiteY59" fmla="*/ 427156 h 466451"/>
                  <a:gd name="connsiteX60" fmla="*/ 294806 w 306348"/>
                  <a:gd name="connsiteY60" fmla="*/ 397458 h 466451"/>
                  <a:gd name="connsiteX61" fmla="*/ 285963 w 306348"/>
                  <a:gd name="connsiteY61" fmla="*/ 373517 h 466451"/>
                  <a:gd name="connsiteX62" fmla="*/ 289967 w 306348"/>
                  <a:gd name="connsiteY62" fmla="*/ 365091 h 466451"/>
                  <a:gd name="connsiteX63" fmla="*/ 296141 w 306348"/>
                  <a:gd name="connsiteY63" fmla="*/ 326551 h 466451"/>
                  <a:gd name="connsiteX64" fmla="*/ 295223 w 306348"/>
                  <a:gd name="connsiteY64" fmla="*/ 275164 h 466451"/>
                  <a:gd name="connsiteX65" fmla="*/ 268610 w 306348"/>
                  <a:gd name="connsiteY65" fmla="*/ 233537 h 466451"/>
                  <a:gd name="connsiteX66" fmla="*/ 244249 w 306348"/>
                  <a:gd name="connsiteY66" fmla="*/ 235789 h 466451"/>
                  <a:gd name="connsiteX67" fmla="*/ 240745 w 306348"/>
                  <a:gd name="connsiteY67" fmla="*/ 249053 h 466451"/>
                  <a:gd name="connsiteX68" fmla="*/ 232736 w 306348"/>
                  <a:gd name="connsiteY68" fmla="*/ 271660 h 466451"/>
                  <a:gd name="connsiteX69" fmla="*/ 226563 w 306348"/>
                  <a:gd name="connsiteY69" fmla="*/ 280503 h 466451"/>
                  <a:gd name="connsiteX70" fmla="*/ 221724 w 306348"/>
                  <a:gd name="connsiteY70" fmla="*/ 289345 h 466451"/>
                  <a:gd name="connsiteX71" fmla="*/ 215551 w 306348"/>
                  <a:gd name="connsiteY71" fmla="*/ 295101 h 466451"/>
                  <a:gd name="connsiteX72" fmla="*/ 209377 w 306348"/>
                  <a:gd name="connsiteY72" fmla="*/ 302609 h 466451"/>
                  <a:gd name="connsiteX73" fmla="*/ 200534 w 306348"/>
                  <a:gd name="connsiteY73" fmla="*/ 303026 h 466451"/>
                  <a:gd name="connsiteX74" fmla="*/ 199199 w 306348"/>
                  <a:gd name="connsiteY74" fmla="*/ 298188 h 466451"/>
                  <a:gd name="connsiteX75" fmla="*/ 202285 w 306348"/>
                  <a:gd name="connsiteY75" fmla="*/ 289763 h 466451"/>
                  <a:gd name="connsiteX76" fmla="*/ 208960 w 306348"/>
                  <a:gd name="connsiteY76" fmla="*/ 284924 h 466451"/>
                  <a:gd name="connsiteX77" fmla="*/ 214716 w 306348"/>
                  <a:gd name="connsiteY77" fmla="*/ 278751 h 466451"/>
                  <a:gd name="connsiteX78" fmla="*/ 222225 w 306348"/>
                  <a:gd name="connsiteY78" fmla="*/ 263235 h 466451"/>
                  <a:gd name="connsiteX79" fmla="*/ 219138 w 306348"/>
                  <a:gd name="connsiteY79" fmla="*/ 230033 h 466451"/>
                  <a:gd name="connsiteX80" fmla="*/ 180594 w 306348"/>
                  <a:gd name="connsiteY80" fmla="*/ 216269 h 466451"/>
                  <a:gd name="connsiteX81" fmla="*/ 168164 w 306348"/>
                  <a:gd name="connsiteY81" fmla="*/ 228699 h 466451"/>
                  <a:gd name="connsiteX82" fmla="*/ 140216 w 306348"/>
                  <a:gd name="connsiteY82" fmla="*/ 231785 h 466451"/>
                  <a:gd name="connsiteX83" fmla="*/ 147307 w 306348"/>
                  <a:gd name="connsiteY83" fmla="*/ 216269 h 466451"/>
                  <a:gd name="connsiteX84" fmla="*/ 166829 w 306348"/>
                  <a:gd name="connsiteY84" fmla="*/ 211848 h 466451"/>
                  <a:gd name="connsiteX85" fmla="*/ 181929 w 306348"/>
                  <a:gd name="connsiteY85" fmla="*/ 183902 h 466451"/>
                  <a:gd name="connsiteX86" fmla="*/ 183264 w 306348"/>
                  <a:gd name="connsiteY86" fmla="*/ 165716 h 466451"/>
                  <a:gd name="connsiteX87" fmla="*/ 176590 w 306348"/>
                  <a:gd name="connsiteY87" fmla="*/ 125841 h 466451"/>
                  <a:gd name="connsiteX88" fmla="*/ 199616 w 306348"/>
                  <a:gd name="connsiteY88" fmla="*/ 108990 h 466451"/>
                  <a:gd name="connsiteX89" fmla="*/ 189021 w 306348"/>
                  <a:gd name="connsiteY89" fmla="*/ 77958 h 466451"/>
                  <a:gd name="connsiteX90" fmla="*/ 160655 w 306348"/>
                  <a:gd name="connsiteY90" fmla="*/ 55351 h 466451"/>
                  <a:gd name="connsiteX91" fmla="*/ 153564 w 306348"/>
                  <a:gd name="connsiteY91" fmla="*/ 34496 h 466451"/>
                  <a:gd name="connsiteX92" fmla="*/ 142469 w 306348"/>
                  <a:gd name="connsiteY92" fmla="*/ 21649 h 466451"/>
                  <a:gd name="connsiteX93" fmla="*/ 134460 w 306348"/>
                  <a:gd name="connsiteY93" fmla="*/ 9386 h 4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306348" h="466451" extrusionOk="0">
                    <a:moveTo>
                      <a:pt x="134460" y="9386"/>
                    </a:moveTo>
                    <a:cubicBezTo>
                      <a:pt x="133542" y="4965"/>
                      <a:pt x="130955" y="544"/>
                      <a:pt x="126450" y="43"/>
                    </a:cubicBezTo>
                    <a:cubicBezTo>
                      <a:pt x="122947" y="-374"/>
                      <a:pt x="119776" y="2295"/>
                      <a:pt x="117607" y="5382"/>
                    </a:cubicBezTo>
                    <a:cubicBezTo>
                      <a:pt x="108764" y="16477"/>
                      <a:pt x="105677" y="32410"/>
                      <a:pt x="94165" y="40836"/>
                    </a:cubicBezTo>
                    <a:cubicBezTo>
                      <a:pt x="90160" y="43505"/>
                      <a:pt x="85738" y="45257"/>
                      <a:pt x="81316" y="47009"/>
                    </a:cubicBezTo>
                    <a:cubicBezTo>
                      <a:pt x="71973" y="51013"/>
                      <a:pt x="63630" y="56769"/>
                      <a:pt x="55204" y="62108"/>
                    </a:cubicBezTo>
                    <a:cubicBezTo>
                      <a:pt x="49448" y="65612"/>
                      <a:pt x="43274" y="70116"/>
                      <a:pt x="41439" y="76290"/>
                    </a:cubicBezTo>
                    <a:cubicBezTo>
                      <a:pt x="39687" y="81628"/>
                      <a:pt x="41021" y="87801"/>
                      <a:pt x="39687" y="93140"/>
                    </a:cubicBezTo>
                    <a:cubicBezTo>
                      <a:pt x="38352" y="97562"/>
                      <a:pt x="35682" y="101983"/>
                      <a:pt x="35682" y="106905"/>
                    </a:cubicBezTo>
                    <a:cubicBezTo>
                      <a:pt x="36099" y="113078"/>
                      <a:pt x="42356" y="117082"/>
                      <a:pt x="44526" y="122838"/>
                    </a:cubicBezTo>
                    <a:cubicBezTo>
                      <a:pt x="48947" y="132598"/>
                      <a:pt x="42273" y="143693"/>
                      <a:pt x="35682" y="152035"/>
                    </a:cubicBezTo>
                    <a:cubicBezTo>
                      <a:pt x="29008" y="160878"/>
                      <a:pt x="22835" y="169303"/>
                      <a:pt x="16160" y="178146"/>
                    </a:cubicBezTo>
                    <a:cubicBezTo>
                      <a:pt x="12656" y="182567"/>
                      <a:pt x="9486" y="187489"/>
                      <a:pt x="8652" y="192745"/>
                    </a:cubicBezTo>
                    <a:cubicBezTo>
                      <a:pt x="7734" y="198501"/>
                      <a:pt x="10404" y="204674"/>
                      <a:pt x="16160" y="206008"/>
                    </a:cubicBezTo>
                    <a:cubicBezTo>
                      <a:pt x="20165" y="206926"/>
                      <a:pt x="24169" y="205091"/>
                      <a:pt x="27256" y="203339"/>
                    </a:cubicBezTo>
                    <a:cubicBezTo>
                      <a:pt x="29008" y="202421"/>
                      <a:pt x="31260" y="201087"/>
                      <a:pt x="33012" y="202421"/>
                    </a:cubicBezTo>
                    <a:cubicBezTo>
                      <a:pt x="33930" y="202838"/>
                      <a:pt x="34347" y="203339"/>
                      <a:pt x="34764" y="204173"/>
                    </a:cubicBezTo>
                    <a:cubicBezTo>
                      <a:pt x="37851" y="209012"/>
                      <a:pt x="37434" y="215268"/>
                      <a:pt x="38269" y="221024"/>
                    </a:cubicBezTo>
                    <a:cubicBezTo>
                      <a:pt x="39603" y="230367"/>
                      <a:pt x="46277" y="234788"/>
                      <a:pt x="50198" y="242296"/>
                    </a:cubicBezTo>
                    <a:cubicBezTo>
                      <a:pt x="51950" y="245383"/>
                      <a:pt x="48864" y="249804"/>
                      <a:pt x="45360" y="250722"/>
                    </a:cubicBezTo>
                    <a:cubicBezTo>
                      <a:pt x="41856" y="251639"/>
                      <a:pt x="37851" y="250722"/>
                      <a:pt x="34264" y="250305"/>
                    </a:cubicBezTo>
                    <a:cubicBezTo>
                      <a:pt x="25420" y="249387"/>
                      <a:pt x="16077" y="251639"/>
                      <a:pt x="8986" y="256978"/>
                    </a:cubicBezTo>
                    <a:cubicBezTo>
                      <a:pt x="2812" y="261817"/>
                      <a:pt x="-775" y="269825"/>
                      <a:pt x="142" y="277333"/>
                    </a:cubicBezTo>
                    <a:cubicBezTo>
                      <a:pt x="1060" y="287093"/>
                      <a:pt x="9486" y="296353"/>
                      <a:pt x="16995" y="302109"/>
                    </a:cubicBezTo>
                    <a:cubicBezTo>
                      <a:pt x="25420" y="308282"/>
                      <a:pt x="37351" y="306530"/>
                      <a:pt x="45777" y="312286"/>
                    </a:cubicBezTo>
                    <a:cubicBezTo>
                      <a:pt x="47111" y="313204"/>
                      <a:pt x="48864" y="314538"/>
                      <a:pt x="50616" y="314956"/>
                    </a:cubicBezTo>
                    <a:cubicBezTo>
                      <a:pt x="53703" y="315873"/>
                      <a:pt x="56789" y="313204"/>
                      <a:pt x="59042" y="310951"/>
                    </a:cubicBezTo>
                    <a:cubicBezTo>
                      <a:pt x="71472" y="297687"/>
                      <a:pt x="77646" y="279502"/>
                      <a:pt x="76311" y="261316"/>
                    </a:cubicBezTo>
                    <a:cubicBezTo>
                      <a:pt x="76311" y="259564"/>
                      <a:pt x="75894" y="256895"/>
                      <a:pt x="76728" y="255143"/>
                    </a:cubicBezTo>
                    <a:cubicBezTo>
                      <a:pt x="77646" y="253391"/>
                      <a:pt x="79815" y="252891"/>
                      <a:pt x="81150" y="251639"/>
                    </a:cubicBezTo>
                    <a:cubicBezTo>
                      <a:pt x="82068" y="250722"/>
                      <a:pt x="82485" y="249888"/>
                      <a:pt x="83402" y="248970"/>
                    </a:cubicBezTo>
                    <a:cubicBezTo>
                      <a:pt x="88241" y="243631"/>
                      <a:pt x="95833" y="241879"/>
                      <a:pt x="101589" y="237458"/>
                    </a:cubicBezTo>
                    <a:cubicBezTo>
                      <a:pt x="103341" y="236123"/>
                      <a:pt x="104676" y="234788"/>
                      <a:pt x="106428" y="233954"/>
                    </a:cubicBezTo>
                    <a:cubicBezTo>
                      <a:pt x="108681" y="233037"/>
                      <a:pt x="111267" y="233537"/>
                      <a:pt x="112602" y="235289"/>
                    </a:cubicBezTo>
                    <a:cubicBezTo>
                      <a:pt x="113936" y="237041"/>
                      <a:pt x="114854" y="239710"/>
                      <a:pt x="113519" y="241462"/>
                    </a:cubicBezTo>
                    <a:cubicBezTo>
                      <a:pt x="113102" y="242380"/>
                      <a:pt x="112184" y="242797"/>
                      <a:pt x="111767" y="243714"/>
                    </a:cubicBezTo>
                    <a:cubicBezTo>
                      <a:pt x="110016" y="245466"/>
                      <a:pt x="108681" y="248136"/>
                      <a:pt x="107763" y="250805"/>
                    </a:cubicBezTo>
                    <a:cubicBezTo>
                      <a:pt x="106428" y="253892"/>
                      <a:pt x="105093" y="257479"/>
                      <a:pt x="104259" y="260565"/>
                    </a:cubicBezTo>
                    <a:cubicBezTo>
                      <a:pt x="102924" y="263652"/>
                      <a:pt x="102007" y="266738"/>
                      <a:pt x="101589" y="269908"/>
                    </a:cubicBezTo>
                    <a:cubicBezTo>
                      <a:pt x="101172" y="271660"/>
                      <a:pt x="101172" y="273412"/>
                      <a:pt x="101172" y="275247"/>
                    </a:cubicBezTo>
                    <a:cubicBezTo>
                      <a:pt x="100755" y="280086"/>
                      <a:pt x="100755" y="285008"/>
                      <a:pt x="100255" y="289846"/>
                    </a:cubicBezTo>
                    <a:cubicBezTo>
                      <a:pt x="100255" y="292515"/>
                      <a:pt x="99837" y="294684"/>
                      <a:pt x="98502" y="296937"/>
                    </a:cubicBezTo>
                    <a:cubicBezTo>
                      <a:pt x="97168" y="299606"/>
                      <a:pt x="95833" y="301775"/>
                      <a:pt x="94498" y="304445"/>
                    </a:cubicBezTo>
                    <a:cubicBezTo>
                      <a:pt x="91828" y="309283"/>
                      <a:pt x="88325" y="313287"/>
                      <a:pt x="84737" y="317291"/>
                    </a:cubicBezTo>
                    <a:cubicBezTo>
                      <a:pt x="79898" y="322130"/>
                      <a:pt x="74142" y="326634"/>
                      <a:pt x="70972" y="332808"/>
                    </a:cubicBezTo>
                    <a:cubicBezTo>
                      <a:pt x="67885" y="338981"/>
                      <a:pt x="67885" y="347406"/>
                      <a:pt x="73224" y="351410"/>
                    </a:cubicBezTo>
                    <a:cubicBezTo>
                      <a:pt x="74976" y="352745"/>
                      <a:pt x="78063" y="353162"/>
                      <a:pt x="80316" y="352328"/>
                    </a:cubicBezTo>
                    <a:cubicBezTo>
                      <a:pt x="82568" y="351410"/>
                      <a:pt x="82985" y="349241"/>
                      <a:pt x="84737" y="347907"/>
                    </a:cubicBezTo>
                    <a:cubicBezTo>
                      <a:pt x="85655" y="347489"/>
                      <a:pt x="86489" y="347489"/>
                      <a:pt x="87407" y="346989"/>
                    </a:cubicBezTo>
                    <a:cubicBezTo>
                      <a:pt x="88325" y="346989"/>
                      <a:pt x="89159" y="346989"/>
                      <a:pt x="90076" y="347406"/>
                    </a:cubicBezTo>
                    <a:cubicBezTo>
                      <a:pt x="92329" y="349658"/>
                      <a:pt x="93163" y="354080"/>
                      <a:pt x="93580" y="357166"/>
                    </a:cubicBezTo>
                    <a:cubicBezTo>
                      <a:pt x="99337" y="384612"/>
                      <a:pt x="113936" y="410305"/>
                      <a:pt x="134376" y="429826"/>
                    </a:cubicBezTo>
                    <a:cubicBezTo>
                      <a:pt x="135711" y="431160"/>
                      <a:pt x="137463" y="432912"/>
                      <a:pt x="139715" y="432912"/>
                    </a:cubicBezTo>
                    <a:cubicBezTo>
                      <a:pt x="144137" y="433830"/>
                      <a:pt x="147724" y="429409"/>
                      <a:pt x="152146" y="428491"/>
                    </a:cubicBezTo>
                    <a:cubicBezTo>
                      <a:pt x="160155" y="426739"/>
                      <a:pt x="166329" y="436916"/>
                      <a:pt x="174755" y="437834"/>
                    </a:cubicBezTo>
                    <a:cubicBezTo>
                      <a:pt x="177841" y="438251"/>
                      <a:pt x="181429" y="436916"/>
                      <a:pt x="184516" y="436499"/>
                    </a:cubicBezTo>
                    <a:cubicBezTo>
                      <a:pt x="199115" y="434747"/>
                      <a:pt x="208459" y="451598"/>
                      <a:pt x="220806" y="459940"/>
                    </a:cubicBezTo>
                    <a:cubicBezTo>
                      <a:pt x="237158" y="470535"/>
                      <a:pt x="258432" y="466114"/>
                      <a:pt x="277537" y="461275"/>
                    </a:cubicBezTo>
                    <a:cubicBezTo>
                      <a:pt x="283293" y="459940"/>
                      <a:pt x="289049" y="458189"/>
                      <a:pt x="293888" y="455102"/>
                    </a:cubicBezTo>
                    <a:cubicBezTo>
                      <a:pt x="302732" y="448929"/>
                      <a:pt x="306736" y="437834"/>
                      <a:pt x="306319" y="427156"/>
                    </a:cubicBezTo>
                    <a:cubicBezTo>
                      <a:pt x="305902" y="416562"/>
                      <a:pt x="300980" y="406301"/>
                      <a:pt x="294806" y="397458"/>
                    </a:cubicBezTo>
                    <a:cubicBezTo>
                      <a:pt x="289967" y="390368"/>
                      <a:pt x="283710" y="381942"/>
                      <a:pt x="285963" y="373517"/>
                    </a:cubicBezTo>
                    <a:cubicBezTo>
                      <a:pt x="286881" y="370430"/>
                      <a:pt x="288632" y="367761"/>
                      <a:pt x="289967" y="365091"/>
                    </a:cubicBezTo>
                    <a:cubicBezTo>
                      <a:pt x="296141" y="353579"/>
                      <a:pt x="295723" y="339398"/>
                      <a:pt x="296141" y="326551"/>
                    </a:cubicBezTo>
                    <a:cubicBezTo>
                      <a:pt x="296558" y="309283"/>
                      <a:pt x="298393" y="292015"/>
                      <a:pt x="295223" y="275164"/>
                    </a:cubicBezTo>
                    <a:cubicBezTo>
                      <a:pt x="292136" y="258313"/>
                      <a:pt x="283710" y="241462"/>
                      <a:pt x="268610" y="233537"/>
                    </a:cubicBezTo>
                    <a:cubicBezTo>
                      <a:pt x="260601" y="229533"/>
                      <a:pt x="249589" y="228699"/>
                      <a:pt x="244249" y="235789"/>
                    </a:cubicBezTo>
                    <a:cubicBezTo>
                      <a:pt x="241579" y="239794"/>
                      <a:pt x="241162" y="244632"/>
                      <a:pt x="240745" y="249053"/>
                    </a:cubicBezTo>
                    <a:cubicBezTo>
                      <a:pt x="239410" y="257062"/>
                      <a:pt x="236741" y="264570"/>
                      <a:pt x="232736" y="271660"/>
                    </a:cubicBezTo>
                    <a:cubicBezTo>
                      <a:pt x="230985" y="274747"/>
                      <a:pt x="228315" y="277416"/>
                      <a:pt x="226563" y="280503"/>
                    </a:cubicBezTo>
                    <a:cubicBezTo>
                      <a:pt x="224811" y="283172"/>
                      <a:pt x="223893" y="286676"/>
                      <a:pt x="221724" y="289345"/>
                    </a:cubicBezTo>
                    <a:cubicBezTo>
                      <a:pt x="219972" y="291598"/>
                      <a:pt x="217302" y="292849"/>
                      <a:pt x="215551" y="295101"/>
                    </a:cubicBezTo>
                    <a:cubicBezTo>
                      <a:pt x="213298" y="297354"/>
                      <a:pt x="211546" y="300440"/>
                      <a:pt x="209377" y="302609"/>
                    </a:cubicBezTo>
                    <a:cubicBezTo>
                      <a:pt x="206707" y="304862"/>
                      <a:pt x="202703" y="305279"/>
                      <a:pt x="200534" y="303026"/>
                    </a:cubicBezTo>
                    <a:cubicBezTo>
                      <a:pt x="199616" y="301692"/>
                      <a:pt x="199199" y="299940"/>
                      <a:pt x="199199" y="298188"/>
                    </a:cubicBezTo>
                    <a:cubicBezTo>
                      <a:pt x="199199" y="295101"/>
                      <a:pt x="200534" y="292015"/>
                      <a:pt x="202285" y="289763"/>
                    </a:cubicBezTo>
                    <a:cubicBezTo>
                      <a:pt x="204037" y="287510"/>
                      <a:pt x="206707" y="286676"/>
                      <a:pt x="208960" y="284924"/>
                    </a:cubicBezTo>
                    <a:cubicBezTo>
                      <a:pt x="211212" y="283172"/>
                      <a:pt x="212964" y="280920"/>
                      <a:pt x="214716" y="278751"/>
                    </a:cubicBezTo>
                    <a:cubicBezTo>
                      <a:pt x="218220" y="274330"/>
                      <a:pt x="220890" y="268991"/>
                      <a:pt x="222225" y="263235"/>
                    </a:cubicBezTo>
                    <a:cubicBezTo>
                      <a:pt x="225311" y="252140"/>
                      <a:pt x="224477" y="240211"/>
                      <a:pt x="219138" y="230033"/>
                    </a:cubicBezTo>
                    <a:cubicBezTo>
                      <a:pt x="212046" y="216269"/>
                      <a:pt x="193025" y="207009"/>
                      <a:pt x="180594" y="216269"/>
                    </a:cubicBezTo>
                    <a:cubicBezTo>
                      <a:pt x="175756" y="219773"/>
                      <a:pt x="173086" y="225612"/>
                      <a:pt x="168164" y="228699"/>
                    </a:cubicBezTo>
                    <a:cubicBezTo>
                      <a:pt x="160155" y="234455"/>
                      <a:pt x="149977" y="233120"/>
                      <a:pt x="140216" y="231785"/>
                    </a:cubicBezTo>
                    <a:cubicBezTo>
                      <a:pt x="135794" y="226947"/>
                      <a:pt x="141134" y="218521"/>
                      <a:pt x="147307" y="216269"/>
                    </a:cubicBezTo>
                    <a:cubicBezTo>
                      <a:pt x="153481" y="214017"/>
                      <a:pt x="161073" y="214934"/>
                      <a:pt x="166829" y="211848"/>
                    </a:cubicBezTo>
                    <a:cubicBezTo>
                      <a:pt x="176590" y="207009"/>
                      <a:pt x="180094" y="194997"/>
                      <a:pt x="181929" y="183902"/>
                    </a:cubicBezTo>
                    <a:cubicBezTo>
                      <a:pt x="183264" y="177729"/>
                      <a:pt x="184182" y="171973"/>
                      <a:pt x="183264" y="165716"/>
                    </a:cubicBezTo>
                    <a:cubicBezTo>
                      <a:pt x="181012" y="151952"/>
                      <a:pt x="169082" y="137353"/>
                      <a:pt x="176590" y="125841"/>
                    </a:cubicBezTo>
                    <a:cubicBezTo>
                      <a:pt x="181929" y="117833"/>
                      <a:pt x="193860" y="116999"/>
                      <a:pt x="199616" y="108990"/>
                    </a:cubicBezTo>
                    <a:cubicBezTo>
                      <a:pt x="206707" y="99230"/>
                      <a:pt x="198698" y="85049"/>
                      <a:pt x="189021" y="77958"/>
                    </a:cubicBezTo>
                    <a:cubicBezTo>
                      <a:pt x="179260" y="70867"/>
                      <a:pt x="166912" y="66029"/>
                      <a:pt x="160655" y="55351"/>
                    </a:cubicBezTo>
                    <a:cubicBezTo>
                      <a:pt x="157152" y="49178"/>
                      <a:pt x="156234" y="41169"/>
                      <a:pt x="153564" y="34496"/>
                    </a:cubicBezTo>
                    <a:cubicBezTo>
                      <a:pt x="151312" y="28323"/>
                      <a:pt x="147391" y="25153"/>
                      <a:pt x="142469" y="21649"/>
                    </a:cubicBezTo>
                    <a:cubicBezTo>
                      <a:pt x="136629" y="18229"/>
                      <a:pt x="136212" y="17812"/>
                      <a:pt x="134460" y="938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97122865" name="Полилиния 460"/>
              <p:cNvSpPr/>
              <p:nvPr/>
            </p:nvSpPr>
            <p:spPr bwMode="auto">
              <a:xfrm>
                <a:off x="6352229" y="1894858"/>
                <a:ext cx="194395" cy="251799"/>
              </a:xfrm>
              <a:custGeom>
                <a:avLst/>
                <a:gdLst>
                  <a:gd name="connsiteX0" fmla="*/ 822 w 218313"/>
                  <a:gd name="connsiteY0" fmla="*/ 273652 h 282780"/>
                  <a:gd name="connsiteX1" fmla="*/ 2157 w 218313"/>
                  <a:gd name="connsiteY1" fmla="*/ 255967 h 282780"/>
                  <a:gd name="connsiteX2" fmla="*/ 7913 w 218313"/>
                  <a:gd name="connsiteY2" fmla="*/ 238699 h 282780"/>
                  <a:gd name="connsiteX3" fmla="*/ 10166 w 218313"/>
                  <a:gd name="connsiteY3" fmla="*/ 224518 h 282780"/>
                  <a:gd name="connsiteX4" fmla="*/ 14587 w 218313"/>
                  <a:gd name="connsiteY4" fmla="*/ 216509 h 282780"/>
                  <a:gd name="connsiteX5" fmla="*/ 16339 w 218313"/>
                  <a:gd name="connsiteY5" fmla="*/ 163787 h 282780"/>
                  <a:gd name="connsiteX6" fmla="*/ 31857 w 218313"/>
                  <a:gd name="connsiteY6" fmla="*/ 119908 h 282780"/>
                  <a:gd name="connsiteX7" fmla="*/ 28353 w 218313"/>
                  <a:gd name="connsiteY7" fmla="*/ 98636 h 282780"/>
                  <a:gd name="connsiteX8" fmla="*/ 35444 w 218313"/>
                  <a:gd name="connsiteY8" fmla="*/ 80450 h 282780"/>
                  <a:gd name="connsiteX9" fmla="*/ 30606 w 218313"/>
                  <a:gd name="connsiteY9" fmla="*/ 59178 h 282780"/>
                  <a:gd name="connsiteX10" fmla="*/ 38114 w 218313"/>
                  <a:gd name="connsiteY10" fmla="*/ 37906 h 282780"/>
                  <a:gd name="connsiteX11" fmla="*/ 53214 w 218313"/>
                  <a:gd name="connsiteY11" fmla="*/ 20221 h 282780"/>
                  <a:gd name="connsiteX12" fmla="*/ 69148 w 218313"/>
                  <a:gd name="connsiteY12" fmla="*/ 1201 h 282780"/>
                  <a:gd name="connsiteX13" fmla="*/ 95762 w 218313"/>
                  <a:gd name="connsiteY13" fmla="*/ 18469 h 282780"/>
                  <a:gd name="connsiteX14" fmla="*/ 91340 w 218313"/>
                  <a:gd name="connsiteY14" fmla="*/ 53923 h 282780"/>
                  <a:gd name="connsiteX15" fmla="*/ 90923 w 218313"/>
                  <a:gd name="connsiteY15" fmla="*/ 89376 h 282780"/>
                  <a:gd name="connsiteX16" fmla="*/ 92675 w 218313"/>
                  <a:gd name="connsiteY16" fmla="*/ 91629 h 282780"/>
                  <a:gd name="connsiteX17" fmla="*/ 98431 w 218313"/>
                  <a:gd name="connsiteY17" fmla="*/ 88959 h 282780"/>
                  <a:gd name="connsiteX18" fmla="*/ 103771 w 218313"/>
                  <a:gd name="connsiteY18" fmla="*/ 63683 h 282780"/>
                  <a:gd name="connsiteX19" fmla="*/ 109945 w 218313"/>
                  <a:gd name="connsiteY19" fmla="*/ 54340 h 282780"/>
                  <a:gd name="connsiteX20" fmla="*/ 122792 w 218313"/>
                  <a:gd name="connsiteY20" fmla="*/ 43245 h 282780"/>
                  <a:gd name="connsiteX21" fmla="*/ 138310 w 218313"/>
                  <a:gd name="connsiteY21" fmla="*/ 45497 h 282780"/>
                  <a:gd name="connsiteX22" fmla="*/ 144066 w 218313"/>
                  <a:gd name="connsiteY22" fmla="*/ 56592 h 282780"/>
                  <a:gd name="connsiteX23" fmla="*/ 152492 w 218313"/>
                  <a:gd name="connsiteY23" fmla="*/ 61431 h 282780"/>
                  <a:gd name="connsiteX24" fmla="*/ 172431 w 218313"/>
                  <a:gd name="connsiteY24" fmla="*/ 83120 h 282780"/>
                  <a:gd name="connsiteX25" fmla="*/ 177270 w 218313"/>
                  <a:gd name="connsiteY25" fmla="*/ 87958 h 282780"/>
                  <a:gd name="connsiteX26" fmla="*/ 185279 w 218313"/>
                  <a:gd name="connsiteY26" fmla="*/ 90211 h 282780"/>
                  <a:gd name="connsiteX27" fmla="*/ 211391 w 218313"/>
                  <a:gd name="connsiteY27" fmla="*/ 118157 h 282780"/>
                  <a:gd name="connsiteX28" fmla="*/ 215813 w 218313"/>
                  <a:gd name="connsiteY28" fmla="*/ 148271 h 282780"/>
                  <a:gd name="connsiteX29" fmla="*/ 206052 w 218313"/>
                  <a:gd name="connsiteY29" fmla="*/ 161118 h 282780"/>
                  <a:gd name="connsiteX30" fmla="*/ 200713 w 218313"/>
                  <a:gd name="connsiteY30" fmla="*/ 176217 h 282780"/>
                  <a:gd name="connsiteX31" fmla="*/ 187448 w 218313"/>
                  <a:gd name="connsiteY31" fmla="*/ 177552 h 282780"/>
                  <a:gd name="connsiteX32" fmla="*/ 175518 w 218313"/>
                  <a:gd name="connsiteY32" fmla="*/ 190816 h 282780"/>
                  <a:gd name="connsiteX33" fmla="*/ 154661 w 218313"/>
                  <a:gd name="connsiteY33" fmla="*/ 202745 h 282780"/>
                  <a:gd name="connsiteX34" fmla="*/ 125879 w 218313"/>
                  <a:gd name="connsiteY34" fmla="*/ 224851 h 282780"/>
                  <a:gd name="connsiteX35" fmla="*/ 117036 w 218313"/>
                  <a:gd name="connsiteY35" fmla="*/ 227938 h 282780"/>
                  <a:gd name="connsiteX36" fmla="*/ 110362 w 218313"/>
                  <a:gd name="connsiteY36" fmla="*/ 225685 h 282780"/>
                  <a:gd name="connsiteX37" fmla="*/ 78910 w 218313"/>
                  <a:gd name="connsiteY37" fmla="*/ 230524 h 282780"/>
                  <a:gd name="connsiteX38" fmla="*/ 55884 w 218313"/>
                  <a:gd name="connsiteY38" fmla="*/ 254466 h 282780"/>
                  <a:gd name="connsiteX39" fmla="*/ 38197 w 218313"/>
                  <a:gd name="connsiteY39" fmla="*/ 274820 h 282780"/>
                  <a:gd name="connsiteX40" fmla="*/ 822 w 218313"/>
                  <a:gd name="connsiteY40" fmla="*/ 273652 h 2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18313" h="282780" extrusionOk="0">
                    <a:moveTo>
                      <a:pt x="822" y="273652"/>
                    </a:moveTo>
                    <a:cubicBezTo>
                      <a:pt x="-930" y="267896"/>
                      <a:pt x="405" y="261723"/>
                      <a:pt x="2157" y="255967"/>
                    </a:cubicBezTo>
                    <a:cubicBezTo>
                      <a:pt x="3909" y="250211"/>
                      <a:pt x="6995" y="244455"/>
                      <a:pt x="7913" y="238699"/>
                    </a:cubicBezTo>
                    <a:cubicBezTo>
                      <a:pt x="8831" y="233861"/>
                      <a:pt x="8330" y="228939"/>
                      <a:pt x="10166" y="224518"/>
                    </a:cubicBezTo>
                    <a:cubicBezTo>
                      <a:pt x="11084" y="221848"/>
                      <a:pt x="13252" y="219179"/>
                      <a:pt x="14587" y="216509"/>
                    </a:cubicBezTo>
                    <a:cubicBezTo>
                      <a:pt x="22596" y="200576"/>
                      <a:pt x="12335" y="181055"/>
                      <a:pt x="16339" y="163787"/>
                    </a:cubicBezTo>
                    <a:cubicBezTo>
                      <a:pt x="19426" y="148271"/>
                      <a:pt x="33192" y="135425"/>
                      <a:pt x="31857" y="119908"/>
                    </a:cubicBezTo>
                    <a:cubicBezTo>
                      <a:pt x="31440" y="112817"/>
                      <a:pt x="27435" y="105727"/>
                      <a:pt x="28353" y="98636"/>
                    </a:cubicBezTo>
                    <a:cubicBezTo>
                      <a:pt x="29688" y="91962"/>
                      <a:pt x="35027" y="87124"/>
                      <a:pt x="35444" y="80450"/>
                    </a:cubicBezTo>
                    <a:cubicBezTo>
                      <a:pt x="36362" y="73360"/>
                      <a:pt x="31440" y="66269"/>
                      <a:pt x="30606" y="59178"/>
                    </a:cubicBezTo>
                    <a:cubicBezTo>
                      <a:pt x="29688" y="51670"/>
                      <a:pt x="33275" y="43662"/>
                      <a:pt x="38114" y="37906"/>
                    </a:cubicBezTo>
                    <a:cubicBezTo>
                      <a:pt x="42953" y="31733"/>
                      <a:pt x="48709" y="26394"/>
                      <a:pt x="53214" y="20221"/>
                    </a:cubicBezTo>
                    <a:cubicBezTo>
                      <a:pt x="58053" y="13130"/>
                      <a:pt x="61640" y="4705"/>
                      <a:pt x="69148" y="1201"/>
                    </a:cubicBezTo>
                    <a:cubicBezTo>
                      <a:pt x="80244" y="-3638"/>
                      <a:pt x="93092" y="6957"/>
                      <a:pt x="95762" y="18469"/>
                    </a:cubicBezTo>
                    <a:cubicBezTo>
                      <a:pt x="98431" y="30398"/>
                      <a:pt x="94427" y="42411"/>
                      <a:pt x="91340" y="53923"/>
                    </a:cubicBezTo>
                    <a:cubicBezTo>
                      <a:pt x="88254" y="65435"/>
                      <a:pt x="85584" y="78281"/>
                      <a:pt x="90923" y="89376"/>
                    </a:cubicBezTo>
                    <a:cubicBezTo>
                      <a:pt x="91340" y="90294"/>
                      <a:pt x="91841" y="91128"/>
                      <a:pt x="92675" y="91629"/>
                    </a:cubicBezTo>
                    <a:cubicBezTo>
                      <a:pt x="94928" y="92963"/>
                      <a:pt x="97096" y="91212"/>
                      <a:pt x="98431" y="88959"/>
                    </a:cubicBezTo>
                    <a:cubicBezTo>
                      <a:pt x="103270" y="81869"/>
                      <a:pt x="100684" y="71691"/>
                      <a:pt x="103771" y="63683"/>
                    </a:cubicBezTo>
                    <a:cubicBezTo>
                      <a:pt x="105106" y="60179"/>
                      <a:pt x="107775" y="57510"/>
                      <a:pt x="109945" y="54340"/>
                    </a:cubicBezTo>
                    <a:cubicBezTo>
                      <a:pt x="113448" y="49918"/>
                      <a:pt x="117453" y="45497"/>
                      <a:pt x="122792" y="43245"/>
                    </a:cubicBezTo>
                    <a:cubicBezTo>
                      <a:pt x="128131" y="40993"/>
                      <a:pt x="134722" y="40993"/>
                      <a:pt x="138310" y="45497"/>
                    </a:cubicBezTo>
                    <a:cubicBezTo>
                      <a:pt x="140979" y="48584"/>
                      <a:pt x="141396" y="53506"/>
                      <a:pt x="144066" y="56592"/>
                    </a:cubicBezTo>
                    <a:cubicBezTo>
                      <a:pt x="146318" y="58844"/>
                      <a:pt x="149405" y="60096"/>
                      <a:pt x="152492" y="61431"/>
                    </a:cubicBezTo>
                    <a:cubicBezTo>
                      <a:pt x="161335" y="65852"/>
                      <a:pt x="166258" y="75195"/>
                      <a:pt x="172431" y="83120"/>
                    </a:cubicBezTo>
                    <a:cubicBezTo>
                      <a:pt x="173766" y="84872"/>
                      <a:pt x="175518" y="87124"/>
                      <a:pt x="177270" y="87958"/>
                    </a:cubicBezTo>
                    <a:cubicBezTo>
                      <a:pt x="179522" y="89293"/>
                      <a:pt x="182609" y="89710"/>
                      <a:pt x="185279" y="90211"/>
                    </a:cubicBezTo>
                    <a:cubicBezTo>
                      <a:pt x="198126" y="93714"/>
                      <a:pt x="205635" y="106144"/>
                      <a:pt x="211391" y="118157"/>
                    </a:cubicBezTo>
                    <a:cubicBezTo>
                      <a:pt x="216230" y="127500"/>
                      <a:pt x="221569" y="139012"/>
                      <a:pt x="215813" y="148271"/>
                    </a:cubicBezTo>
                    <a:cubicBezTo>
                      <a:pt x="213143" y="152693"/>
                      <a:pt x="208305" y="155779"/>
                      <a:pt x="206052" y="161118"/>
                    </a:cubicBezTo>
                    <a:cubicBezTo>
                      <a:pt x="204300" y="166457"/>
                      <a:pt x="205635" y="173047"/>
                      <a:pt x="200713" y="176217"/>
                    </a:cubicBezTo>
                    <a:cubicBezTo>
                      <a:pt x="196708" y="178469"/>
                      <a:pt x="191869" y="176217"/>
                      <a:pt x="187448" y="177552"/>
                    </a:cubicBezTo>
                    <a:cubicBezTo>
                      <a:pt x="181692" y="179304"/>
                      <a:pt x="179439" y="186394"/>
                      <a:pt x="175518" y="190816"/>
                    </a:cubicBezTo>
                    <a:cubicBezTo>
                      <a:pt x="170178" y="196989"/>
                      <a:pt x="161752" y="198824"/>
                      <a:pt x="154661" y="202745"/>
                    </a:cubicBezTo>
                    <a:cubicBezTo>
                      <a:pt x="144066" y="208501"/>
                      <a:pt x="136057" y="218261"/>
                      <a:pt x="125879" y="224851"/>
                    </a:cubicBezTo>
                    <a:cubicBezTo>
                      <a:pt x="123209" y="226603"/>
                      <a:pt x="120122" y="228355"/>
                      <a:pt x="117036" y="227938"/>
                    </a:cubicBezTo>
                    <a:cubicBezTo>
                      <a:pt x="114783" y="227938"/>
                      <a:pt x="112614" y="226603"/>
                      <a:pt x="110362" y="225685"/>
                    </a:cubicBezTo>
                    <a:cubicBezTo>
                      <a:pt x="100183" y="221681"/>
                      <a:pt x="88254" y="224351"/>
                      <a:pt x="78910" y="230524"/>
                    </a:cubicBezTo>
                    <a:cubicBezTo>
                      <a:pt x="69566" y="236697"/>
                      <a:pt x="62558" y="245122"/>
                      <a:pt x="55884" y="254466"/>
                    </a:cubicBezTo>
                    <a:cubicBezTo>
                      <a:pt x="50544" y="261556"/>
                      <a:pt x="45289" y="269064"/>
                      <a:pt x="38197" y="274820"/>
                    </a:cubicBezTo>
                    <a:cubicBezTo>
                      <a:pt x="30021" y="281661"/>
                      <a:pt x="6161" y="289169"/>
                      <a:pt x="822" y="2736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01182581" name="Полилиния 461"/>
              <p:cNvSpPr/>
              <p:nvPr/>
            </p:nvSpPr>
            <p:spPr bwMode="auto">
              <a:xfrm>
                <a:off x="6564980" y="2043037"/>
                <a:ext cx="64978" cy="46833"/>
              </a:xfrm>
              <a:custGeom>
                <a:avLst/>
                <a:gdLst>
                  <a:gd name="connsiteX0" fmla="*/ 62649 w 72974"/>
                  <a:gd name="connsiteY0" fmla="*/ 18650 h 52596"/>
                  <a:gd name="connsiteX1" fmla="*/ 49384 w 72974"/>
                  <a:gd name="connsiteY1" fmla="*/ 16398 h 52596"/>
                  <a:gd name="connsiteX2" fmla="*/ 42710 w 72974"/>
                  <a:gd name="connsiteY2" fmla="*/ 28327 h 52596"/>
                  <a:gd name="connsiteX3" fmla="*/ 39623 w 72974"/>
                  <a:gd name="connsiteY3" fmla="*/ 32331 h 52596"/>
                  <a:gd name="connsiteX4" fmla="*/ 32949 w 72974"/>
                  <a:gd name="connsiteY4" fmla="*/ 33666 h 52596"/>
                  <a:gd name="connsiteX5" fmla="*/ 17849 w 72974"/>
                  <a:gd name="connsiteY5" fmla="*/ 29244 h 52596"/>
                  <a:gd name="connsiteX6" fmla="*/ 23188 w 72974"/>
                  <a:gd name="connsiteY6" fmla="*/ 11976 h 52596"/>
                  <a:gd name="connsiteX7" fmla="*/ 25440 w 72974"/>
                  <a:gd name="connsiteY7" fmla="*/ 9307 h 52596"/>
                  <a:gd name="connsiteX8" fmla="*/ 24106 w 72974"/>
                  <a:gd name="connsiteY8" fmla="*/ 6220 h 52596"/>
                  <a:gd name="connsiteX9" fmla="*/ 13927 w 72974"/>
                  <a:gd name="connsiteY9" fmla="*/ 47 h 52596"/>
                  <a:gd name="connsiteX10" fmla="*/ 5084 w 72974"/>
                  <a:gd name="connsiteY10" fmla="*/ 7555 h 52596"/>
                  <a:gd name="connsiteX11" fmla="*/ 246 w 72974"/>
                  <a:gd name="connsiteY11" fmla="*/ 22154 h 52596"/>
                  <a:gd name="connsiteX12" fmla="*/ 1163 w 72974"/>
                  <a:gd name="connsiteY12" fmla="*/ 27909 h 52596"/>
                  <a:gd name="connsiteX13" fmla="*/ 6002 w 72974"/>
                  <a:gd name="connsiteY13" fmla="*/ 30162 h 52596"/>
                  <a:gd name="connsiteX14" fmla="*/ 13510 w 72974"/>
                  <a:gd name="connsiteY14" fmla="*/ 34166 h 52596"/>
                  <a:gd name="connsiteX15" fmla="*/ 26775 w 72974"/>
                  <a:gd name="connsiteY15" fmla="*/ 43926 h 52596"/>
                  <a:gd name="connsiteX16" fmla="*/ 36119 w 72974"/>
                  <a:gd name="connsiteY16" fmla="*/ 47430 h 52596"/>
                  <a:gd name="connsiteX17" fmla="*/ 47632 w 72974"/>
                  <a:gd name="connsiteY17" fmla="*/ 51851 h 52596"/>
                  <a:gd name="connsiteX18" fmla="*/ 59145 w 72974"/>
                  <a:gd name="connsiteY18" fmla="*/ 47847 h 52596"/>
                  <a:gd name="connsiteX19" fmla="*/ 72910 w 72974"/>
                  <a:gd name="connsiteY19" fmla="*/ 34583 h 52596"/>
                  <a:gd name="connsiteX20" fmla="*/ 62649 w 72974"/>
                  <a:gd name="connsiteY20" fmla="*/ 18650 h 52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2974" h="52596" extrusionOk="0">
                    <a:moveTo>
                      <a:pt x="62649" y="18650"/>
                    </a:moveTo>
                    <a:cubicBezTo>
                      <a:pt x="59562" y="15146"/>
                      <a:pt x="53805" y="15563"/>
                      <a:pt x="49384" y="16398"/>
                    </a:cubicBezTo>
                    <a:cubicBezTo>
                      <a:pt x="47131" y="20402"/>
                      <a:pt x="44962" y="24406"/>
                      <a:pt x="42710" y="28327"/>
                    </a:cubicBezTo>
                    <a:cubicBezTo>
                      <a:pt x="41792" y="29661"/>
                      <a:pt x="40958" y="31413"/>
                      <a:pt x="39623" y="32331"/>
                    </a:cubicBezTo>
                    <a:cubicBezTo>
                      <a:pt x="37871" y="33666"/>
                      <a:pt x="35201" y="33666"/>
                      <a:pt x="32949" y="33666"/>
                    </a:cubicBezTo>
                    <a:cubicBezTo>
                      <a:pt x="27609" y="33666"/>
                      <a:pt x="21436" y="33248"/>
                      <a:pt x="17849" y="29244"/>
                    </a:cubicBezTo>
                    <a:cubicBezTo>
                      <a:pt x="16097" y="23071"/>
                      <a:pt x="18266" y="15980"/>
                      <a:pt x="23188" y="11976"/>
                    </a:cubicBezTo>
                    <a:cubicBezTo>
                      <a:pt x="24106" y="11059"/>
                      <a:pt x="24940" y="10641"/>
                      <a:pt x="25440" y="9307"/>
                    </a:cubicBezTo>
                    <a:cubicBezTo>
                      <a:pt x="25440" y="7972"/>
                      <a:pt x="25023" y="7054"/>
                      <a:pt x="24106" y="6220"/>
                    </a:cubicBezTo>
                    <a:cubicBezTo>
                      <a:pt x="21436" y="3134"/>
                      <a:pt x="17932" y="-454"/>
                      <a:pt x="13927" y="47"/>
                    </a:cubicBezTo>
                    <a:cubicBezTo>
                      <a:pt x="9923" y="464"/>
                      <a:pt x="6836" y="4051"/>
                      <a:pt x="5084" y="7555"/>
                    </a:cubicBezTo>
                    <a:cubicBezTo>
                      <a:pt x="2415" y="12393"/>
                      <a:pt x="1580" y="16898"/>
                      <a:pt x="246" y="22154"/>
                    </a:cubicBezTo>
                    <a:cubicBezTo>
                      <a:pt x="-172" y="24406"/>
                      <a:pt x="-172" y="26158"/>
                      <a:pt x="1163" y="27909"/>
                    </a:cubicBezTo>
                    <a:cubicBezTo>
                      <a:pt x="2498" y="29244"/>
                      <a:pt x="4250" y="29661"/>
                      <a:pt x="6002" y="30162"/>
                    </a:cubicBezTo>
                    <a:cubicBezTo>
                      <a:pt x="8672" y="31497"/>
                      <a:pt x="10840" y="32414"/>
                      <a:pt x="13510" y="34166"/>
                    </a:cubicBezTo>
                    <a:cubicBezTo>
                      <a:pt x="18349" y="36836"/>
                      <a:pt x="22854" y="40339"/>
                      <a:pt x="26775" y="43926"/>
                    </a:cubicBezTo>
                    <a:cubicBezTo>
                      <a:pt x="30279" y="47013"/>
                      <a:pt x="32114" y="46179"/>
                      <a:pt x="36119" y="47430"/>
                    </a:cubicBezTo>
                    <a:cubicBezTo>
                      <a:pt x="40123" y="48347"/>
                      <a:pt x="43627" y="50934"/>
                      <a:pt x="47632" y="51851"/>
                    </a:cubicBezTo>
                    <a:cubicBezTo>
                      <a:pt x="53805" y="53603"/>
                      <a:pt x="54723" y="52268"/>
                      <a:pt x="59145" y="47847"/>
                    </a:cubicBezTo>
                    <a:cubicBezTo>
                      <a:pt x="61814" y="44761"/>
                      <a:pt x="71575" y="37670"/>
                      <a:pt x="72910" y="34583"/>
                    </a:cubicBezTo>
                    <a:cubicBezTo>
                      <a:pt x="73745" y="30162"/>
                      <a:pt x="66236" y="22237"/>
                      <a:pt x="62649" y="1865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00486510" name="Полилиния 462"/>
              <p:cNvSpPr/>
              <p:nvPr/>
            </p:nvSpPr>
            <p:spPr bwMode="auto">
              <a:xfrm>
                <a:off x="6645206" y="2194167"/>
                <a:ext cx="17839" cy="18652"/>
              </a:xfrm>
              <a:custGeom>
                <a:avLst/>
                <a:gdLst>
                  <a:gd name="connsiteX0" fmla="*/ 18187 w 20035"/>
                  <a:gd name="connsiteY0" fmla="*/ 12847 h 20948"/>
                  <a:gd name="connsiteX1" fmla="*/ 18187 w 20035"/>
                  <a:gd name="connsiteY1" fmla="*/ 1335 h 20948"/>
                  <a:gd name="connsiteX2" fmla="*/ 12848 w 20035"/>
                  <a:gd name="connsiteY2" fmla="*/ 0 h 20948"/>
                  <a:gd name="connsiteX3" fmla="*/ 4839 w 20035"/>
                  <a:gd name="connsiteY3" fmla="*/ 0 h 20948"/>
                  <a:gd name="connsiteX4" fmla="*/ 417 w 20035"/>
                  <a:gd name="connsiteY4" fmla="*/ 1335 h 20948"/>
                  <a:gd name="connsiteX5" fmla="*/ 0 w 20035"/>
                  <a:gd name="connsiteY5" fmla="*/ 4421 h 20948"/>
                  <a:gd name="connsiteX6" fmla="*/ 2670 w 20035"/>
                  <a:gd name="connsiteY6" fmla="*/ 16851 h 20948"/>
                  <a:gd name="connsiteX7" fmla="*/ 11513 w 20035"/>
                  <a:gd name="connsiteY7" fmla="*/ 20855 h 20948"/>
                  <a:gd name="connsiteX8" fmla="*/ 15935 w 20035"/>
                  <a:gd name="connsiteY8" fmla="*/ 19103 h 20948"/>
                  <a:gd name="connsiteX9" fmla="*/ 18187 w 20035"/>
                  <a:gd name="connsiteY9" fmla="*/ 12847 h 20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35" h="20948" extrusionOk="0">
                    <a:moveTo>
                      <a:pt x="18187" y="12847"/>
                    </a:moveTo>
                    <a:cubicBezTo>
                      <a:pt x="19939" y="9343"/>
                      <a:pt x="21274" y="4004"/>
                      <a:pt x="18187" y="1335"/>
                    </a:cubicBezTo>
                    <a:cubicBezTo>
                      <a:pt x="16852" y="0"/>
                      <a:pt x="14683" y="0"/>
                      <a:pt x="12848" y="0"/>
                    </a:cubicBezTo>
                    <a:cubicBezTo>
                      <a:pt x="10178" y="0"/>
                      <a:pt x="7508" y="0"/>
                      <a:pt x="4839" y="0"/>
                    </a:cubicBezTo>
                    <a:cubicBezTo>
                      <a:pt x="3087" y="0"/>
                      <a:pt x="1335" y="0"/>
                      <a:pt x="417" y="1335"/>
                    </a:cubicBezTo>
                    <a:cubicBezTo>
                      <a:pt x="0" y="2253"/>
                      <a:pt x="0" y="3587"/>
                      <a:pt x="0" y="4421"/>
                    </a:cubicBezTo>
                    <a:cubicBezTo>
                      <a:pt x="417" y="8843"/>
                      <a:pt x="918" y="12847"/>
                      <a:pt x="2670" y="16851"/>
                    </a:cubicBezTo>
                    <a:cubicBezTo>
                      <a:pt x="4422" y="20355"/>
                      <a:pt x="7508" y="21272"/>
                      <a:pt x="11513" y="20855"/>
                    </a:cubicBezTo>
                    <a:cubicBezTo>
                      <a:pt x="13265" y="20855"/>
                      <a:pt x="15017" y="20438"/>
                      <a:pt x="15935" y="19103"/>
                    </a:cubicBezTo>
                    <a:cubicBezTo>
                      <a:pt x="16852" y="17685"/>
                      <a:pt x="17353" y="15016"/>
                      <a:pt x="18187" y="1284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33746781" name="Полилиния 463"/>
              <p:cNvSpPr/>
              <p:nvPr/>
            </p:nvSpPr>
            <p:spPr bwMode="auto">
              <a:xfrm>
                <a:off x="6937612" y="2566927"/>
                <a:ext cx="73608" cy="65948"/>
              </a:xfrm>
              <a:custGeom>
                <a:avLst/>
                <a:gdLst>
                  <a:gd name="connsiteX0" fmla="*/ 63726 w 82665"/>
                  <a:gd name="connsiteY0" fmla="*/ 66887 h 74063"/>
                  <a:gd name="connsiteX1" fmla="*/ 63309 w 82665"/>
                  <a:gd name="connsiteY1" fmla="*/ 70891 h 74063"/>
                  <a:gd name="connsiteX2" fmla="*/ 61056 w 82665"/>
                  <a:gd name="connsiteY2" fmla="*/ 72226 h 74063"/>
                  <a:gd name="connsiteX3" fmla="*/ 38948 w 82665"/>
                  <a:gd name="connsiteY3" fmla="*/ 69974 h 74063"/>
                  <a:gd name="connsiteX4" fmla="*/ 32274 w 82665"/>
                  <a:gd name="connsiteY4" fmla="*/ 65552 h 74063"/>
                  <a:gd name="connsiteX5" fmla="*/ 18508 w 82665"/>
                  <a:gd name="connsiteY5" fmla="*/ 63800 h 74063"/>
                  <a:gd name="connsiteX6" fmla="*/ 5244 w 82665"/>
                  <a:gd name="connsiteY6" fmla="*/ 61548 h 74063"/>
                  <a:gd name="connsiteX7" fmla="*/ 823 w 82665"/>
                  <a:gd name="connsiteY7" fmla="*/ 50036 h 74063"/>
                  <a:gd name="connsiteX8" fmla="*/ 9248 w 82665"/>
                  <a:gd name="connsiteY8" fmla="*/ 42028 h 74063"/>
                  <a:gd name="connsiteX9" fmla="*/ 5244 w 82665"/>
                  <a:gd name="connsiteY9" fmla="*/ 20338 h 74063"/>
                  <a:gd name="connsiteX10" fmla="*/ 10083 w 82665"/>
                  <a:gd name="connsiteY10" fmla="*/ 14582 h 74063"/>
                  <a:gd name="connsiteX11" fmla="*/ 18508 w 82665"/>
                  <a:gd name="connsiteY11" fmla="*/ 7909 h 74063"/>
                  <a:gd name="connsiteX12" fmla="*/ 32274 w 82665"/>
                  <a:gd name="connsiteY12" fmla="*/ 3487 h 74063"/>
                  <a:gd name="connsiteX13" fmla="*/ 38948 w 82665"/>
                  <a:gd name="connsiteY13" fmla="*/ 7492 h 74063"/>
                  <a:gd name="connsiteX14" fmla="*/ 54049 w 82665"/>
                  <a:gd name="connsiteY14" fmla="*/ 3487 h 74063"/>
                  <a:gd name="connsiteX15" fmla="*/ 69149 w 82665"/>
                  <a:gd name="connsiteY15" fmla="*/ 1736 h 74063"/>
                  <a:gd name="connsiteX16" fmla="*/ 71819 w 82665"/>
                  <a:gd name="connsiteY16" fmla="*/ 5239 h 74063"/>
                  <a:gd name="connsiteX17" fmla="*/ 81997 w 82665"/>
                  <a:gd name="connsiteY17" fmla="*/ 31850 h 74063"/>
                  <a:gd name="connsiteX18" fmla="*/ 80244 w 82665"/>
                  <a:gd name="connsiteY18" fmla="*/ 46449 h 74063"/>
                  <a:gd name="connsiteX19" fmla="*/ 63726 w 82665"/>
                  <a:gd name="connsiteY19" fmla="*/ 66887 h 7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2665" h="74063" extrusionOk="0">
                    <a:moveTo>
                      <a:pt x="63726" y="66887"/>
                    </a:moveTo>
                    <a:cubicBezTo>
                      <a:pt x="63726" y="68222"/>
                      <a:pt x="64143" y="69974"/>
                      <a:pt x="63309" y="70891"/>
                    </a:cubicBezTo>
                    <a:cubicBezTo>
                      <a:pt x="62892" y="71809"/>
                      <a:pt x="61974" y="72226"/>
                      <a:pt x="61056" y="72226"/>
                    </a:cubicBezTo>
                    <a:cubicBezTo>
                      <a:pt x="53965" y="75312"/>
                      <a:pt x="45539" y="74478"/>
                      <a:pt x="38948" y="69974"/>
                    </a:cubicBezTo>
                    <a:cubicBezTo>
                      <a:pt x="36696" y="68639"/>
                      <a:pt x="34527" y="66470"/>
                      <a:pt x="32274" y="65552"/>
                    </a:cubicBezTo>
                    <a:cubicBezTo>
                      <a:pt x="28270" y="63300"/>
                      <a:pt x="23431" y="63800"/>
                      <a:pt x="18508" y="63800"/>
                    </a:cubicBezTo>
                    <a:cubicBezTo>
                      <a:pt x="14087" y="63800"/>
                      <a:pt x="9165" y="63800"/>
                      <a:pt x="5244" y="61548"/>
                    </a:cubicBezTo>
                    <a:cubicBezTo>
                      <a:pt x="1240" y="59296"/>
                      <a:pt x="-1430" y="54040"/>
                      <a:pt x="823" y="50036"/>
                    </a:cubicBezTo>
                    <a:cubicBezTo>
                      <a:pt x="2574" y="46532"/>
                      <a:pt x="7497" y="45615"/>
                      <a:pt x="9248" y="42028"/>
                    </a:cubicBezTo>
                    <a:cubicBezTo>
                      <a:pt x="12753" y="35354"/>
                      <a:pt x="2574" y="27846"/>
                      <a:pt x="5244" y="20338"/>
                    </a:cubicBezTo>
                    <a:cubicBezTo>
                      <a:pt x="6161" y="18086"/>
                      <a:pt x="8331" y="16334"/>
                      <a:pt x="10083" y="14582"/>
                    </a:cubicBezTo>
                    <a:cubicBezTo>
                      <a:pt x="12753" y="12330"/>
                      <a:pt x="15839" y="10161"/>
                      <a:pt x="18508" y="7909"/>
                    </a:cubicBezTo>
                    <a:cubicBezTo>
                      <a:pt x="22514" y="4822"/>
                      <a:pt x="27852" y="1235"/>
                      <a:pt x="32274" y="3487"/>
                    </a:cubicBezTo>
                    <a:cubicBezTo>
                      <a:pt x="34527" y="4405"/>
                      <a:pt x="36279" y="6574"/>
                      <a:pt x="38948" y="7492"/>
                    </a:cubicBezTo>
                    <a:cubicBezTo>
                      <a:pt x="43787" y="9744"/>
                      <a:pt x="49126" y="6574"/>
                      <a:pt x="54049" y="3487"/>
                    </a:cubicBezTo>
                    <a:cubicBezTo>
                      <a:pt x="58470" y="818"/>
                      <a:pt x="64644" y="-1852"/>
                      <a:pt x="69149" y="1736"/>
                    </a:cubicBezTo>
                    <a:cubicBezTo>
                      <a:pt x="70484" y="2653"/>
                      <a:pt x="71401" y="3988"/>
                      <a:pt x="71819" y="5239"/>
                    </a:cubicBezTo>
                    <a:cubicBezTo>
                      <a:pt x="76657" y="13248"/>
                      <a:pt x="80244" y="22507"/>
                      <a:pt x="81997" y="31850"/>
                    </a:cubicBezTo>
                    <a:cubicBezTo>
                      <a:pt x="82914" y="36689"/>
                      <a:pt x="83331" y="42445"/>
                      <a:pt x="80244" y="46449"/>
                    </a:cubicBezTo>
                    <a:cubicBezTo>
                      <a:pt x="76157" y="52205"/>
                      <a:pt x="63726" y="59796"/>
                      <a:pt x="63726" y="6688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2269358" name="Полилиния 464"/>
              <p:cNvSpPr/>
              <p:nvPr/>
            </p:nvSpPr>
            <p:spPr bwMode="auto">
              <a:xfrm>
                <a:off x="6251001" y="2424291"/>
                <a:ext cx="50022" cy="30870"/>
              </a:xfrm>
              <a:custGeom>
                <a:avLst/>
                <a:gdLst>
                  <a:gd name="connsiteX0" fmla="*/ 52018 w 56176"/>
                  <a:gd name="connsiteY0" fmla="*/ 15766 h 34669"/>
                  <a:gd name="connsiteX1" fmla="*/ 54687 w 56176"/>
                  <a:gd name="connsiteY1" fmla="*/ 14432 h 34669"/>
                  <a:gd name="connsiteX2" fmla="*/ 55105 w 56176"/>
                  <a:gd name="connsiteY2" fmla="*/ 2002 h 34669"/>
                  <a:gd name="connsiteX3" fmla="*/ 42257 w 56176"/>
                  <a:gd name="connsiteY3" fmla="*/ 1084 h 34669"/>
                  <a:gd name="connsiteX4" fmla="*/ 32079 w 56176"/>
                  <a:gd name="connsiteY4" fmla="*/ 9510 h 34669"/>
                  <a:gd name="connsiteX5" fmla="*/ 19648 w 56176"/>
                  <a:gd name="connsiteY5" fmla="*/ 3337 h 34669"/>
                  <a:gd name="connsiteX6" fmla="*/ 15643 w 56176"/>
                  <a:gd name="connsiteY6" fmla="*/ 2002 h 34669"/>
                  <a:gd name="connsiteX7" fmla="*/ 5049 w 56176"/>
                  <a:gd name="connsiteY7" fmla="*/ 6840 h 34669"/>
                  <a:gd name="connsiteX8" fmla="*/ 627 w 56176"/>
                  <a:gd name="connsiteY8" fmla="*/ 18352 h 34669"/>
                  <a:gd name="connsiteX9" fmla="*/ 210 w 56176"/>
                  <a:gd name="connsiteY9" fmla="*/ 22774 h 34669"/>
                  <a:gd name="connsiteX10" fmla="*/ 7301 w 56176"/>
                  <a:gd name="connsiteY10" fmla="*/ 32117 h 34669"/>
                  <a:gd name="connsiteX11" fmla="*/ 32579 w 56176"/>
                  <a:gd name="connsiteY11" fmla="*/ 31199 h 34669"/>
                  <a:gd name="connsiteX12" fmla="*/ 52018 w 56176"/>
                  <a:gd name="connsiteY12" fmla="*/ 15766 h 34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176" h="34669" extrusionOk="0">
                    <a:moveTo>
                      <a:pt x="52018" y="15766"/>
                    </a:moveTo>
                    <a:cubicBezTo>
                      <a:pt x="52935" y="15349"/>
                      <a:pt x="53770" y="14849"/>
                      <a:pt x="54687" y="14432"/>
                    </a:cubicBezTo>
                    <a:cubicBezTo>
                      <a:pt x="57774" y="11762"/>
                      <a:pt x="55105" y="6423"/>
                      <a:pt x="55105" y="2002"/>
                    </a:cubicBezTo>
                    <a:cubicBezTo>
                      <a:pt x="51601" y="-250"/>
                      <a:pt x="46678" y="-668"/>
                      <a:pt x="42257" y="1084"/>
                    </a:cubicBezTo>
                    <a:cubicBezTo>
                      <a:pt x="38252" y="2836"/>
                      <a:pt x="34748" y="5923"/>
                      <a:pt x="32079" y="9510"/>
                    </a:cubicBezTo>
                    <a:cubicBezTo>
                      <a:pt x="28074" y="7257"/>
                      <a:pt x="23653" y="5506"/>
                      <a:pt x="19648" y="3337"/>
                    </a:cubicBezTo>
                    <a:cubicBezTo>
                      <a:pt x="18313" y="2920"/>
                      <a:pt x="16978" y="2002"/>
                      <a:pt x="15643" y="2002"/>
                    </a:cubicBezTo>
                    <a:cubicBezTo>
                      <a:pt x="11639" y="1084"/>
                      <a:pt x="7634" y="3337"/>
                      <a:pt x="5049" y="6840"/>
                    </a:cubicBezTo>
                    <a:cubicBezTo>
                      <a:pt x="2379" y="10344"/>
                      <a:pt x="1544" y="14348"/>
                      <a:pt x="627" y="18352"/>
                    </a:cubicBezTo>
                    <a:cubicBezTo>
                      <a:pt x="210" y="19687"/>
                      <a:pt x="-291" y="21439"/>
                      <a:pt x="210" y="22774"/>
                    </a:cubicBezTo>
                    <a:cubicBezTo>
                      <a:pt x="1127" y="26778"/>
                      <a:pt x="7301" y="28112"/>
                      <a:pt x="7301" y="32117"/>
                    </a:cubicBezTo>
                    <a:cubicBezTo>
                      <a:pt x="15310" y="34786"/>
                      <a:pt x="25488" y="36538"/>
                      <a:pt x="32579" y="31199"/>
                    </a:cubicBezTo>
                    <a:cubicBezTo>
                      <a:pt x="39671" y="25026"/>
                      <a:pt x="43174" y="19270"/>
                      <a:pt x="52018" y="1576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03426590" name="Полилиния 465"/>
              <p:cNvSpPr/>
              <p:nvPr/>
            </p:nvSpPr>
            <p:spPr bwMode="auto">
              <a:xfrm>
                <a:off x="6238812" y="2278996"/>
                <a:ext cx="37558" cy="37575"/>
              </a:xfrm>
              <a:custGeom>
                <a:avLst/>
                <a:gdLst>
                  <a:gd name="connsiteX0" fmla="*/ 7225 w 42180"/>
                  <a:gd name="connsiteY0" fmla="*/ 42044 h 42198"/>
                  <a:gd name="connsiteX1" fmla="*/ 4555 w 42180"/>
                  <a:gd name="connsiteY1" fmla="*/ 41627 h 42198"/>
                  <a:gd name="connsiteX2" fmla="*/ 1885 w 42180"/>
                  <a:gd name="connsiteY2" fmla="*/ 39374 h 42198"/>
                  <a:gd name="connsiteX3" fmla="*/ 12481 w 42180"/>
                  <a:gd name="connsiteY3" fmla="*/ 17185 h 42198"/>
                  <a:gd name="connsiteX4" fmla="*/ 15985 w 42180"/>
                  <a:gd name="connsiteY4" fmla="*/ 12346 h 42198"/>
                  <a:gd name="connsiteX5" fmla="*/ 24411 w 42180"/>
                  <a:gd name="connsiteY5" fmla="*/ 8842 h 42198"/>
                  <a:gd name="connsiteX6" fmla="*/ 29750 w 42180"/>
                  <a:gd name="connsiteY6" fmla="*/ 3504 h 42198"/>
                  <a:gd name="connsiteX7" fmla="*/ 35923 w 42180"/>
                  <a:gd name="connsiteY7" fmla="*/ 0 h 42198"/>
                  <a:gd name="connsiteX8" fmla="*/ 37258 w 42180"/>
                  <a:gd name="connsiteY8" fmla="*/ 417 h 42198"/>
                  <a:gd name="connsiteX9" fmla="*/ 38176 w 42180"/>
                  <a:gd name="connsiteY9" fmla="*/ 1752 h 42198"/>
                  <a:gd name="connsiteX10" fmla="*/ 39511 w 42180"/>
                  <a:gd name="connsiteY10" fmla="*/ 2669 h 42198"/>
                  <a:gd name="connsiteX11" fmla="*/ 39928 w 42180"/>
                  <a:gd name="connsiteY11" fmla="*/ 5339 h 42198"/>
                  <a:gd name="connsiteX12" fmla="*/ 42180 w 42180"/>
                  <a:gd name="connsiteY12" fmla="*/ 17768 h 42198"/>
                  <a:gd name="connsiteX13" fmla="*/ 41263 w 42180"/>
                  <a:gd name="connsiteY13" fmla="*/ 22190 h 42198"/>
                  <a:gd name="connsiteX14" fmla="*/ 34589 w 42180"/>
                  <a:gd name="connsiteY14" fmla="*/ 28863 h 42198"/>
                  <a:gd name="connsiteX15" fmla="*/ 28415 w 42180"/>
                  <a:gd name="connsiteY15" fmla="*/ 38206 h 42198"/>
                  <a:gd name="connsiteX16" fmla="*/ 7225 w 42180"/>
                  <a:gd name="connsiteY16" fmla="*/ 42044 h 42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180" h="42198" extrusionOk="0">
                    <a:moveTo>
                      <a:pt x="7225" y="42044"/>
                    </a:moveTo>
                    <a:cubicBezTo>
                      <a:pt x="6307" y="42044"/>
                      <a:pt x="5473" y="42044"/>
                      <a:pt x="4555" y="41627"/>
                    </a:cubicBezTo>
                    <a:cubicBezTo>
                      <a:pt x="3220" y="41210"/>
                      <a:pt x="2303" y="40292"/>
                      <a:pt x="1885" y="39374"/>
                    </a:cubicBezTo>
                    <a:cubicBezTo>
                      <a:pt x="-4789" y="29614"/>
                      <a:pt x="8059" y="23858"/>
                      <a:pt x="12481" y="17185"/>
                    </a:cubicBezTo>
                    <a:cubicBezTo>
                      <a:pt x="13815" y="15433"/>
                      <a:pt x="14733" y="13681"/>
                      <a:pt x="15985" y="12346"/>
                    </a:cubicBezTo>
                    <a:cubicBezTo>
                      <a:pt x="18237" y="10594"/>
                      <a:pt x="21741" y="10094"/>
                      <a:pt x="24411" y="8842"/>
                    </a:cubicBezTo>
                    <a:cubicBezTo>
                      <a:pt x="26663" y="7508"/>
                      <a:pt x="27915" y="5339"/>
                      <a:pt x="29750" y="3504"/>
                    </a:cubicBezTo>
                    <a:cubicBezTo>
                      <a:pt x="31502" y="1752"/>
                      <a:pt x="33254" y="0"/>
                      <a:pt x="35923" y="0"/>
                    </a:cubicBezTo>
                    <a:cubicBezTo>
                      <a:pt x="36341" y="0"/>
                      <a:pt x="36841" y="0"/>
                      <a:pt x="37258" y="417"/>
                    </a:cubicBezTo>
                    <a:cubicBezTo>
                      <a:pt x="37675" y="834"/>
                      <a:pt x="37675" y="1335"/>
                      <a:pt x="38176" y="1752"/>
                    </a:cubicBezTo>
                    <a:cubicBezTo>
                      <a:pt x="38677" y="2169"/>
                      <a:pt x="39094" y="2169"/>
                      <a:pt x="39511" y="2669"/>
                    </a:cubicBezTo>
                    <a:cubicBezTo>
                      <a:pt x="39928" y="3087"/>
                      <a:pt x="39928" y="4421"/>
                      <a:pt x="39928" y="5339"/>
                    </a:cubicBezTo>
                    <a:cubicBezTo>
                      <a:pt x="39511" y="9760"/>
                      <a:pt x="42180" y="13347"/>
                      <a:pt x="42180" y="17768"/>
                    </a:cubicBezTo>
                    <a:cubicBezTo>
                      <a:pt x="42180" y="19520"/>
                      <a:pt x="42180" y="20855"/>
                      <a:pt x="41263" y="22190"/>
                    </a:cubicBezTo>
                    <a:cubicBezTo>
                      <a:pt x="39928" y="25276"/>
                      <a:pt x="36841" y="26611"/>
                      <a:pt x="34589" y="28863"/>
                    </a:cubicBezTo>
                    <a:cubicBezTo>
                      <a:pt x="32336" y="31533"/>
                      <a:pt x="30584" y="35954"/>
                      <a:pt x="28415" y="38206"/>
                    </a:cubicBezTo>
                    <a:cubicBezTo>
                      <a:pt x="21908" y="43379"/>
                      <a:pt x="14817" y="42044"/>
                      <a:pt x="7225" y="4204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99922089" name="Полилиния 466"/>
              <p:cNvSpPr/>
              <p:nvPr/>
            </p:nvSpPr>
            <p:spPr bwMode="auto">
              <a:xfrm>
                <a:off x="6219085" y="2367883"/>
                <a:ext cx="16818" cy="13838"/>
              </a:xfrm>
              <a:custGeom>
                <a:avLst/>
                <a:gdLst>
                  <a:gd name="connsiteX0" fmla="*/ 2849 w 18888"/>
                  <a:gd name="connsiteY0" fmla="*/ 14380 h 15542"/>
                  <a:gd name="connsiteX1" fmla="*/ 9941 w 18888"/>
                  <a:gd name="connsiteY1" fmla="*/ 15297 h 15542"/>
                  <a:gd name="connsiteX2" fmla="*/ 11275 w 18888"/>
                  <a:gd name="connsiteY2" fmla="*/ 14880 h 15542"/>
                  <a:gd name="connsiteX3" fmla="*/ 18784 w 18888"/>
                  <a:gd name="connsiteY3" fmla="*/ 6038 h 15542"/>
                  <a:gd name="connsiteX4" fmla="*/ 16114 w 18888"/>
                  <a:gd name="connsiteY4" fmla="*/ 2534 h 15542"/>
                  <a:gd name="connsiteX5" fmla="*/ 2849 w 18888"/>
                  <a:gd name="connsiteY5" fmla="*/ 2117 h 15542"/>
                  <a:gd name="connsiteX6" fmla="*/ 2849 w 18888"/>
                  <a:gd name="connsiteY6" fmla="*/ 14380 h 1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888" h="15542" extrusionOk="0">
                    <a:moveTo>
                      <a:pt x="2849" y="14380"/>
                    </a:moveTo>
                    <a:cubicBezTo>
                      <a:pt x="4601" y="15714"/>
                      <a:pt x="8189" y="15714"/>
                      <a:pt x="9941" y="15297"/>
                    </a:cubicBezTo>
                    <a:cubicBezTo>
                      <a:pt x="10358" y="15297"/>
                      <a:pt x="10858" y="14880"/>
                      <a:pt x="11275" y="14880"/>
                    </a:cubicBezTo>
                    <a:cubicBezTo>
                      <a:pt x="14362" y="13128"/>
                      <a:pt x="19701" y="10459"/>
                      <a:pt x="18784" y="6038"/>
                    </a:cubicBezTo>
                    <a:cubicBezTo>
                      <a:pt x="18367" y="4703"/>
                      <a:pt x="17449" y="3368"/>
                      <a:pt x="16114" y="2534"/>
                    </a:cubicBezTo>
                    <a:cubicBezTo>
                      <a:pt x="12610" y="-553"/>
                      <a:pt x="6353" y="-970"/>
                      <a:pt x="2849" y="2117"/>
                    </a:cubicBezTo>
                    <a:cubicBezTo>
                      <a:pt x="-738" y="5120"/>
                      <a:pt x="-1155" y="11293"/>
                      <a:pt x="2849" y="1438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70844637" name="Полилиния 467"/>
              <p:cNvSpPr/>
              <p:nvPr/>
            </p:nvSpPr>
            <p:spPr bwMode="auto">
              <a:xfrm>
                <a:off x="6000007" y="2272510"/>
                <a:ext cx="27837" cy="32670"/>
              </a:xfrm>
              <a:custGeom>
                <a:avLst/>
                <a:gdLst>
                  <a:gd name="connsiteX0" fmla="*/ 12282 w 31262"/>
                  <a:gd name="connsiteY0" fmla="*/ 28056 h 36690"/>
                  <a:gd name="connsiteX1" fmla="*/ 14034 w 31262"/>
                  <a:gd name="connsiteY1" fmla="*/ 20966 h 36690"/>
                  <a:gd name="connsiteX2" fmla="*/ 17538 w 31262"/>
                  <a:gd name="connsiteY2" fmla="*/ 19631 h 36690"/>
                  <a:gd name="connsiteX3" fmla="*/ 25046 w 31262"/>
                  <a:gd name="connsiteY3" fmla="*/ 17378 h 36690"/>
                  <a:gd name="connsiteX4" fmla="*/ 29051 w 31262"/>
                  <a:gd name="connsiteY4" fmla="*/ 16044 h 36690"/>
                  <a:gd name="connsiteX5" fmla="*/ 30386 w 31262"/>
                  <a:gd name="connsiteY5" fmla="*/ 7618 h 36690"/>
                  <a:gd name="connsiteX6" fmla="*/ 23712 w 31262"/>
                  <a:gd name="connsiteY6" fmla="*/ 1445 h 36690"/>
                  <a:gd name="connsiteX7" fmla="*/ 17955 w 31262"/>
                  <a:gd name="connsiteY7" fmla="*/ 110 h 36690"/>
                  <a:gd name="connsiteX8" fmla="*/ 9112 w 31262"/>
                  <a:gd name="connsiteY8" fmla="*/ 6283 h 36690"/>
                  <a:gd name="connsiteX9" fmla="*/ 2438 w 31262"/>
                  <a:gd name="connsiteY9" fmla="*/ 16461 h 36690"/>
                  <a:gd name="connsiteX10" fmla="*/ 1103 w 31262"/>
                  <a:gd name="connsiteY10" fmla="*/ 22217 h 36690"/>
                  <a:gd name="connsiteX11" fmla="*/ 185 w 31262"/>
                  <a:gd name="connsiteY11" fmla="*/ 29725 h 36690"/>
                  <a:gd name="connsiteX12" fmla="*/ 185 w 31262"/>
                  <a:gd name="connsiteY12" fmla="*/ 33228 h 36690"/>
                  <a:gd name="connsiteX13" fmla="*/ 12282 w 31262"/>
                  <a:gd name="connsiteY13" fmla="*/ 28056 h 36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262" h="36690" extrusionOk="0">
                    <a:moveTo>
                      <a:pt x="12282" y="28056"/>
                    </a:moveTo>
                    <a:cubicBezTo>
                      <a:pt x="12699" y="25387"/>
                      <a:pt x="12282" y="22717"/>
                      <a:pt x="14034" y="20966"/>
                    </a:cubicBezTo>
                    <a:cubicBezTo>
                      <a:pt x="14952" y="20048"/>
                      <a:pt x="16287" y="19631"/>
                      <a:pt x="17538" y="19631"/>
                    </a:cubicBezTo>
                    <a:cubicBezTo>
                      <a:pt x="20208" y="18713"/>
                      <a:pt x="22377" y="18296"/>
                      <a:pt x="25046" y="17378"/>
                    </a:cubicBezTo>
                    <a:cubicBezTo>
                      <a:pt x="26381" y="16961"/>
                      <a:pt x="27716" y="16461"/>
                      <a:pt x="29051" y="16044"/>
                    </a:cubicBezTo>
                    <a:cubicBezTo>
                      <a:pt x="31721" y="14292"/>
                      <a:pt x="31721" y="10288"/>
                      <a:pt x="30386" y="7618"/>
                    </a:cubicBezTo>
                    <a:cubicBezTo>
                      <a:pt x="29051" y="4949"/>
                      <a:pt x="26381" y="2780"/>
                      <a:pt x="23712" y="1445"/>
                    </a:cubicBezTo>
                    <a:cubicBezTo>
                      <a:pt x="21960" y="528"/>
                      <a:pt x="20208" y="-307"/>
                      <a:pt x="17955" y="110"/>
                    </a:cubicBezTo>
                    <a:cubicBezTo>
                      <a:pt x="14451" y="110"/>
                      <a:pt x="11281" y="3197"/>
                      <a:pt x="9112" y="6283"/>
                    </a:cubicBezTo>
                    <a:cubicBezTo>
                      <a:pt x="6442" y="9370"/>
                      <a:pt x="3773" y="12457"/>
                      <a:pt x="2438" y="16461"/>
                    </a:cubicBezTo>
                    <a:cubicBezTo>
                      <a:pt x="2021" y="18213"/>
                      <a:pt x="1520" y="19965"/>
                      <a:pt x="1103" y="22217"/>
                    </a:cubicBezTo>
                    <a:cubicBezTo>
                      <a:pt x="686" y="24886"/>
                      <a:pt x="185" y="27055"/>
                      <a:pt x="185" y="29725"/>
                    </a:cubicBezTo>
                    <a:cubicBezTo>
                      <a:pt x="185" y="31060"/>
                      <a:pt x="-232" y="32394"/>
                      <a:pt x="185" y="33228"/>
                    </a:cubicBezTo>
                    <a:cubicBezTo>
                      <a:pt x="3439" y="41320"/>
                      <a:pt x="11865" y="33395"/>
                      <a:pt x="12282" y="2805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91790226" name="Полилиния 468"/>
              <p:cNvSpPr/>
              <p:nvPr/>
            </p:nvSpPr>
            <p:spPr bwMode="auto">
              <a:xfrm>
                <a:off x="5140674" y="2756795"/>
                <a:ext cx="78244" cy="73201"/>
              </a:xfrm>
              <a:custGeom>
                <a:avLst/>
                <a:gdLst>
                  <a:gd name="connsiteX0" fmla="*/ 80 w 87872"/>
                  <a:gd name="connsiteY0" fmla="*/ 62710 h 82208"/>
                  <a:gd name="connsiteX1" fmla="*/ 75831 w 87872"/>
                  <a:gd name="connsiteY1" fmla="*/ 76474 h 82208"/>
                  <a:gd name="connsiteX2" fmla="*/ 87344 w 87872"/>
                  <a:gd name="connsiteY2" fmla="*/ 57872 h 82208"/>
                  <a:gd name="connsiteX3" fmla="*/ 78000 w 87872"/>
                  <a:gd name="connsiteY3" fmla="*/ 51198 h 82208"/>
                  <a:gd name="connsiteX4" fmla="*/ 68239 w 87872"/>
                  <a:gd name="connsiteY4" fmla="*/ 34848 h 82208"/>
                  <a:gd name="connsiteX5" fmla="*/ 65987 w 87872"/>
                  <a:gd name="connsiteY5" fmla="*/ 9154 h 82208"/>
                  <a:gd name="connsiteX6" fmla="*/ 28361 w 87872"/>
                  <a:gd name="connsiteY6" fmla="*/ 2480 h 82208"/>
                  <a:gd name="connsiteX7" fmla="*/ 10675 w 87872"/>
                  <a:gd name="connsiteY7" fmla="*/ 33513 h 82208"/>
                  <a:gd name="connsiteX8" fmla="*/ 80 w 87872"/>
                  <a:gd name="connsiteY8" fmla="*/ 62710 h 82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872" h="82208" extrusionOk="0">
                    <a:moveTo>
                      <a:pt x="80" y="62710"/>
                    </a:moveTo>
                    <a:cubicBezTo>
                      <a:pt x="-2590" y="89321"/>
                      <a:pt x="62566" y="83065"/>
                      <a:pt x="75831" y="76474"/>
                    </a:cubicBezTo>
                    <a:cubicBezTo>
                      <a:pt x="82005" y="73388"/>
                      <a:pt x="90014" y="66297"/>
                      <a:pt x="87344" y="57872"/>
                    </a:cubicBezTo>
                    <a:cubicBezTo>
                      <a:pt x="84257" y="47694"/>
                      <a:pt x="85092" y="55202"/>
                      <a:pt x="78000" y="51198"/>
                    </a:cubicBezTo>
                    <a:cubicBezTo>
                      <a:pt x="69157" y="46359"/>
                      <a:pt x="61148" y="49446"/>
                      <a:pt x="68239" y="34848"/>
                    </a:cubicBezTo>
                    <a:cubicBezTo>
                      <a:pt x="73579" y="22918"/>
                      <a:pt x="80170" y="21584"/>
                      <a:pt x="65987" y="9154"/>
                    </a:cubicBezTo>
                    <a:cubicBezTo>
                      <a:pt x="55809" y="729"/>
                      <a:pt x="40708" y="-2775"/>
                      <a:pt x="28361" y="2480"/>
                    </a:cubicBezTo>
                    <a:cubicBezTo>
                      <a:pt x="14179" y="9154"/>
                      <a:pt x="13762" y="20166"/>
                      <a:pt x="10675" y="33513"/>
                    </a:cubicBezTo>
                    <a:cubicBezTo>
                      <a:pt x="9006" y="44107"/>
                      <a:pt x="998" y="52950"/>
                      <a:pt x="80" y="6271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1653263" name="Полилиния 469"/>
              <p:cNvSpPr/>
              <p:nvPr/>
            </p:nvSpPr>
            <p:spPr bwMode="auto">
              <a:xfrm>
                <a:off x="5384497" y="2803126"/>
                <a:ext cx="60651" cy="28882"/>
              </a:xfrm>
              <a:custGeom>
                <a:avLst/>
                <a:gdLst>
                  <a:gd name="connsiteX0" fmla="*/ 2734 w 68113"/>
                  <a:gd name="connsiteY0" fmla="*/ 12430 h 32436"/>
                  <a:gd name="connsiteX1" fmla="*/ 13830 w 68113"/>
                  <a:gd name="connsiteY1" fmla="*/ 5756 h 32436"/>
                  <a:gd name="connsiteX2" fmla="*/ 36438 w 68113"/>
                  <a:gd name="connsiteY2" fmla="*/ 417 h 32436"/>
                  <a:gd name="connsiteX3" fmla="*/ 39108 w 68113"/>
                  <a:gd name="connsiteY3" fmla="*/ 0 h 32436"/>
                  <a:gd name="connsiteX4" fmla="*/ 42195 w 68113"/>
                  <a:gd name="connsiteY4" fmla="*/ 2252 h 32436"/>
                  <a:gd name="connsiteX5" fmla="*/ 53708 w 68113"/>
                  <a:gd name="connsiteY5" fmla="*/ 12847 h 32436"/>
                  <a:gd name="connsiteX6" fmla="*/ 58129 w 68113"/>
                  <a:gd name="connsiteY6" fmla="*/ 16351 h 32436"/>
                  <a:gd name="connsiteX7" fmla="*/ 63886 w 68113"/>
                  <a:gd name="connsiteY7" fmla="*/ 19020 h 32436"/>
                  <a:gd name="connsiteX8" fmla="*/ 67390 w 68113"/>
                  <a:gd name="connsiteY8" fmla="*/ 29614 h 32436"/>
                  <a:gd name="connsiteX9" fmla="*/ 60299 w 68113"/>
                  <a:gd name="connsiteY9" fmla="*/ 31867 h 32436"/>
                  <a:gd name="connsiteX10" fmla="*/ 57212 w 68113"/>
                  <a:gd name="connsiteY10" fmla="*/ 29197 h 32436"/>
                  <a:gd name="connsiteX11" fmla="*/ 36355 w 68113"/>
                  <a:gd name="connsiteY11" fmla="*/ 20355 h 32436"/>
                  <a:gd name="connsiteX12" fmla="*/ 28847 w 68113"/>
                  <a:gd name="connsiteY12" fmla="*/ 21689 h 32436"/>
                  <a:gd name="connsiteX13" fmla="*/ 27095 w 68113"/>
                  <a:gd name="connsiteY13" fmla="*/ 25694 h 32436"/>
                  <a:gd name="connsiteX14" fmla="*/ 15999 w 68113"/>
                  <a:gd name="connsiteY14" fmla="*/ 30532 h 32436"/>
                  <a:gd name="connsiteX15" fmla="*/ 2734 w 68113"/>
                  <a:gd name="connsiteY15" fmla="*/ 12430 h 32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8113" h="32436" extrusionOk="0">
                    <a:moveTo>
                      <a:pt x="2734" y="12430"/>
                    </a:moveTo>
                    <a:cubicBezTo>
                      <a:pt x="4486" y="8426"/>
                      <a:pt x="9408" y="7091"/>
                      <a:pt x="13830" y="5756"/>
                    </a:cubicBezTo>
                    <a:cubicBezTo>
                      <a:pt x="21338" y="4004"/>
                      <a:pt x="28930" y="2252"/>
                      <a:pt x="36438" y="417"/>
                    </a:cubicBezTo>
                    <a:cubicBezTo>
                      <a:pt x="37356" y="417"/>
                      <a:pt x="38191" y="0"/>
                      <a:pt x="39108" y="0"/>
                    </a:cubicBezTo>
                    <a:cubicBezTo>
                      <a:pt x="40443" y="0"/>
                      <a:pt x="41361" y="1335"/>
                      <a:pt x="42195" y="2252"/>
                    </a:cubicBezTo>
                    <a:cubicBezTo>
                      <a:pt x="46200" y="5756"/>
                      <a:pt x="49703" y="9343"/>
                      <a:pt x="53708" y="12847"/>
                    </a:cubicBezTo>
                    <a:cubicBezTo>
                      <a:pt x="55043" y="14181"/>
                      <a:pt x="56377" y="15516"/>
                      <a:pt x="58129" y="16351"/>
                    </a:cubicBezTo>
                    <a:cubicBezTo>
                      <a:pt x="59881" y="17268"/>
                      <a:pt x="61634" y="18102"/>
                      <a:pt x="63886" y="19020"/>
                    </a:cubicBezTo>
                    <a:cubicBezTo>
                      <a:pt x="67390" y="20772"/>
                      <a:pt x="69225" y="25694"/>
                      <a:pt x="67390" y="29614"/>
                    </a:cubicBezTo>
                    <a:cubicBezTo>
                      <a:pt x="66055" y="32284"/>
                      <a:pt x="62551" y="33118"/>
                      <a:pt x="60299" y="31867"/>
                    </a:cubicBezTo>
                    <a:cubicBezTo>
                      <a:pt x="58964" y="31449"/>
                      <a:pt x="58046" y="30115"/>
                      <a:pt x="57212" y="29197"/>
                    </a:cubicBezTo>
                    <a:cubicBezTo>
                      <a:pt x="52373" y="23441"/>
                      <a:pt x="43947" y="21689"/>
                      <a:pt x="36355" y="20355"/>
                    </a:cubicBezTo>
                    <a:cubicBezTo>
                      <a:pt x="33686" y="19938"/>
                      <a:pt x="30599" y="19437"/>
                      <a:pt x="28847" y="21689"/>
                    </a:cubicBezTo>
                    <a:cubicBezTo>
                      <a:pt x="27929" y="23024"/>
                      <a:pt x="27929" y="24359"/>
                      <a:pt x="27095" y="25694"/>
                    </a:cubicBezTo>
                    <a:cubicBezTo>
                      <a:pt x="25343" y="29698"/>
                      <a:pt x="20421" y="30115"/>
                      <a:pt x="15999" y="30532"/>
                    </a:cubicBezTo>
                    <a:cubicBezTo>
                      <a:pt x="3151" y="31032"/>
                      <a:pt x="-4357" y="26611"/>
                      <a:pt x="2734" y="1243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6988912" name="Полилиния 470"/>
              <p:cNvSpPr/>
              <p:nvPr/>
            </p:nvSpPr>
            <p:spPr bwMode="auto">
              <a:xfrm>
                <a:off x="5517834" y="2909737"/>
                <a:ext cx="41545" cy="61828"/>
              </a:xfrm>
              <a:custGeom>
                <a:avLst/>
                <a:gdLst>
                  <a:gd name="connsiteX0" fmla="*/ 31025 w 46658"/>
                  <a:gd name="connsiteY0" fmla="*/ 1233 h 69436"/>
                  <a:gd name="connsiteX1" fmla="*/ 13756 w 46658"/>
                  <a:gd name="connsiteY1" fmla="*/ 5654 h 69436"/>
                  <a:gd name="connsiteX2" fmla="*/ 3578 w 46658"/>
                  <a:gd name="connsiteY2" fmla="*/ 26926 h 69436"/>
                  <a:gd name="connsiteX3" fmla="*/ 491 w 46658"/>
                  <a:gd name="connsiteY3" fmla="*/ 29596 h 69436"/>
                  <a:gd name="connsiteX4" fmla="*/ 908 w 46658"/>
                  <a:gd name="connsiteY4" fmla="*/ 34935 h 69436"/>
                  <a:gd name="connsiteX5" fmla="*/ 12421 w 46658"/>
                  <a:gd name="connsiteY5" fmla="*/ 53954 h 69436"/>
                  <a:gd name="connsiteX6" fmla="*/ 28773 w 46658"/>
                  <a:gd name="connsiteY6" fmla="*/ 68553 h 69436"/>
                  <a:gd name="connsiteX7" fmla="*/ 46459 w 46658"/>
                  <a:gd name="connsiteY7" fmla="*/ 60545 h 69436"/>
                  <a:gd name="connsiteX8" fmla="*/ 40286 w 46658"/>
                  <a:gd name="connsiteY8" fmla="*/ 31348 h 69436"/>
                  <a:gd name="connsiteX9" fmla="*/ 31025 w 46658"/>
                  <a:gd name="connsiteY9" fmla="*/ 1233 h 69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58" h="69436" extrusionOk="0">
                    <a:moveTo>
                      <a:pt x="31025" y="1233"/>
                    </a:moveTo>
                    <a:cubicBezTo>
                      <a:pt x="25269" y="-1437"/>
                      <a:pt x="17761" y="315"/>
                      <a:pt x="13756" y="5654"/>
                    </a:cubicBezTo>
                    <a:cubicBezTo>
                      <a:pt x="8917" y="11827"/>
                      <a:pt x="9752" y="22005"/>
                      <a:pt x="3578" y="26926"/>
                    </a:cubicBezTo>
                    <a:cubicBezTo>
                      <a:pt x="2660" y="27844"/>
                      <a:pt x="1325" y="28261"/>
                      <a:pt x="491" y="29596"/>
                    </a:cubicBezTo>
                    <a:cubicBezTo>
                      <a:pt x="-426" y="31348"/>
                      <a:pt x="74" y="33099"/>
                      <a:pt x="908" y="34935"/>
                    </a:cubicBezTo>
                    <a:cubicBezTo>
                      <a:pt x="3578" y="42026"/>
                      <a:pt x="8000" y="47781"/>
                      <a:pt x="12421" y="53954"/>
                    </a:cubicBezTo>
                    <a:cubicBezTo>
                      <a:pt x="16843" y="59711"/>
                      <a:pt x="21765" y="65884"/>
                      <a:pt x="28773" y="68553"/>
                    </a:cubicBezTo>
                    <a:cubicBezTo>
                      <a:pt x="35864" y="71223"/>
                      <a:pt x="45125" y="67636"/>
                      <a:pt x="46459" y="60545"/>
                    </a:cubicBezTo>
                    <a:cubicBezTo>
                      <a:pt x="47794" y="53037"/>
                      <a:pt x="42038" y="39273"/>
                      <a:pt x="40286" y="31348"/>
                    </a:cubicBezTo>
                    <a:cubicBezTo>
                      <a:pt x="39035" y="22505"/>
                      <a:pt x="37700" y="7406"/>
                      <a:pt x="31025" y="123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46836567" name="Полилиния 471"/>
              <p:cNvSpPr/>
              <p:nvPr/>
            </p:nvSpPr>
            <p:spPr bwMode="auto">
              <a:xfrm>
                <a:off x="5318235" y="2858027"/>
                <a:ext cx="39170" cy="41495"/>
              </a:xfrm>
              <a:custGeom>
                <a:avLst/>
                <a:gdLst>
                  <a:gd name="connsiteX0" fmla="*/ 42610 w 43990"/>
                  <a:gd name="connsiteY0" fmla="*/ 19013 h 46601"/>
                  <a:gd name="connsiteX1" fmla="*/ 35936 w 43990"/>
                  <a:gd name="connsiteY1" fmla="*/ 8836 h 46601"/>
                  <a:gd name="connsiteX2" fmla="*/ 28845 w 43990"/>
                  <a:gd name="connsiteY2" fmla="*/ 1328 h 46601"/>
                  <a:gd name="connsiteX3" fmla="*/ 14245 w 43990"/>
                  <a:gd name="connsiteY3" fmla="*/ 3080 h 46601"/>
                  <a:gd name="connsiteX4" fmla="*/ 5819 w 43990"/>
                  <a:gd name="connsiteY4" fmla="*/ 11923 h 46601"/>
                  <a:gd name="connsiteX5" fmla="*/ 63 w 43990"/>
                  <a:gd name="connsiteY5" fmla="*/ 17679 h 46601"/>
                  <a:gd name="connsiteX6" fmla="*/ 2732 w 43990"/>
                  <a:gd name="connsiteY6" fmla="*/ 23435 h 46601"/>
                  <a:gd name="connsiteX7" fmla="*/ 13327 w 43990"/>
                  <a:gd name="connsiteY7" fmla="*/ 34947 h 46601"/>
                  <a:gd name="connsiteX8" fmla="*/ 16832 w 43990"/>
                  <a:gd name="connsiteY8" fmla="*/ 39785 h 46601"/>
                  <a:gd name="connsiteX9" fmla="*/ 20335 w 43990"/>
                  <a:gd name="connsiteY9" fmla="*/ 45958 h 46601"/>
                  <a:gd name="connsiteX10" fmla="*/ 25174 w 43990"/>
                  <a:gd name="connsiteY10" fmla="*/ 45541 h 46601"/>
                  <a:gd name="connsiteX11" fmla="*/ 27844 w 43990"/>
                  <a:gd name="connsiteY11" fmla="*/ 41120 h 46601"/>
                  <a:gd name="connsiteX12" fmla="*/ 27844 w 43990"/>
                  <a:gd name="connsiteY12" fmla="*/ 37616 h 46601"/>
                  <a:gd name="connsiteX13" fmla="*/ 42610 w 43990"/>
                  <a:gd name="connsiteY13" fmla="*/ 19013 h 46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990" h="46601" extrusionOk="0">
                    <a:moveTo>
                      <a:pt x="42610" y="19013"/>
                    </a:moveTo>
                    <a:cubicBezTo>
                      <a:pt x="40358" y="15510"/>
                      <a:pt x="38189" y="12340"/>
                      <a:pt x="35936" y="8836"/>
                    </a:cubicBezTo>
                    <a:cubicBezTo>
                      <a:pt x="34184" y="6167"/>
                      <a:pt x="31931" y="3080"/>
                      <a:pt x="28845" y="1328"/>
                    </a:cubicBezTo>
                    <a:cubicBezTo>
                      <a:pt x="24006" y="-1341"/>
                      <a:pt x="18667" y="411"/>
                      <a:pt x="14245" y="3080"/>
                    </a:cubicBezTo>
                    <a:cubicBezTo>
                      <a:pt x="10741" y="5333"/>
                      <a:pt x="9406" y="9253"/>
                      <a:pt x="5819" y="11923"/>
                    </a:cubicBezTo>
                    <a:cubicBezTo>
                      <a:pt x="3566" y="13675"/>
                      <a:pt x="480" y="15009"/>
                      <a:pt x="63" y="17679"/>
                    </a:cubicBezTo>
                    <a:cubicBezTo>
                      <a:pt x="-354" y="19931"/>
                      <a:pt x="1398" y="22100"/>
                      <a:pt x="2732" y="23435"/>
                    </a:cubicBezTo>
                    <a:cubicBezTo>
                      <a:pt x="6236" y="27439"/>
                      <a:pt x="9823" y="31443"/>
                      <a:pt x="13327" y="34947"/>
                    </a:cubicBezTo>
                    <a:cubicBezTo>
                      <a:pt x="14662" y="36282"/>
                      <a:pt x="15997" y="38033"/>
                      <a:pt x="16832" y="39785"/>
                    </a:cubicBezTo>
                    <a:cubicBezTo>
                      <a:pt x="17749" y="42038"/>
                      <a:pt x="18166" y="44624"/>
                      <a:pt x="20335" y="45958"/>
                    </a:cubicBezTo>
                    <a:cubicBezTo>
                      <a:pt x="21670" y="46876"/>
                      <a:pt x="23839" y="46876"/>
                      <a:pt x="25174" y="45541"/>
                    </a:cubicBezTo>
                    <a:cubicBezTo>
                      <a:pt x="26509" y="44624"/>
                      <a:pt x="27427" y="42872"/>
                      <a:pt x="27844" y="41120"/>
                    </a:cubicBezTo>
                    <a:cubicBezTo>
                      <a:pt x="27844" y="39785"/>
                      <a:pt x="27844" y="38868"/>
                      <a:pt x="27844" y="37616"/>
                    </a:cubicBezTo>
                    <a:cubicBezTo>
                      <a:pt x="30180" y="28273"/>
                      <a:pt x="49201" y="29191"/>
                      <a:pt x="42610" y="1901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41702868" name="Полилиния 472"/>
              <p:cNvSpPr/>
              <p:nvPr/>
            </p:nvSpPr>
            <p:spPr bwMode="auto">
              <a:xfrm>
                <a:off x="6851332" y="2248987"/>
                <a:ext cx="20405" cy="27650"/>
              </a:xfrm>
              <a:custGeom>
                <a:avLst/>
                <a:gdLst>
                  <a:gd name="connsiteX0" fmla="*/ 16209 w 22917"/>
                  <a:gd name="connsiteY0" fmla="*/ 5756 h 31053"/>
                  <a:gd name="connsiteX1" fmla="*/ 8200 w 22917"/>
                  <a:gd name="connsiteY1" fmla="*/ 0 h 31053"/>
                  <a:gd name="connsiteX2" fmla="*/ 2026 w 22917"/>
                  <a:gd name="connsiteY2" fmla="*/ 4421 h 31053"/>
                  <a:gd name="connsiteX3" fmla="*/ 274 w 22917"/>
                  <a:gd name="connsiteY3" fmla="*/ 12430 h 31053"/>
                  <a:gd name="connsiteX4" fmla="*/ 691 w 22917"/>
                  <a:gd name="connsiteY4" fmla="*/ 19938 h 31053"/>
                  <a:gd name="connsiteX5" fmla="*/ 20213 w 22917"/>
                  <a:gd name="connsiteY5" fmla="*/ 29698 h 31053"/>
                  <a:gd name="connsiteX6" fmla="*/ 16209 w 22917"/>
                  <a:gd name="connsiteY6" fmla="*/ 5756 h 3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17" h="31053" extrusionOk="0">
                    <a:moveTo>
                      <a:pt x="16209" y="5756"/>
                    </a:moveTo>
                    <a:cubicBezTo>
                      <a:pt x="14457" y="3087"/>
                      <a:pt x="11788" y="0"/>
                      <a:pt x="8200" y="0"/>
                    </a:cubicBezTo>
                    <a:cubicBezTo>
                      <a:pt x="5531" y="0"/>
                      <a:pt x="2861" y="1752"/>
                      <a:pt x="2026" y="4421"/>
                    </a:cubicBezTo>
                    <a:cubicBezTo>
                      <a:pt x="1192" y="7091"/>
                      <a:pt x="691" y="9760"/>
                      <a:pt x="274" y="12430"/>
                    </a:cubicBezTo>
                    <a:cubicBezTo>
                      <a:pt x="-143" y="15099"/>
                      <a:pt x="-143" y="17769"/>
                      <a:pt x="691" y="19938"/>
                    </a:cubicBezTo>
                    <a:cubicBezTo>
                      <a:pt x="3361" y="25276"/>
                      <a:pt x="14874" y="34536"/>
                      <a:pt x="20213" y="29698"/>
                    </a:cubicBezTo>
                    <a:cubicBezTo>
                      <a:pt x="26804" y="23441"/>
                      <a:pt x="19713" y="10594"/>
                      <a:pt x="16209" y="575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28836179" name="Полилиния 473"/>
              <p:cNvSpPr/>
              <p:nvPr/>
            </p:nvSpPr>
            <p:spPr bwMode="auto">
              <a:xfrm>
                <a:off x="5836818" y="2669625"/>
                <a:ext cx="13500" cy="11166"/>
              </a:xfrm>
              <a:custGeom>
                <a:avLst/>
                <a:gdLst>
                  <a:gd name="connsiteX0" fmla="*/ 3750 w 15162"/>
                  <a:gd name="connsiteY0" fmla="*/ 11784 h 12541"/>
                  <a:gd name="connsiteX1" fmla="*/ 12594 w 15162"/>
                  <a:gd name="connsiteY1" fmla="*/ 10449 h 12541"/>
                  <a:gd name="connsiteX2" fmla="*/ 14846 w 15162"/>
                  <a:gd name="connsiteY2" fmla="*/ 2023 h 12541"/>
                  <a:gd name="connsiteX3" fmla="*/ 246 w 15162"/>
                  <a:gd name="connsiteY3" fmla="*/ 6027 h 12541"/>
                  <a:gd name="connsiteX4" fmla="*/ 3750 w 15162"/>
                  <a:gd name="connsiteY4" fmla="*/ 11784 h 12541"/>
                  <a:gd name="connsiteX5" fmla="*/ 3750 w 15162"/>
                  <a:gd name="connsiteY5" fmla="*/ 11784 h 1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162" h="12541" extrusionOk="0">
                    <a:moveTo>
                      <a:pt x="3750" y="11784"/>
                    </a:moveTo>
                    <a:cubicBezTo>
                      <a:pt x="6420" y="13118"/>
                      <a:pt x="10425" y="12701"/>
                      <a:pt x="12594" y="10449"/>
                    </a:cubicBezTo>
                    <a:cubicBezTo>
                      <a:pt x="14846" y="8196"/>
                      <a:pt x="15680" y="4693"/>
                      <a:pt x="14846" y="2023"/>
                    </a:cubicBezTo>
                    <a:cubicBezTo>
                      <a:pt x="10425" y="-1981"/>
                      <a:pt x="1998" y="272"/>
                      <a:pt x="246" y="6027"/>
                    </a:cubicBezTo>
                    <a:cubicBezTo>
                      <a:pt x="-671" y="8196"/>
                      <a:pt x="1081" y="12201"/>
                      <a:pt x="3750" y="11784"/>
                    </a:cubicBezTo>
                    <a:lnTo>
                      <a:pt x="3750" y="11784"/>
                    </a:ln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6923338" name="Полилиния 474"/>
              <p:cNvSpPr/>
              <p:nvPr/>
            </p:nvSpPr>
            <p:spPr bwMode="auto">
              <a:xfrm>
                <a:off x="5800281" y="2716441"/>
                <a:ext cx="19000" cy="12998"/>
              </a:xfrm>
              <a:custGeom>
                <a:avLst/>
                <a:gdLst>
                  <a:gd name="connsiteX0" fmla="*/ 12914 w 21339"/>
                  <a:gd name="connsiteY0" fmla="*/ 13264 h 14598"/>
                  <a:gd name="connsiteX1" fmla="*/ 18253 w 21339"/>
                  <a:gd name="connsiteY1" fmla="*/ 10177 h 14598"/>
                  <a:gd name="connsiteX2" fmla="*/ 21340 w 21339"/>
                  <a:gd name="connsiteY2" fmla="*/ 5339 h 14598"/>
                  <a:gd name="connsiteX3" fmla="*/ 21340 w 21339"/>
                  <a:gd name="connsiteY3" fmla="*/ 4421 h 14598"/>
                  <a:gd name="connsiteX4" fmla="*/ 20422 w 21339"/>
                  <a:gd name="connsiteY4" fmla="*/ 3087 h 14598"/>
                  <a:gd name="connsiteX5" fmla="*/ 11996 w 21339"/>
                  <a:gd name="connsiteY5" fmla="*/ 0 h 14598"/>
                  <a:gd name="connsiteX6" fmla="*/ 8492 w 21339"/>
                  <a:gd name="connsiteY6" fmla="*/ 417 h 14598"/>
                  <a:gd name="connsiteX7" fmla="*/ 5822 w 21339"/>
                  <a:gd name="connsiteY7" fmla="*/ 834 h 14598"/>
                  <a:gd name="connsiteX8" fmla="*/ 2736 w 21339"/>
                  <a:gd name="connsiteY8" fmla="*/ 1752 h 14598"/>
                  <a:gd name="connsiteX9" fmla="*/ 984 w 21339"/>
                  <a:gd name="connsiteY9" fmla="*/ 3087 h 14598"/>
                  <a:gd name="connsiteX10" fmla="*/ 567 w 21339"/>
                  <a:gd name="connsiteY10" fmla="*/ 5339 h 14598"/>
                  <a:gd name="connsiteX11" fmla="*/ 149 w 21339"/>
                  <a:gd name="connsiteY11" fmla="*/ 8843 h 14598"/>
                  <a:gd name="connsiteX12" fmla="*/ 1901 w 21339"/>
                  <a:gd name="connsiteY12" fmla="*/ 11095 h 14598"/>
                  <a:gd name="connsiteX13" fmla="*/ 6740 w 21339"/>
                  <a:gd name="connsiteY13" fmla="*/ 14181 h 14598"/>
                  <a:gd name="connsiteX14" fmla="*/ 8075 w 21339"/>
                  <a:gd name="connsiteY14" fmla="*/ 14599 h 14598"/>
                  <a:gd name="connsiteX15" fmla="*/ 9410 w 21339"/>
                  <a:gd name="connsiteY15" fmla="*/ 14181 h 14598"/>
                  <a:gd name="connsiteX16" fmla="*/ 10744 w 21339"/>
                  <a:gd name="connsiteY16" fmla="*/ 13764 h 14598"/>
                  <a:gd name="connsiteX17" fmla="*/ 12914 w 21339"/>
                  <a:gd name="connsiteY17" fmla="*/ 13264 h 14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339" h="14598" extrusionOk="0">
                    <a:moveTo>
                      <a:pt x="12914" y="13264"/>
                    </a:moveTo>
                    <a:cubicBezTo>
                      <a:pt x="14666" y="12346"/>
                      <a:pt x="16418" y="11512"/>
                      <a:pt x="18253" y="10177"/>
                    </a:cubicBezTo>
                    <a:cubicBezTo>
                      <a:pt x="20088" y="8843"/>
                      <a:pt x="20923" y="7091"/>
                      <a:pt x="21340" y="5339"/>
                    </a:cubicBezTo>
                    <a:cubicBezTo>
                      <a:pt x="21340" y="4922"/>
                      <a:pt x="21340" y="4922"/>
                      <a:pt x="21340" y="4421"/>
                    </a:cubicBezTo>
                    <a:cubicBezTo>
                      <a:pt x="21340" y="3921"/>
                      <a:pt x="20923" y="3504"/>
                      <a:pt x="20422" y="3087"/>
                    </a:cubicBezTo>
                    <a:cubicBezTo>
                      <a:pt x="17753" y="1335"/>
                      <a:pt x="15083" y="0"/>
                      <a:pt x="11996" y="0"/>
                    </a:cubicBezTo>
                    <a:cubicBezTo>
                      <a:pt x="10661" y="0"/>
                      <a:pt x="9326" y="417"/>
                      <a:pt x="8492" y="417"/>
                    </a:cubicBezTo>
                    <a:cubicBezTo>
                      <a:pt x="7658" y="417"/>
                      <a:pt x="6740" y="834"/>
                      <a:pt x="5822" y="834"/>
                    </a:cubicBezTo>
                    <a:cubicBezTo>
                      <a:pt x="4487" y="1251"/>
                      <a:pt x="3570" y="1251"/>
                      <a:pt x="2736" y="1752"/>
                    </a:cubicBezTo>
                    <a:cubicBezTo>
                      <a:pt x="2319" y="2169"/>
                      <a:pt x="1401" y="2669"/>
                      <a:pt x="984" y="3087"/>
                    </a:cubicBezTo>
                    <a:cubicBezTo>
                      <a:pt x="567" y="4004"/>
                      <a:pt x="567" y="4421"/>
                      <a:pt x="567" y="5339"/>
                    </a:cubicBezTo>
                    <a:cubicBezTo>
                      <a:pt x="567" y="6674"/>
                      <a:pt x="-351" y="7591"/>
                      <a:pt x="149" y="8843"/>
                    </a:cubicBezTo>
                    <a:cubicBezTo>
                      <a:pt x="567" y="9760"/>
                      <a:pt x="1484" y="10594"/>
                      <a:pt x="1901" y="11095"/>
                    </a:cubicBezTo>
                    <a:cubicBezTo>
                      <a:pt x="3653" y="12430"/>
                      <a:pt x="4988" y="13347"/>
                      <a:pt x="6740" y="14181"/>
                    </a:cubicBezTo>
                    <a:cubicBezTo>
                      <a:pt x="7157" y="14599"/>
                      <a:pt x="7658" y="14599"/>
                      <a:pt x="8075" y="14599"/>
                    </a:cubicBezTo>
                    <a:cubicBezTo>
                      <a:pt x="8492" y="14599"/>
                      <a:pt x="8993" y="14599"/>
                      <a:pt x="9410" y="14181"/>
                    </a:cubicBezTo>
                    <a:lnTo>
                      <a:pt x="10744" y="13764"/>
                    </a:lnTo>
                    <a:cubicBezTo>
                      <a:pt x="11579" y="14098"/>
                      <a:pt x="11996" y="13681"/>
                      <a:pt x="12914" y="1326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44354229" name="Полилиния 475"/>
              <p:cNvSpPr/>
              <p:nvPr/>
            </p:nvSpPr>
            <p:spPr bwMode="auto">
              <a:xfrm>
                <a:off x="5835033" y="2665467"/>
                <a:ext cx="15376" cy="13015"/>
              </a:xfrm>
              <a:custGeom>
                <a:avLst/>
                <a:gdLst>
                  <a:gd name="connsiteX0" fmla="*/ 8426 w 17269"/>
                  <a:gd name="connsiteY0" fmla="*/ 14617 h 14617"/>
                  <a:gd name="connsiteX1" fmla="*/ 11096 w 17269"/>
                  <a:gd name="connsiteY1" fmla="*/ 13700 h 14617"/>
                  <a:gd name="connsiteX2" fmla="*/ 14600 w 17269"/>
                  <a:gd name="connsiteY2" fmla="*/ 12365 h 14617"/>
                  <a:gd name="connsiteX3" fmla="*/ 17269 w 17269"/>
                  <a:gd name="connsiteY3" fmla="*/ 9695 h 14617"/>
                  <a:gd name="connsiteX4" fmla="*/ 14183 w 17269"/>
                  <a:gd name="connsiteY4" fmla="*/ 5691 h 14617"/>
                  <a:gd name="connsiteX5" fmla="*/ 13765 w 17269"/>
                  <a:gd name="connsiteY5" fmla="*/ 1270 h 14617"/>
                  <a:gd name="connsiteX6" fmla="*/ 12431 w 17269"/>
                  <a:gd name="connsiteY6" fmla="*/ 352 h 14617"/>
                  <a:gd name="connsiteX7" fmla="*/ 4421 w 17269"/>
                  <a:gd name="connsiteY7" fmla="*/ 2605 h 14617"/>
                  <a:gd name="connsiteX8" fmla="*/ 917 w 17269"/>
                  <a:gd name="connsiteY8" fmla="*/ 7944 h 14617"/>
                  <a:gd name="connsiteX9" fmla="*/ 0 w 17269"/>
                  <a:gd name="connsiteY9" fmla="*/ 9278 h 14617"/>
                  <a:gd name="connsiteX10" fmla="*/ 917 w 17269"/>
                  <a:gd name="connsiteY10" fmla="*/ 10613 h 14617"/>
                  <a:gd name="connsiteX11" fmla="*/ 5339 w 17269"/>
                  <a:gd name="connsiteY11" fmla="*/ 12365 h 14617"/>
                  <a:gd name="connsiteX12" fmla="*/ 8426 w 17269"/>
                  <a:gd name="connsiteY12" fmla="*/ 14617 h 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269" h="14617" extrusionOk="0">
                    <a:moveTo>
                      <a:pt x="8426" y="14617"/>
                    </a:moveTo>
                    <a:cubicBezTo>
                      <a:pt x="9344" y="14617"/>
                      <a:pt x="10178" y="14200"/>
                      <a:pt x="11096" y="13700"/>
                    </a:cubicBezTo>
                    <a:cubicBezTo>
                      <a:pt x="12431" y="13283"/>
                      <a:pt x="13348" y="12782"/>
                      <a:pt x="14600" y="12365"/>
                    </a:cubicBezTo>
                    <a:cubicBezTo>
                      <a:pt x="15934" y="11948"/>
                      <a:pt x="17269" y="11030"/>
                      <a:pt x="17269" y="9695"/>
                    </a:cubicBezTo>
                    <a:cubicBezTo>
                      <a:pt x="17269" y="7944"/>
                      <a:pt x="15017" y="7443"/>
                      <a:pt x="14183" y="5691"/>
                    </a:cubicBezTo>
                    <a:cubicBezTo>
                      <a:pt x="13765" y="4357"/>
                      <a:pt x="14600" y="2605"/>
                      <a:pt x="13765" y="1270"/>
                    </a:cubicBezTo>
                    <a:cubicBezTo>
                      <a:pt x="13348" y="853"/>
                      <a:pt x="12848" y="352"/>
                      <a:pt x="12431" y="352"/>
                    </a:cubicBezTo>
                    <a:cubicBezTo>
                      <a:pt x="9761" y="-565"/>
                      <a:pt x="6257" y="352"/>
                      <a:pt x="4421" y="2605"/>
                    </a:cubicBezTo>
                    <a:cubicBezTo>
                      <a:pt x="3087" y="4357"/>
                      <a:pt x="2669" y="6609"/>
                      <a:pt x="917" y="7944"/>
                    </a:cubicBezTo>
                    <a:cubicBezTo>
                      <a:pt x="500" y="8361"/>
                      <a:pt x="0" y="8861"/>
                      <a:pt x="0" y="9278"/>
                    </a:cubicBezTo>
                    <a:cubicBezTo>
                      <a:pt x="0" y="9695"/>
                      <a:pt x="417" y="10196"/>
                      <a:pt x="917" y="10613"/>
                    </a:cubicBezTo>
                    <a:cubicBezTo>
                      <a:pt x="2252" y="11531"/>
                      <a:pt x="3587" y="11948"/>
                      <a:pt x="5339" y="12365"/>
                    </a:cubicBezTo>
                    <a:cubicBezTo>
                      <a:pt x="6174" y="13783"/>
                      <a:pt x="7091" y="14617"/>
                      <a:pt x="8426" y="146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9470580" name="Полилиния 476"/>
              <p:cNvSpPr/>
              <p:nvPr/>
            </p:nvSpPr>
            <p:spPr bwMode="auto">
              <a:xfrm>
                <a:off x="5708720" y="2761559"/>
                <a:ext cx="23320" cy="8975"/>
              </a:xfrm>
              <a:custGeom>
                <a:avLst/>
                <a:gdLst>
                  <a:gd name="connsiteX0" fmla="*/ 17380 w 26190"/>
                  <a:gd name="connsiteY0" fmla="*/ 8642 h 10080"/>
                  <a:gd name="connsiteX1" fmla="*/ 14293 w 26190"/>
                  <a:gd name="connsiteY1" fmla="*/ 8225 h 10080"/>
                  <a:gd name="connsiteX2" fmla="*/ 11624 w 26190"/>
                  <a:gd name="connsiteY2" fmla="*/ 9143 h 10080"/>
                  <a:gd name="connsiteX3" fmla="*/ 110 w 26190"/>
                  <a:gd name="connsiteY3" fmla="*/ 8725 h 10080"/>
                  <a:gd name="connsiteX4" fmla="*/ 1445 w 26190"/>
                  <a:gd name="connsiteY4" fmla="*/ 4721 h 10080"/>
                  <a:gd name="connsiteX5" fmla="*/ 4949 w 26190"/>
                  <a:gd name="connsiteY5" fmla="*/ 2469 h 10080"/>
                  <a:gd name="connsiteX6" fmla="*/ 14710 w 26190"/>
                  <a:gd name="connsiteY6" fmla="*/ 217 h 10080"/>
                  <a:gd name="connsiteX7" fmla="*/ 23553 w 26190"/>
                  <a:gd name="connsiteY7" fmla="*/ 5555 h 10080"/>
                  <a:gd name="connsiteX8" fmla="*/ 17380 w 26190"/>
                  <a:gd name="connsiteY8" fmla="*/ 8642 h 1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190" h="10080" extrusionOk="0">
                    <a:moveTo>
                      <a:pt x="17380" y="8642"/>
                    </a:moveTo>
                    <a:cubicBezTo>
                      <a:pt x="16462" y="8225"/>
                      <a:pt x="15628" y="8225"/>
                      <a:pt x="14293" y="8225"/>
                    </a:cubicBezTo>
                    <a:cubicBezTo>
                      <a:pt x="13376" y="8225"/>
                      <a:pt x="12541" y="9143"/>
                      <a:pt x="11624" y="9143"/>
                    </a:cubicBezTo>
                    <a:cubicBezTo>
                      <a:pt x="8119" y="10894"/>
                      <a:pt x="4115" y="9560"/>
                      <a:pt x="110" y="8725"/>
                    </a:cubicBezTo>
                    <a:cubicBezTo>
                      <a:pt x="-307" y="7391"/>
                      <a:pt x="528" y="6056"/>
                      <a:pt x="1445" y="4721"/>
                    </a:cubicBezTo>
                    <a:cubicBezTo>
                      <a:pt x="2363" y="3804"/>
                      <a:pt x="3698" y="2970"/>
                      <a:pt x="4949" y="2469"/>
                    </a:cubicBezTo>
                    <a:cubicBezTo>
                      <a:pt x="8036" y="1134"/>
                      <a:pt x="11624" y="-618"/>
                      <a:pt x="14710" y="217"/>
                    </a:cubicBezTo>
                    <a:cubicBezTo>
                      <a:pt x="18214" y="634"/>
                      <a:pt x="20884" y="3303"/>
                      <a:pt x="23553" y="5555"/>
                    </a:cubicBezTo>
                    <a:cubicBezTo>
                      <a:pt x="31062" y="12146"/>
                      <a:pt x="20467" y="9977"/>
                      <a:pt x="17380" y="864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82138550" name="Полилиния 477"/>
              <p:cNvSpPr/>
              <p:nvPr/>
            </p:nvSpPr>
            <p:spPr bwMode="auto">
              <a:xfrm>
                <a:off x="5783781" y="2783071"/>
                <a:ext cx="10413" cy="12453"/>
              </a:xfrm>
              <a:custGeom>
                <a:avLst/>
                <a:gdLst>
                  <a:gd name="connsiteX0" fmla="*/ 11004 w 11695"/>
                  <a:gd name="connsiteY0" fmla="*/ 4838 h 13986"/>
                  <a:gd name="connsiteX1" fmla="*/ 3913 w 11695"/>
                  <a:gd name="connsiteY1" fmla="*/ 0 h 13986"/>
                  <a:gd name="connsiteX2" fmla="*/ 2161 w 11695"/>
                  <a:gd name="connsiteY2" fmla="*/ 417 h 13986"/>
                  <a:gd name="connsiteX3" fmla="*/ 1244 w 11695"/>
                  <a:gd name="connsiteY3" fmla="*/ 1752 h 13986"/>
                  <a:gd name="connsiteX4" fmla="*/ 5665 w 11695"/>
                  <a:gd name="connsiteY4" fmla="*/ 13681 h 13986"/>
                  <a:gd name="connsiteX5" fmla="*/ 11004 w 11695"/>
                  <a:gd name="connsiteY5" fmla="*/ 4838 h 1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95" h="13986" extrusionOk="0">
                    <a:moveTo>
                      <a:pt x="11004" y="4838"/>
                    </a:moveTo>
                    <a:cubicBezTo>
                      <a:pt x="9669" y="2169"/>
                      <a:pt x="7000" y="0"/>
                      <a:pt x="3913" y="0"/>
                    </a:cubicBezTo>
                    <a:cubicBezTo>
                      <a:pt x="3496" y="0"/>
                      <a:pt x="2578" y="0"/>
                      <a:pt x="2161" y="417"/>
                    </a:cubicBezTo>
                    <a:cubicBezTo>
                      <a:pt x="1744" y="834"/>
                      <a:pt x="1744" y="1335"/>
                      <a:pt x="1244" y="1752"/>
                    </a:cubicBezTo>
                    <a:cubicBezTo>
                      <a:pt x="-508" y="6590"/>
                      <a:pt x="-1426" y="12346"/>
                      <a:pt x="5665" y="13681"/>
                    </a:cubicBezTo>
                    <a:cubicBezTo>
                      <a:pt x="11004" y="15433"/>
                      <a:pt x="12840" y="9260"/>
                      <a:pt x="11004" y="483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55333573" name="Полилиния 478"/>
              <p:cNvSpPr/>
              <p:nvPr/>
            </p:nvSpPr>
            <p:spPr bwMode="auto">
              <a:xfrm>
                <a:off x="5907746" y="2611369"/>
                <a:ext cx="29611" cy="34707"/>
              </a:xfrm>
              <a:custGeom>
                <a:avLst/>
                <a:gdLst>
                  <a:gd name="connsiteX0" fmla="*/ 25543 w 33255"/>
                  <a:gd name="connsiteY0" fmla="*/ 2295 h 38978"/>
                  <a:gd name="connsiteX1" fmla="*/ 14948 w 33255"/>
                  <a:gd name="connsiteY1" fmla="*/ 543 h 38978"/>
                  <a:gd name="connsiteX2" fmla="*/ 9609 w 33255"/>
                  <a:gd name="connsiteY2" fmla="*/ 7216 h 38978"/>
                  <a:gd name="connsiteX3" fmla="*/ 7356 w 33255"/>
                  <a:gd name="connsiteY3" fmla="*/ 12055 h 38978"/>
                  <a:gd name="connsiteX4" fmla="*/ 682 w 33255"/>
                  <a:gd name="connsiteY4" fmla="*/ 15558 h 38978"/>
                  <a:gd name="connsiteX5" fmla="*/ 2934 w 33255"/>
                  <a:gd name="connsiteY5" fmla="*/ 23567 h 38978"/>
                  <a:gd name="connsiteX6" fmla="*/ 7356 w 33255"/>
                  <a:gd name="connsiteY6" fmla="*/ 27571 h 38978"/>
                  <a:gd name="connsiteX7" fmla="*/ 11778 w 33255"/>
                  <a:gd name="connsiteY7" fmla="*/ 30241 h 38978"/>
                  <a:gd name="connsiteX8" fmla="*/ 14447 w 33255"/>
                  <a:gd name="connsiteY8" fmla="*/ 34662 h 38978"/>
                  <a:gd name="connsiteX9" fmla="*/ 14447 w 33255"/>
                  <a:gd name="connsiteY9" fmla="*/ 36914 h 38978"/>
                  <a:gd name="connsiteX10" fmla="*/ 31300 w 33255"/>
                  <a:gd name="connsiteY10" fmla="*/ 23150 h 38978"/>
                  <a:gd name="connsiteX11" fmla="*/ 25543 w 33255"/>
                  <a:gd name="connsiteY11" fmla="*/ 2295 h 3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255" h="38978" extrusionOk="0">
                    <a:moveTo>
                      <a:pt x="25543" y="2295"/>
                    </a:moveTo>
                    <a:cubicBezTo>
                      <a:pt x="22039" y="543"/>
                      <a:pt x="18452" y="-792"/>
                      <a:pt x="14948" y="543"/>
                    </a:cubicBezTo>
                    <a:cubicBezTo>
                      <a:pt x="12278" y="1878"/>
                      <a:pt x="10526" y="4547"/>
                      <a:pt x="9609" y="7216"/>
                    </a:cubicBezTo>
                    <a:cubicBezTo>
                      <a:pt x="9191" y="8968"/>
                      <a:pt x="8691" y="10720"/>
                      <a:pt x="7356" y="12055"/>
                    </a:cubicBezTo>
                    <a:cubicBezTo>
                      <a:pt x="5604" y="13807"/>
                      <a:pt x="2517" y="13390"/>
                      <a:pt x="682" y="15558"/>
                    </a:cubicBezTo>
                    <a:cubicBezTo>
                      <a:pt x="-1153" y="17728"/>
                      <a:pt x="1099" y="21315"/>
                      <a:pt x="2934" y="23567"/>
                    </a:cubicBezTo>
                    <a:cubicBezTo>
                      <a:pt x="4269" y="24902"/>
                      <a:pt x="5604" y="26653"/>
                      <a:pt x="7356" y="27571"/>
                    </a:cubicBezTo>
                    <a:cubicBezTo>
                      <a:pt x="8691" y="28489"/>
                      <a:pt x="10443" y="29323"/>
                      <a:pt x="11778" y="30241"/>
                    </a:cubicBezTo>
                    <a:cubicBezTo>
                      <a:pt x="13112" y="31158"/>
                      <a:pt x="14447" y="32910"/>
                      <a:pt x="14447" y="34662"/>
                    </a:cubicBezTo>
                    <a:cubicBezTo>
                      <a:pt x="14447" y="35579"/>
                      <a:pt x="14030" y="36414"/>
                      <a:pt x="14447" y="36914"/>
                    </a:cubicBezTo>
                    <a:cubicBezTo>
                      <a:pt x="17117" y="45340"/>
                      <a:pt x="29965" y="25402"/>
                      <a:pt x="31300" y="23150"/>
                    </a:cubicBezTo>
                    <a:cubicBezTo>
                      <a:pt x="35304" y="16476"/>
                      <a:pt x="33052" y="5882"/>
                      <a:pt x="25543" y="229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68245887" name="Полилиния 479"/>
              <p:cNvSpPr/>
              <p:nvPr/>
            </p:nvSpPr>
            <p:spPr bwMode="auto">
              <a:xfrm>
                <a:off x="5857878" y="2673213"/>
                <a:ext cx="35542" cy="36078"/>
              </a:xfrm>
              <a:custGeom>
                <a:avLst/>
                <a:gdLst>
                  <a:gd name="connsiteX0" fmla="*/ 31490 w 39916"/>
                  <a:gd name="connsiteY0" fmla="*/ 3332 h 40518"/>
                  <a:gd name="connsiteX1" fmla="*/ 30572 w 39916"/>
                  <a:gd name="connsiteY1" fmla="*/ 1997 h 40518"/>
                  <a:gd name="connsiteX2" fmla="*/ 28820 w 39916"/>
                  <a:gd name="connsiteY2" fmla="*/ 1080 h 40518"/>
                  <a:gd name="connsiteX3" fmla="*/ 19977 w 39916"/>
                  <a:gd name="connsiteY3" fmla="*/ 162 h 40518"/>
                  <a:gd name="connsiteX4" fmla="*/ 12886 w 39916"/>
                  <a:gd name="connsiteY4" fmla="*/ 5000 h 40518"/>
                  <a:gd name="connsiteX5" fmla="*/ 9382 w 39916"/>
                  <a:gd name="connsiteY5" fmla="*/ 14761 h 40518"/>
                  <a:gd name="connsiteX6" fmla="*/ 38 w 39916"/>
                  <a:gd name="connsiteY6" fmla="*/ 22268 h 40518"/>
                  <a:gd name="connsiteX7" fmla="*/ 5794 w 39916"/>
                  <a:gd name="connsiteY7" fmla="*/ 29359 h 40518"/>
                  <a:gd name="connsiteX8" fmla="*/ 32407 w 39916"/>
                  <a:gd name="connsiteY8" fmla="*/ 40454 h 40518"/>
                  <a:gd name="connsiteX9" fmla="*/ 38164 w 39916"/>
                  <a:gd name="connsiteY9" fmla="*/ 33363 h 40518"/>
                  <a:gd name="connsiteX10" fmla="*/ 39499 w 39916"/>
                  <a:gd name="connsiteY10" fmla="*/ 17430 h 40518"/>
                  <a:gd name="connsiteX11" fmla="*/ 31490 w 39916"/>
                  <a:gd name="connsiteY11" fmla="*/ 3332 h 4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916" h="40518" extrusionOk="0">
                    <a:moveTo>
                      <a:pt x="31490" y="3332"/>
                    </a:moveTo>
                    <a:cubicBezTo>
                      <a:pt x="31073" y="2915"/>
                      <a:pt x="31073" y="2414"/>
                      <a:pt x="30572" y="1997"/>
                    </a:cubicBezTo>
                    <a:cubicBezTo>
                      <a:pt x="30155" y="1580"/>
                      <a:pt x="29655" y="1580"/>
                      <a:pt x="28820" y="1080"/>
                    </a:cubicBezTo>
                    <a:cubicBezTo>
                      <a:pt x="26150" y="162"/>
                      <a:pt x="23064" y="-255"/>
                      <a:pt x="19977" y="162"/>
                    </a:cubicBezTo>
                    <a:cubicBezTo>
                      <a:pt x="16890" y="579"/>
                      <a:pt x="14221" y="2414"/>
                      <a:pt x="12886" y="5000"/>
                    </a:cubicBezTo>
                    <a:cubicBezTo>
                      <a:pt x="11134" y="8087"/>
                      <a:pt x="11551" y="12091"/>
                      <a:pt x="9382" y="14761"/>
                    </a:cubicBezTo>
                    <a:cubicBezTo>
                      <a:pt x="6712" y="17847"/>
                      <a:pt x="956" y="18264"/>
                      <a:pt x="38" y="22268"/>
                    </a:cubicBezTo>
                    <a:cubicBezTo>
                      <a:pt x="-379" y="25355"/>
                      <a:pt x="2708" y="27607"/>
                      <a:pt x="5794" y="29359"/>
                    </a:cubicBezTo>
                    <a:cubicBezTo>
                      <a:pt x="13803" y="33781"/>
                      <a:pt x="22647" y="41288"/>
                      <a:pt x="32407" y="40454"/>
                    </a:cubicBezTo>
                    <a:cubicBezTo>
                      <a:pt x="37747" y="40037"/>
                      <a:pt x="38164" y="38202"/>
                      <a:pt x="38164" y="33363"/>
                    </a:cubicBezTo>
                    <a:cubicBezTo>
                      <a:pt x="38581" y="28024"/>
                      <a:pt x="40834" y="22769"/>
                      <a:pt x="39499" y="17430"/>
                    </a:cubicBezTo>
                    <a:cubicBezTo>
                      <a:pt x="38164" y="13009"/>
                      <a:pt x="33659" y="7753"/>
                      <a:pt x="31490" y="333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32397263" name="Полилиния 480"/>
              <p:cNvSpPr/>
              <p:nvPr/>
            </p:nvSpPr>
            <p:spPr bwMode="auto">
              <a:xfrm>
                <a:off x="5691928" y="2545103"/>
                <a:ext cx="35168" cy="47849"/>
              </a:xfrm>
              <a:custGeom>
                <a:avLst/>
                <a:gdLst>
                  <a:gd name="connsiteX0" fmla="*/ 39324 w 39496"/>
                  <a:gd name="connsiteY0" fmla="*/ 29330 h 53737"/>
                  <a:gd name="connsiteX1" fmla="*/ 38907 w 39496"/>
                  <a:gd name="connsiteY1" fmla="*/ 22657 h 53737"/>
                  <a:gd name="connsiteX2" fmla="*/ 37572 w 39496"/>
                  <a:gd name="connsiteY2" fmla="*/ 11562 h 53737"/>
                  <a:gd name="connsiteX3" fmla="*/ 36237 w 39496"/>
                  <a:gd name="connsiteY3" fmla="*/ 5389 h 53737"/>
                  <a:gd name="connsiteX4" fmla="*/ 26476 w 39496"/>
                  <a:gd name="connsiteY4" fmla="*/ 50 h 53737"/>
                  <a:gd name="connsiteX5" fmla="*/ 18050 w 39496"/>
                  <a:gd name="connsiteY5" fmla="*/ 7140 h 53737"/>
                  <a:gd name="connsiteX6" fmla="*/ 15798 w 39496"/>
                  <a:gd name="connsiteY6" fmla="*/ 13814 h 53737"/>
                  <a:gd name="connsiteX7" fmla="*/ 10458 w 39496"/>
                  <a:gd name="connsiteY7" fmla="*/ 15566 h 53737"/>
                  <a:gd name="connsiteX8" fmla="*/ 697 w 39496"/>
                  <a:gd name="connsiteY8" fmla="*/ 28830 h 53737"/>
                  <a:gd name="connsiteX9" fmla="*/ 697 w 39496"/>
                  <a:gd name="connsiteY9" fmla="*/ 34169 h 53737"/>
                  <a:gd name="connsiteX10" fmla="*/ 3784 w 39496"/>
                  <a:gd name="connsiteY10" fmla="*/ 35920 h 53737"/>
                  <a:gd name="connsiteX11" fmla="*/ 10876 w 39496"/>
                  <a:gd name="connsiteY11" fmla="*/ 43011 h 53737"/>
                  <a:gd name="connsiteX12" fmla="*/ 24641 w 39496"/>
                  <a:gd name="connsiteY12" fmla="*/ 49184 h 53737"/>
                  <a:gd name="connsiteX13" fmla="*/ 39324 w 39496"/>
                  <a:gd name="connsiteY13" fmla="*/ 29330 h 5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496" h="53737" extrusionOk="0">
                    <a:moveTo>
                      <a:pt x="39324" y="29330"/>
                    </a:moveTo>
                    <a:cubicBezTo>
                      <a:pt x="39741" y="27078"/>
                      <a:pt x="39324" y="24909"/>
                      <a:pt x="38907" y="22657"/>
                    </a:cubicBezTo>
                    <a:cubicBezTo>
                      <a:pt x="38490" y="19153"/>
                      <a:pt x="37989" y="15566"/>
                      <a:pt x="37572" y="11562"/>
                    </a:cubicBezTo>
                    <a:cubicBezTo>
                      <a:pt x="37155" y="9309"/>
                      <a:pt x="37155" y="7557"/>
                      <a:pt x="36237" y="5389"/>
                    </a:cubicBezTo>
                    <a:cubicBezTo>
                      <a:pt x="34485" y="1885"/>
                      <a:pt x="30481" y="-368"/>
                      <a:pt x="26476" y="50"/>
                    </a:cubicBezTo>
                    <a:cubicBezTo>
                      <a:pt x="22472" y="467"/>
                      <a:pt x="18968" y="3553"/>
                      <a:pt x="18050" y="7140"/>
                    </a:cubicBezTo>
                    <a:cubicBezTo>
                      <a:pt x="17633" y="9393"/>
                      <a:pt x="17633" y="11979"/>
                      <a:pt x="15798" y="13814"/>
                    </a:cubicBezTo>
                    <a:cubicBezTo>
                      <a:pt x="14463" y="15149"/>
                      <a:pt x="12294" y="15149"/>
                      <a:pt x="10458" y="15566"/>
                    </a:cubicBezTo>
                    <a:cubicBezTo>
                      <a:pt x="5119" y="17318"/>
                      <a:pt x="2449" y="23574"/>
                      <a:pt x="697" y="28830"/>
                    </a:cubicBezTo>
                    <a:cubicBezTo>
                      <a:pt x="280" y="30582"/>
                      <a:pt x="-638" y="32834"/>
                      <a:pt x="697" y="34169"/>
                    </a:cubicBezTo>
                    <a:cubicBezTo>
                      <a:pt x="1615" y="35086"/>
                      <a:pt x="2950" y="35503"/>
                      <a:pt x="3784" y="35920"/>
                    </a:cubicBezTo>
                    <a:cubicBezTo>
                      <a:pt x="6871" y="37255"/>
                      <a:pt x="9541" y="39925"/>
                      <a:pt x="10876" y="43011"/>
                    </a:cubicBezTo>
                    <a:cubicBezTo>
                      <a:pt x="14880" y="52772"/>
                      <a:pt x="16215" y="58110"/>
                      <a:pt x="24641" y="49184"/>
                    </a:cubicBezTo>
                    <a:cubicBezTo>
                      <a:pt x="30064" y="44429"/>
                      <a:pt x="38406" y="37339"/>
                      <a:pt x="39324" y="2933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01485485" name="Полилиния 481"/>
              <p:cNvSpPr/>
              <p:nvPr/>
            </p:nvSpPr>
            <p:spPr bwMode="auto">
              <a:xfrm>
                <a:off x="5741737" y="2469762"/>
                <a:ext cx="37735" cy="27375"/>
              </a:xfrm>
              <a:custGeom>
                <a:avLst/>
                <a:gdLst>
                  <a:gd name="connsiteX0" fmla="*/ 22347 w 42379"/>
                  <a:gd name="connsiteY0" fmla="*/ 4993 h 30744"/>
                  <a:gd name="connsiteX1" fmla="*/ 11752 w 42379"/>
                  <a:gd name="connsiteY1" fmla="*/ 155 h 30744"/>
                  <a:gd name="connsiteX2" fmla="*/ 4244 w 42379"/>
                  <a:gd name="connsiteY2" fmla="*/ 1490 h 30744"/>
                  <a:gd name="connsiteX3" fmla="*/ 1574 w 42379"/>
                  <a:gd name="connsiteY3" fmla="*/ 12585 h 30744"/>
                  <a:gd name="connsiteX4" fmla="*/ 10000 w 42379"/>
                  <a:gd name="connsiteY4" fmla="*/ 15671 h 30744"/>
                  <a:gd name="connsiteX5" fmla="*/ 18009 w 42379"/>
                  <a:gd name="connsiteY5" fmla="*/ 23179 h 30744"/>
                  <a:gd name="connsiteX6" fmla="*/ 42370 w 42379"/>
                  <a:gd name="connsiteY6" fmla="*/ 24514 h 30744"/>
                  <a:gd name="connsiteX7" fmla="*/ 22347 w 42379"/>
                  <a:gd name="connsiteY7" fmla="*/ 4993 h 30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379" h="30744" extrusionOk="0">
                    <a:moveTo>
                      <a:pt x="22347" y="4993"/>
                    </a:moveTo>
                    <a:cubicBezTo>
                      <a:pt x="18843" y="4076"/>
                      <a:pt x="15256" y="989"/>
                      <a:pt x="11752" y="155"/>
                    </a:cubicBezTo>
                    <a:cubicBezTo>
                      <a:pt x="9082" y="-262"/>
                      <a:pt x="6413" y="155"/>
                      <a:pt x="4244" y="1490"/>
                    </a:cubicBezTo>
                    <a:cubicBezTo>
                      <a:pt x="239" y="3742"/>
                      <a:pt x="-1513" y="9498"/>
                      <a:pt x="1574" y="12585"/>
                    </a:cubicBezTo>
                    <a:cubicBezTo>
                      <a:pt x="3827" y="14337"/>
                      <a:pt x="7330" y="14337"/>
                      <a:pt x="10000" y="15671"/>
                    </a:cubicBezTo>
                    <a:cubicBezTo>
                      <a:pt x="13504" y="17006"/>
                      <a:pt x="15339" y="21010"/>
                      <a:pt x="18009" y="23179"/>
                    </a:cubicBezTo>
                    <a:cubicBezTo>
                      <a:pt x="23348" y="28518"/>
                      <a:pt x="41952" y="36443"/>
                      <a:pt x="42370" y="24514"/>
                    </a:cubicBezTo>
                    <a:cubicBezTo>
                      <a:pt x="42787" y="13836"/>
                      <a:pt x="30356" y="7162"/>
                      <a:pt x="22347" y="499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6875314" name="Полилиния 482"/>
              <p:cNvSpPr/>
              <p:nvPr/>
            </p:nvSpPr>
            <p:spPr bwMode="auto">
              <a:xfrm>
                <a:off x="5581249" y="2666925"/>
                <a:ext cx="19265" cy="20120"/>
              </a:xfrm>
              <a:custGeom>
                <a:avLst/>
                <a:gdLst>
                  <a:gd name="connsiteX0" fmla="*/ 21461 w 21636"/>
                  <a:gd name="connsiteY0" fmla="*/ 10393 h 22597"/>
                  <a:gd name="connsiteX1" fmla="*/ 18374 w 21636"/>
                  <a:gd name="connsiteY1" fmla="*/ 3719 h 22597"/>
                  <a:gd name="connsiteX2" fmla="*/ 9948 w 21636"/>
                  <a:gd name="connsiteY2" fmla="*/ 216 h 22597"/>
                  <a:gd name="connsiteX3" fmla="*/ 5526 w 21636"/>
                  <a:gd name="connsiteY3" fmla="*/ 2885 h 22597"/>
                  <a:gd name="connsiteX4" fmla="*/ 687 w 21636"/>
                  <a:gd name="connsiteY4" fmla="*/ 9058 h 22597"/>
                  <a:gd name="connsiteX5" fmla="*/ 4191 w 21636"/>
                  <a:gd name="connsiteY5" fmla="*/ 17484 h 22597"/>
                  <a:gd name="connsiteX6" fmla="*/ 14786 w 21636"/>
                  <a:gd name="connsiteY6" fmla="*/ 21488 h 22597"/>
                  <a:gd name="connsiteX7" fmla="*/ 21461 w 21636"/>
                  <a:gd name="connsiteY7" fmla="*/ 10393 h 2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36" h="22597" extrusionOk="0">
                    <a:moveTo>
                      <a:pt x="21461" y="10393"/>
                    </a:moveTo>
                    <a:cubicBezTo>
                      <a:pt x="20543" y="8141"/>
                      <a:pt x="20543" y="5555"/>
                      <a:pt x="18374" y="3719"/>
                    </a:cubicBezTo>
                    <a:cubicBezTo>
                      <a:pt x="16121" y="1467"/>
                      <a:pt x="13035" y="-702"/>
                      <a:pt x="9948" y="216"/>
                    </a:cubicBezTo>
                    <a:cubicBezTo>
                      <a:pt x="8196" y="633"/>
                      <a:pt x="6861" y="1967"/>
                      <a:pt x="5526" y="2885"/>
                    </a:cubicBezTo>
                    <a:cubicBezTo>
                      <a:pt x="3274" y="4637"/>
                      <a:pt x="1522" y="6389"/>
                      <a:pt x="687" y="9058"/>
                    </a:cubicBezTo>
                    <a:cubicBezTo>
                      <a:pt x="-1065" y="13062"/>
                      <a:pt x="687" y="15732"/>
                      <a:pt x="4191" y="17484"/>
                    </a:cubicBezTo>
                    <a:cubicBezTo>
                      <a:pt x="8196" y="19235"/>
                      <a:pt x="10866" y="24992"/>
                      <a:pt x="14786" y="21488"/>
                    </a:cubicBezTo>
                    <a:cubicBezTo>
                      <a:pt x="16956" y="19235"/>
                      <a:pt x="22712" y="14814"/>
                      <a:pt x="21461" y="1039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17250009" name="Полилиния 483"/>
              <p:cNvSpPr/>
              <p:nvPr/>
            </p:nvSpPr>
            <p:spPr bwMode="auto">
              <a:xfrm>
                <a:off x="4459531" y="3004835"/>
                <a:ext cx="77824" cy="130968"/>
              </a:xfrm>
              <a:custGeom>
                <a:avLst/>
                <a:gdLst>
                  <a:gd name="connsiteX0" fmla="*/ 85095 w 87400"/>
                  <a:gd name="connsiteY0" fmla="*/ 128346 h 147082"/>
                  <a:gd name="connsiteX1" fmla="*/ 60317 w 87400"/>
                  <a:gd name="connsiteY1" fmla="*/ 146949 h 147082"/>
                  <a:gd name="connsiteX2" fmla="*/ 44800 w 87400"/>
                  <a:gd name="connsiteY2" fmla="*/ 141610 h 147082"/>
                  <a:gd name="connsiteX3" fmla="*/ 31952 w 87400"/>
                  <a:gd name="connsiteY3" fmla="*/ 131433 h 147082"/>
                  <a:gd name="connsiteX4" fmla="*/ 29700 w 87400"/>
                  <a:gd name="connsiteY4" fmla="*/ 107074 h 147082"/>
                  <a:gd name="connsiteX5" fmla="*/ 7592 w 87400"/>
                  <a:gd name="connsiteY5" fmla="*/ 85802 h 147082"/>
                  <a:gd name="connsiteX6" fmla="*/ 918 w 87400"/>
                  <a:gd name="connsiteY6" fmla="*/ 58773 h 147082"/>
                  <a:gd name="connsiteX7" fmla="*/ 0 w 87400"/>
                  <a:gd name="connsiteY7" fmla="*/ 31745 h 147082"/>
                  <a:gd name="connsiteX8" fmla="*/ 417 w 87400"/>
                  <a:gd name="connsiteY8" fmla="*/ 26907 h 147082"/>
                  <a:gd name="connsiteX9" fmla="*/ 12848 w 87400"/>
                  <a:gd name="connsiteY9" fmla="*/ 20734 h 147082"/>
                  <a:gd name="connsiteX10" fmla="*/ 28365 w 87400"/>
                  <a:gd name="connsiteY10" fmla="*/ 7470 h 147082"/>
                  <a:gd name="connsiteX11" fmla="*/ 46552 w 87400"/>
                  <a:gd name="connsiteY11" fmla="*/ 796 h 147082"/>
                  <a:gd name="connsiteX12" fmla="*/ 56313 w 87400"/>
                  <a:gd name="connsiteY12" fmla="*/ 18481 h 147082"/>
                  <a:gd name="connsiteX13" fmla="*/ 60735 w 87400"/>
                  <a:gd name="connsiteY13" fmla="*/ 45927 h 147082"/>
                  <a:gd name="connsiteX14" fmla="*/ 62987 w 87400"/>
                  <a:gd name="connsiteY14" fmla="*/ 53935 h 147082"/>
                  <a:gd name="connsiteX15" fmla="*/ 75835 w 87400"/>
                  <a:gd name="connsiteY15" fmla="*/ 66365 h 147082"/>
                  <a:gd name="connsiteX16" fmla="*/ 82008 w 87400"/>
                  <a:gd name="connsiteY16" fmla="*/ 96062 h 147082"/>
                  <a:gd name="connsiteX17" fmla="*/ 87348 w 87400"/>
                  <a:gd name="connsiteY17" fmla="*/ 103153 h 147082"/>
                  <a:gd name="connsiteX18" fmla="*/ 85095 w 87400"/>
                  <a:gd name="connsiteY18" fmla="*/ 111162 h 147082"/>
                  <a:gd name="connsiteX19" fmla="*/ 85095 w 87400"/>
                  <a:gd name="connsiteY19" fmla="*/ 128346 h 147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400" h="147082" extrusionOk="0">
                    <a:moveTo>
                      <a:pt x="85095" y="128346"/>
                    </a:moveTo>
                    <a:cubicBezTo>
                      <a:pt x="82843" y="139441"/>
                      <a:pt x="71330" y="148284"/>
                      <a:pt x="60317" y="146949"/>
                    </a:cubicBezTo>
                    <a:cubicBezTo>
                      <a:pt x="54978" y="146532"/>
                      <a:pt x="49722" y="143862"/>
                      <a:pt x="44800" y="141610"/>
                    </a:cubicBezTo>
                    <a:cubicBezTo>
                      <a:pt x="39878" y="139358"/>
                      <a:pt x="34622" y="136271"/>
                      <a:pt x="31952" y="131433"/>
                    </a:cubicBezTo>
                    <a:cubicBezTo>
                      <a:pt x="28449" y="124342"/>
                      <a:pt x="32369" y="115082"/>
                      <a:pt x="29700" y="107074"/>
                    </a:cubicBezTo>
                    <a:cubicBezTo>
                      <a:pt x="26196" y="97314"/>
                      <a:pt x="14183" y="93810"/>
                      <a:pt x="7592" y="85802"/>
                    </a:cubicBezTo>
                    <a:cubicBezTo>
                      <a:pt x="1835" y="78294"/>
                      <a:pt x="918" y="68116"/>
                      <a:pt x="918" y="58773"/>
                    </a:cubicBezTo>
                    <a:cubicBezTo>
                      <a:pt x="501" y="49931"/>
                      <a:pt x="501" y="40588"/>
                      <a:pt x="0" y="31745"/>
                    </a:cubicBezTo>
                    <a:cubicBezTo>
                      <a:pt x="0" y="29993"/>
                      <a:pt x="0" y="28242"/>
                      <a:pt x="417" y="26907"/>
                    </a:cubicBezTo>
                    <a:cubicBezTo>
                      <a:pt x="2169" y="22486"/>
                      <a:pt x="8426" y="22068"/>
                      <a:pt x="12848" y="20734"/>
                    </a:cubicBezTo>
                    <a:cubicBezTo>
                      <a:pt x="19522" y="18481"/>
                      <a:pt x="23443" y="12308"/>
                      <a:pt x="28365" y="7470"/>
                    </a:cubicBezTo>
                    <a:cubicBezTo>
                      <a:pt x="33287" y="2631"/>
                      <a:pt x="40295" y="-1873"/>
                      <a:pt x="46552" y="796"/>
                    </a:cubicBezTo>
                    <a:cubicBezTo>
                      <a:pt x="53226" y="3466"/>
                      <a:pt x="54978" y="11391"/>
                      <a:pt x="56313" y="18481"/>
                    </a:cubicBezTo>
                    <a:cubicBezTo>
                      <a:pt x="57648" y="27825"/>
                      <a:pt x="59400" y="36667"/>
                      <a:pt x="60735" y="45927"/>
                    </a:cubicBezTo>
                    <a:cubicBezTo>
                      <a:pt x="61152" y="48596"/>
                      <a:pt x="61652" y="51266"/>
                      <a:pt x="62987" y="53935"/>
                    </a:cubicBezTo>
                    <a:cubicBezTo>
                      <a:pt x="66074" y="59274"/>
                      <a:pt x="72331" y="61443"/>
                      <a:pt x="75835" y="66365"/>
                    </a:cubicBezTo>
                    <a:cubicBezTo>
                      <a:pt x="82008" y="74790"/>
                      <a:pt x="77170" y="87220"/>
                      <a:pt x="82008" y="96062"/>
                    </a:cubicBezTo>
                    <a:cubicBezTo>
                      <a:pt x="83343" y="98315"/>
                      <a:pt x="86847" y="100901"/>
                      <a:pt x="87348" y="103153"/>
                    </a:cubicBezTo>
                    <a:cubicBezTo>
                      <a:pt x="87765" y="105406"/>
                      <a:pt x="85596" y="108909"/>
                      <a:pt x="85095" y="111162"/>
                    </a:cubicBezTo>
                    <a:cubicBezTo>
                      <a:pt x="85095" y="116834"/>
                      <a:pt x="85930" y="122590"/>
                      <a:pt x="85095" y="12834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16594231" name="Полилиния 484"/>
              <p:cNvSpPr/>
              <p:nvPr/>
            </p:nvSpPr>
            <p:spPr bwMode="auto">
              <a:xfrm>
                <a:off x="4258580" y="2504208"/>
                <a:ext cx="319959" cy="439350"/>
              </a:xfrm>
              <a:custGeom>
                <a:avLst/>
                <a:gdLst>
                  <a:gd name="connsiteX0" fmla="*/ 358157 w 359324"/>
                  <a:gd name="connsiteY0" fmla="*/ 70835 h 493406"/>
                  <a:gd name="connsiteX1" fmla="*/ 336466 w 359324"/>
                  <a:gd name="connsiteY1" fmla="*/ 94276 h 493406"/>
                  <a:gd name="connsiteX2" fmla="*/ 326289 w 359324"/>
                  <a:gd name="connsiteY2" fmla="*/ 109375 h 493406"/>
                  <a:gd name="connsiteX3" fmla="*/ 317862 w 359324"/>
                  <a:gd name="connsiteY3" fmla="*/ 128896 h 493406"/>
                  <a:gd name="connsiteX4" fmla="*/ 289080 w 359324"/>
                  <a:gd name="connsiteY4" fmla="*/ 121388 h 493406"/>
                  <a:gd name="connsiteX5" fmla="*/ 284658 w 359324"/>
                  <a:gd name="connsiteY5" fmla="*/ 147999 h 493406"/>
                  <a:gd name="connsiteX6" fmla="*/ 250537 w 359324"/>
                  <a:gd name="connsiteY6" fmla="*/ 174110 h 493406"/>
                  <a:gd name="connsiteX7" fmla="*/ 230598 w 359324"/>
                  <a:gd name="connsiteY7" fmla="*/ 219741 h 493406"/>
                  <a:gd name="connsiteX8" fmla="*/ 210242 w 359324"/>
                  <a:gd name="connsiteY8" fmla="*/ 255194 h 493406"/>
                  <a:gd name="connsiteX9" fmla="*/ 204068 w 359324"/>
                  <a:gd name="connsiteY9" fmla="*/ 304829 h 493406"/>
                  <a:gd name="connsiteX10" fmla="*/ 192138 w 359324"/>
                  <a:gd name="connsiteY10" fmla="*/ 358469 h 493406"/>
                  <a:gd name="connsiteX11" fmla="*/ 202733 w 359324"/>
                  <a:gd name="connsiteY11" fmla="*/ 410273 h 493406"/>
                  <a:gd name="connsiteX12" fmla="*/ 208490 w 359324"/>
                  <a:gd name="connsiteY12" fmla="*/ 433714 h 493406"/>
                  <a:gd name="connsiteX13" fmla="*/ 208490 w 359324"/>
                  <a:gd name="connsiteY13" fmla="*/ 458490 h 493406"/>
                  <a:gd name="connsiteX14" fmla="*/ 217834 w 359324"/>
                  <a:gd name="connsiteY14" fmla="*/ 485101 h 493406"/>
                  <a:gd name="connsiteX15" fmla="*/ 187716 w 359324"/>
                  <a:gd name="connsiteY15" fmla="*/ 491775 h 493406"/>
                  <a:gd name="connsiteX16" fmla="*/ 178873 w 359324"/>
                  <a:gd name="connsiteY16" fmla="*/ 481181 h 493406"/>
                  <a:gd name="connsiteX17" fmla="*/ 158934 w 359324"/>
                  <a:gd name="connsiteY17" fmla="*/ 476342 h 493406"/>
                  <a:gd name="connsiteX18" fmla="*/ 156264 w 359324"/>
                  <a:gd name="connsiteY18" fmla="*/ 453318 h 493406"/>
                  <a:gd name="connsiteX19" fmla="*/ 143000 w 359324"/>
                  <a:gd name="connsiteY19" fmla="*/ 459074 h 493406"/>
                  <a:gd name="connsiteX20" fmla="*/ 126147 w 359324"/>
                  <a:gd name="connsiteY20" fmla="*/ 444476 h 493406"/>
                  <a:gd name="connsiteX21" fmla="*/ 115969 w 359324"/>
                  <a:gd name="connsiteY21" fmla="*/ 431629 h 493406"/>
                  <a:gd name="connsiteX22" fmla="*/ 107126 w 359324"/>
                  <a:gd name="connsiteY22" fmla="*/ 437802 h 493406"/>
                  <a:gd name="connsiteX23" fmla="*/ 78761 w 359324"/>
                  <a:gd name="connsiteY23" fmla="*/ 414778 h 493406"/>
                  <a:gd name="connsiteX24" fmla="*/ 52648 w 359324"/>
                  <a:gd name="connsiteY24" fmla="*/ 386415 h 493406"/>
                  <a:gd name="connsiteX25" fmla="*/ 34044 w 359324"/>
                  <a:gd name="connsiteY25" fmla="*/ 358970 h 493406"/>
                  <a:gd name="connsiteX26" fmla="*/ 50396 w 359324"/>
                  <a:gd name="connsiteY26" fmla="*/ 339950 h 493406"/>
                  <a:gd name="connsiteX27" fmla="*/ 54400 w 359324"/>
                  <a:gd name="connsiteY27" fmla="*/ 329355 h 493406"/>
                  <a:gd name="connsiteX28" fmla="*/ 61909 w 359324"/>
                  <a:gd name="connsiteY28" fmla="*/ 334193 h 493406"/>
                  <a:gd name="connsiteX29" fmla="*/ 74339 w 359324"/>
                  <a:gd name="connsiteY29" fmla="*/ 329772 h 493406"/>
                  <a:gd name="connsiteX30" fmla="*/ 81014 w 359324"/>
                  <a:gd name="connsiteY30" fmla="*/ 309418 h 493406"/>
                  <a:gd name="connsiteX31" fmla="*/ 71253 w 359324"/>
                  <a:gd name="connsiteY31" fmla="*/ 302744 h 493406"/>
                  <a:gd name="connsiteX32" fmla="*/ 82348 w 359324"/>
                  <a:gd name="connsiteY32" fmla="*/ 290815 h 493406"/>
                  <a:gd name="connsiteX33" fmla="*/ 75257 w 359324"/>
                  <a:gd name="connsiteY33" fmla="*/ 271795 h 493406"/>
                  <a:gd name="connsiteX34" fmla="*/ 80096 w 359324"/>
                  <a:gd name="connsiteY34" fmla="*/ 256696 h 493406"/>
                  <a:gd name="connsiteX35" fmla="*/ 64995 w 359324"/>
                  <a:gd name="connsiteY35" fmla="*/ 254026 h 493406"/>
                  <a:gd name="connsiteX36" fmla="*/ 47309 w 359324"/>
                  <a:gd name="connsiteY36" fmla="*/ 230085 h 493406"/>
                  <a:gd name="connsiteX37" fmla="*/ 11018 w 359324"/>
                  <a:gd name="connsiteY37" fmla="*/ 221242 h 493406"/>
                  <a:gd name="connsiteX38" fmla="*/ 28288 w 359324"/>
                  <a:gd name="connsiteY38" fmla="*/ 140157 h 493406"/>
                  <a:gd name="connsiteX39" fmla="*/ 60657 w 359324"/>
                  <a:gd name="connsiteY39" fmla="*/ 118885 h 493406"/>
                  <a:gd name="connsiteX40" fmla="*/ 87688 w 359324"/>
                  <a:gd name="connsiteY40" fmla="*/ 135736 h 493406"/>
                  <a:gd name="connsiteX41" fmla="*/ 99200 w 359324"/>
                  <a:gd name="connsiteY41" fmla="*/ 118885 h 493406"/>
                  <a:gd name="connsiteX42" fmla="*/ 121809 w 359324"/>
                  <a:gd name="connsiteY42" fmla="*/ 108291 h 493406"/>
                  <a:gd name="connsiteX43" fmla="*/ 161270 w 359324"/>
                  <a:gd name="connsiteY43" fmla="*/ 72837 h 493406"/>
                  <a:gd name="connsiteX44" fmla="*/ 150174 w 359324"/>
                  <a:gd name="connsiteY44" fmla="*/ 52900 h 493406"/>
                  <a:gd name="connsiteX45" fmla="*/ 165692 w 359324"/>
                  <a:gd name="connsiteY45" fmla="*/ 35632 h 493406"/>
                  <a:gd name="connsiteX46" fmla="*/ 201148 w 359324"/>
                  <a:gd name="connsiteY46" fmla="*/ 35214 h 493406"/>
                  <a:gd name="connsiteX47" fmla="*/ 232183 w 359324"/>
                  <a:gd name="connsiteY47" fmla="*/ 678 h 493406"/>
                  <a:gd name="connsiteX48" fmla="*/ 285326 w 359324"/>
                  <a:gd name="connsiteY48" fmla="*/ 12190 h 493406"/>
                  <a:gd name="connsiteX49" fmla="*/ 311021 w 359324"/>
                  <a:gd name="connsiteY49" fmla="*/ 12190 h 493406"/>
                  <a:gd name="connsiteX50" fmla="*/ 325621 w 359324"/>
                  <a:gd name="connsiteY50" fmla="*/ 28541 h 493406"/>
                  <a:gd name="connsiteX51" fmla="*/ 358157 w 359324"/>
                  <a:gd name="connsiteY51" fmla="*/ 70835 h 493406"/>
                  <a:gd name="connsiteX52" fmla="*/ 358157 w 359324"/>
                  <a:gd name="connsiteY52" fmla="*/ 70835 h 49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59324" h="493406" extrusionOk="0">
                    <a:moveTo>
                      <a:pt x="358157" y="70835"/>
                    </a:moveTo>
                    <a:cubicBezTo>
                      <a:pt x="364331" y="81930"/>
                      <a:pt x="344392" y="86768"/>
                      <a:pt x="336466" y="94276"/>
                    </a:cubicBezTo>
                    <a:cubicBezTo>
                      <a:pt x="330293" y="99615"/>
                      <a:pt x="328040" y="101784"/>
                      <a:pt x="326289" y="109375"/>
                    </a:cubicBezTo>
                    <a:cubicBezTo>
                      <a:pt x="324036" y="117801"/>
                      <a:pt x="328541" y="124891"/>
                      <a:pt x="317862" y="128896"/>
                    </a:cubicBezTo>
                    <a:cubicBezTo>
                      <a:pt x="306349" y="133317"/>
                      <a:pt x="294419" y="110710"/>
                      <a:pt x="289080" y="121388"/>
                    </a:cubicBezTo>
                    <a:cubicBezTo>
                      <a:pt x="282907" y="134652"/>
                      <a:pt x="306766" y="139991"/>
                      <a:pt x="284658" y="147999"/>
                    </a:cubicBezTo>
                    <a:cubicBezTo>
                      <a:pt x="268724" y="153338"/>
                      <a:pt x="258546" y="157759"/>
                      <a:pt x="250537" y="174110"/>
                    </a:cubicBezTo>
                    <a:cubicBezTo>
                      <a:pt x="242528" y="190043"/>
                      <a:pt x="243028" y="205559"/>
                      <a:pt x="230598" y="219741"/>
                    </a:cubicBezTo>
                    <a:cubicBezTo>
                      <a:pt x="219085" y="233005"/>
                      <a:pt x="211076" y="237009"/>
                      <a:pt x="210242" y="255194"/>
                    </a:cubicBezTo>
                    <a:cubicBezTo>
                      <a:pt x="209324" y="272462"/>
                      <a:pt x="205403" y="287061"/>
                      <a:pt x="204068" y="304829"/>
                    </a:cubicBezTo>
                    <a:cubicBezTo>
                      <a:pt x="202733" y="323015"/>
                      <a:pt x="193890" y="339783"/>
                      <a:pt x="192138" y="358469"/>
                    </a:cubicBezTo>
                    <a:cubicBezTo>
                      <a:pt x="190386" y="376655"/>
                      <a:pt x="196977" y="393005"/>
                      <a:pt x="202733" y="410273"/>
                    </a:cubicBezTo>
                    <a:cubicBezTo>
                      <a:pt x="205403" y="417781"/>
                      <a:pt x="207572" y="425789"/>
                      <a:pt x="208490" y="433714"/>
                    </a:cubicBezTo>
                    <a:cubicBezTo>
                      <a:pt x="209407" y="441222"/>
                      <a:pt x="206237" y="451399"/>
                      <a:pt x="208490" y="458490"/>
                    </a:cubicBezTo>
                    <a:cubicBezTo>
                      <a:pt x="212494" y="469585"/>
                      <a:pt x="226677" y="471754"/>
                      <a:pt x="217834" y="485101"/>
                    </a:cubicBezTo>
                    <a:cubicBezTo>
                      <a:pt x="212995" y="492192"/>
                      <a:pt x="196143" y="495696"/>
                      <a:pt x="187716" y="491775"/>
                    </a:cubicBezTo>
                    <a:cubicBezTo>
                      <a:pt x="183295" y="489523"/>
                      <a:pt x="182877" y="483349"/>
                      <a:pt x="178873" y="481181"/>
                    </a:cubicBezTo>
                    <a:cubicBezTo>
                      <a:pt x="173117" y="477677"/>
                      <a:pt x="163356" y="480763"/>
                      <a:pt x="158934" y="476342"/>
                    </a:cubicBezTo>
                    <a:cubicBezTo>
                      <a:pt x="150508" y="468334"/>
                      <a:pt x="169112" y="458156"/>
                      <a:pt x="156264" y="453318"/>
                    </a:cubicBezTo>
                    <a:cubicBezTo>
                      <a:pt x="151426" y="451566"/>
                      <a:pt x="147421" y="458657"/>
                      <a:pt x="143000" y="459074"/>
                    </a:cubicBezTo>
                    <a:cubicBezTo>
                      <a:pt x="131487" y="459992"/>
                      <a:pt x="130569" y="452901"/>
                      <a:pt x="126147" y="444476"/>
                    </a:cubicBezTo>
                    <a:cubicBezTo>
                      <a:pt x="123895" y="440054"/>
                      <a:pt x="122143" y="432046"/>
                      <a:pt x="115969" y="431629"/>
                    </a:cubicBezTo>
                    <a:cubicBezTo>
                      <a:pt x="108878" y="431212"/>
                      <a:pt x="111130" y="436050"/>
                      <a:pt x="107126" y="437802"/>
                    </a:cubicBezTo>
                    <a:cubicBezTo>
                      <a:pt x="92526" y="444893"/>
                      <a:pt x="85852" y="428459"/>
                      <a:pt x="78761" y="414778"/>
                    </a:cubicBezTo>
                    <a:cubicBezTo>
                      <a:pt x="72087" y="401931"/>
                      <a:pt x="61491" y="398427"/>
                      <a:pt x="52648" y="386415"/>
                    </a:cubicBezTo>
                    <a:cubicBezTo>
                      <a:pt x="47309" y="379741"/>
                      <a:pt x="31792" y="368730"/>
                      <a:pt x="34044" y="358970"/>
                    </a:cubicBezTo>
                    <a:cubicBezTo>
                      <a:pt x="35379" y="353630"/>
                      <a:pt x="47309" y="344788"/>
                      <a:pt x="50396" y="339950"/>
                    </a:cubicBezTo>
                    <a:cubicBezTo>
                      <a:pt x="51731" y="337280"/>
                      <a:pt x="50813" y="330189"/>
                      <a:pt x="54400" y="329355"/>
                    </a:cubicBezTo>
                    <a:cubicBezTo>
                      <a:pt x="58822" y="328020"/>
                      <a:pt x="58822" y="334193"/>
                      <a:pt x="61909" y="334193"/>
                    </a:cubicBezTo>
                    <a:cubicBezTo>
                      <a:pt x="68583" y="334193"/>
                      <a:pt x="67665" y="333776"/>
                      <a:pt x="74339" y="329772"/>
                    </a:cubicBezTo>
                    <a:cubicBezTo>
                      <a:pt x="84934" y="323099"/>
                      <a:pt x="88939" y="319178"/>
                      <a:pt x="81014" y="309418"/>
                    </a:cubicBezTo>
                    <a:cubicBezTo>
                      <a:pt x="78344" y="306331"/>
                      <a:pt x="73005" y="307666"/>
                      <a:pt x="71253" y="302744"/>
                    </a:cubicBezTo>
                    <a:cubicBezTo>
                      <a:pt x="67748" y="292984"/>
                      <a:pt x="77927" y="295236"/>
                      <a:pt x="82348" y="290815"/>
                    </a:cubicBezTo>
                    <a:cubicBezTo>
                      <a:pt x="94278" y="277968"/>
                      <a:pt x="77927" y="282807"/>
                      <a:pt x="75257" y="271795"/>
                    </a:cubicBezTo>
                    <a:cubicBezTo>
                      <a:pt x="73505" y="265121"/>
                      <a:pt x="82348" y="262952"/>
                      <a:pt x="80096" y="256696"/>
                    </a:cubicBezTo>
                    <a:cubicBezTo>
                      <a:pt x="77009" y="248687"/>
                      <a:pt x="70335" y="255778"/>
                      <a:pt x="64995" y="254026"/>
                    </a:cubicBezTo>
                    <a:cubicBezTo>
                      <a:pt x="50396" y="249188"/>
                      <a:pt x="56569" y="238927"/>
                      <a:pt x="47309" y="230085"/>
                    </a:cubicBezTo>
                    <a:cubicBezTo>
                      <a:pt x="37548" y="220742"/>
                      <a:pt x="21196" y="228750"/>
                      <a:pt x="11018" y="221242"/>
                    </a:cubicBezTo>
                    <a:cubicBezTo>
                      <a:pt x="-15595" y="201305"/>
                      <a:pt x="12353" y="157425"/>
                      <a:pt x="28288" y="140157"/>
                    </a:cubicBezTo>
                    <a:cubicBezTo>
                      <a:pt x="34461" y="133484"/>
                      <a:pt x="49562" y="115382"/>
                      <a:pt x="60657" y="118885"/>
                    </a:cubicBezTo>
                    <a:cubicBezTo>
                      <a:pt x="72170" y="122389"/>
                      <a:pt x="69083" y="146831"/>
                      <a:pt x="87688" y="135736"/>
                    </a:cubicBezTo>
                    <a:cubicBezTo>
                      <a:pt x="93444" y="132233"/>
                      <a:pt x="93861" y="123307"/>
                      <a:pt x="99200" y="118885"/>
                    </a:cubicBezTo>
                    <a:cubicBezTo>
                      <a:pt x="105374" y="113546"/>
                      <a:pt x="114718" y="112712"/>
                      <a:pt x="121809" y="108291"/>
                    </a:cubicBezTo>
                    <a:cubicBezTo>
                      <a:pt x="133739" y="101617"/>
                      <a:pt x="164774" y="87436"/>
                      <a:pt x="161270" y="72837"/>
                    </a:cubicBezTo>
                    <a:cubicBezTo>
                      <a:pt x="159018" y="64829"/>
                      <a:pt x="149757" y="62660"/>
                      <a:pt x="150174" y="52900"/>
                    </a:cubicBezTo>
                    <a:cubicBezTo>
                      <a:pt x="150592" y="44891"/>
                      <a:pt x="158601" y="37801"/>
                      <a:pt x="165692" y="35632"/>
                    </a:cubicBezTo>
                    <a:cubicBezTo>
                      <a:pt x="179874" y="30793"/>
                      <a:pt x="190052" y="48478"/>
                      <a:pt x="201148" y="35214"/>
                    </a:cubicBezTo>
                    <a:cubicBezTo>
                      <a:pt x="214413" y="19281"/>
                      <a:pt x="206905" y="5100"/>
                      <a:pt x="232183" y="678"/>
                    </a:cubicBezTo>
                    <a:cubicBezTo>
                      <a:pt x="251705" y="-2825"/>
                      <a:pt x="267139" y="8186"/>
                      <a:pt x="285326" y="12190"/>
                    </a:cubicBezTo>
                    <a:cubicBezTo>
                      <a:pt x="293752" y="13942"/>
                      <a:pt x="303012" y="9104"/>
                      <a:pt x="311021" y="12190"/>
                    </a:cubicBezTo>
                    <a:cubicBezTo>
                      <a:pt x="317695" y="14860"/>
                      <a:pt x="322117" y="22785"/>
                      <a:pt x="325621" y="28541"/>
                    </a:cubicBezTo>
                    <a:cubicBezTo>
                      <a:pt x="333296" y="43390"/>
                      <a:pt x="349731" y="54485"/>
                      <a:pt x="358157" y="70835"/>
                    </a:cubicBezTo>
                    <a:cubicBezTo>
                      <a:pt x="359492" y="73087"/>
                      <a:pt x="353235" y="61992"/>
                      <a:pt x="358157" y="7083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04026294" name="Полилиния 485"/>
              <p:cNvSpPr/>
              <p:nvPr/>
            </p:nvSpPr>
            <p:spPr bwMode="auto">
              <a:xfrm>
                <a:off x="4508710" y="2192808"/>
                <a:ext cx="758378" cy="376778"/>
              </a:xfrm>
              <a:custGeom>
                <a:avLst/>
                <a:gdLst>
                  <a:gd name="connsiteX0" fmla="*/ 850286 w 851684"/>
                  <a:gd name="connsiteY0" fmla="*/ 59086 h 423135"/>
                  <a:gd name="connsiteX1" fmla="*/ 843195 w 851684"/>
                  <a:gd name="connsiteY1" fmla="*/ 94039 h 423135"/>
                  <a:gd name="connsiteX2" fmla="*/ 819752 w 851684"/>
                  <a:gd name="connsiteY2" fmla="*/ 114894 h 423135"/>
                  <a:gd name="connsiteX3" fmla="*/ 764357 w 851684"/>
                  <a:gd name="connsiteY3" fmla="*/ 143257 h 423135"/>
                  <a:gd name="connsiteX4" fmla="*/ 700118 w 851684"/>
                  <a:gd name="connsiteY4" fmla="*/ 164112 h 423135"/>
                  <a:gd name="connsiteX5" fmla="*/ 660240 w 851684"/>
                  <a:gd name="connsiteY5" fmla="*/ 165030 h 423135"/>
                  <a:gd name="connsiteX6" fmla="*/ 615941 w 851684"/>
                  <a:gd name="connsiteY6" fmla="*/ 173455 h 423135"/>
                  <a:gd name="connsiteX7" fmla="*/ 583154 w 851684"/>
                  <a:gd name="connsiteY7" fmla="*/ 178794 h 423135"/>
                  <a:gd name="connsiteX8" fmla="*/ 544194 w 851684"/>
                  <a:gd name="connsiteY8" fmla="*/ 176542 h 423135"/>
                  <a:gd name="connsiteX9" fmla="*/ 512741 w 851684"/>
                  <a:gd name="connsiteY9" fmla="*/ 186719 h 423135"/>
                  <a:gd name="connsiteX10" fmla="*/ 475950 w 851684"/>
                  <a:gd name="connsiteY10" fmla="*/ 188054 h 423135"/>
                  <a:gd name="connsiteX11" fmla="*/ 440077 w 851684"/>
                  <a:gd name="connsiteY11" fmla="*/ 204404 h 423135"/>
                  <a:gd name="connsiteX12" fmla="*/ 407290 w 851684"/>
                  <a:gd name="connsiteY12" fmla="*/ 212830 h 423135"/>
                  <a:gd name="connsiteX13" fmla="*/ 390938 w 851684"/>
                  <a:gd name="connsiteY13" fmla="*/ 218169 h 423135"/>
                  <a:gd name="connsiteX14" fmla="*/ 379008 w 851684"/>
                  <a:gd name="connsiteY14" fmla="*/ 215499 h 423135"/>
                  <a:gd name="connsiteX15" fmla="*/ 393608 w 851684"/>
                  <a:gd name="connsiteY15" fmla="*/ 228346 h 423135"/>
                  <a:gd name="connsiteX16" fmla="*/ 371500 w 851684"/>
                  <a:gd name="connsiteY16" fmla="*/ 254457 h 423135"/>
                  <a:gd name="connsiteX17" fmla="*/ 355565 w 851684"/>
                  <a:gd name="connsiteY17" fmla="*/ 251370 h 423135"/>
                  <a:gd name="connsiteX18" fmla="*/ 349392 w 851684"/>
                  <a:gd name="connsiteY18" fmla="*/ 269055 h 423135"/>
                  <a:gd name="connsiteX19" fmla="*/ 330370 w 851684"/>
                  <a:gd name="connsiteY19" fmla="*/ 254874 h 423135"/>
                  <a:gd name="connsiteX20" fmla="*/ 300254 w 851684"/>
                  <a:gd name="connsiteY20" fmla="*/ 274394 h 423135"/>
                  <a:gd name="connsiteX21" fmla="*/ 279397 w 851684"/>
                  <a:gd name="connsiteY21" fmla="*/ 254040 h 423135"/>
                  <a:gd name="connsiteX22" fmla="*/ 270553 w 851684"/>
                  <a:gd name="connsiteY22" fmla="*/ 283237 h 423135"/>
                  <a:gd name="connsiteX23" fmla="*/ 250615 w 851684"/>
                  <a:gd name="connsiteY23" fmla="*/ 317356 h 423135"/>
                  <a:gd name="connsiteX24" fmla="*/ 230258 w 851684"/>
                  <a:gd name="connsiteY24" fmla="*/ 323529 h 423135"/>
                  <a:gd name="connsiteX25" fmla="*/ 215158 w 851684"/>
                  <a:gd name="connsiteY25" fmla="*/ 335041 h 423135"/>
                  <a:gd name="connsiteX26" fmla="*/ 211654 w 851684"/>
                  <a:gd name="connsiteY26" fmla="*/ 304926 h 423135"/>
                  <a:gd name="connsiteX27" fmla="*/ 195302 w 851684"/>
                  <a:gd name="connsiteY27" fmla="*/ 316855 h 423135"/>
                  <a:gd name="connsiteX28" fmla="*/ 193967 w 851684"/>
                  <a:gd name="connsiteY28" fmla="*/ 357147 h 423135"/>
                  <a:gd name="connsiteX29" fmla="*/ 173611 w 851684"/>
                  <a:gd name="connsiteY29" fmla="*/ 342048 h 423135"/>
                  <a:gd name="connsiteX30" fmla="*/ 155925 w 851684"/>
                  <a:gd name="connsiteY30" fmla="*/ 329618 h 423135"/>
                  <a:gd name="connsiteX31" fmla="*/ 170525 w 851684"/>
                  <a:gd name="connsiteY31" fmla="*/ 369494 h 423135"/>
                  <a:gd name="connsiteX32" fmla="*/ 161181 w 851684"/>
                  <a:gd name="connsiteY32" fmla="*/ 382340 h 423135"/>
                  <a:gd name="connsiteX33" fmla="*/ 146080 w 851684"/>
                  <a:gd name="connsiteY33" fmla="*/ 379671 h 423135"/>
                  <a:gd name="connsiteX34" fmla="*/ 137237 w 851684"/>
                  <a:gd name="connsiteY34" fmla="*/ 379671 h 423135"/>
                  <a:gd name="connsiteX35" fmla="*/ 135903 w 851684"/>
                  <a:gd name="connsiteY35" fmla="*/ 400943 h 423135"/>
                  <a:gd name="connsiteX36" fmla="*/ 106203 w 851684"/>
                  <a:gd name="connsiteY36" fmla="*/ 421298 h 423135"/>
                  <a:gd name="connsiteX37" fmla="*/ 74333 w 851684"/>
                  <a:gd name="connsiteY37" fmla="*/ 395604 h 423135"/>
                  <a:gd name="connsiteX38" fmla="*/ 56647 w 851684"/>
                  <a:gd name="connsiteY38" fmla="*/ 381840 h 423135"/>
                  <a:gd name="connsiteX39" fmla="*/ 42047 w 851684"/>
                  <a:gd name="connsiteY39" fmla="*/ 360568 h 423135"/>
                  <a:gd name="connsiteX40" fmla="*/ 0 w 851684"/>
                  <a:gd name="connsiteY40" fmla="*/ 347304 h 423135"/>
                  <a:gd name="connsiteX41" fmla="*/ 53143 w 851684"/>
                  <a:gd name="connsiteY41" fmla="*/ 314102 h 423135"/>
                  <a:gd name="connsiteX42" fmla="*/ 73499 w 851684"/>
                  <a:gd name="connsiteY42" fmla="*/ 315854 h 423135"/>
                  <a:gd name="connsiteX43" fmla="*/ 42965 w 851684"/>
                  <a:gd name="connsiteY43" fmla="*/ 308346 h 423135"/>
                  <a:gd name="connsiteX44" fmla="*/ 9260 w 851684"/>
                  <a:gd name="connsiteY44" fmla="*/ 295917 h 423135"/>
                  <a:gd name="connsiteX45" fmla="*/ 16352 w 851684"/>
                  <a:gd name="connsiteY45" fmla="*/ 269806 h 423135"/>
                  <a:gd name="connsiteX46" fmla="*/ 49556 w 851684"/>
                  <a:gd name="connsiteY46" fmla="*/ 264968 h 423135"/>
                  <a:gd name="connsiteX47" fmla="*/ 77921 w 851684"/>
                  <a:gd name="connsiteY47" fmla="*/ 252121 h 423135"/>
                  <a:gd name="connsiteX48" fmla="*/ 106703 w 851684"/>
                  <a:gd name="connsiteY48" fmla="*/ 250369 h 423135"/>
                  <a:gd name="connsiteX49" fmla="*/ 123055 w 851684"/>
                  <a:gd name="connsiteY49" fmla="*/ 239775 h 423135"/>
                  <a:gd name="connsiteX50" fmla="*/ 134985 w 851684"/>
                  <a:gd name="connsiteY50" fmla="*/ 226511 h 423135"/>
                  <a:gd name="connsiteX51" fmla="*/ 158011 w 851684"/>
                  <a:gd name="connsiteY51" fmla="*/ 220755 h 423135"/>
                  <a:gd name="connsiteX52" fmla="*/ 158928 w 851684"/>
                  <a:gd name="connsiteY52" fmla="*/ 192809 h 423135"/>
                  <a:gd name="connsiteX53" fmla="*/ 192633 w 851684"/>
                  <a:gd name="connsiteY53" fmla="*/ 186636 h 423135"/>
                  <a:gd name="connsiteX54" fmla="*/ 215658 w 851684"/>
                  <a:gd name="connsiteY54" fmla="*/ 197230 h 423135"/>
                  <a:gd name="connsiteX55" fmla="*/ 202394 w 851684"/>
                  <a:gd name="connsiteY55" fmla="*/ 173789 h 423135"/>
                  <a:gd name="connsiteX56" fmla="*/ 215241 w 851684"/>
                  <a:gd name="connsiteY56" fmla="*/ 151683 h 423135"/>
                  <a:gd name="connsiteX57" fmla="*/ 208150 w 851684"/>
                  <a:gd name="connsiteY57" fmla="*/ 125572 h 423135"/>
                  <a:gd name="connsiteX58" fmla="*/ 231593 w 851684"/>
                  <a:gd name="connsiteY58" fmla="*/ 105634 h 423135"/>
                  <a:gd name="connsiteX59" fmla="*/ 253701 w 851684"/>
                  <a:gd name="connsiteY59" fmla="*/ 121568 h 423135"/>
                  <a:gd name="connsiteX60" fmla="*/ 270553 w 851684"/>
                  <a:gd name="connsiteY60" fmla="*/ 95457 h 423135"/>
                  <a:gd name="connsiteX61" fmla="*/ 290910 w 851684"/>
                  <a:gd name="connsiteY61" fmla="*/ 106052 h 423135"/>
                  <a:gd name="connsiteX62" fmla="*/ 314353 w 851684"/>
                  <a:gd name="connsiteY62" fmla="*/ 89201 h 423135"/>
                  <a:gd name="connsiteX63" fmla="*/ 327617 w 851684"/>
                  <a:gd name="connsiteY63" fmla="*/ 85697 h 423135"/>
                  <a:gd name="connsiteX64" fmla="*/ 343969 w 851684"/>
                  <a:gd name="connsiteY64" fmla="*/ 76354 h 423135"/>
                  <a:gd name="connsiteX65" fmla="*/ 378091 w 851684"/>
                  <a:gd name="connsiteY65" fmla="*/ 63924 h 423135"/>
                  <a:gd name="connsiteX66" fmla="*/ 464020 w 851684"/>
                  <a:gd name="connsiteY66" fmla="*/ 53747 h 423135"/>
                  <a:gd name="connsiteX67" fmla="*/ 496807 w 851684"/>
                  <a:gd name="connsiteY67" fmla="*/ 45738 h 423135"/>
                  <a:gd name="connsiteX68" fmla="*/ 519833 w 851684"/>
                  <a:gd name="connsiteY68" fmla="*/ 25801 h 423135"/>
                  <a:gd name="connsiteX69" fmla="*/ 548198 w 851684"/>
                  <a:gd name="connsiteY69" fmla="*/ 37313 h 423135"/>
                  <a:gd name="connsiteX70" fmla="*/ 581902 w 851684"/>
                  <a:gd name="connsiteY70" fmla="*/ 61255 h 423135"/>
                  <a:gd name="connsiteX71" fmla="*/ 617359 w 851684"/>
                  <a:gd name="connsiteY71" fmla="*/ 58168 h 423135"/>
                  <a:gd name="connsiteX72" fmla="*/ 643471 w 851684"/>
                  <a:gd name="connsiteY72" fmla="*/ 72767 h 423135"/>
                  <a:gd name="connsiteX73" fmla="*/ 676258 w 851684"/>
                  <a:gd name="connsiteY73" fmla="*/ 55499 h 423135"/>
                  <a:gd name="connsiteX74" fmla="*/ 717471 w 851684"/>
                  <a:gd name="connsiteY74" fmla="*/ 48408 h 423135"/>
                  <a:gd name="connsiteX75" fmla="*/ 800731 w 851684"/>
                  <a:gd name="connsiteY75" fmla="*/ 107 h 423135"/>
                  <a:gd name="connsiteX76" fmla="*/ 850286 w 851684"/>
                  <a:gd name="connsiteY76" fmla="*/ 59086 h 423135"/>
                  <a:gd name="connsiteX77" fmla="*/ 850286 w 851684"/>
                  <a:gd name="connsiteY77" fmla="*/ 59086 h 423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851684" h="423135" extrusionOk="0">
                    <a:moveTo>
                      <a:pt x="850286" y="59086"/>
                    </a:moveTo>
                    <a:cubicBezTo>
                      <a:pt x="847617" y="68846"/>
                      <a:pt x="847200" y="85697"/>
                      <a:pt x="843195" y="94039"/>
                    </a:cubicBezTo>
                    <a:cubicBezTo>
                      <a:pt x="839191" y="102464"/>
                      <a:pt x="826843" y="108638"/>
                      <a:pt x="819752" y="114894"/>
                    </a:cubicBezTo>
                    <a:cubicBezTo>
                      <a:pt x="801565" y="130410"/>
                      <a:pt x="787383" y="139253"/>
                      <a:pt x="764357" y="143257"/>
                    </a:cubicBezTo>
                    <a:cubicBezTo>
                      <a:pt x="742249" y="147261"/>
                      <a:pt x="721809" y="161860"/>
                      <a:pt x="700118" y="164112"/>
                    </a:cubicBezTo>
                    <a:cubicBezTo>
                      <a:pt x="686853" y="165447"/>
                      <a:pt x="673505" y="161860"/>
                      <a:pt x="660240" y="165030"/>
                    </a:cubicBezTo>
                    <a:cubicBezTo>
                      <a:pt x="645140" y="168534"/>
                      <a:pt x="631458" y="171203"/>
                      <a:pt x="615941" y="173455"/>
                    </a:cubicBezTo>
                    <a:cubicBezTo>
                      <a:pt x="604845" y="174790"/>
                      <a:pt x="594250" y="178794"/>
                      <a:pt x="583154" y="178794"/>
                    </a:cubicBezTo>
                    <a:cubicBezTo>
                      <a:pt x="569889" y="179211"/>
                      <a:pt x="557458" y="175291"/>
                      <a:pt x="544194" y="176542"/>
                    </a:cubicBezTo>
                    <a:cubicBezTo>
                      <a:pt x="532680" y="177877"/>
                      <a:pt x="523337" y="184967"/>
                      <a:pt x="512741" y="186719"/>
                    </a:cubicBezTo>
                    <a:cubicBezTo>
                      <a:pt x="500812" y="188972"/>
                      <a:pt x="488381" y="184967"/>
                      <a:pt x="475950" y="188054"/>
                    </a:cubicBezTo>
                    <a:cubicBezTo>
                      <a:pt x="462185" y="191140"/>
                      <a:pt x="452507" y="199566"/>
                      <a:pt x="440077" y="204404"/>
                    </a:cubicBezTo>
                    <a:cubicBezTo>
                      <a:pt x="429482" y="208408"/>
                      <a:pt x="418386" y="208826"/>
                      <a:pt x="407290" y="212830"/>
                    </a:cubicBezTo>
                    <a:cubicBezTo>
                      <a:pt x="401534" y="215082"/>
                      <a:pt x="397529" y="218169"/>
                      <a:pt x="390938" y="218169"/>
                    </a:cubicBezTo>
                    <a:cubicBezTo>
                      <a:pt x="386517" y="218169"/>
                      <a:pt x="383430" y="213747"/>
                      <a:pt x="379008" y="215499"/>
                    </a:cubicBezTo>
                    <a:cubicBezTo>
                      <a:pt x="363908" y="221672"/>
                      <a:pt x="390521" y="227428"/>
                      <a:pt x="393608" y="228346"/>
                    </a:cubicBezTo>
                    <a:cubicBezTo>
                      <a:pt x="390104" y="239858"/>
                      <a:pt x="385182" y="253122"/>
                      <a:pt x="371500" y="254457"/>
                    </a:cubicBezTo>
                    <a:cubicBezTo>
                      <a:pt x="367078" y="254874"/>
                      <a:pt x="359069" y="249618"/>
                      <a:pt x="355565" y="251370"/>
                    </a:cubicBezTo>
                    <a:cubicBezTo>
                      <a:pt x="348474" y="254874"/>
                      <a:pt x="353313" y="264217"/>
                      <a:pt x="349392" y="269055"/>
                    </a:cubicBezTo>
                    <a:cubicBezTo>
                      <a:pt x="337462" y="282319"/>
                      <a:pt x="336544" y="258878"/>
                      <a:pt x="330370" y="254874"/>
                    </a:cubicBezTo>
                    <a:cubicBezTo>
                      <a:pt x="317523" y="246448"/>
                      <a:pt x="310848" y="270807"/>
                      <a:pt x="300254" y="274394"/>
                    </a:cubicBezTo>
                    <a:cubicBezTo>
                      <a:pt x="283401" y="280150"/>
                      <a:pt x="290075" y="260630"/>
                      <a:pt x="279397" y="254040"/>
                    </a:cubicBezTo>
                    <a:cubicBezTo>
                      <a:pt x="264797" y="244696"/>
                      <a:pt x="271888" y="273977"/>
                      <a:pt x="270553" y="283237"/>
                    </a:cubicBezTo>
                    <a:cubicBezTo>
                      <a:pt x="268801" y="294749"/>
                      <a:pt x="261210" y="312017"/>
                      <a:pt x="250615" y="317356"/>
                    </a:cubicBezTo>
                    <a:cubicBezTo>
                      <a:pt x="244441" y="320442"/>
                      <a:pt x="236849" y="318691"/>
                      <a:pt x="230258" y="323529"/>
                    </a:cubicBezTo>
                    <a:cubicBezTo>
                      <a:pt x="225837" y="326615"/>
                      <a:pt x="221415" y="337710"/>
                      <a:pt x="215158" y="335041"/>
                    </a:cubicBezTo>
                    <a:cubicBezTo>
                      <a:pt x="206315" y="331537"/>
                      <a:pt x="216910" y="311600"/>
                      <a:pt x="211654" y="304926"/>
                    </a:cubicBezTo>
                    <a:cubicBezTo>
                      <a:pt x="203228" y="293414"/>
                      <a:pt x="195302" y="306261"/>
                      <a:pt x="195302" y="316855"/>
                    </a:cubicBezTo>
                    <a:cubicBezTo>
                      <a:pt x="195302" y="329285"/>
                      <a:pt x="207233" y="346970"/>
                      <a:pt x="193967" y="357147"/>
                    </a:cubicBezTo>
                    <a:cubicBezTo>
                      <a:pt x="182872" y="365573"/>
                      <a:pt x="179368" y="352726"/>
                      <a:pt x="173611" y="342048"/>
                    </a:cubicBezTo>
                    <a:cubicBezTo>
                      <a:pt x="170942" y="336292"/>
                      <a:pt x="160764" y="314102"/>
                      <a:pt x="155925" y="329618"/>
                    </a:cubicBezTo>
                    <a:cubicBezTo>
                      <a:pt x="152421" y="340713"/>
                      <a:pt x="174112" y="355312"/>
                      <a:pt x="170525" y="369494"/>
                    </a:cubicBezTo>
                    <a:cubicBezTo>
                      <a:pt x="169190" y="374332"/>
                      <a:pt x="166103" y="380088"/>
                      <a:pt x="161181" y="382340"/>
                    </a:cubicBezTo>
                    <a:cubicBezTo>
                      <a:pt x="153172" y="385844"/>
                      <a:pt x="152337" y="380088"/>
                      <a:pt x="146080" y="379671"/>
                    </a:cubicBezTo>
                    <a:cubicBezTo>
                      <a:pt x="141659" y="379254"/>
                      <a:pt x="142076" y="373915"/>
                      <a:pt x="137237" y="379671"/>
                    </a:cubicBezTo>
                    <a:cubicBezTo>
                      <a:pt x="134151" y="383675"/>
                      <a:pt x="138572" y="395187"/>
                      <a:pt x="135903" y="400943"/>
                    </a:cubicBezTo>
                    <a:cubicBezTo>
                      <a:pt x="131898" y="409786"/>
                      <a:pt x="115046" y="418628"/>
                      <a:pt x="106203" y="421298"/>
                    </a:cubicBezTo>
                    <a:cubicBezTo>
                      <a:pt x="81425" y="429306"/>
                      <a:pt x="85847" y="409369"/>
                      <a:pt x="74333" y="395604"/>
                    </a:cubicBezTo>
                    <a:cubicBezTo>
                      <a:pt x="69495" y="389431"/>
                      <a:pt x="62404" y="387179"/>
                      <a:pt x="56647" y="381840"/>
                    </a:cubicBezTo>
                    <a:cubicBezTo>
                      <a:pt x="49556" y="375667"/>
                      <a:pt x="47804" y="367241"/>
                      <a:pt x="42047" y="360568"/>
                    </a:cubicBezTo>
                    <a:cubicBezTo>
                      <a:pt x="29617" y="345051"/>
                      <a:pt x="15434" y="354811"/>
                      <a:pt x="0" y="347304"/>
                    </a:cubicBezTo>
                    <a:cubicBezTo>
                      <a:pt x="9344" y="334040"/>
                      <a:pt x="35456" y="312350"/>
                      <a:pt x="53143" y="314102"/>
                    </a:cubicBezTo>
                    <a:cubicBezTo>
                      <a:pt x="55813" y="314520"/>
                      <a:pt x="76586" y="327867"/>
                      <a:pt x="73499" y="315854"/>
                    </a:cubicBezTo>
                    <a:cubicBezTo>
                      <a:pt x="70830" y="304759"/>
                      <a:pt x="49556" y="308346"/>
                      <a:pt x="42965" y="308346"/>
                    </a:cubicBezTo>
                    <a:cubicBezTo>
                      <a:pt x="30534" y="308346"/>
                      <a:pt x="16352" y="310098"/>
                      <a:pt x="9260" y="295917"/>
                    </a:cubicBezTo>
                    <a:cubicBezTo>
                      <a:pt x="3921" y="285739"/>
                      <a:pt x="7508" y="275562"/>
                      <a:pt x="16352" y="269806"/>
                    </a:cubicBezTo>
                    <a:cubicBezTo>
                      <a:pt x="24778" y="264050"/>
                      <a:pt x="39795" y="265802"/>
                      <a:pt x="49556" y="264968"/>
                    </a:cubicBezTo>
                    <a:cubicBezTo>
                      <a:pt x="62404" y="263633"/>
                      <a:pt x="67743" y="258294"/>
                      <a:pt x="77921" y="252121"/>
                    </a:cubicBezTo>
                    <a:cubicBezTo>
                      <a:pt x="90769" y="244613"/>
                      <a:pt x="93021" y="248617"/>
                      <a:pt x="106703" y="250369"/>
                    </a:cubicBezTo>
                    <a:cubicBezTo>
                      <a:pt x="120886" y="252121"/>
                      <a:pt x="112042" y="247282"/>
                      <a:pt x="123055" y="239775"/>
                    </a:cubicBezTo>
                    <a:cubicBezTo>
                      <a:pt x="135903" y="231349"/>
                      <a:pt x="130146" y="243278"/>
                      <a:pt x="134985" y="226511"/>
                    </a:cubicBezTo>
                    <a:cubicBezTo>
                      <a:pt x="140324" y="208325"/>
                      <a:pt x="142994" y="215916"/>
                      <a:pt x="158011" y="220755"/>
                    </a:cubicBezTo>
                    <a:cubicBezTo>
                      <a:pt x="188545" y="230932"/>
                      <a:pt x="154507" y="203904"/>
                      <a:pt x="158928" y="192809"/>
                    </a:cubicBezTo>
                    <a:cubicBezTo>
                      <a:pt x="161598" y="186135"/>
                      <a:pt x="186876" y="183966"/>
                      <a:pt x="192633" y="186636"/>
                    </a:cubicBezTo>
                    <a:cubicBezTo>
                      <a:pt x="200141" y="189722"/>
                      <a:pt x="207233" y="209243"/>
                      <a:pt x="215658" y="197230"/>
                    </a:cubicBezTo>
                    <a:cubicBezTo>
                      <a:pt x="221832" y="187887"/>
                      <a:pt x="205481" y="180379"/>
                      <a:pt x="202394" y="173789"/>
                    </a:cubicBezTo>
                    <a:cubicBezTo>
                      <a:pt x="194885" y="156521"/>
                      <a:pt x="212155" y="163612"/>
                      <a:pt x="215241" y="151683"/>
                    </a:cubicBezTo>
                    <a:cubicBezTo>
                      <a:pt x="217494" y="142339"/>
                      <a:pt x="207233" y="135749"/>
                      <a:pt x="208150" y="125572"/>
                    </a:cubicBezTo>
                    <a:cubicBezTo>
                      <a:pt x="209068" y="115395"/>
                      <a:pt x="220080" y="98961"/>
                      <a:pt x="231593" y="105634"/>
                    </a:cubicBezTo>
                    <a:cubicBezTo>
                      <a:pt x="241354" y="111391"/>
                      <a:pt x="237349" y="129993"/>
                      <a:pt x="253701" y="121568"/>
                    </a:cubicBezTo>
                    <a:cubicBezTo>
                      <a:pt x="263462" y="116729"/>
                      <a:pt x="261210" y="101213"/>
                      <a:pt x="270553" y="95457"/>
                    </a:cubicBezTo>
                    <a:cubicBezTo>
                      <a:pt x="284319" y="86615"/>
                      <a:pt x="281649" y="100796"/>
                      <a:pt x="290910" y="106052"/>
                    </a:cubicBezTo>
                    <a:cubicBezTo>
                      <a:pt x="307261" y="115395"/>
                      <a:pt x="304174" y="97209"/>
                      <a:pt x="314353" y="89201"/>
                    </a:cubicBezTo>
                    <a:cubicBezTo>
                      <a:pt x="317856" y="86531"/>
                      <a:pt x="324113" y="87449"/>
                      <a:pt x="327617" y="85697"/>
                    </a:cubicBezTo>
                    <a:cubicBezTo>
                      <a:pt x="333791" y="83028"/>
                      <a:pt x="337796" y="78606"/>
                      <a:pt x="343969" y="76354"/>
                    </a:cubicBezTo>
                    <a:cubicBezTo>
                      <a:pt x="355899" y="71933"/>
                      <a:pt x="366161" y="69680"/>
                      <a:pt x="378091" y="63924"/>
                    </a:cubicBezTo>
                    <a:cubicBezTo>
                      <a:pt x="403786" y="51495"/>
                      <a:pt x="436156" y="51995"/>
                      <a:pt x="464020" y="53747"/>
                    </a:cubicBezTo>
                    <a:cubicBezTo>
                      <a:pt x="477786" y="54665"/>
                      <a:pt x="487964" y="57751"/>
                      <a:pt x="496807" y="45738"/>
                    </a:cubicBezTo>
                    <a:cubicBezTo>
                      <a:pt x="504816" y="35144"/>
                      <a:pt x="504816" y="28888"/>
                      <a:pt x="519833" y="25801"/>
                    </a:cubicBezTo>
                    <a:cubicBezTo>
                      <a:pt x="534015" y="23132"/>
                      <a:pt x="539355" y="27553"/>
                      <a:pt x="548198" y="37313"/>
                    </a:cubicBezTo>
                    <a:cubicBezTo>
                      <a:pt x="557959" y="47907"/>
                      <a:pt x="567720" y="56333"/>
                      <a:pt x="581902" y="61255"/>
                    </a:cubicBezTo>
                    <a:cubicBezTo>
                      <a:pt x="597003" y="66594"/>
                      <a:pt x="604010" y="55082"/>
                      <a:pt x="617359" y="58168"/>
                    </a:cubicBezTo>
                    <a:cubicBezTo>
                      <a:pt x="628455" y="60838"/>
                      <a:pt x="630624" y="74101"/>
                      <a:pt x="643471" y="72767"/>
                    </a:cubicBezTo>
                    <a:cubicBezTo>
                      <a:pt x="654984" y="71849"/>
                      <a:pt x="663828" y="57668"/>
                      <a:pt x="676258" y="55499"/>
                    </a:cubicBezTo>
                    <a:cubicBezTo>
                      <a:pt x="691358" y="53246"/>
                      <a:pt x="705040" y="59920"/>
                      <a:pt x="717471" y="48408"/>
                    </a:cubicBezTo>
                    <a:cubicBezTo>
                      <a:pt x="739579" y="27553"/>
                      <a:pt x="767944" y="2777"/>
                      <a:pt x="800731" y="107"/>
                    </a:cubicBezTo>
                    <a:cubicBezTo>
                      <a:pt x="831182" y="-2061"/>
                      <a:pt x="858212" y="28971"/>
                      <a:pt x="850286" y="59086"/>
                    </a:cubicBezTo>
                    <a:cubicBezTo>
                      <a:pt x="848952" y="64008"/>
                      <a:pt x="852956" y="49326"/>
                      <a:pt x="850286" y="5908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84707166" name="Полилиния 486"/>
              <p:cNvSpPr/>
              <p:nvPr/>
            </p:nvSpPr>
            <p:spPr bwMode="auto">
              <a:xfrm>
                <a:off x="4266829" y="2724915"/>
                <a:ext cx="34270" cy="69264"/>
              </a:xfrm>
              <a:custGeom>
                <a:avLst/>
                <a:gdLst>
                  <a:gd name="connsiteX0" fmla="*/ 32121 w 38488"/>
                  <a:gd name="connsiteY0" fmla="*/ 10754 h 77786"/>
                  <a:gd name="connsiteX1" fmla="*/ 252 w 38488"/>
                  <a:gd name="connsiteY1" fmla="*/ 13424 h 77786"/>
                  <a:gd name="connsiteX2" fmla="*/ 10013 w 38488"/>
                  <a:gd name="connsiteY2" fmla="*/ 33778 h 77786"/>
                  <a:gd name="connsiteX3" fmla="*/ 6509 w 38488"/>
                  <a:gd name="connsiteY3" fmla="*/ 71401 h 77786"/>
                  <a:gd name="connsiteX4" fmla="*/ 19357 w 38488"/>
                  <a:gd name="connsiteY4" fmla="*/ 71401 h 77786"/>
                  <a:gd name="connsiteX5" fmla="*/ 21109 w 38488"/>
                  <a:gd name="connsiteY5" fmla="*/ 61224 h 77786"/>
                  <a:gd name="connsiteX6" fmla="*/ 32204 w 38488"/>
                  <a:gd name="connsiteY6" fmla="*/ 56802 h 77786"/>
                  <a:gd name="connsiteX7" fmla="*/ 32121 w 38488"/>
                  <a:gd name="connsiteY7" fmla="*/ 10754 h 7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88" h="77786" extrusionOk="0">
                    <a:moveTo>
                      <a:pt x="32121" y="10754"/>
                    </a:moveTo>
                    <a:cubicBezTo>
                      <a:pt x="23278" y="4581"/>
                      <a:pt x="-2835" y="-11352"/>
                      <a:pt x="252" y="13424"/>
                    </a:cubicBezTo>
                    <a:cubicBezTo>
                      <a:pt x="1170" y="21849"/>
                      <a:pt x="8261" y="25353"/>
                      <a:pt x="10013" y="33778"/>
                    </a:cubicBezTo>
                    <a:cubicBezTo>
                      <a:pt x="12265" y="44373"/>
                      <a:pt x="2004" y="62141"/>
                      <a:pt x="6509" y="71401"/>
                    </a:cubicBezTo>
                    <a:cubicBezTo>
                      <a:pt x="10931" y="81578"/>
                      <a:pt x="14935" y="78075"/>
                      <a:pt x="19357" y="71401"/>
                    </a:cubicBezTo>
                    <a:cubicBezTo>
                      <a:pt x="21109" y="68314"/>
                      <a:pt x="18439" y="64727"/>
                      <a:pt x="21109" y="61224"/>
                    </a:cubicBezTo>
                    <a:cubicBezTo>
                      <a:pt x="23779" y="57720"/>
                      <a:pt x="29535" y="59472"/>
                      <a:pt x="32204" y="56802"/>
                    </a:cubicBezTo>
                    <a:cubicBezTo>
                      <a:pt x="39213" y="50629"/>
                      <a:pt x="41882" y="17428"/>
                      <a:pt x="32121" y="1075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990233" name="Полилиния 487"/>
              <p:cNvSpPr/>
              <p:nvPr/>
            </p:nvSpPr>
            <p:spPr bwMode="auto">
              <a:xfrm>
                <a:off x="3888155" y="2869132"/>
                <a:ext cx="125181" cy="104916"/>
              </a:xfrm>
              <a:custGeom>
                <a:avLst/>
                <a:gdLst>
                  <a:gd name="connsiteX0" fmla="*/ 98983 w 140583"/>
                  <a:gd name="connsiteY0" fmla="*/ 106647 h 117825"/>
                  <a:gd name="connsiteX1" fmla="*/ 112248 w 140583"/>
                  <a:gd name="connsiteY1" fmla="*/ 99973 h 117825"/>
                  <a:gd name="connsiteX2" fmla="*/ 125095 w 140583"/>
                  <a:gd name="connsiteY2" fmla="*/ 100891 h 117825"/>
                  <a:gd name="connsiteX3" fmla="*/ 138360 w 140583"/>
                  <a:gd name="connsiteY3" fmla="*/ 92882 h 117825"/>
                  <a:gd name="connsiteX4" fmla="*/ 138777 w 140583"/>
                  <a:gd name="connsiteY4" fmla="*/ 77366 h 117825"/>
                  <a:gd name="connsiteX5" fmla="*/ 133438 w 140583"/>
                  <a:gd name="connsiteY5" fmla="*/ 68941 h 117825"/>
                  <a:gd name="connsiteX6" fmla="*/ 128600 w 140583"/>
                  <a:gd name="connsiteY6" fmla="*/ 47251 h 117825"/>
                  <a:gd name="connsiteX7" fmla="*/ 97565 w 140583"/>
                  <a:gd name="connsiteY7" fmla="*/ 4290 h 117825"/>
                  <a:gd name="connsiteX8" fmla="*/ 86970 w 140583"/>
                  <a:gd name="connsiteY8" fmla="*/ 285 h 117825"/>
                  <a:gd name="connsiteX9" fmla="*/ 63944 w 140583"/>
                  <a:gd name="connsiteY9" fmla="*/ 6042 h 117825"/>
                  <a:gd name="connsiteX10" fmla="*/ 2792 w 140583"/>
                  <a:gd name="connsiteY10" fmla="*/ 71610 h 117825"/>
                  <a:gd name="connsiteX11" fmla="*/ 122 w 140583"/>
                  <a:gd name="connsiteY11" fmla="*/ 79618 h 117825"/>
                  <a:gd name="connsiteX12" fmla="*/ 7631 w 140583"/>
                  <a:gd name="connsiteY12" fmla="*/ 99139 h 117825"/>
                  <a:gd name="connsiteX13" fmla="*/ 45256 w 140583"/>
                  <a:gd name="connsiteY13" fmla="*/ 117324 h 117825"/>
                  <a:gd name="connsiteX14" fmla="*/ 98983 w 140583"/>
                  <a:gd name="connsiteY14" fmla="*/ 106647 h 11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583" h="117825" extrusionOk="0">
                    <a:moveTo>
                      <a:pt x="98983" y="106647"/>
                    </a:moveTo>
                    <a:cubicBezTo>
                      <a:pt x="103405" y="103977"/>
                      <a:pt x="107409" y="100474"/>
                      <a:pt x="112248" y="99973"/>
                    </a:cubicBezTo>
                    <a:cubicBezTo>
                      <a:pt x="116669" y="99556"/>
                      <a:pt x="120674" y="101308"/>
                      <a:pt x="125095" y="100891"/>
                    </a:cubicBezTo>
                    <a:cubicBezTo>
                      <a:pt x="130435" y="100891"/>
                      <a:pt x="135691" y="97804"/>
                      <a:pt x="138360" y="92882"/>
                    </a:cubicBezTo>
                    <a:cubicBezTo>
                      <a:pt x="141030" y="88044"/>
                      <a:pt x="141447" y="82288"/>
                      <a:pt x="138777" y="77366"/>
                    </a:cubicBezTo>
                    <a:cubicBezTo>
                      <a:pt x="137443" y="74280"/>
                      <a:pt x="135274" y="72027"/>
                      <a:pt x="133438" y="68941"/>
                    </a:cubicBezTo>
                    <a:cubicBezTo>
                      <a:pt x="129934" y="62267"/>
                      <a:pt x="129934" y="54759"/>
                      <a:pt x="128600" y="47251"/>
                    </a:cubicBezTo>
                    <a:cubicBezTo>
                      <a:pt x="125513" y="29065"/>
                      <a:pt x="113499" y="13132"/>
                      <a:pt x="97565" y="4290"/>
                    </a:cubicBezTo>
                    <a:cubicBezTo>
                      <a:pt x="94061" y="2538"/>
                      <a:pt x="90473" y="786"/>
                      <a:pt x="86970" y="285"/>
                    </a:cubicBezTo>
                    <a:cubicBezTo>
                      <a:pt x="78961" y="-1049"/>
                      <a:pt x="71035" y="2538"/>
                      <a:pt x="63944" y="6042"/>
                    </a:cubicBezTo>
                    <a:cubicBezTo>
                      <a:pt x="36914" y="20223"/>
                      <a:pt x="15223" y="43664"/>
                      <a:pt x="2792" y="71610"/>
                    </a:cubicBezTo>
                    <a:cubicBezTo>
                      <a:pt x="1457" y="74280"/>
                      <a:pt x="539" y="76949"/>
                      <a:pt x="122" y="79618"/>
                    </a:cubicBezTo>
                    <a:cubicBezTo>
                      <a:pt x="-796" y="86709"/>
                      <a:pt x="3626" y="93383"/>
                      <a:pt x="7631" y="99139"/>
                    </a:cubicBezTo>
                    <a:cubicBezTo>
                      <a:pt x="16974" y="111986"/>
                      <a:pt x="29739" y="115990"/>
                      <a:pt x="45256" y="117324"/>
                    </a:cubicBezTo>
                    <a:cubicBezTo>
                      <a:pt x="64027" y="119076"/>
                      <a:pt x="83966" y="116407"/>
                      <a:pt x="98983" y="10664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09543431" name="Полилиния 488"/>
              <p:cNvSpPr/>
              <p:nvPr/>
            </p:nvSpPr>
            <p:spPr bwMode="auto">
              <a:xfrm>
                <a:off x="4865629" y="1332576"/>
                <a:ext cx="98749" cy="53103"/>
              </a:xfrm>
              <a:custGeom>
                <a:avLst/>
                <a:gdLst>
                  <a:gd name="connsiteX0" fmla="*/ 15301 w 110899"/>
                  <a:gd name="connsiteY0" fmla="*/ 1919 h 59637"/>
                  <a:gd name="connsiteX1" fmla="*/ 1536 w 110899"/>
                  <a:gd name="connsiteY1" fmla="*/ 7258 h 59637"/>
                  <a:gd name="connsiteX2" fmla="*/ 6875 w 110899"/>
                  <a:gd name="connsiteY2" fmla="*/ 27613 h 59637"/>
                  <a:gd name="connsiteX3" fmla="*/ 32153 w 110899"/>
                  <a:gd name="connsiteY3" fmla="*/ 52889 h 59637"/>
                  <a:gd name="connsiteX4" fmla="*/ 68027 w 110899"/>
                  <a:gd name="connsiteY4" fmla="*/ 42295 h 59637"/>
                  <a:gd name="connsiteX5" fmla="*/ 98561 w 110899"/>
                  <a:gd name="connsiteY5" fmla="*/ 59563 h 59637"/>
                  <a:gd name="connsiteX6" fmla="*/ 110491 w 110899"/>
                  <a:gd name="connsiteY6" fmla="*/ 39625 h 59637"/>
                  <a:gd name="connsiteX7" fmla="*/ 95892 w 110899"/>
                  <a:gd name="connsiteY7" fmla="*/ 19270 h 59637"/>
                  <a:gd name="connsiteX8" fmla="*/ 53344 w 110899"/>
                  <a:gd name="connsiteY8" fmla="*/ 16601 h 59637"/>
                  <a:gd name="connsiteX9" fmla="*/ 29901 w 110899"/>
                  <a:gd name="connsiteY9" fmla="*/ 15266 h 59637"/>
                  <a:gd name="connsiteX10" fmla="*/ 15301 w 110899"/>
                  <a:gd name="connsiteY10" fmla="*/ 1919 h 5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0899" h="59637" extrusionOk="0">
                    <a:moveTo>
                      <a:pt x="15301" y="1919"/>
                    </a:moveTo>
                    <a:cubicBezTo>
                      <a:pt x="9128" y="-2919"/>
                      <a:pt x="4205" y="2336"/>
                      <a:pt x="1536" y="7258"/>
                    </a:cubicBezTo>
                    <a:cubicBezTo>
                      <a:pt x="-2886" y="15266"/>
                      <a:pt x="3288" y="21022"/>
                      <a:pt x="6875" y="27613"/>
                    </a:cubicBezTo>
                    <a:cubicBezTo>
                      <a:pt x="12214" y="37790"/>
                      <a:pt x="18388" y="53723"/>
                      <a:pt x="32153" y="52889"/>
                    </a:cubicBezTo>
                    <a:cubicBezTo>
                      <a:pt x="44084" y="51971"/>
                      <a:pt x="53844" y="40042"/>
                      <a:pt x="68027" y="42295"/>
                    </a:cubicBezTo>
                    <a:cubicBezTo>
                      <a:pt x="79123" y="44046"/>
                      <a:pt x="88383" y="60897"/>
                      <a:pt x="98561" y="59563"/>
                    </a:cubicBezTo>
                    <a:cubicBezTo>
                      <a:pt x="105235" y="58645"/>
                      <a:pt x="112744" y="46299"/>
                      <a:pt x="110491" y="39625"/>
                    </a:cubicBezTo>
                    <a:cubicBezTo>
                      <a:pt x="110491" y="39625"/>
                      <a:pt x="94974" y="18353"/>
                      <a:pt x="95892" y="19270"/>
                    </a:cubicBezTo>
                    <a:cubicBezTo>
                      <a:pt x="87048" y="10845"/>
                      <a:pt x="64440" y="17519"/>
                      <a:pt x="53344" y="16601"/>
                    </a:cubicBezTo>
                    <a:cubicBezTo>
                      <a:pt x="48004" y="16184"/>
                      <a:pt x="34740" y="17018"/>
                      <a:pt x="29901" y="15266"/>
                    </a:cubicBezTo>
                    <a:cubicBezTo>
                      <a:pt x="21475" y="12096"/>
                      <a:pt x="21475" y="6841"/>
                      <a:pt x="15301" y="191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3731883" name="Полилиния 489"/>
              <p:cNvSpPr/>
              <p:nvPr/>
            </p:nvSpPr>
            <p:spPr bwMode="auto">
              <a:xfrm>
                <a:off x="4872657" y="1372911"/>
                <a:ext cx="155855" cy="89833"/>
              </a:xfrm>
              <a:custGeom>
                <a:avLst/>
                <a:gdLst>
                  <a:gd name="connsiteX0" fmla="*/ 143394 w 175031"/>
                  <a:gd name="connsiteY0" fmla="*/ 0 h 100887"/>
                  <a:gd name="connsiteX1" fmla="*/ 161580 w 175031"/>
                  <a:gd name="connsiteY1" fmla="*/ 13264 h 100887"/>
                  <a:gd name="connsiteX2" fmla="*/ 174011 w 175031"/>
                  <a:gd name="connsiteY2" fmla="*/ 16350 h 100887"/>
                  <a:gd name="connsiteX3" fmla="*/ 156742 w 175031"/>
                  <a:gd name="connsiteY3" fmla="*/ 34536 h 100887"/>
                  <a:gd name="connsiteX4" fmla="*/ 171342 w 175031"/>
                  <a:gd name="connsiteY4" fmla="*/ 47383 h 100887"/>
                  <a:gd name="connsiteX5" fmla="*/ 154489 w 175031"/>
                  <a:gd name="connsiteY5" fmla="*/ 74411 h 100887"/>
                  <a:gd name="connsiteX6" fmla="*/ 123455 w 175031"/>
                  <a:gd name="connsiteY6" fmla="*/ 71742 h 100887"/>
                  <a:gd name="connsiteX7" fmla="*/ 86246 w 175031"/>
                  <a:gd name="connsiteY7" fmla="*/ 77915 h 100887"/>
                  <a:gd name="connsiteX8" fmla="*/ 58799 w 175031"/>
                  <a:gd name="connsiteY8" fmla="*/ 82753 h 100887"/>
                  <a:gd name="connsiteX9" fmla="*/ 21173 w 175031"/>
                  <a:gd name="connsiteY9" fmla="*/ 94265 h 100887"/>
                  <a:gd name="connsiteX10" fmla="*/ 8326 w 175031"/>
                  <a:gd name="connsiteY10" fmla="*/ 88092 h 100887"/>
                  <a:gd name="connsiteX11" fmla="*/ 13665 w 175031"/>
                  <a:gd name="connsiteY11" fmla="*/ 81418 h 100887"/>
                  <a:gd name="connsiteX12" fmla="*/ 13248 w 175031"/>
                  <a:gd name="connsiteY12" fmla="*/ 66319 h 100887"/>
                  <a:gd name="connsiteX13" fmla="*/ 1735 w 175031"/>
                  <a:gd name="connsiteY13" fmla="*/ 61481 h 100887"/>
                  <a:gd name="connsiteX14" fmla="*/ 24343 w 175031"/>
                  <a:gd name="connsiteY14" fmla="*/ 45548 h 100887"/>
                  <a:gd name="connsiteX15" fmla="*/ 33687 w 175031"/>
                  <a:gd name="connsiteY15" fmla="*/ 58811 h 100887"/>
                  <a:gd name="connsiteX16" fmla="*/ 39027 w 175031"/>
                  <a:gd name="connsiteY16" fmla="*/ 53055 h 100887"/>
                  <a:gd name="connsiteX17" fmla="*/ 59383 w 175031"/>
                  <a:gd name="connsiteY17" fmla="*/ 28279 h 100887"/>
                  <a:gd name="connsiteX18" fmla="*/ 91752 w 175031"/>
                  <a:gd name="connsiteY18" fmla="*/ 48634 h 100887"/>
                  <a:gd name="connsiteX19" fmla="*/ 110774 w 175031"/>
                  <a:gd name="connsiteY19" fmla="*/ 16267 h 100887"/>
                  <a:gd name="connsiteX20" fmla="*/ 143394 w 175031"/>
                  <a:gd name="connsiteY20" fmla="*/ 0 h 100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5031" h="100887" extrusionOk="0">
                    <a:moveTo>
                      <a:pt x="143394" y="0"/>
                    </a:moveTo>
                    <a:cubicBezTo>
                      <a:pt x="154489" y="0"/>
                      <a:pt x="153989" y="8425"/>
                      <a:pt x="161580" y="13264"/>
                    </a:cubicBezTo>
                    <a:cubicBezTo>
                      <a:pt x="164667" y="15516"/>
                      <a:pt x="171759" y="13264"/>
                      <a:pt x="174011" y="16350"/>
                    </a:cubicBezTo>
                    <a:cubicBezTo>
                      <a:pt x="179768" y="24776"/>
                      <a:pt x="159411" y="29197"/>
                      <a:pt x="156742" y="34536"/>
                    </a:cubicBezTo>
                    <a:cubicBezTo>
                      <a:pt x="150568" y="47800"/>
                      <a:pt x="163416" y="37623"/>
                      <a:pt x="171342" y="47383"/>
                    </a:cubicBezTo>
                    <a:cubicBezTo>
                      <a:pt x="180185" y="57977"/>
                      <a:pt x="163333" y="70407"/>
                      <a:pt x="154489" y="74411"/>
                    </a:cubicBezTo>
                    <a:cubicBezTo>
                      <a:pt x="140724" y="81085"/>
                      <a:pt x="135468" y="75746"/>
                      <a:pt x="123455" y="71742"/>
                    </a:cubicBezTo>
                    <a:cubicBezTo>
                      <a:pt x="106602" y="65986"/>
                      <a:pt x="103098" y="77080"/>
                      <a:pt x="86246" y="77915"/>
                    </a:cubicBezTo>
                    <a:cubicBezTo>
                      <a:pt x="72064" y="78832"/>
                      <a:pt x="69894" y="69072"/>
                      <a:pt x="58799" y="82753"/>
                    </a:cubicBezTo>
                    <a:cubicBezTo>
                      <a:pt x="44199" y="100939"/>
                      <a:pt x="43281" y="106695"/>
                      <a:pt x="21173" y="94265"/>
                    </a:cubicBezTo>
                    <a:cubicBezTo>
                      <a:pt x="18921" y="92930"/>
                      <a:pt x="8743" y="91596"/>
                      <a:pt x="8326" y="88092"/>
                    </a:cubicBezTo>
                    <a:cubicBezTo>
                      <a:pt x="7908" y="83254"/>
                      <a:pt x="12747" y="84588"/>
                      <a:pt x="13665" y="81418"/>
                    </a:cubicBezTo>
                    <a:cubicBezTo>
                      <a:pt x="16334" y="72576"/>
                      <a:pt x="22091" y="75662"/>
                      <a:pt x="13248" y="66319"/>
                    </a:cubicBezTo>
                    <a:cubicBezTo>
                      <a:pt x="9243" y="61898"/>
                      <a:pt x="5239" y="68572"/>
                      <a:pt x="1735" y="61481"/>
                    </a:cubicBezTo>
                    <a:cubicBezTo>
                      <a:pt x="-5774" y="46882"/>
                      <a:pt x="12831" y="34453"/>
                      <a:pt x="24343" y="45548"/>
                    </a:cubicBezTo>
                    <a:cubicBezTo>
                      <a:pt x="27847" y="49051"/>
                      <a:pt x="26095" y="58394"/>
                      <a:pt x="33687" y="58811"/>
                    </a:cubicBezTo>
                    <a:cubicBezTo>
                      <a:pt x="39861" y="59229"/>
                      <a:pt x="35940" y="55308"/>
                      <a:pt x="39027" y="53055"/>
                    </a:cubicBezTo>
                    <a:cubicBezTo>
                      <a:pt x="49205" y="45548"/>
                      <a:pt x="45701" y="28279"/>
                      <a:pt x="59383" y="28279"/>
                    </a:cubicBezTo>
                    <a:cubicBezTo>
                      <a:pt x="73982" y="27862"/>
                      <a:pt x="76652" y="48634"/>
                      <a:pt x="91752" y="48634"/>
                    </a:cubicBezTo>
                    <a:cubicBezTo>
                      <a:pt x="113861" y="48634"/>
                      <a:pt x="105017" y="28279"/>
                      <a:pt x="110774" y="16267"/>
                    </a:cubicBezTo>
                    <a:cubicBezTo>
                      <a:pt x="115529" y="5839"/>
                      <a:pt x="132798" y="0"/>
                      <a:pt x="143394" y="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43942406" name="Полилиния 490"/>
              <p:cNvSpPr/>
              <p:nvPr/>
            </p:nvSpPr>
            <p:spPr bwMode="auto">
              <a:xfrm>
                <a:off x="5031672" y="1332713"/>
                <a:ext cx="31404" cy="36365"/>
              </a:xfrm>
              <a:custGeom>
                <a:avLst/>
                <a:gdLst>
                  <a:gd name="connsiteX0" fmla="*/ 270 w 35269"/>
                  <a:gd name="connsiteY0" fmla="*/ 31463 h 40840"/>
                  <a:gd name="connsiteX1" fmla="*/ 14870 w 35269"/>
                  <a:gd name="connsiteY1" fmla="*/ 39888 h 40840"/>
                  <a:gd name="connsiteX2" fmla="*/ 20627 w 35269"/>
                  <a:gd name="connsiteY2" fmla="*/ 20868 h 40840"/>
                  <a:gd name="connsiteX3" fmla="*/ 31222 w 35269"/>
                  <a:gd name="connsiteY3" fmla="*/ 13 h 40840"/>
                  <a:gd name="connsiteX4" fmla="*/ 20627 w 35269"/>
                  <a:gd name="connsiteY4" fmla="*/ 10190 h 40840"/>
                  <a:gd name="connsiteX5" fmla="*/ 3774 w 35269"/>
                  <a:gd name="connsiteY5" fmla="*/ 8439 h 40840"/>
                  <a:gd name="connsiteX6" fmla="*/ 7278 w 35269"/>
                  <a:gd name="connsiteY6" fmla="*/ 17281 h 40840"/>
                  <a:gd name="connsiteX7" fmla="*/ 270 w 35269"/>
                  <a:gd name="connsiteY7" fmla="*/ 31463 h 4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69" h="40840" extrusionOk="0">
                    <a:moveTo>
                      <a:pt x="270" y="31463"/>
                    </a:moveTo>
                    <a:cubicBezTo>
                      <a:pt x="-1982" y="38136"/>
                      <a:pt x="10448" y="42975"/>
                      <a:pt x="14870" y="39888"/>
                    </a:cubicBezTo>
                    <a:cubicBezTo>
                      <a:pt x="18374" y="37636"/>
                      <a:pt x="17957" y="25289"/>
                      <a:pt x="20627" y="20868"/>
                    </a:cubicBezTo>
                    <a:cubicBezTo>
                      <a:pt x="22379" y="17364"/>
                      <a:pt x="44070" y="1348"/>
                      <a:pt x="31222" y="13"/>
                    </a:cubicBezTo>
                    <a:cubicBezTo>
                      <a:pt x="26800" y="-404"/>
                      <a:pt x="24548" y="9356"/>
                      <a:pt x="20627" y="10190"/>
                    </a:cubicBezTo>
                    <a:cubicBezTo>
                      <a:pt x="15788" y="11942"/>
                      <a:pt x="8196" y="4434"/>
                      <a:pt x="3774" y="8439"/>
                    </a:cubicBezTo>
                    <a:cubicBezTo>
                      <a:pt x="-1982" y="13777"/>
                      <a:pt x="7779" y="11525"/>
                      <a:pt x="7278" y="17281"/>
                    </a:cubicBezTo>
                    <a:cubicBezTo>
                      <a:pt x="7779" y="28793"/>
                      <a:pt x="2940" y="23037"/>
                      <a:pt x="270" y="3146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62289371" name="Полилиния 491"/>
              <p:cNvSpPr/>
              <p:nvPr/>
            </p:nvSpPr>
            <p:spPr bwMode="auto">
              <a:xfrm>
                <a:off x="4924995" y="1469817"/>
                <a:ext cx="24607" cy="26136"/>
              </a:xfrm>
              <a:custGeom>
                <a:avLst/>
                <a:gdLst>
                  <a:gd name="connsiteX0" fmla="*/ 11952 w 27636"/>
                  <a:gd name="connsiteY0" fmla="*/ 22308 h 29353"/>
                  <a:gd name="connsiteX1" fmla="*/ 27053 w 27636"/>
                  <a:gd name="connsiteY1" fmla="*/ 8127 h 29353"/>
                  <a:gd name="connsiteX2" fmla="*/ 11952 w 27636"/>
                  <a:gd name="connsiteY2" fmla="*/ 7709 h 29353"/>
                  <a:gd name="connsiteX3" fmla="*/ 22 w 27636"/>
                  <a:gd name="connsiteY3" fmla="*/ 24060 h 29353"/>
                  <a:gd name="connsiteX4" fmla="*/ 11952 w 27636"/>
                  <a:gd name="connsiteY4" fmla="*/ 22308 h 29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36" h="29353" extrusionOk="0">
                    <a:moveTo>
                      <a:pt x="11952" y="22308"/>
                    </a:moveTo>
                    <a:cubicBezTo>
                      <a:pt x="20378" y="18304"/>
                      <a:pt x="30139" y="20973"/>
                      <a:pt x="27053" y="8127"/>
                    </a:cubicBezTo>
                    <a:cubicBezTo>
                      <a:pt x="23048" y="-7390"/>
                      <a:pt x="17292" y="3288"/>
                      <a:pt x="11952" y="7709"/>
                    </a:cubicBezTo>
                    <a:cubicBezTo>
                      <a:pt x="7531" y="11714"/>
                      <a:pt x="-478" y="17470"/>
                      <a:pt x="22" y="24060"/>
                    </a:cubicBezTo>
                    <a:cubicBezTo>
                      <a:pt x="857" y="35655"/>
                      <a:pt x="6196" y="24977"/>
                      <a:pt x="11952" y="2230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32516868" name="Полилиния 492"/>
              <p:cNvSpPr/>
              <p:nvPr/>
            </p:nvSpPr>
            <p:spPr bwMode="auto">
              <a:xfrm>
                <a:off x="4936455" y="1508344"/>
                <a:ext cx="27729" cy="29289"/>
              </a:xfrm>
              <a:custGeom>
                <a:avLst/>
                <a:gdLst>
                  <a:gd name="connsiteX0" fmla="*/ 16852 w 31141"/>
                  <a:gd name="connsiteY0" fmla="*/ 20252 h 32894"/>
                  <a:gd name="connsiteX1" fmla="*/ 0 w 31141"/>
                  <a:gd name="connsiteY1" fmla="*/ 8740 h 32894"/>
                  <a:gd name="connsiteX2" fmla="*/ 10178 w 31141"/>
                  <a:gd name="connsiteY2" fmla="*/ 29094 h 32894"/>
                  <a:gd name="connsiteX3" fmla="*/ 16852 w 31141"/>
                  <a:gd name="connsiteY3" fmla="*/ 20252 h 32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141" h="32894" extrusionOk="0">
                    <a:moveTo>
                      <a:pt x="16852" y="20252"/>
                    </a:moveTo>
                    <a:cubicBezTo>
                      <a:pt x="54978" y="10491"/>
                      <a:pt x="5339" y="-12533"/>
                      <a:pt x="0" y="8740"/>
                    </a:cubicBezTo>
                    <a:cubicBezTo>
                      <a:pt x="0" y="9157"/>
                      <a:pt x="8843" y="27759"/>
                      <a:pt x="10178" y="29094"/>
                    </a:cubicBezTo>
                    <a:cubicBezTo>
                      <a:pt x="22609" y="40606"/>
                      <a:pt x="8426" y="22504"/>
                      <a:pt x="16852" y="202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36476425" name="Полилиния 493"/>
              <p:cNvSpPr/>
              <p:nvPr/>
            </p:nvSpPr>
            <p:spPr bwMode="auto">
              <a:xfrm>
                <a:off x="5006026" y="1487907"/>
                <a:ext cx="40860" cy="41591"/>
              </a:xfrm>
              <a:custGeom>
                <a:avLst/>
                <a:gdLst>
                  <a:gd name="connsiteX0" fmla="*/ 27738 w 45888"/>
                  <a:gd name="connsiteY0" fmla="*/ 42785 h 46709"/>
                  <a:gd name="connsiteX1" fmla="*/ 41921 w 45888"/>
                  <a:gd name="connsiteY1" fmla="*/ 11336 h 46709"/>
                  <a:gd name="connsiteX2" fmla="*/ 11386 w 45888"/>
                  <a:gd name="connsiteY2" fmla="*/ 10001 h 46709"/>
                  <a:gd name="connsiteX3" fmla="*/ 3878 w 45888"/>
                  <a:gd name="connsiteY3" fmla="*/ 34777 h 46709"/>
                  <a:gd name="connsiteX4" fmla="*/ 17644 w 45888"/>
                  <a:gd name="connsiteY4" fmla="*/ 45372 h 46709"/>
                  <a:gd name="connsiteX5" fmla="*/ 27738 w 45888"/>
                  <a:gd name="connsiteY5" fmla="*/ 42785 h 46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888" h="46709" extrusionOk="0">
                    <a:moveTo>
                      <a:pt x="27738" y="42785"/>
                    </a:moveTo>
                    <a:cubicBezTo>
                      <a:pt x="41003" y="33442"/>
                      <a:pt x="52099" y="33442"/>
                      <a:pt x="41921" y="11336"/>
                    </a:cubicBezTo>
                    <a:cubicBezTo>
                      <a:pt x="33495" y="-6349"/>
                      <a:pt x="21982" y="-593"/>
                      <a:pt x="11386" y="10001"/>
                    </a:cubicBezTo>
                    <a:cubicBezTo>
                      <a:pt x="2043" y="18844"/>
                      <a:pt x="-4548" y="23766"/>
                      <a:pt x="3878" y="34777"/>
                    </a:cubicBezTo>
                    <a:cubicBezTo>
                      <a:pt x="4796" y="36112"/>
                      <a:pt x="15808" y="44537"/>
                      <a:pt x="17644" y="45372"/>
                    </a:cubicBezTo>
                    <a:cubicBezTo>
                      <a:pt x="25068" y="47624"/>
                      <a:pt x="21565" y="47207"/>
                      <a:pt x="27738" y="4278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66830942" name="Полилиния 494"/>
              <p:cNvSpPr/>
              <p:nvPr/>
            </p:nvSpPr>
            <p:spPr bwMode="auto">
              <a:xfrm>
                <a:off x="5064409" y="1473951"/>
                <a:ext cx="15584" cy="27567"/>
              </a:xfrm>
              <a:custGeom>
                <a:avLst/>
                <a:gdLst>
                  <a:gd name="connsiteX0" fmla="*/ 15314 w 17502"/>
                  <a:gd name="connsiteY0" fmla="*/ 14580 h 30960"/>
                  <a:gd name="connsiteX1" fmla="*/ 2883 w 17502"/>
                  <a:gd name="connsiteY1" fmla="*/ 14162 h 30960"/>
                  <a:gd name="connsiteX2" fmla="*/ 5553 w 17502"/>
                  <a:gd name="connsiteY2" fmla="*/ 30513 h 30960"/>
                  <a:gd name="connsiteX3" fmla="*/ 15314 w 17502"/>
                  <a:gd name="connsiteY3" fmla="*/ 14580 h 30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02" h="30960" extrusionOk="0">
                    <a:moveTo>
                      <a:pt x="15314" y="14580"/>
                    </a:moveTo>
                    <a:cubicBezTo>
                      <a:pt x="24157" y="4819"/>
                      <a:pt x="3384" y="-12449"/>
                      <a:pt x="2883" y="14162"/>
                    </a:cubicBezTo>
                    <a:cubicBezTo>
                      <a:pt x="2883" y="19001"/>
                      <a:pt x="-5126" y="26592"/>
                      <a:pt x="5553" y="30513"/>
                    </a:cubicBezTo>
                    <a:cubicBezTo>
                      <a:pt x="15314" y="33599"/>
                      <a:pt x="10475" y="19918"/>
                      <a:pt x="15314" y="1458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40961466" name="Полилиния 495"/>
              <p:cNvSpPr/>
              <p:nvPr/>
            </p:nvSpPr>
            <p:spPr bwMode="auto">
              <a:xfrm>
                <a:off x="5089668" y="1437759"/>
                <a:ext cx="69989" cy="66123"/>
              </a:xfrm>
              <a:custGeom>
                <a:avLst/>
                <a:gdLst>
                  <a:gd name="connsiteX0" fmla="*/ 3384 w 78601"/>
                  <a:gd name="connsiteY0" fmla="*/ 752 h 74259"/>
                  <a:gd name="connsiteX1" fmla="*/ 16648 w 78601"/>
                  <a:gd name="connsiteY1" fmla="*/ 22441 h 74259"/>
                  <a:gd name="connsiteX2" fmla="*/ 35670 w 78601"/>
                  <a:gd name="connsiteY2" fmla="*/ 45048 h 74259"/>
                  <a:gd name="connsiteX3" fmla="*/ 53356 w 78601"/>
                  <a:gd name="connsiteY3" fmla="*/ 74245 h 74259"/>
                  <a:gd name="connsiteX4" fmla="*/ 76799 w 78601"/>
                  <a:gd name="connsiteY4" fmla="*/ 63651 h 74259"/>
                  <a:gd name="connsiteX5" fmla="*/ 66204 w 78601"/>
                  <a:gd name="connsiteY5" fmla="*/ 40627 h 74259"/>
                  <a:gd name="connsiteX6" fmla="*/ 51605 w 78601"/>
                  <a:gd name="connsiteY6" fmla="*/ 33119 h 74259"/>
                  <a:gd name="connsiteX7" fmla="*/ 50270 w 78601"/>
                  <a:gd name="connsiteY7" fmla="*/ 22024 h 74259"/>
                  <a:gd name="connsiteX8" fmla="*/ 3384 w 78601"/>
                  <a:gd name="connsiteY8" fmla="*/ 752 h 7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8601" h="74259" extrusionOk="0">
                    <a:moveTo>
                      <a:pt x="3384" y="752"/>
                    </a:moveTo>
                    <a:cubicBezTo>
                      <a:pt x="-8129" y="8760"/>
                      <a:pt x="13145" y="19772"/>
                      <a:pt x="16648" y="22441"/>
                    </a:cubicBezTo>
                    <a:cubicBezTo>
                      <a:pt x="25492" y="28614"/>
                      <a:pt x="30831" y="35705"/>
                      <a:pt x="35670" y="45048"/>
                    </a:cubicBezTo>
                    <a:cubicBezTo>
                      <a:pt x="39674" y="53057"/>
                      <a:pt x="43178" y="72494"/>
                      <a:pt x="53356" y="74245"/>
                    </a:cubicBezTo>
                    <a:cubicBezTo>
                      <a:pt x="56443" y="74662"/>
                      <a:pt x="75965" y="65403"/>
                      <a:pt x="76799" y="63651"/>
                    </a:cubicBezTo>
                    <a:cubicBezTo>
                      <a:pt x="82556" y="55643"/>
                      <a:pt x="73296" y="45048"/>
                      <a:pt x="66204" y="40627"/>
                    </a:cubicBezTo>
                    <a:cubicBezTo>
                      <a:pt x="60865" y="37540"/>
                      <a:pt x="55108" y="38375"/>
                      <a:pt x="51605" y="33119"/>
                    </a:cubicBezTo>
                    <a:cubicBezTo>
                      <a:pt x="49352" y="30033"/>
                      <a:pt x="52522" y="25111"/>
                      <a:pt x="50270" y="22024"/>
                    </a:cubicBezTo>
                    <a:cubicBezTo>
                      <a:pt x="46348" y="15768"/>
                      <a:pt x="10475" y="-4087"/>
                      <a:pt x="3384" y="7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40641689" name="Полилиния 496"/>
              <p:cNvSpPr/>
              <p:nvPr/>
            </p:nvSpPr>
            <p:spPr bwMode="auto">
              <a:xfrm>
                <a:off x="5128472" y="1405253"/>
                <a:ext cx="98059" cy="110358"/>
              </a:xfrm>
              <a:custGeom>
                <a:avLst/>
                <a:gdLst>
                  <a:gd name="connsiteX0" fmla="*/ 56330 w 110125"/>
                  <a:gd name="connsiteY0" fmla="*/ 106828 h 123937"/>
                  <a:gd name="connsiteX1" fmla="*/ 55913 w 110125"/>
                  <a:gd name="connsiteY1" fmla="*/ 100155 h 123937"/>
                  <a:gd name="connsiteX2" fmla="*/ 59917 w 110125"/>
                  <a:gd name="connsiteY2" fmla="*/ 93981 h 123937"/>
                  <a:gd name="connsiteX3" fmla="*/ 44400 w 110125"/>
                  <a:gd name="connsiteY3" fmla="*/ 58528 h 123937"/>
                  <a:gd name="connsiteX4" fmla="*/ 24878 w 110125"/>
                  <a:gd name="connsiteY4" fmla="*/ 36421 h 123937"/>
                  <a:gd name="connsiteX5" fmla="*/ 11613 w 110125"/>
                  <a:gd name="connsiteY5" fmla="*/ 17401 h 123937"/>
                  <a:gd name="connsiteX6" fmla="*/ 1852 w 110125"/>
                  <a:gd name="connsiteY6" fmla="*/ 2803 h 123937"/>
                  <a:gd name="connsiteX7" fmla="*/ 14700 w 110125"/>
                  <a:gd name="connsiteY7" fmla="*/ 3720 h 123937"/>
                  <a:gd name="connsiteX8" fmla="*/ 33304 w 110125"/>
                  <a:gd name="connsiteY8" fmla="*/ 28997 h 123937"/>
                  <a:gd name="connsiteX9" fmla="*/ 58082 w 110125"/>
                  <a:gd name="connsiteY9" fmla="*/ 41426 h 123937"/>
                  <a:gd name="connsiteX10" fmla="*/ 60334 w 110125"/>
                  <a:gd name="connsiteY10" fmla="*/ 73293 h 123937"/>
                  <a:gd name="connsiteX11" fmla="*/ 75435 w 110125"/>
                  <a:gd name="connsiteY11" fmla="*/ 80384 h 123937"/>
                  <a:gd name="connsiteX12" fmla="*/ 65256 w 110125"/>
                  <a:gd name="connsiteY12" fmla="*/ 54273 h 123937"/>
                  <a:gd name="connsiteX13" fmla="*/ 76770 w 110125"/>
                  <a:gd name="connsiteY13" fmla="*/ 49435 h 123937"/>
                  <a:gd name="connsiteX14" fmla="*/ 84278 w 110125"/>
                  <a:gd name="connsiteY14" fmla="*/ 60530 h 123937"/>
                  <a:gd name="connsiteX15" fmla="*/ 100630 w 110125"/>
                  <a:gd name="connsiteY15" fmla="*/ 57026 h 123937"/>
                  <a:gd name="connsiteX16" fmla="*/ 93956 w 110125"/>
                  <a:gd name="connsiteY16" fmla="*/ 81802 h 123937"/>
                  <a:gd name="connsiteX17" fmla="*/ 92621 w 110125"/>
                  <a:gd name="connsiteY17" fmla="*/ 97735 h 123937"/>
                  <a:gd name="connsiteX18" fmla="*/ 105468 w 110125"/>
                  <a:gd name="connsiteY18" fmla="*/ 107078 h 123937"/>
                  <a:gd name="connsiteX19" fmla="*/ 82025 w 110125"/>
                  <a:gd name="connsiteY19" fmla="*/ 123929 h 123937"/>
                  <a:gd name="connsiteX20" fmla="*/ 74517 w 110125"/>
                  <a:gd name="connsiteY20" fmla="*/ 112417 h 123937"/>
                  <a:gd name="connsiteX21" fmla="*/ 56330 w 110125"/>
                  <a:gd name="connsiteY21" fmla="*/ 106828 h 123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125" h="123937" extrusionOk="0">
                    <a:moveTo>
                      <a:pt x="56330" y="106828"/>
                    </a:moveTo>
                    <a:cubicBezTo>
                      <a:pt x="46569" y="106411"/>
                      <a:pt x="55913" y="100155"/>
                      <a:pt x="55913" y="100155"/>
                    </a:cubicBezTo>
                    <a:cubicBezTo>
                      <a:pt x="55913" y="101072"/>
                      <a:pt x="59917" y="96651"/>
                      <a:pt x="59917" y="93981"/>
                    </a:cubicBezTo>
                    <a:cubicBezTo>
                      <a:pt x="60835" y="83387"/>
                      <a:pt x="47070" y="68288"/>
                      <a:pt x="44400" y="58528"/>
                    </a:cubicBezTo>
                    <a:cubicBezTo>
                      <a:pt x="38643" y="38590"/>
                      <a:pt x="42648" y="47016"/>
                      <a:pt x="24878" y="36421"/>
                    </a:cubicBezTo>
                    <a:cubicBezTo>
                      <a:pt x="17370" y="32000"/>
                      <a:pt x="16452" y="23992"/>
                      <a:pt x="11613" y="17401"/>
                    </a:cubicBezTo>
                    <a:cubicBezTo>
                      <a:pt x="8109" y="12563"/>
                      <a:pt x="-4739" y="12063"/>
                      <a:pt x="1852" y="2803"/>
                    </a:cubicBezTo>
                    <a:cubicBezTo>
                      <a:pt x="5356" y="-2036"/>
                      <a:pt x="11196" y="133"/>
                      <a:pt x="14700" y="3720"/>
                    </a:cubicBezTo>
                    <a:cubicBezTo>
                      <a:pt x="24878" y="14315"/>
                      <a:pt x="12030" y="27662"/>
                      <a:pt x="33304" y="28997"/>
                    </a:cubicBezTo>
                    <a:cubicBezTo>
                      <a:pt x="49656" y="29914"/>
                      <a:pt x="61252" y="21906"/>
                      <a:pt x="58082" y="41426"/>
                    </a:cubicBezTo>
                    <a:cubicBezTo>
                      <a:pt x="55829" y="53856"/>
                      <a:pt x="54578" y="60029"/>
                      <a:pt x="60334" y="73293"/>
                    </a:cubicBezTo>
                    <a:cubicBezTo>
                      <a:pt x="64756" y="83053"/>
                      <a:pt x="65173" y="93231"/>
                      <a:pt x="75435" y="80384"/>
                    </a:cubicBezTo>
                    <a:cubicBezTo>
                      <a:pt x="86530" y="65785"/>
                      <a:pt x="69261" y="65785"/>
                      <a:pt x="65256" y="54273"/>
                    </a:cubicBezTo>
                    <a:cubicBezTo>
                      <a:pt x="59500" y="38757"/>
                      <a:pt x="70096" y="42344"/>
                      <a:pt x="76770" y="49435"/>
                    </a:cubicBezTo>
                    <a:cubicBezTo>
                      <a:pt x="80774" y="53856"/>
                      <a:pt x="77187" y="57860"/>
                      <a:pt x="84278" y="60530"/>
                    </a:cubicBezTo>
                    <a:cubicBezTo>
                      <a:pt x="91786" y="63616"/>
                      <a:pt x="94456" y="56108"/>
                      <a:pt x="100630" y="57026"/>
                    </a:cubicBezTo>
                    <a:cubicBezTo>
                      <a:pt x="124072" y="59696"/>
                      <a:pt x="97126" y="77381"/>
                      <a:pt x="93956" y="81802"/>
                    </a:cubicBezTo>
                    <a:cubicBezTo>
                      <a:pt x="89951" y="87558"/>
                      <a:pt x="88616" y="91145"/>
                      <a:pt x="92621" y="97735"/>
                    </a:cubicBezTo>
                    <a:cubicBezTo>
                      <a:pt x="94373" y="100405"/>
                      <a:pt x="105468" y="106578"/>
                      <a:pt x="105468" y="107078"/>
                    </a:cubicBezTo>
                    <a:cubicBezTo>
                      <a:pt x="105468" y="109331"/>
                      <a:pt x="86864" y="124347"/>
                      <a:pt x="82025" y="123929"/>
                    </a:cubicBezTo>
                    <a:cubicBezTo>
                      <a:pt x="73599" y="123512"/>
                      <a:pt x="78522" y="115921"/>
                      <a:pt x="74517" y="112417"/>
                    </a:cubicBezTo>
                    <a:cubicBezTo>
                      <a:pt x="66508" y="104993"/>
                      <a:pt x="67426" y="107245"/>
                      <a:pt x="56330" y="10682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23400710" name="Полилиния 497"/>
              <p:cNvSpPr/>
              <p:nvPr/>
            </p:nvSpPr>
            <p:spPr bwMode="auto">
              <a:xfrm>
                <a:off x="5165507" y="1373324"/>
                <a:ext cx="92980" cy="66231"/>
              </a:xfrm>
              <a:custGeom>
                <a:avLst/>
                <a:gdLst>
                  <a:gd name="connsiteX0" fmla="*/ 92742 w 104421"/>
                  <a:gd name="connsiteY0" fmla="*/ 28817 h 74381"/>
                  <a:gd name="connsiteX1" fmla="*/ 80812 w 104421"/>
                  <a:gd name="connsiteY1" fmla="*/ 4458 h 74381"/>
                  <a:gd name="connsiteX2" fmla="*/ 61791 w 104421"/>
                  <a:gd name="connsiteY2" fmla="*/ 3541 h 74381"/>
                  <a:gd name="connsiteX3" fmla="*/ 36095 w 104421"/>
                  <a:gd name="connsiteY3" fmla="*/ 20809 h 74381"/>
                  <a:gd name="connsiteX4" fmla="*/ 9065 w 104421"/>
                  <a:gd name="connsiteY4" fmla="*/ 21226 h 74381"/>
                  <a:gd name="connsiteX5" fmla="*/ 30339 w 104421"/>
                  <a:gd name="connsiteY5" fmla="*/ 59766 h 74381"/>
                  <a:gd name="connsiteX6" fmla="*/ 50278 w 104421"/>
                  <a:gd name="connsiteY6" fmla="*/ 63270 h 74381"/>
                  <a:gd name="connsiteX7" fmla="*/ 38348 w 104421"/>
                  <a:gd name="connsiteY7" fmla="*/ 47336 h 74381"/>
                  <a:gd name="connsiteX8" fmla="*/ 17992 w 104421"/>
                  <a:gd name="connsiteY8" fmla="*/ 38494 h 74381"/>
                  <a:gd name="connsiteX9" fmla="*/ 38848 w 104421"/>
                  <a:gd name="connsiteY9" fmla="*/ 30068 h 74381"/>
                  <a:gd name="connsiteX10" fmla="*/ 53031 w 104421"/>
                  <a:gd name="connsiteY10" fmla="*/ 45167 h 74381"/>
                  <a:gd name="connsiteX11" fmla="*/ 76474 w 104421"/>
                  <a:gd name="connsiteY11" fmla="*/ 42081 h 74381"/>
                  <a:gd name="connsiteX12" fmla="*/ 91991 w 104421"/>
                  <a:gd name="connsiteY12" fmla="*/ 63770 h 74381"/>
                  <a:gd name="connsiteX13" fmla="*/ 104422 w 104421"/>
                  <a:gd name="connsiteY13" fmla="*/ 61101 h 74381"/>
                  <a:gd name="connsiteX14" fmla="*/ 92742 w 104421"/>
                  <a:gd name="connsiteY14" fmla="*/ 28817 h 7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421" h="74381" extrusionOk="0">
                    <a:moveTo>
                      <a:pt x="92742" y="28817"/>
                    </a:moveTo>
                    <a:cubicBezTo>
                      <a:pt x="91824" y="23061"/>
                      <a:pt x="85234" y="8462"/>
                      <a:pt x="80812" y="4458"/>
                    </a:cubicBezTo>
                    <a:cubicBezTo>
                      <a:pt x="73303" y="-2632"/>
                      <a:pt x="68381" y="37"/>
                      <a:pt x="61791" y="3541"/>
                    </a:cubicBezTo>
                    <a:cubicBezTo>
                      <a:pt x="53364" y="8379"/>
                      <a:pt x="47608" y="17722"/>
                      <a:pt x="36095" y="20809"/>
                    </a:cubicBezTo>
                    <a:cubicBezTo>
                      <a:pt x="29004" y="22561"/>
                      <a:pt x="15239" y="18139"/>
                      <a:pt x="9065" y="21226"/>
                    </a:cubicBezTo>
                    <a:cubicBezTo>
                      <a:pt x="-17048" y="34490"/>
                      <a:pt x="20578" y="52258"/>
                      <a:pt x="30339" y="59766"/>
                    </a:cubicBezTo>
                    <a:cubicBezTo>
                      <a:pt x="38348" y="65939"/>
                      <a:pt x="55117" y="87211"/>
                      <a:pt x="50278" y="63270"/>
                    </a:cubicBezTo>
                    <a:cubicBezTo>
                      <a:pt x="48526" y="55762"/>
                      <a:pt x="45439" y="50006"/>
                      <a:pt x="38348" y="47336"/>
                    </a:cubicBezTo>
                    <a:cubicBezTo>
                      <a:pt x="30339" y="44250"/>
                      <a:pt x="17074" y="54010"/>
                      <a:pt x="17992" y="38494"/>
                    </a:cubicBezTo>
                    <a:cubicBezTo>
                      <a:pt x="18409" y="28734"/>
                      <a:pt x="31757" y="26565"/>
                      <a:pt x="38848" y="30068"/>
                    </a:cubicBezTo>
                    <a:cubicBezTo>
                      <a:pt x="47274" y="34490"/>
                      <a:pt x="44605" y="42915"/>
                      <a:pt x="53031" y="45167"/>
                    </a:cubicBezTo>
                    <a:cubicBezTo>
                      <a:pt x="63209" y="47420"/>
                      <a:pt x="66296" y="32738"/>
                      <a:pt x="76474" y="42081"/>
                    </a:cubicBezTo>
                    <a:cubicBezTo>
                      <a:pt x="84483" y="49172"/>
                      <a:pt x="81312" y="57597"/>
                      <a:pt x="91991" y="63770"/>
                    </a:cubicBezTo>
                    <a:cubicBezTo>
                      <a:pt x="98165" y="67274"/>
                      <a:pt x="104422" y="73530"/>
                      <a:pt x="104422" y="61101"/>
                    </a:cubicBezTo>
                    <a:cubicBezTo>
                      <a:pt x="103754" y="52258"/>
                      <a:pt x="94077" y="38994"/>
                      <a:pt x="92742" y="288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93837165" name="Полилиния 498"/>
              <p:cNvSpPr/>
              <p:nvPr/>
            </p:nvSpPr>
            <p:spPr bwMode="auto">
              <a:xfrm>
                <a:off x="5261319" y="1335735"/>
                <a:ext cx="34322" cy="30654"/>
              </a:xfrm>
              <a:custGeom>
                <a:avLst/>
                <a:gdLst>
                  <a:gd name="connsiteX0" fmla="*/ 33447 w 38546"/>
                  <a:gd name="connsiteY0" fmla="*/ 28070 h 34426"/>
                  <a:gd name="connsiteX1" fmla="*/ 35700 w 38546"/>
                  <a:gd name="connsiteY1" fmla="*/ 6797 h 34426"/>
                  <a:gd name="connsiteX2" fmla="*/ 12257 w 38546"/>
                  <a:gd name="connsiteY2" fmla="*/ 10301 h 34426"/>
                  <a:gd name="connsiteX3" fmla="*/ 1661 w 38546"/>
                  <a:gd name="connsiteY3" fmla="*/ 27569 h 34426"/>
                  <a:gd name="connsiteX4" fmla="*/ 33447 w 38546"/>
                  <a:gd name="connsiteY4" fmla="*/ 28070 h 34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46" h="34426" extrusionOk="0">
                    <a:moveTo>
                      <a:pt x="33447" y="28070"/>
                    </a:moveTo>
                    <a:cubicBezTo>
                      <a:pt x="40956" y="26318"/>
                      <a:pt x="38786" y="11219"/>
                      <a:pt x="35700" y="6797"/>
                    </a:cubicBezTo>
                    <a:cubicBezTo>
                      <a:pt x="25522" y="-6967"/>
                      <a:pt x="19348" y="3294"/>
                      <a:pt x="12257" y="10301"/>
                    </a:cubicBezTo>
                    <a:cubicBezTo>
                      <a:pt x="6500" y="16057"/>
                      <a:pt x="-4095" y="17392"/>
                      <a:pt x="1661" y="27569"/>
                    </a:cubicBezTo>
                    <a:cubicBezTo>
                      <a:pt x="9003" y="41751"/>
                      <a:pt x="24103" y="29821"/>
                      <a:pt x="33447" y="2807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87023633" name="Полилиния 499"/>
              <p:cNvSpPr/>
              <p:nvPr/>
            </p:nvSpPr>
            <p:spPr bwMode="auto">
              <a:xfrm>
                <a:off x="5354444" y="1400879"/>
                <a:ext cx="36783" cy="33278"/>
              </a:xfrm>
              <a:custGeom>
                <a:avLst/>
                <a:gdLst>
                  <a:gd name="connsiteX0" fmla="*/ 5450 w 41310"/>
                  <a:gd name="connsiteY0" fmla="*/ 20479 h 37373"/>
                  <a:gd name="connsiteX1" fmla="*/ 11206 w 41310"/>
                  <a:gd name="connsiteY1" fmla="*/ 124 h 37373"/>
                  <a:gd name="connsiteX2" fmla="*/ 35150 w 41310"/>
                  <a:gd name="connsiteY2" fmla="*/ 14305 h 37373"/>
                  <a:gd name="connsiteX3" fmla="*/ 39989 w 41310"/>
                  <a:gd name="connsiteY3" fmla="*/ 26235 h 37373"/>
                  <a:gd name="connsiteX4" fmla="*/ 23637 w 41310"/>
                  <a:gd name="connsiteY4" fmla="*/ 37329 h 37373"/>
                  <a:gd name="connsiteX5" fmla="*/ 5450 w 41310"/>
                  <a:gd name="connsiteY5" fmla="*/ 20479 h 3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310" h="37373" extrusionOk="0">
                    <a:moveTo>
                      <a:pt x="5450" y="20479"/>
                    </a:moveTo>
                    <a:cubicBezTo>
                      <a:pt x="-2976" y="13388"/>
                      <a:pt x="-2059" y="1876"/>
                      <a:pt x="11206" y="124"/>
                    </a:cubicBezTo>
                    <a:cubicBezTo>
                      <a:pt x="18715" y="-1211"/>
                      <a:pt x="30228" y="8549"/>
                      <a:pt x="35150" y="14305"/>
                    </a:cubicBezTo>
                    <a:cubicBezTo>
                      <a:pt x="39154" y="19144"/>
                      <a:pt x="43576" y="17809"/>
                      <a:pt x="39989" y="26235"/>
                    </a:cubicBezTo>
                    <a:cubicBezTo>
                      <a:pt x="38654" y="29738"/>
                      <a:pt x="26223" y="36829"/>
                      <a:pt x="23637" y="37329"/>
                    </a:cubicBezTo>
                    <a:cubicBezTo>
                      <a:pt x="11624" y="38164"/>
                      <a:pt x="13459" y="27069"/>
                      <a:pt x="5450" y="2047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6374694" name="Полилиния 500"/>
              <p:cNvSpPr/>
              <p:nvPr/>
            </p:nvSpPr>
            <p:spPr bwMode="auto">
              <a:xfrm>
                <a:off x="5081829" y="1545345"/>
                <a:ext cx="48781" cy="50763"/>
              </a:xfrm>
              <a:custGeom>
                <a:avLst/>
                <a:gdLst>
                  <a:gd name="connsiteX0" fmla="*/ 9518 w 54784"/>
                  <a:gd name="connsiteY0" fmla="*/ 21243 h 57010"/>
                  <a:gd name="connsiteX1" fmla="*/ 19278 w 54784"/>
                  <a:gd name="connsiteY1" fmla="*/ 6644 h 57010"/>
                  <a:gd name="connsiteX2" fmla="*/ 36131 w 54784"/>
                  <a:gd name="connsiteY2" fmla="*/ 1305 h 57010"/>
                  <a:gd name="connsiteX3" fmla="*/ 45891 w 54784"/>
                  <a:gd name="connsiteY3" fmla="*/ 35841 h 57010"/>
                  <a:gd name="connsiteX4" fmla="*/ 14857 w 54784"/>
                  <a:gd name="connsiteY4" fmla="*/ 54444 h 57010"/>
                  <a:gd name="connsiteX5" fmla="*/ 674 w 54784"/>
                  <a:gd name="connsiteY5" fmla="*/ 36759 h 57010"/>
                  <a:gd name="connsiteX6" fmla="*/ 9518 w 54784"/>
                  <a:gd name="connsiteY6" fmla="*/ 21243 h 5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84" h="57010" extrusionOk="0">
                    <a:moveTo>
                      <a:pt x="9518" y="21243"/>
                    </a:moveTo>
                    <a:cubicBezTo>
                      <a:pt x="12604" y="18573"/>
                      <a:pt x="15274" y="10648"/>
                      <a:pt x="19278" y="6644"/>
                    </a:cubicBezTo>
                    <a:cubicBezTo>
                      <a:pt x="27704" y="-1781"/>
                      <a:pt x="25035" y="-447"/>
                      <a:pt x="36131" y="1305"/>
                    </a:cubicBezTo>
                    <a:cubicBezTo>
                      <a:pt x="60074" y="4392"/>
                      <a:pt x="58239" y="19491"/>
                      <a:pt x="45891" y="35841"/>
                    </a:cubicBezTo>
                    <a:cubicBezTo>
                      <a:pt x="37466" y="47353"/>
                      <a:pt x="29957" y="63287"/>
                      <a:pt x="14857" y="54444"/>
                    </a:cubicBezTo>
                    <a:cubicBezTo>
                      <a:pt x="11353" y="52192"/>
                      <a:pt x="1091" y="41180"/>
                      <a:pt x="674" y="36759"/>
                    </a:cubicBezTo>
                    <a:cubicBezTo>
                      <a:pt x="-1578" y="24746"/>
                      <a:pt x="1926" y="26999"/>
                      <a:pt x="9518" y="2124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34439186" name="Полилиния 501"/>
              <p:cNvSpPr/>
              <p:nvPr/>
            </p:nvSpPr>
            <p:spPr bwMode="auto">
              <a:xfrm>
                <a:off x="5128832" y="1542400"/>
                <a:ext cx="54649" cy="56565"/>
              </a:xfrm>
              <a:custGeom>
                <a:avLst/>
                <a:gdLst>
                  <a:gd name="connsiteX0" fmla="*/ 13377 w 61374"/>
                  <a:gd name="connsiteY0" fmla="*/ 63090 h 63524"/>
                  <a:gd name="connsiteX1" fmla="*/ 31981 w 61374"/>
                  <a:gd name="connsiteY1" fmla="*/ 48491 h 63524"/>
                  <a:gd name="connsiteX2" fmla="*/ 59429 w 61374"/>
                  <a:gd name="connsiteY2" fmla="*/ 33893 h 63524"/>
                  <a:gd name="connsiteX3" fmla="*/ 23138 w 61374"/>
                  <a:gd name="connsiteY3" fmla="*/ 1525 h 63524"/>
                  <a:gd name="connsiteX4" fmla="*/ 13377 w 61374"/>
                  <a:gd name="connsiteY4" fmla="*/ 63090 h 6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374" h="63524" extrusionOk="0">
                    <a:moveTo>
                      <a:pt x="13377" y="63090"/>
                    </a:moveTo>
                    <a:cubicBezTo>
                      <a:pt x="22221" y="61338"/>
                      <a:pt x="25307" y="52912"/>
                      <a:pt x="31981" y="48491"/>
                    </a:cubicBezTo>
                    <a:cubicBezTo>
                      <a:pt x="39990" y="43152"/>
                      <a:pt x="53672" y="43152"/>
                      <a:pt x="59429" y="33893"/>
                    </a:cubicBezTo>
                    <a:cubicBezTo>
                      <a:pt x="69190" y="18376"/>
                      <a:pt x="39907" y="-6399"/>
                      <a:pt x="23138" y="1525"/>
                    </a:cubicBezTo>
                    <a:cubicBezTo>
                      <a:pt x="10791" y="7699"/>
                      <a:pt x="-16239" y="69263"/>
                      <a:pt x="13377" y="6309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93030942" name="Полилиния 502"/>
              <p:cNvSpPr/>
              <p:nvPr/>
            </p:nvSpPr>
            <p:spPr bwMode="auto">
              <a:xfrm>
                <a:off x="5155522" y="1618900"/>
                <a:ext cx="29056" cy="26127"/>
              </a:xfrm>
              <a:custGeom>
                <a:avLst/>
                <a:gdLst>
                  <a:gd name="connsiteX0" fmla="*/ 25952 w 32632"/>
                  <a:gd name="connsiteY0" fmla="*/ 26813 h 29343"/>
                  <a:gd name="connsiteX1" fmla="*/ 3761 w 32632"/>
                  <a:gd name="connsiteY1" fmla="*/ 5123 h 29343"/>
                  <a:gd name="connsiteX2" fmla="*/ 25952 w 32632"/>
                  <a:gd name="connsiteY2" fmla="*/ 26813 h 29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632" h="29343" extrusionOk="0">
                    <a:moveTo>
                      <a:pt x="25952" y="26813"/>
                    </a:moveTo>
                    <a:cubicBezTo>
                      <a:pt x="44973" y="14383"/>
                      <a:pt x="18861" y="-10810"/>
                      <a:pt x="3761" y="5123"/>
                    </a:cubicBezTo>
                    <a:cubicBezTo>
                      <a:pt x="-8586" y="17887"/>
                      <a:pt x="12270" y="36072"/>
                      <a:pt x="25952" y="2681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8031361" name="Полилиния 503"/>
              <p:cNvSpPr/>
              <p:nvPr/>
            </p:nvSpPr>
            <p:spPr bwMode="auto">
              <a:xfrm>
                <a:off x="5202790" y="1517083"/>
                <a:ext cx="96014" cy="73499"/>
              </a:xfrm>
              <a:custGeom>
                <a:avLst/>
                <a:gdLst>
                  <a:gd name="connsiteX0" fmla="*/ 42863 w 107828"/>
                  <a:gd name="connsiteY0" fmla="*/ 82178 h 82543"/>
                  <a:gd name="connsiteX1" fmla="*/ 69893 w 107828"/>
                  <a:gd name="connsiteY1" fmla="*/ 61323 h 82543"/>
                  <a:gd name="connsiteX2" fmla="*/ 86245 w 107828"/>
                  <a:gd name="connsiteY2" fmla="*/ 55567 h 82543"/>
                  <a:gd name="connsiteX3" fmla="*/ 96423 w 107828"/>
                  <a:gd name="connsiteY3" fmla="*/ 41803 h 82543"/>
                  <a:gd name="connsiteX4" fmla="*/ 107018 w 107828"/>
                  <a:gd name="connsiteY4" fmla="*/ 24534 h 82543"/>
                  <a:gd name="connsiteX5" fmla="*/ 72897 w 107828"/>
                  <a:gd name="connsiteY5" fmla="*/ 10353 h 82543"/>
                  <a:gd name="connsiteX6" fmla="*/ 33019 w 107828"/>
                  <a:gd name="connsiteY6" fmla="*/ 176 h 82543"/>
                  <a:gd name="connsiteX7" fmla="*/ 2485 w 107828"/>
                  <a:gd name="connsiteY7" fmla="*/ 24952 h 82543"/>
                  <a:gd name="connsiteX8" fmla="*/ 10911 w 107828"/>
                  <a:gd name="connsiteY8" fmla="*/ 62157 h 82543"/>
                  <a:gd name="connsiteX9" fmla="*/ 42863 w 107828"/>
                  <a:gd name="connsiteY9" fmla="*/ 82178 h 82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828" h="82543" extrusionOk="0">
                    <a:moveTo>
                      <a:pt x="42863" y="82178"/>
                    </a:moveTo>
                    <a:cubicBezTo>
                      <a:pt x="57964" y="85265"/>
                      <a:pt x="61467" y="67997"/>
                      <a:pt x="69893" y="61323"/>
                    </a:cubicBezTo>
                    <a:cubicBezTo>
                      <a:pt x="74315" y="57819"/>
                      <a:pt x="81407" y="59071"/>
                      <a:pt x="86245" y="55567"/>
                    </a:cubicBezTo>
                    <a:cubicBezTo>
                      <a:pt x="91084" y="52063"/>
                      <a:pt x="92419" y="45807"/>
                      <a:pt x="96423" y="41803"/>
                    </a:cubicBezTo>
                    <a:cubicBezTo>
                      <a:pt x="103515" y="34712"/>
                      <a:pt x="110189" y="36964"/>
                      <a:pt x="107018" y="24534"/>
                    </a:cubicBezTo>
                    <a:cubicBezTo>
                      <a:pt x="102180" y="6349"/>
                      <a:pt x="86662" y="9936"/>
                      <a:pt x="72897" y="10353"/>
                    </a:cubicBezTo>
                    <a:cubicBezTo>
                      <a:pt x="58297" y="10353"/>
                      <a:pt x="46284" y="-1576"/>
                      <a:pt x="33019" y="176"/>
                    </a:cubicBezTo>
                    <a:cubicBezTo>
                      <a:pt x="23258" y="1510"/>
                      <a:pt x="6406" y="16526"/>
                      <a:pt x="2485" y="24952"/>
                    </a:cubicBezTo>
                    <a:cubicBezTo>
                      <a:pt x="-3272" y="36464"/>
                      <a:pt x="1567" y="54649"/>
                      <a:pt x="10911" y="62157"/>
                    </a:cubicBezTo>
                    <a:cubicBezTo>
                      <a:pt x="18502" y="67579"/>
                      <a:pt x="34437" y="80843"/>
                      <a:pt x="42863" y="8217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18577961" name="Полилиния 504"/>
              <p:cNvSpPr/>
              <p:nvPr/>
            </p:nvSpPr>
            <p:spPr bwMode="auto">
              <a:xfrm>
                <a:off x="5303329" y="1502656"/>
                <a:ext cx="88816" cy="80719"/>
              </a:xfrm>
              <a:custGeom>
                <a:avLst/>
                <a:gdLst>
                  <a:gd name="connsiteX0" fmla="*/ 14133 w 99744"/>
                  <a:gd name="connsiteY0" fmla="*/ 35982 h 90651"/>
                  <a:gd name="connsiteX1" fmla="*/ 42915 w 99744"/>
                  <a:gd name="connsiteY1" fmla="*/ 27973 h 90651"/>
                  <a:gd name="connsiteX2" fmla="*/ 65941 w 99744"/>
                  <a:gd name="connsiteY2" fmla="*/ 11623 h 90651"/>
                  <a:gd name="connsiteX3" fmla="*/ 77871 w 99744"/>
                  <a:gd name="connsiteY3" fmla="*/ 111 h 90651"/>
                  <a:gd name="connsiteX4" fmla="*/ 89384 w 99744"/>
                  <a:gd name="connsiteY4" fmla="*/ 9871 h 90651"/>
                  <a:gd name="connsiteX5" fmla="*/ 94723 w 99744"/>
                  <a:gd name="connsiteY5" fmla="*/ 46659 h 90651"/>
                  <a:gd name="connsiteX6" fmla="*/ 77871 w 99744"/>
                  <a:gd name="connsiteY6" fmla="*/ 75857 h 90651"/>
                  <a:gd name="connsiteX7" fmla="*/ 58850 w 99744"/>
                  <a:gd name="connsiteY7" fmla="*/ 83865 h 90651"/>
                  <a:gd name="connsiteX8" fmla="*/ 46419 w 99744"/>
                  <a:gd name="connsiteY8" fmla="*/ 90539 h 90651"/>
                  <a:gd name="connsiteX9" fmla="*/ 14133 w 99744"/>
                  <a:gd name="connsiteY9" fmla="*/ 35982 h 90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744" h="90651" extrusionOk="0">
                    <a:moveTo>
                      <a:pt x="14133" y="35982"/>
                    </a:moveTo>
                    <a:cubicBezTo>
                      <a:pt x="25229" y="31560"/>
                      <a:pt x="32320" y="28474"/>
                      <a:pt x="42915" y="27973"/>
                    </a:cubicBezTo>
                    <a:cubicBezTo>
                      <a:pt x="62854" y="27056"/>
                      <a:pt x="56681" y="24887"/>
                      <a:pt x="65941" y="11623"/>
                    </a:cubicBezTo>
                    <a:cubicBezTo>
                      <a:pt x="64606" y="13875"/>
                      <a:pt x="80541" y="-306"/>
                      <a:pt x="77871" y="111"/>
                    </a:cubicBezTo>
                    <a:cubicBezTo>
                      <a:pt x="87215" y="-807"/>
                      <a:pt x="84545" y="4115"/>
                      <a:pt x="89384" y="9871"/>
                    </a:cubicBezTo>
                    <a:cubicBezTo>
                      <a:pt x="103149" y="25804"/>
                      <a:pt x="101314" y="26722"/>
                      <a:pt x="94723" y="46659"/>
                    </a:cubicBezTo>
                    <a:cubicBezTo>
                      <a:pt x="91219" y="57754"/>
                      <a:pt x="86297" y="66597"/>
                      <a:pt x="77871" y="75857"/>
                    </a:cubicBezTo>
                    <a:cubicBezTo>
                      <a:pt x="71697" y="82947"/>
                      <a:pt x="67693" y="80695"/>
                      <a:pt x="58850" y="83865"/>
                    </a:cubicBezTo>
                    <a:cubicBezTo>
                      <a:pt x="54428" y="85200"/>
                      <a:pt x="51341" y="89621"/>
                      <a:pt x="46419" y="90539"/>
                    </a:cubicBezTo>
                    <a:cubicBezTo>
                      <a:pt x="24728" y="93125"/>
                      <a:pt x="-23993" y="50580"/>
                      <a:pt x="14133" y="3598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4884556" name="Полилиния 505"/>
              <p:cNvSpPr/>
              <p:nvPr/>
            </p:nvSpPr>
            <p:spPr bwMode="auto">
              <a:xfrm>
                <a:off x="5257465" y="1476811"/>
                <a:ext cx="43528" cy="36679"/>
              </a:xfrm>
              <a:custGeom>
                <a:avLst/>
                <a:gdLst>
                  <a:gd name="connsiteX0" fmla="*/ 29767 w 48884"/>
                  <a:gd name="connsiteY0" fmla="*/ 34392 h 41193"/>
                  <a:gd name="connsiteX1" fmla="*/ 48788 w 48884"/>
                  <a:gd name="connsiteY1" fmla="*/ 10033 h 41193"/>
                  <a:gd name="connsiteX2" fmla="*/ 18254 w 48884"/>
                  <a:gd name="connsiteY2" fmla="*/ 4277 h 41193"/>
                  <a:gd name="connsiteX3" fmla="*/ 3654 w 48884"/>
                  <a:gd name="connsiteY3" fmla="*/ 29553 h 41193"/>
                  <a:gd name="connsiteX4" fmla="*/ 29767 w 48884"/>
                  <a:gd name="connsiteY4" fmla="*/ 34392 h 4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84" h="41193" extrusionOk="0">
                    <a:moveTo>
                      <a:pt x="29767" y="34392"/>
                    </a:moveTo>
                    <a:cubicBezTo>
                      <a:pt x="37275" y="31722"/>
                      <a:pt x="50123" y="18876"/>
                      <a:pt x="48788" y="10033"/>
                    </a:cubicBezTo>
                    <a:cubicBezTo>
                      <a:pt x="46118" y="-6317"/>
                      <a:pt x="27097" y="1608"/>
                      <a:pt x="18254" y="4277"/>
                    </a:cubicBezTo>
                    <a:cubicBezTo>
                      <a:pt x="1902" y="9616"/>
                      <a:pt x="-4772" y="10951"/>
                      <a:pt x="3654" y="29553"/>
                    </a:cubicBezTo>
                    <a:cubicBezTo>
                      <a:pt x="12497" y="48990"/>
                      <a:pt x="14249" y="39314"/>
                      <a:pt x="29767" y="3439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01548723" name="Полилиния 506"/>
              <p:cNvSpPr/>
              <p:nvPr/>
            </p:nvSpPr>
            <p:spPr bwMode="auto">
              <a:xfrm>
                <a:off x="5429569" y="2966242"/>
                <a:ext cx="61146" cy="52395"/>
              </a:xfrm>
              <a:custGeom>
                <a:avLst/>
                <a:gdLst>
                  <a:gd name="connsiteX0" fmla="*/ 10098 w 68670"/>
                  <a:gd name="connsiteY0" fmla="*/ 25952 h 58842"/>
                  <a:gd name="connsiteX1" fmla="*/ 25198 w 68670"/>
                  <a:gd name="connsiteY1" fmla="*/ 8267 h 58842"/>
                  <a:gd name="connsiteX2" fmla="*/ 46472 w 68670"/>
                  <a:gd name="connsiteY2" fmla="*/ 259 h 58842"/>
                  <a:gd name="connsiteX3" fmla="*/ 66828 w 68670"/>
                  <a:gd name="connsiteY3" fmla="*/ 19779 h 58842"/>
                  <a:gd name="connsiteX4" fmla="*/ 68580 w 68670"/>
                  <a:gd name="connsiteY4" fmla="*/ 24200 h 58842"/>
                  <a:gd name="connsiteX5" fmla="*/ 57067 w 68670"/>
                  <a:gd name="connsiteY5" fmla="*/ 36630 h 58842"/>
                  <a:gd name="connsiteX6" fmla="*/ 38880 w 68670"/>
                  <a:gd name="connsiteY6" fmla="*/ 41051 h 58842"/>
                  <a:gd name="connsiteX7" fmla="*/ 22028 w 68670"/>
                  <a:gd name="connsiteY7" fmla="*/ 57402 h 58842"/>
                  <a:gd name="connsiteX8" fmla="*/ 1171 w 68670"/>
                  <a:gd name="connsiteY8" fmla="*/ 50311 h 58842"/>
                  <a:gd name="connsiteX9" fmla="*/ 10098 w 68670"/>
                  <a:gd name="connsiteY9" fmla="*/ 25952 h 58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670" h="58842" extrusionOk="0">
                    <a:moveTo>
                      <a:pt x="10098" y="25952"/>
                    </a:moveTo>
                    <a:cubicBezTo>
                      <a:pt x="15437" y="20196"/>
                      <a:pt x="19859" y="13522"/>
                      <a:pt x="25198" y="8267"/>
                    </a:cubicBezTo>
                    <a:cubicBezTo>
                      <a:pt x="30955" y="2928"/>
                      <a:pt x="38463" y="-1076"/>
                      <a:pt x="46472" y="259"/>
                    </a:cubicBezTo>
                    <a:cubicBezTo>
                      <a:pt x="56233" y="2010"/>
                      <a:pt x="62407" y="10853"/>
                      <a:pt x="66828" y="19779"/>
                    </a:cubicBezTo>
                    <a:cubicBezTo>
                      <a:pt x="67746" y="21114"/>
                      <a:pt x="68163" y="22866"/>
                      <a:pt x="68580" y="24200"/>
                    </a:cubicBezTo>
                    <a:cubicBezTo>
                      <a:pt x="69498" y="30373"/>
                      <a:pt x="63241" y="35295"/>
                      <a:pt x="57067" y="36630"/>
                    </a:cubicBezTo>
                    <a:cubicBezTo>
                      <a:pt x="50894" y="37965"/>
                      <a:pt x="44220" y="37965"/>
                      <a:pt x="38880" y="41051"/>
                    </a:cubicBezTo>
                    <a:cubicBezTo>
                      <a:pt x="32206" y="45055"/>
                      <a:pt x="29119" y="53481"/>
                      <a:pt x="22028" y="57402"/>
                    </a:cubicBezTo>
                    <a:cubicBezTo>
                      <a:pt x="14937" y="60905"/>
                      <a:pt x="3841" y="57819"/>
                      <a:pt x="1171" y="50311"/>
                    </a:cubicBezTo>
                    <a:cubicBezTo>
                      <a:pt x="-2750" y="40551"/>
                      <a:pt x="3925" y="32542"/>
                      <a:pt x="10098" y="259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87068357" name="Полилиния 507"/>
              <p:cNvSpPr/>
              <p:nvPr/>
            </p:nvSpPr>
            <p:spPr bwMode="auto">
              <a:xfrm>
                <a:off x="2886652" y="2214688"/>
                <a:ext cx="576829" cy="741820"/>
              </a:xfrm>
              <a:custGeom>
                <a:avLst/>
                <a:gdLst>
                  <a:gd name="connsiteX0" fmla="*/ 647392 w 647799"/>
                  <a:gd name="connsiteY0" fmla="*/ 680773 h 833089"/>
                  <a:gd name="connsiteX1" fmla="*/ 631041 w 647799"/>
                  <a:gd name="connsiteY1" fmla="*/ 639563 h 833089"/>
                  <a:gd name="connsiteX2" fmla="*/ 640801 w 647799"/>
                  <a:gd name="connsiteY2" fmla="*/ 594349 h 833089"/>
                  <a:gd name="connsiteX3" fmla="*/ 618693 w 647799"/>
                  <a:gd name="connsiteY3" fmla="*/ 574412 h 833089"/>
                  <a:gd name="connsiteX4" fmla="*/ 617776 w 647799"/>
                  <a:gd name="connsiteY4" fmla="*/ 535454 h 833089"/>
                  <a:gd name="connsiteX5" fmla="*/ 602258 w 647799"/>
                  <a:gd name="connsiteY5" fmla="*/ 494661 h 833089"/>
                  <a:gd name="connsiteX6" fmla="*/ 601341 w 647799"/>
                  <a:gd name="connsiteY6" fmla="*/ 377706 h 833089"/>
                  <a:gd name="connsiteX7" fmla="*/ 586741 w 647799"/>
                  <a:gd name="connsiteY7" fmla="*/ 331658 h 833089"/>
                  <a:gd name="connsiteX8" fmla="*/ 580567 w 647799"/>
                  <a:gd name="connsiteY8" fmla="*/ 276767 h 833089"/>
                  <a:gd name="connsiteX9" fmla="*/ 554455 w 647799"/>
                  <a:gd name="connsiteY9" fmla="*/ 255495 h 833089"/>
                  <a:gd name="connsiteX10" fmla="*/ 534516 w 647799"/>
                  <a:gd name="connsiteY10" fmla="*/ 218706 h 833089"/>
                  <a:gd name="connsiteX11" fmla="*/ 511073 w 647799"/>
                  <a:gd name="connsiteY11" fmla="*/ 188175 h 833089"/>
                  <a:gd name="connsiteX12" fmla="*/ 499977 w 647799"/>
                  <a:gd name="connsiteY12" fmla="*/ 173576 h 833089"/>
                  <a:gd name="connsiteX13" fmla="*/ 506151 w 647799"/>
                  <a:gd name="connsiteY13" fmla="*/ 158977 h 833089"/>
                  <a:gd name="connsiteX14" fmla="*/ 501729 w 647799"/>
                  <a:gd name="connsiteY14" fmla="*/ 148383 h 833089"/>
                  <a:gd name="connsiteX15" fmla="*/ 495973 w 647799"/>
                  <a:gd name="connsiteY15" fmla="*/ 146631 h 833089"/>
                  <a:gd name="connsiteX16" fmla="*/ 487546 w 647799"/>
                  <a:gd name="connsiteY16" fmla="*/ 144379 h 833089"/>
                  <a:gd name="connsiteX17" fmla="*/ 486212 w 647799"/>
                  <a:gd name="connsiteY17" fmla="*/ 143962 h 833089"/>
                  <a:gd name="connsiteX18" fmla="*/ 482708 w 647799"/>
                  <a:gd name="connsiteY18" fmla="*/ 142627 h 833089"/>
                  <a:gd name="connsiteX19" fmla="*/ 481790 w 647799"/>
                  <a:gd name="connsiteY19" fmla="*/ 139540 h 833089"/>
                  <a:gd name="connsiteX20" fmla="*/ 483125 w 647799"/>
                  <a:gd name="connsiteY20" fmla="*/ 138206 h 833089"/>
                  <a:gd name="connsiteX21" fmla="*/ 489298 w 647799"/>
                  <a:gd name="connsiteY21" fmla="*/ 134702 h 833089"/>
                  <a:gd name="connsiteX22" fmla="*/ 491551 w 647799"/>
                  <a:gd name="connsiteY22" fmla="*/ 132450 h 833089"/>
                  <a:gd name="connsiteX23" fmla="*/ 475199 w 647799"/>
                  <a:gd name="connsiteY23" fmla="*/ 80645 h 833089"/>
                  <a:gd name="connsiteX24" fmla="*/ 501312 w 647799"/>
                  <a:gd name="connsiteY24" fmla="*/ 107257 h 833089"/>
                  <a:gd name="connsiteX25" fmla="*/ 527424 w 647799"/>
                  <a:gd name="connsiteY25" fmla="*/ 107674 h 833089"/>
                  <a:gd name="connsiteX26" fmla="*/ 523921 w 647799"/>
                  <a:gd name="connsiteY26" fmla="*/ 59874 h 833089"/>
                  <a:gd name="connsiteX27" fmla="*/ 470778 w 647799"/>
                  <a:gd name="connsiteY27" fmla="*/ 47027 h 833089"/>
                  <a:gd name="connsiteX28" fmla="*/ 454843 w 647799"/>
                  <a:gd name="connsiteY28" fmla="*/ 19582 h 833089"/>
                  <a:gd name="connsiteX29" fmla="*/ 412295 w 647799"/>
                  <a:gd name="connsiteY29" fmla="*/ 15160 h 833089"/>
                  <a:gd name="connsiteX30" fmla="*/ 389269 w 647799"/>
                  <a:gd name="connsiteY30" fmla="*/ 8487 h 833089"/>
                  <a:gd name="connsiteX31" fmla="*/ 352979 w 647799"/>
                  <a:gd name="connsiteY31" fmla="*/ 61 h 833089"/>
                  <a:gd name="connsiteX32" fmla="*/ 329953 w 647799"/>
                  <a:gd name="connsiteY32" fmla="*/ 4065 h 833089"/>
                  <a:gd name="connsiteX33" fmla="*/ 326866 w 647799"/>
                  <a:gd name="connsiteY33" fmla="*/ 4983 h 833089"/>
                  <a:gd name="connsiteX34" fmla="*/ 310932 w 647799"/>
                  <a:gd name="connsiteY34" fmla="*/ 9404 h 833089"/>
                  <a:gd name="connsiteX35" fmla="*/ 290993 w 647799"/>
                  <a:gd name="connsiteY35" fmla="*/ 10739 h 833089"/>
                  <a:gd name="connsiteX36" fmla="*/ 273306 w 647799"/>
                  <a:gd name="connsiteY36" fmla="*/ 5901 h 833089"/>
                  <a:gd name="connsiteX37" fmla="*/ 246693 w 647799"/>
                  <a:gd name="connsiteY37" fmla="*/ 8153 h 833089"/>
                  <a:gd name="connsiteX38" fmla="*/ 238684 w 647799"/>
                  <a:gd name="connsiteY38" fmla="*/ 19248 h 833089"/>
                  <a:gd name="connsiteX39" fmla="*/ 215241 w 647799"/>
                  <a:gd name="connsiteY39" fmla="*/ 40103 h 833089"/>
                  <a:gd name="connsiteX40" fmla="*/ 211237 w 647799"/>
                  <a:gd name="connsiteY40" fmla="*/ 41855 h 833089"/>
                  <a:gd name="connsiteX41" fmla="*/ 178450 w 647799"/>
                  <a:gd name="connsiteY41" fmla="*/ 65296 h 833089"/>
                  <a:gd name="connsiteX42" fmla="*/ 174946 w 647799"/>
                  <a:gd name="connsiteY42" fmla="*/ 105588 h 833089"/>
                  <a:gd name="connsiteX43" fmla="*/ 176281 w 647799"/>
                  <a:gd name="connsiteY43" fmla="*/ 121939 h 833089"/>
                  <a:gd name="connsiteX44" fmla="*/ 159011 w 647799"/>
                  <a:gd name="connsiteY44" fmla="*/ 185255 h 833089"/>
                  <a:gd name="connsiteX45" fmla="*/ 85930 w 647799"/>
                  <a:gd name="connsiteY45" fmla="*/ 231303 h 833089"/>
                  <a:gd name="connsiteX46" fmla="*/ 71747 w 647799"/>
                  <a:gd name="connsiteY46" fmla="*/ 232220 h 833089"/>
                  <a:gd name="connsiteX47" fmla="*/ 5339 w 647799"/>
                  <a:gd name="connsiteY47" fmla="*/ 257914 h 833089"/>
                  <a:gd name="connsiteX48" fmla="*/ 0 w 647799"/>
                  <a:gd name="connsiteY48" fmla="*/ 266757 h 833089"/>
                  <a:gd name="connsiteX49" fmla="*/ 12431 w 647799"/>
                  <a:gd name="connsiteY49" fmla="*/ 279186 h 833089"/>
                  <a:gd name="connsiteX50" fmla="*/ 38543 w 647799"/>
                  <a:gd name="connsiteY50" fmla="*/ 330573 h 833089"/>
                  <a:gd name="connsiteX51" fmla="*/ 68243 w 647799"/>
                  <a:gd name="connsiteY51" fmla="*/ 336329 h 833089"/>
                  <a:gd name="connsiteX52" fmla="*/ 72248 w 647799"/>
                  <a:gd name="connsiteY52" fmla="*/ 377122 h 833089"/>
                  <a:gd name="connsiteX53" fmla="*/ 72665 w 647799"/>
                  <a:gd name="connsiteY53" fmla="*/ 381960 h 833089"/>
                  <a:gd name="connsiteX54" fmla="*/ 68243 w 647799"/>
                  <a:gd name="connsiteY54" fmla="*/ 404567 h 833089"/>
                  <a:gd name="connsiteX55" fmla="*/ 68660 w 647799"/>
                  <a:gd name="connsiteY55" fmla="*/ 419166 h 833089"/>
                  <a:gd name="connsiteX56" fmla="*/ 115629 w 647799"/>
                  <a:gd name="connsiteY56" fmla="*/ 420918 h 833089"/>
                  <a:gd name="connsiteX57" fmla="*/ 133817 w 647799"/>
                  <a:gd name="connsiteY57" fmla="*/ 415162 h 833089"/>
                  <a:gd name="connsiteX58" fmla="*/ 145747 w 647799"/>
                  <a:gd name="connsiteY58" fmla="*/ 445277 h 833089"/>
                  <a:gd name="connsiteX59" fmla="*/ 147999 w 647799"/>
                  <a:gd name="connsiteY59" fmla="*/ 460793 h 833089"/>
                  <a:gd name="connsiteX60" fmla="*/ 157343 w 647799"/>
                  <a:gd name="connsiteY60" fmla="*/ 414244 h 833089"/>
                  <a:gd name="connsiteX61" fmla="*/ 195886 w 647799"/>
                  <a:gd name="connsiteY61" fmla="*/ 383212 h 833089"/>
                  <a:gd name="connsiteX62" fmla="*/ 185291 w 647799"/>
                  <a:gd name="connsiteY62" fmla="*/ 412409 h 833089"/>
                  <a:gd name="connsiteX63" fmla="*/ 180869 w 647799"/>
                  <a:gd name="connsiteY63" fmla="*/ 454453 h 833089"/>
                  <a:gd name="connsiteX64" fmla="*/ 197722 w 647799"/>
                  <a:gd name="connsiteY64" fmla="*/ 484150 h 833089"/>
                  <a:gd name="connsiteX65" fmla="*/ 203895 w 647799"/>
                  <a:gd name="connsiteY65" fmla="*/ 506257 h 833089"/>
                  <a:gd name="connsiteX66" fmla="*/ 213656 w 647799"/>
                  <a:gd name="connsiteY66" fmla="*/ 521356 h 833089"/>
                  <a:gd name="connsiteX67" fmla="*/ 202143 w 647799"/>
                  <a:gd name="connsiteY67" fmla="*/ 539041 h 833089"/>
                  <a:gd name="connsiteX68" fmla="*/ 216326 w 647799"/>
                  <a:gd name="connsiteY68" fmla="*/ 550136 h 833089"/>
                  <a:gd name="connsiteX69" fmla="*/ 229591 w 647799"/>
                  <a:gd name="connsiteY69" fmla="*/ 570074 h 833089"/>
                  <a:gd name="connsiteX70" fmla="*/ 234012 w 647799"/>
                  <a:gd name="connsiteY70" fmla="*/ 607696 h 833089"/>
                  <a:gd name="connsiteX71" fmla="*/ 263712 w 647799"/>
                  <a:gd name="connsiteY71" fmla="*/ 654245 h 833089"/>
                  <a:gd name="connsiteX72" fmla="*/ 293412 w 647799"/>
                  <a:gd name="connsiteY72" fmla="*/ 694120 h 833089"/>
                  <a:gd name="connsiteX73" fmla="*/ 309347 w 647799"/>
                  <a:gd name="connsiteY73" fmla="*/ 741503 h 833089"/>
                  <a:gd name="connsiteX74" fmla="*/ 371833 w 647799"/>
                  <a:gd name="connsiteY74" fmla="*/ 802650 h 833089"/>
                  <a:gd name="connsiteX75" fmla="*/ 384681 w 647799"/>
                  <a:gd name="connsiteY75" fmla="*/ 810658 h 833089"/>
                  <a:gd name="connsiteX76" fmla="*/ 393524 w 647799"/>
                  <a:gd name="connsiteY76" fmla="*/ 821253 h 833089"/>
                  <a:gd name="connsiteX77" fmla="*/ 409459 w 647799"/>
                  <a:gd name="connsiteY77" fmla="*/ 820335 h 833089"/>
                  <a:gd name="connsiteX78" fmla="*/ 434737 w 647799"/>
                  <a:gd name="connsiteY78" fmla="*/ 828344 h 833089"/>
                  <a:gd name="connsiteX79" fmla="*/ 479955 w 647799"/>
                  <a:gd name="connsiteY79" fmla="*/ 832348 h 833089"/>
                  <a:gd name="connsiteX80" fmla="*/ 530428 w 647799"/>
                  <a:gd name="connsiteY80" fmla="*/ 816831 h 833089"/>
                  <a:gd name="connsiteX81" fmla="*/ 574310 w 647799"/>
                  <a:gd name="connsiteY81" fmla="*/ 808406 h 833089"/>
                  <a:gd name="connsiteX82" fmla="*/ 589828 w 647799"/>
                  <a:gd name="connsiteY82" fmla="*/ 793807 h 833089"/>
                  <a:gd name="connsiteX83" fmla="*/ 608849 w 647799"/>
                  <a:gd name="connsiteY83" fmla="*/ 780961 h 833089"/>
                  <a:gd name="connsiteX84" fmla="*/ 607514 w 647799"/>
                  <a:gd name="connsiteY84" fmla="*/ 751763 h 833089"/>
                  <a:gd name="connsiteX85" fmla="*/ 618610 w 647799"/>
                  <a:gd name="connsiteY85" fmla="*/ 739334 h 833089"/>
                  <a:gd name="connsiteX86" fmla="*/ 632793 w 647799"/>
                  <a:gd name="connsiteY86" fmla="*/ 713223 h 833089"/>
                  <a:gd name="connsiteX87" fmla="*/ 647392 w 647799"/>
                  <a:gd name="connsiteY87" fmla="*/ 680773 h 833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47799" h="833089" extrusionOk="0">
                    <a:moveTo>
                      <a:pt x="647392" y="680773"/>
                    </a:moveTo>
                    <a:cubicBezTo>
                      <a:pt x="645140" y="664839"/>
                      <a:pt x="631041" y="656831"/>
                      <a:pt x="631041" y="639563"/>
                    </a:cubicBezTo>
                    <a:cubicBezTo>
                      <a:pt x="631458" y="627133"/>
                      <a:pt x="645223" y="605861"/>
                      <a:pt x="640801" y="594349"/>
                    </a:cubicBezTo>
                    <a:cubicBezTo>
                      <a:pt x="637298" y="584589"/>
                      <a:pt x="623532" y="584172"/>
                      <a:pt x="618693" y="574412"/>
                    </a:cubicBezTo>
                    <a:cubicBezTo>
                      <a:pt x="612937" y="562899"/>
                      <a:pt x="618276" y="547800"/>
                      <a:pt x="617776" y="535454"/>
                    </a:cubicBezTo>
                    <a:cubicBezTo>
                      <a:pt x="617359" y="519104"/>
                      <a:pt x="606680" y="509344"/>
                      <a:pt x="602258" y="494661"/>
                    </a:cubicBezTo>
                    <a:cubicBezTo>
                      <a:pt x="591663" y="458374"/>
                      <a:pt x="605762" y="414911"/>
                      <a:pt x="601341" y="377706"/>
                    </a:cubicBezTo>
                    <a:cubicBezTo>
                      <a:pt x="599088" y="360855"/>
                      <a:pt x="591997" y="347174"/>
                      <a:pt x="586741" y="331658"/>
                    </a:cubicBezTo>
                    <a:cubicBezTo>
                      <a:pt x="580567" y="313973"/>
                      <a:pt x="587158" y="294035"/>
                      <a:pt x="580567" y="276767"/>
                    </a:cubicBezTo>
                    <a:cubicBezTo>
                      <a:pt x="574811" y="262586"/>
                      <a:pt x="565467" y="263003"/>
                      <a:pt x="554455" y="255495"/>
                    </a:cubicBezTo>
                    <a:cubicBezTo>
                      <a:pt x="542024" y="246652"/>
                      <a:pt x="540272" y="232054"/>
                      <a:pt x="534516" y="218706"/>
                    </a:cubicBezTo>
                    <a:cubicBezTo>
                      <a:pt x="528759" y="205359"/>
                      <a:pt x="521668" y="197851"/>
                      <a:pt x="511073" y="188175"/>
                    </a:cubicBezTo>
                    <a:cubicBezTo>
                      <a:pt x="506651" y="184671"/>
                      <a:pt x="500478" y="180166"/>
                      <a:pt x="499977" y="173576"/>
                    </a:cubicBezTo>
                    <a:cubicBezTo>
                      <a:pt x="499560" y="166902"/>
                      <a:pt x="505733" y="164233"/>
                      <a:pt x="506151" y="158977"/>
                    </a:cubicBezTo>
                    <a:cubicBezTo>
                      <a:pt x="506151" y="154973"/>
                      <a:pt x="506151" y="150552"/>
                      <a:pt x="501729" y="148383"/>
                    </a:cubicBezTo>
                    <a:cubicBezTo>
                      <a:pt x="499977" y="147465"/>
                      <a:pt x="498225" y="147048"/>
                      <a:pt x="495973" y="146631"/>
                    </a:cubicBezTo>
                    <a:cubicBezTo>
                      <a:pt x="492886" y="145713"/>
                      <a:pt x="490633" y="144879"/>
                      <a:pt x="487546" y="144379"/>
                    </a:cubicBezTo>
                    <a:cubicBezTo>
                      <a:pt x="487129" y="144379"/>
                      <a:pt x="486629" y="144379"/>
                      <a:pt x="486212" y="143962"/>
                    </a:cubicBezTo>
                    <a:cubicBezTo>
                      <a:pt x="484877" y="143962"/>
                      <a:pt x="483542" y="143545"/>
                      <a:pt x="482708" y="142627"/>
                    </a:cubicBezTo>
                    <a:cubicBezTo>
                      <a:pt x="481790" y="142210"/>
                      <a:pt x="480956" y="140375"/>
                      <a:pt x="481790" y="139540"/>
                    </a:cubicBezTo>
                    <a:cubicBezTo>
                      <a:pt x="482207" y="139123"/>
                      <a:pt x="482708" y="138623"/>
                      <a:pt x="483125" y="138206"/>
                    </a:cubicBezTo>
                    <a:cubicBezTo>
                      <a:pt x="484877" y="136871"/>
                      <a:pt x="487129" y="135536"/>
                      <a:pt x="489298" y="134702"/>
                    </a:cubicBezTo>
                    <a:cubicBezTo>
                      <a:pt x="490216" y="133784"/>
                      <a:pt x="490633" y="133367"/>
                      <a:pt x="491551" y="132450"/>
                    </a:cubicBezTo>
                    <a:cubicBezTo>
                      <a:pt x="507903" y="111595"/>
                      <a:pt x="472029" y="97913"/>
                      <a:pt x="475199" y="80645"/>
                    </a:cubicBezTo>
                    <a:cubicBezTo>
                      <a:pt x="479621" y="57621"/>
                      <a:pt x="498642" y="104087"/>
                      <a:pt x="501312" y="107257"/>
                    </a:cubicBezTo>
                    <a:cubicBezTo>
                      <a:pt x="508820" y="116600"/>
                      <a:pt x="519499" y="117434"/>
                      <a:pt x="527424" y="107674"/>
                    </a:cubicBezTo>
                    <a:cubicBezTo>
                      <a:pt x="537185" y="96162"/>
                      <a:pt x="527842" y="72720"/>
                      <a:pt x="523921" y="59874"/>
                    </a:cubicBezTo>
                    <a:cubicBezTo>
                      <a:pt x="513742" y="27507"/>
                      <a:pt x="492469" y="52366"/>
                      <a:pt x="470778" y="47027"/>
                    </a:cubicBezTo>
                    <a:cubicBezTo>
                      <a:pt x="457930" y="43523"/>
                      <a:pt x="457513" y="30677"/>
                      <a:pt x="454843" y="19582"/>
                    </a:cubicBezTo>
                    <a:cubicBezTo>
                      <a:pt x="440661" y="19165"/>
                      <a:pt x="426478" y="18247"/>
                      <a:pt x="412295" y="15160"/>
                    </a:cubicBezTo>
                    <a:cubicBezTo>
                      <a:pt x="404286" y="13409"/>
                      <a:pt x="396361" y="11156"/>
                      <a:pt x="389269" y="8487"/>
                    </a:cubicBezTo>
                    <a:cubicBezTo>
                      <a:pt x="376839" y="4065"/>
                      <a:pt x="365326" y="478"/>
                      <a:pt x="352979" y="61"/>
                    </a:cubicBezTo>
                    <a:cubicBezTo>
                      <a:pt x="344970" y="-356"/>
                      <a:pt x="337879" y="1396"/>
                      <a:pt x="329953" y="4065"/>
                    </a:cubicBezTo>
                    <a:cubicBezTo>
                      <a:pt x="329035" y="4065"/>
                      <a:pt x="327701" y="4482"/>
                      <a:pt x="326866" y="4983"/>
                    </a:cubicBezTo>
                    <a:cubicBezTo>
                      <a:pt x="321527" y="6735"/>
                      <a:pt x="316271" y="8487"/>
                      <a:pt x="310932" y="9404"/>
                    </a:cubicBezTo>
                    <a:cubicBezTo>
                      <a:pt x="304758" y="11156"/>
                      <a:pt x="298084" y="11657"/>
                      <a:pt x="290993" y="10739"/>
                    </a:cubicBezTo>
                    <a:cubicBezTo>
                      <a:pt x="284319" y="9821"/>
                      <a:pt x="278562" y="8070"/>
                      <a:pt x="273306" y="5901"/>
                    </a:cubicBezTo>
                    <a:cubicBezTo>
                      <a:pt x="260876" y="1479"/>
                      <a:pt x="254285" y="-272"/>
                      <a:pt x="246693" y="8153"/>
                    </a:cubicBezTo>
                    <a:cubicBezTo>
                      <a:pt x="243189" y="12157"/>
                      <a:pt x="240937" y="15661"/>
                      <a:pt x="238684" y="19248"/>
                    </a:cubicBezTo>
                    <a:cubicBezTo>
                      <a:pt x="233845" y="26756"/>
                      <a:pt x="229841" y="33847"/>
                      <a:pt x="215241" y="40103"/>
                    </a:cubicBezTo>
                    <a:lnTo>
                      <a:pt x="211237" y="41855"/>
                    </a:lnTo>
                    <a:cubicBezTo>
                      <a:pt x="197054" y="47611"/>
                      <a:pt x="185541" y="52032"/>
                      <a:pt x="178450" y="65296"/>
                    </a:cubicBezTo>
                    <a:cubicBezTo>
                      <a:pt x="171359" y="78143"/>
                      <a:pt x="172694" y="90990"/>
                      <a:pt x="174946" y="105588"/>
                    </a:cubicBezTo>
                    <a:cubicBezTo>
                      <a:pt x="175363" y="110927"/>
                      <a:pt x="175864" y="116683"/>
                      <a:pt x="176281" y="121939"/>
                    </a:cubicBezTo>
                    <a:cubicBezTo>
                      <a:pt x="177199" y="140958"/>
                      <a:pt x="171442" y="162231"/>
                      <a:pt x="159011" y="185255"/>
                    </a:cubicBezTo>
                    <a:cubicBezTo>
                      <a:pt x="143494" y="213201"/>
                      <a:pt x="119551" y="228216"/>
                      <a:pt x="85930" y="231303"/>
                    </a:cubicBezTo>
                    <a:cubicBezTo>
                      <a:pt x="81508" y="231720"/>
                      <a:pt x="76586" y="231720"/>
                      <a:pt x="71747" y="232220"/>
                    </a:cubicBezTo>
                    <a:cubicBezTo>
                      <a:pt x="44717" y="233972"/>
                      <a:pt x="21274" y="235307"/>
                      <a:pt x="5339" y="257914"/>
                    </a:cubicBezTo>
                    <a:cubicBezTo>
                      <a:pt x="3087" y="260583"/>
                      <a:pt x="1335" y="263670"/>
                      <a:pt x="0" y="266757"/>
                    </a:cubicBezTo>
                    <a:cubicBezTo>
                      <a:pt x="3504" y="270761"/>
                      <a:pt x="8009" y="275182"/>
                      <a:pt x="12431" y="279186"/>
                    </a:cubicBezTo>
                    <a:cubicBezTo>
                      <a:pt x="27030" y="293368"/>
                      <a:pt x="44800" y="310219"/>
                      <a:pt x="38543" y="330573"/>
                    </a:cubicBezTo>
                    <a:cubicBezTo>
                      <a:pt x="50056" y="327487"/>
                      <a:pt x="60651" y="329656"/>
                      <a:pt x="68243" y="336329"/>
                    </a:cubicBezTo>
                    <a:cubicBezTo>
                      <a:pt x="78004" y="345172"/>
                      <a:pt x="79339" y="360271"/>
                      <a:pt x="72248" y="377122"/>
                    </a:cubicBezTo>
                    <a:cubicBezTo>
                      <a:pt x="72248" y="378874"/>
                      <a:pt x="72248" y="380626"/>
                      <a:pt x="72665" y="381960"/>
                    </a:cubicBezTo>
                    <a:cubicBezTo>
                      <a:pt x="73082" y="389051"/>
                      <a:pt x="74000" y="397477"/>
                      <a:pt x="68243" y="404567"/>
                    </a:cubicBezTo>
                    <a:cubicBezTo>
                      <a:pt x="65991" y="411241"/>
                      <a:pt x="65991" y="416496"/>
                      <a:pt x="68660" y="419166"/>
                    </a:cubicBezTo>
                    <a:cubicBezTo>
                      <a:pt x="76169" y="428009"/>
                      <a:pt x="103616" y="423170"/>
                      <a:pt x="115629" y="420918"/>
                    </a:cubicBezTo>
                    <a:cubicBezTo>
                      <a:pt x="120468" y="416914"/>
                      <a:pt x="127142" y="412492"/>
                      <a:pt x="133817" y="415162"/>
                    </a:cubicBezTo>
                    <a:cubicBezTo>
                      <a:pt x="142660" y="418248"/>
                      <a:pt x="143995" y="430261"/>
                      <a:pt x="145747" y="445277"/>
                    </a:cubicBezTo>
                    <a:cubicBezTo>
                      <a:pt x="146664" y="450115"/>
                      <a:pt x="147082" y="455871"/>
                      <a:pt x="147999" y="460793"/>
                    </a:cubicBezTo>
                    <a:cubicBezTo>
                      <a:pt x="153339" y="445277"/>
                      <a:pt x="150669" y="429343"/>
                      <a:pt x="157343" y="414244"/>
                    </a:cubicBezTo>
                    <a:cubicBezTo>
                      <a:pt x="161347" y="404484"/>
                      <a:pt x="183956" y="357101"/>
                      <a:pt x="195886" y="383212"/>
                    </a:cubicBezTo>
                    <a:cubicBezTo>
                      <a:pt x="201225" y="394307"/>
                      <a:pt x="190130" y="403566"/>
                      <a:pt x="185291" y="412409"/>
                    </a:cubicBezTo>
                    <a:cubicBezTo>
                      <a:pt x="178200" y="425673"/>
                      <a:pt x="176448" y="439854"/>
                      <a:pt x="180869" y="454453"/>
                    </a:cubicBezTo>
                    <a:cubicBezTo>
                      <a:pt x="184373" y="465965"/>
                      <a:pt x="193300" y="473056"/>
                      <a:pt x="197722" y="484150"/>
                    </a:cubicBezTo>
                    <a:cubicBezTo>
                      <a:pt x="200808" y="491241"/>
                      <a:pt x="199974" y="499667"/>
                      <a:pt x="203895" y="506257"/>
                    </a:cubicBezTo>
                    <a:cubicBezTo>
                      <a:pt x="207399" y="511596"/>
                      <a:pt x="214991" y="513348"/>
                      <a:pt x="213656" y="521356"/>
                    </a:cubicBezTo>
                    <a:cubicBezTo>
                      <a:pt x="212321" y="530199"/>
                      <a:pt x="199473" y="528030"/>
                      <a:pt x="202143" y="539041"/>
                    </a:cubicBezTo>
                    <a:cubicBezTo>
                      <a:pt x="203478" y="543045"/>
                      <a:pt x="213239" y="547467"/>
                      <a:pt x="216326" y="550136"/>
                    </a:cubicBezTo>
                    <a:cubicBezTo>
                      <a:pt x="223000" y="555475"/>
                      <a:pt x="227421" y="561648"/>
                      <a:pt x="229591" y="570074"/>
                    </a:cubicBezTo>
                    <a:cubicBezTo>
                      <a:pt x="232677" y="582503"/>
                      <a:pt x="228673" y="595350"/>
                      <a:pt x="234012" y="607696"/>
                    </a:cubicBezTo>
                    <a:cubicBezTo>
                      <a:pt x="240686" y="623630"/>
                      <a:pt x="253534" y="640063"/>
                      <a:pt x="263712" y="654245"/>
                    </a:cubicBezTo>
                    <a:cubicBezTo>
                      <a:pt x="273056" y="668009"/>
                      <a:pt x="285403" y="679521"/>
                      <a:pt x="293412" y="694120"/>
                    </a:cubicBezTo>
                    <a:cubicBezTo>
                      <a:pt x="302255" y="709219"/>
                      <a:pt x="300503" y="726904"/>
                      <a:pt x="309347" y="741503"/>
                    </a:cubicBezTo>
                    <a:cubicBezTo>
                      <a:pt x="324447" y="767613"/>
                      <a:pt x="345637" y="788468"/>
                      <a:pt x="371833" y="802650"/>
                    </a:cubicBezTo>
                    <a:cubicBezTo>
                      <a:pt x="377590" y="805736"/>
                      <a:pt x="379842" y="805736"/>
                      <a:pt x="384681" y="810658"/>
                    </a:cubicBezTo>
                    <a:cubicBezTo>
                      <a:pt x="388185" y="814162"/>
                      <a:pt x="388686" y="819084"/>
                      <a:pt x="393524" y="821253"/>
                    </a:cubicBezTo>
                    <a:cubicBezTo>
                      <a:pt x="398363" y="823422"/>
                      <a:pt x="404620" y="819918"/>
                      <a:pt x="409459" y="820335"/>
                    </a:cubicBezTo>
                    <a:cubicBezTo>
                      <a:pt x="420054" y="820752"/>
                      <a:pt x="425393" y="824756"/>
                      <a:pt x="434737" y="828344"/>
                    </a:cubicBezTo>
                    <a:cubicBezTo>
                      <a:pt x="448920" y="833682"/>
                      <a:pt x="465271" y="833682"/>
                      <a:pt x="479955" y="832348"/>
                    </a:cubicBezTo>
                    <a:cubicBezTo>
                      <a:pt x="498559" y="831013"/>
                      <a:pt x="512324" y="818583"/>
                      <a:pt x="530428" y="816831"/>
                    </a:cubicBezTo>
                    <a:cubicBezTo>
                      <a:pt x="546779" y="815080"/>
                      <a:pt x="560128" y="819084"/>
                      <a:pt x="574310" y="808406"/>
                    </a:cubicBezTo>
                    <a:cubicBezTo>
                      <a:pt x="580067" y="803985"/>
                      <a:pt x="584488" y="798229"/>
                      <a:pt x="589828" y="793807"/>
                    </a:cubicBezTo>
                    <a:cubicBezTo>
                      <a:pt x="595167" y="788969"/>
                      <a:pt x="604427" y="785799"/>
                      <a:pt x="608849" y="780961"/>
                    </a:cubicBezTo>
                    <a:cubicBezTo>
                      <a:pt x="619945" y="769031"/>
                      <a:pt x="605762" y="763693"/>
                      <a:pt x="607514" y="751763"/>
                    </a:cubicBezTo>
                    <a:cubicBezTo>
                      <a:pt x="608432" y="744256"/>
                      <a:pt x="614188" y="744256"/>
                      <a:pt x="618610" y="739334"/>
                    </a:cubicBezTo>
                    <a:cubicBezTo>
                      <a:pt x="624784" y="731325"/>
                      <a:pt x="627453" y="721649"/>
                      <a:pt x="632793" y="713223"/>
                    </a:cubicBezTo>
                    <a:cubicBezTo>
                      <a:pt x="638966" y="702962"/>
                      <a:pt x="650062" y="694954"/>
                      <a:pt x="647392" y="68077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4322889" name="Полилиния 508"/>
              <p:cNvSpPr/>
              <p:nvPr/>
            </p:nvSpPr>
            <p:spPr bwMode="auto">
              <a:xfrm>
                <a:off x="2275120" y="2598184"/>
                <a:ext cx="548683" cy="771972"/>
              </a:xfrm>
              <a:custGeom>
                <a:avLst/>
                <a:gdLst>
                  <a:gd name="connsiteX0" fmla="*/ 565133 w 616190"/>
                  <a:gd name="connsiteY0" fmla="*/ 586363 h 866951"/>
                  <a:gd name="connsiteX1" fmla="*/ 558960 w 616190"/>
                  <a:gd name="connsiteY1" fmla="*/ 575268 h 866951"/>
                  <a:gd name="connsiteX2" fmla="*/ 540356 w 616190"/>
                  <a:gd name="connsiteY2" fmla="*/ 514621 h 866951"/>
                  <a:gd name="connsiteX3" fmla="*/ 540356 w 616190"/>
                  <a:gd name="connsiteY3" fmla="*/ 513286 h 866951"/>
                  <a:gd name="connsiteX4" fmla="*/ 540773 w 616190"/>
                  <a:gd name="connsiteY4" fmla="*/ 511952 h 866951"/>
                  <a:gd name="connsiteX5" fmla="*/ 547447 w 616190"/>
                  <a:gd name="connsiteY5" fmla="*/ 496435 h 866951"/>
                  <a:gd name="connsiteX6" fmla="*/ 565634 w 616190"/>
                  <a:gd name="connsiteY6" fmla="*/ 410095 h 866951"/>
                  <a:gd name="connsiteX7" fmla="*/ 540356 w 616190"/>
                  <a:gd name="connsiteY7" fmla="*/ 395914 h 866951"/>
                  <a:gd name="connsiteX8" fmla="*/ 531512 w 616190"/>
                  <a:gd name="connsiteY8" fmla="*/ 385736 h 866951"/>
                  <a:gd name="connsiteX9" fmla="*/ 520416 w 616190"/>
                  <a:gd name="connsiteY9" fmla="*/ 357373 h 866951"/>
                  <a:gd name="connsiteX10" fmla="*/ 519999 w 616190"/>
                  <a:gd name="connsiteY10" fmla="*/ 344944 h 866951"/>
                  <a:gd name="connsiteX11" fmla="*/ 511573 w 616190"/>
                  <a:gd name="connsiteY11" fmla="*/ 335601 h 866951"/>
                  <a:gd name="connsiteX12" fmla="*/ 494304 w 616190"/>
                  <a:gd name="connsiteY12" fmla="*/ 297978 h 866951"/>
                  <a:gd name="connsiteX13" fmla="*/ 507152 w 616190"/>
                  <a:gd name="connsiteY13" fmla="*/ 271867 h 866951"/>
                  <a:gd name="connsiteX14" fmla="*/ 538604 w 616190"/>
                  <a:gd name="connsiteY14" fmla="*/ 261690 h 866951"/>
                  <a:gd name="connsiteX15" fmla="*/ 557208 w 616190"/>
                  <a:gd name="connsiteY15" fmla="*/ 245340 h 866951"/>
                  <a:gd name="connsiteX16" fmla="*/ 551034 w 616190"/>
                  <a:gd name="connsiteY16" fmla="*/ 219646 h 866951"/>
                  <a:gd name="connsiteX17" fmla="*/ 546195 w 616190"/>
                  <a:gd name="connsiteY17" fmla="*/ 193035 h 866951"/>
                  <a:gd name="connsiteX18" fmla="*/ 573226 w 616190"/>
                  <a:gd name="connsiteY18" fmla="*/ 179771 h 866951"/>
                  <a:gd name="connsiteX19" fmla="*/ 582069 w 616190"/>
                  <a:gd name="connsiteY19" fmla="*/ 167341 h 866951"/>
                  <a:gd name="connsiteX20" fmla="*/ 610851 w 616190"/>
                  <a:gd name="connsiteY20" fmla="*/ 144317 h 866951"/>
                  <a:gd name="connsiteX21" fmla="*/ 616190 w 616190"/>
                  <a:gd name="connsiteY21" fmla="*/ 142566 h 866951"/>
                  <a:gd name="connsiteX22" fmla="*/ 587825 w 616190"/>
                  <a:gd name="connsiteY22" fmla="*/ 98269 h 866951"/>
                  <a:gd name="connsiteX23" fmla="*/ 559877 w 616190"/>
                  <a:gd name="connsiteY23" fmla="*/ 54891 h 866951"/>
                  <a:gd name="connsiteX24" fmla="*/ 559460 w 616190"/>
                  <a:gd name="connsiteY24" fmla="*/ 54474 h 866951"/>
                  <a:gd name="connsiteX25" fmla="*/ 555039 w 616190"/>
                  <a:gd name="connsiteY25" fmla="*/ 23942 h 866951"/>
                  <a:gd name="connsiteX26" fmla="*/ 552786 w 616190"/>
                  <a:gd name="connsiteY26" fmla="*/ 0 h 866951"/>
                  <a:gd name="connsiteX27" fmla="*/ 534182 w 616190"/>
                  <a:gd name="connsiteY27" fmla="*/ 16851 h 866951"/>
                  <a:gd name="connsiteX28" fmla="*/ 524004 w 616190"/>
                  <a:gd name="connsiteY28" fmla="*/ 27946 h 866951"/>
                  <a:gd name="connsiteX29" fmla="*/ 500060 w 616190"/>
                  <a:gd name="connsiteY29" fmla="*/ 42544 h 866951"/>
                  <a:gd name="connsiteX30" fmla="*/ 476617 w 616190"/>
                  <a:gd name="connsiteY30" fmla="*/ 65568 h 866951"/>
                  <a:gd name="connsiteX31" fmla="*/ 476200 w 616190"/>
                  <a:gd name="connsiteY31" fmla="*/ 77498 h 866951"/>
                  <a:gd name="connsiteX32" fmla="*/ 462018 w 616190"/>
                  <a:gd name="connsiteY32" fmla="*/ 113785 h 866951"/>
                  <a:gd name="connsiteX33" fmla="*/ 448252 w 616190"/>
                  <a:gd name="connsiteY33" fmla="*/ 120876 h 866951"/>
                  <a:gd name="connsiteX34" fmla="*/ 432735 w 616190"/>
                  <a:gd name="connsiteY34" fmla="*/ 132805 h 866951"/>
                  <a:gd name="connsiteX35" fmla="*/ 431400 w 616190"/>
                  <a:gd name="connsiteY35" fmla="*/ 154912 h 866951"/>
                  <a:gd name="connsiteX36" fmla="*/ 419470 w 616190"/>
                  <a:gd name="connsiteY36" fmla="*/ 194787 h 866951"/>
                  <a:gd name="connsiteX37" fmla="*/ 377423 w 616190"/>
                  <a:gd name="connsiteY37" fmla="*/ 204547 h 866951"/>
                  <a:gd name="connsiteX38" fmla="*/ 339797 w 616190"/>
                  <a:gd name="connsiteY38" fmla="*/ 215642 h 866951"/>
                  <a:gd name="connsiteX39" fmla="*/ 335376 w 616190"/>
                  <a:gd name="connsiteY39" fmla="*/ 270533 h 866951"/>
                  <a:gd name="connsiteX40" fmla="*/ 337128 w 616190"/>
                  <a:gd name="connsiteY40" fmla="*/ 307321 h 866951"/>
                  <a:gd name="connsiteX41" fmla="*/ 335793 w 616190"/>
                  <a:gd name="connsiteY41" fmla="*/ 321085 h 866951"/>
                  <a:gd name="connsiteX42" fmla="*/ 296833 w 616190"/>
                  <a:gd name="connsiteY42" fmla="*/ 396831 h 866951"/>
                  <a:gd name="connsiteX43" fmla="*/ 209151 w 616190"/>
                  <a:gd name="connsiteY43" fmla="*/ 415017 h 866951"/>
                  <a:gd name="connsiteX44" fmla="*/ 202477 w 616190"/>
                  <a:gd name="connsiteY44" fmla="*/ 415935 h 866951"/>
                  <a:gd name="connsiteX45" fmla="*/ 0 w 616190"/>
                  <a:gd name="connsiteY45" fmla="*/ 424777 h 866951"/>
                  <a:gd name="connsiteX46" fmla="*/ 11930 w 616190"/>
                  <a:gd name="connsiteY46" fmla="*/ 448218 h 866951"/>
                  <a:gd name="connsiteX47" fmla="*/ 28782 w 616190"/>
                  <a:gd name="connsiteY47" fmla="*/ 481920 h 866951"/>
                  <a:gd name="connsiteX48" fmla="*/ 65073 w 616190"/>
                  <a:gd name="connsiteY48" fmla="*/ 575852 h 866951"/>
                  <a:gd name="connsiteX49" fmla="*/ 67743 w 616190"/>
                  <a:gd name="connsiteY49" fmla="*/ 582943 h 866951"/>
                  <a:gd name="connsiteX50" fmla="*/ 75751 w 616190"/>
                  <a:gd name="connsiteY50" fmla="*/ 606884 h 866951"/>
                  <a:gd name="connsiteX51" fmla="*/ 106786 w 616190"/>
                  <a:gd name="connsiteY51" fmla="*/ 679960 h 866951"/>
                  <a:gd name="connsiteX52" fmla="*/ 129395 w 616190"/>
                  <a:gd name="connsiteY52" fmla="*/ 706071 h 866951"/>
                  <a:gd name="connsiteX53" fmla="*/ 153755 w 616190"/>
                  <a:gd name="connsiteY53" fmla="*/ 702067 h 866951"/>
                  <a:gd name="connsiteX54" fmla="*/ 179034 w 616190"/>
                  <a:gd name="connsiteY54" fmla="*/ 695894 h 866951"/>
                  <a:gd name="connsiteX55" fmla="*/ 196720 w 616190"/>
                  <a:gd name="connsiteY55" fmla="*/ 713162 h 866951"/>
                  <a:gd name="connsiteX56" fmla="*/ 199390 w 616190"/>
                  <a:gd name="connsiteY56" fmla="*/ 718000 h 866951"/>
                  <a:gd name="connsiteX57" fmla="*/ 201643 w 616190"/>
                  <a:gd name="connsiteY57" fmla="*/ 718000 h 866951"/>
                  <a:gd name="connsiteX58" fmla="*/ 204729 w 616190"/>
                  <a:gd name="connsiteY58" fmla="*/ 702484 h 866951"/>
                  <a:gd name="connsiteX59" fmla="*/ 205147 w 616190"/>
                  <a:gd name="connsiteY59" fmla="*/ 698980 h 866951"/>
                  <a:gd name="connsiteX60" fmla="*/ 213990 w 616190"/>
                  <a:gd name="connsiteY60" fmla="*/ 683881 h 866951"/>
                  <a:gd name="connsiteX61" fmla="*/ 232594 w 616190"/>
                  <a:gd name="connsiteY61" fmla="*/ 686134 h 866951"/>
                  <a:gd name="connsiteX62" fmla="*/ 262294 w 616190"/>
                  <a:gd name="connsiteY62" fmla="*/ 713579 h 866951"/>
                  <a:gd name="connsiteX63" fmla="*/ 267133 w 616190"/>
                  <a:gd name="connsiteY63" fmla="*/ 723756 h 866951"/>
                  <a:gd name="connsiteX64" fmla="*/ 279563 w 616190"/>
                  <a:gd name="connsiteY64" fmla="*/ 731765 h 866951"/>
                  <a:gd name="connsiteX65" fmla="*/ 311933 w 616190"/>
                  <a:gd name="connsiteY65" fmla="*/ 758793 h 866951"/>
                  <a:gd name="connsiteX66" fmla="*/ 314602 w 616190"/>
                  <a:gd name="connsiteY66" fmla="*/ 766301 h 866951"/>
                  <a:gd name="connsiteX67" fmla="*/ 327450 w 616190"/>
                  <a:gd name="connsiteY67" fmla="*/ 789325 h 866951"/>
                  <a:gd name="connsiteX68" fmla="*/ 335876 w 616190"/>
                  <a:gd name="connsiteY68" fmla="*/ 798668 h 866951"/>
                  <a:gd name="connsiteX69" fmla="*/ 336794 w 616190"/>
                  <a:gd name="connsiteY69" fmla="*/ 798668 h 866951"/>
                  <a:gd name="connsiteX70" fmla="*/ 362072 w 616190"/>
                  <a:gd name="connsiteY70" fmla="*/ 802172 h 866951"/>
                  <a:gd name="connsiteX71" fmla="*/ 371833 w 616190"/>
                  <a:gd name="connsiteY71" fmla="*/ 804424 h 866951"/>
                  <a:gd name="connsiteX72" fmla="*/ 397112 w 616190"/>
                  <a:gd name="connsiteY72" fmla="*/ 807093 h 866951"/>
                  <a:gd name="connsiteX73" fmla="*/ 415716 w 616190"/>
                  <a:gd name="connsiteY73" fmla="*/ 808428 h 866951"/>
                  <a:gd name="connsiteX74" fmla="*/ 452924 w 616190"/>
                  <a:gd name="connsiteY74" fmla="*/ 823527 h 866951"/>
                  <a:gd name="connsiteX75" fmla="*/ 462268 w 616190"/>
                  <a:gd name="connsiteY75" fmla="*/ 842547 h 866951"/>
                  <a:gd name="connsiteX76" fmla="*/ 467107 w 616190"/>
                  <a:gd name="connsiteY76" fmla="*/ 854977 h 866951"/>
                  <a:gd name="connsiteX77" fmla="*/ 491467 w 616190"/>
                  <a:gd name="connsiteY77" fmla="*/ 866906 h 866951"/>
                  <a:gd name="connsiteX78" fmla="*/ 491467 w 616190"/>
                  <a:gd name="connsiteY78" fmla="*/ 866489 h 866951"/>
                  <a:gd name="connsiteX79" fmla="*/ 510072 w 616190"/>
                  <a:gd name="connsiteY79" fmla="*/ 861150 h 866951"/>
                  <a:gd name="connsiteX80" fmla="*/ 510072 w 616190"/>
                  <a:gd name="connsiteY80" fmla="*/ 861567 h 866951"/>
                  <a:gd name="connsiteX81" fmla="*/ 514493 w 616190"/>
                  <a:gd name="connsiteY81" fmla="*/ 858897 h 866951"/>
                  <a:gd name="connsiteX82" fmla="*/ 525589 w 616190"/>
                  <a:gd name="connsiteY82" fmla="*/ 850889 h 866951"/>
                  <a:gd name="connsiteX83" fmla="*/ 547697 w 616190"/>
                  <a:gd name="connsiteY83" fmla="*/ 823444 h 866951"/>
                  <a:gd name="connsiteX84" fmla="*/ 548114 w 616190"/>
                  <a:gd name="connsiteY84" fmla="*/ 807511 h 866951"/>
                  <a:gd name="connsiteX85" fmla="*/ 562714 w 616190"/>
                  <a:gd name="connsiteY85" fmla="*/ 760128 h 866951"/>
                  <a:gd name="connsiteX86" fmla="*/ 573810 w 616190"/>
                  <a:gd name="connsiteY86" fmla="*/ 751285 h 866951"/>
                  <a:gd name="connsiteX87" fmla="*/ 593749 w 616190"/>
                  <a:gd name="connsiteY87" fmla="*/ 730430 h 866951"/>
                  <a:gd name="connsiteX88" fmla="*/ 589327 w 616190"/>
                  <a:gd name="connsiteY88" fmla="*/ 721087 h 866951"/>
                  <a:gd name="connsiteX89" fmla="*/ 581318 w 616190"/>
                  <a:gd name="connsiteY89" fmla="*/ 714413 h 866951"/>
                  <a:gd name="connsiteX90" fmla="*/ 566718 w 616190"/>
                  <a:gd name="connsiteY90" fmla="*/ 698480 h 866951"/>
                  <a:gd name="connsiteX91" fmla="*/ 561880 w 616190"/>
                  <a:gd name="connsiteY91" fmla="*/ 667948 h 866951"/>
                  <a:gd name="connsiteX92" fmla="*/ 576980 w 616190"/>
                  <a:gd name="connsiteY92" fmla="*/ 621399 h 866951"/>
                  <a:gd name="connsiteX93" fmla="*/ 588076 w 616190"/>
                  <a:gd name="connsiteY93" fmla="*/ 611639 h 866951"/>
                  <a:gd name="connsiteX94" fmla="*/ 594750 w 616190"/>
                  <a:gd name="connsiteY94" fmla="*/ 605883 h 866951"/>
                  <a:gd name="connsiteX95" fmla="*/ 595668 w 616190"/>
                  <a:gd name="connsiteY95" fmla="*/ 604966 h 866951"/>
                  <a:gd name="connsiteX96" fmla="*/ 588159 w 616190"/>
                  <a:gd name="connsiteY96" fmla="*/ 606300 h 866951"/>
                  <a:gd name="connsiteX97" fmla="*/ 565133 w 616190"/>
                  <a:gd name="connsiteY97" fmla="*/ 586363 h 86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616190" h="866951" extrusionOk="0">
                    <a:moveTo>
                      <a:pt x="565133" y="586363"/>
                    </a:moveTo>
                    <a:cubicBezTo>
                      <a:pt x="563381" y="581941"/>
                      <a:pt x="561629" y="577937"/>
                      <a:pt x="558960" y="575268"/>
                    </a:cubicBezTo>
                    <a:cubicBezTo>
                      <a:pt x="546112" y="561086"/>
                      <a:pt x="541690" y="534475"/>
                      <a:pt x="540356" y="514621"/>
                    </a:cubicBezTo>
                    <a:lnTo>
                      <a:pt x="540356" y="513286"/>
                    </a:lnTo>
                    <a:lnTo>
                      <a:pt x="540773" y="511952"/>
                    </a:lnTo>
                    <a:cubicBezTo>
                      <a:pt x="542525" y="507113"/>
                      <a:pt x="544777" y="502191"/>
                      <a:pt x="547447" y="496435"/>
                    </a:cubicBezTo>
                    <a:cubicBezTo>
                      <a:pt x="558960" y="469824"/>
                      <a:pt x="574060" y="433536"/>
                      <a:pt x="565634" y="410095"/>
                    </a:cubicBezTo>
                    <a:cubicBezTo>
                      <a:pt x="551869" y="412348"/>
                      <a:pt x="545695" y="403421"/>
                      <a:pt x="540356" y="395914"/>
                    </a:cubicBezTo>
                    <a:cubicBezTo>
                      <a:pt x="537686" y="392410"/>
                      <a:pt x="535016" y="388406"/>
                      <a:pt x="531512" y="385736"/>
                    </a:cubicBezTo>
                    <a:cubicBezTo>
                      <a:pt x="519582" y="379063"/>
                      <a:pt x="519999" y="367134"/>
                      <a:pt x="520416" y="357373"/>
                    </a:cubicBezTo>
                    <a:cubicBezTo>
                      <a:pt x="520416" y="352952"/>
                      <a:pt x="520834" y="348531"/>
                      <a:pt x="519999" y="344944"/>
                    </a:cubicBezTo>
                    <a:cubicBezTo>
                      <a:pt x="517747" y="341857"/>
                      <a:pt x="514660" y="338771"/>
                      <a:pt x="511573" y="335601"/>
                    </a:cubicBezTo>
                    <a:cubicBezTo>
                      <a:pt x="502230" y="325840"/>
                      <a:pt x="491634" y="315246"/>
                      <a:pt x="494304" y="297978"/>
                    </a:cubicBezTo>
                    <a:cubicBezTo>
                      <a:pt x="495222" y="287384"/>
                      <a:pt x="499643" y="278458"/>
                      <a:pt x="507152" y="271867"/>
                    </a:cubicBezTo>
                    <a:cubicBezTo>
                      <a:pt x="515578" y="264777"/>
                      <a:pt x="527091" y="260772"/>
                      <a:pt x="538604" y="261690"/>
                    </a:cubicBezTo>
                    <a:cubicBezTo>
                      <a:pt x="548782" y="256852"/>
                      <a:pt x="555456" y="251513"/>
                      <a:pt x="557208" y="245340"/>
                    </a:cubicBezTo>
                    <a:cubicBezTo>
                      <a:pt x="559877" y="237331"/>
                      <a:pt x="555456" y="228489"/>
                      <a:pt x="551034" y="219646"/>
                    </a:cubicBezTo>
                    <a:cubicBezTo>
                      <a:pt x="546613" y="210804"/>
                      <a:pt x="541690" y="201461"/>
                      <a:pt x="546195" y="193035"/>
                    </a:cubicBezTo>
                    <a:cubicBezTo>
                      <a:pt x="549699" y="186361"/>
                      <a:pt x="558126" y="181940"/>
                      <a:pt x="573226" y="179771"/>
                    </a:cubicBezTo>
                    <a:cubicBezTo>
                      <a:pt x="579399" y="178853"/>
                      <a:pt x="580317" y="176268"/>
                      <a:pt x="582069" y="167341"/>
                    </a:cubicBezTo>
                    <a:cubicBezTo>
                      <a:pt x="583821" y="157581"/>
                      <a:pt x="586491" y="142566"/>
                      <a:pt x="610851" y="144317"/>
                    </a:cubicBezTo>
                    <a:cubicBezTo>
                      <a:pt x="613521" y="143900"/>
                      <a:pt x="614856" y="143400"/>
                      <a:pt x="616190" y="142566"/>
                    </a:cubicBezTo>
                    <a:cubicBezTo>
                      <a:pt x="608182" y="127467"/>
                      <a:pt x="598003" y="112868"/>
                      <a:pt x="587825" y="98269"/>
                    </a:cubicBezTo>
                    <a:cubicBezTo>
                      <a:pt x="578064" y="84088"/>
                      <a:pt x="567886" y="69906"/>
                      <a:pt x="559877" y="54891"/>
                    </a:cubicBezTo>
                    <a:lnTo>
                      <a:pt x="559460" y="54474"/>
                    </a:lnTo>
                    <a:cubicBezTo>
                      <a:pt x="555956" y="45130"/>
                      <a:pt x="555456" y="34536"/>
                      <a:pt x="555039" y="23942"/>
                    </a:cubicBezTo>
                    <a:cubicBezTo>
                      <a:pt x="554621" y="15099"/>
                      <a:pt x="554621" y="7091"/>
                      <a:pt x="552786" y="0"/>
                    </a:cubicBezTo>
                    <a:cubicBezTo>
                      <a:pt x="545278" y="3504"/>
                      <a:pt x="539938" y="9760"/>
                      <a:pt x="534182" y="16851"/>
                    </a:cubicBezTo>
                    <a:cubicBezTo>
                      <a:pt x="531095" y="20355"/>
                      <a:pt x="527508" y="24359"/>
                      <a:pt x="524004" y="27946"/>
                    </a:cubicBezTo>
                    <a:cubicBezTo>
                      <a:pt x="517330" y="34620"/>
                      <a:pt x="508487" y="39041"/>
                      <a:pt x="500060" y="42544"/>
                    </a:cubicBezTo>
                    <a:cubicBezTo>
                      <a:pt x="486295" y="49218"/>
                      <a:pt x="477952" y="53139"/>
                      <a:pt x="476617" y="65568"/>
                    </a:cubicBezTo>
                    <a:cubicBezTo>
                      <a:pt x="475700" y="69573"/>
                      <a:pt x="476200" y="73994"/>
                      <a:pt x="476200" y="77498"/>
                    </a:cubicBezTo>
                    <a:cubicBezTo>
                      <a:pt x="476617" y="89427"/>
                      <a:pt x="476617" y="103191"/>
                      <a:pt x="462018" y="113785"/>
                    </a:cubicBezTo>
                    <a:cubicBezTo>
                      <a:pt x="457596" y="116872"/>
                      <a:pt x="452674" y="119125"/>
                      <a:pt x="448252" y="120876"/>
                    </a:cubicBezTo>
                    <a:cubicBezTo>
                      <a:pt x="440243" y="124380"/>
                      <a:pt x="435405" y="126632"/>
                      <a:pt x="432735" y="132805"/>
                    </a:cubicBezTo>
                    <a:cubicBezTo>
                      <a:pt x="430065" y="138978"/>
                      <a:pt x="430482" y="146987"/>
                      <a:pt x="431400" y="154912"/>
                    </a:cubicBezTo>
                    <a:cubicBezTo>
                      <a:pt x="432735" y="167759"/>
                      <a:pt x="434070" y="183692"/>
                      <a:pt x="419470" y="194787"/>
                    </a:cubicBezTo>
                    <a:cubicBezTo>
                      <a:pt x="406622" y="204547"/>
                      <a:pt x="391105" y="204547"/>
                      <a:pt x="377423" y="204547"/>
                    </a:cubicBezTo>
                    <a:cubicBezTo>
                      <a:pt x="361905" y="204547"/>
                      <a:pt x="348224" y="204547"/>
                      <a:pt x="339797" y="215642"/>
                    </a:cubicBezTo>
                    <a:cubicBezTo>
                      <a:pt x="330454" y="228072"/>
                      <a:pt x="332706" y="249761"/>
                      <a:pt x="335376" y="270533"/>
                    </a:cubicBezTo>
                    <a:cubicBezTo>
                      <a:pt x="337128" y="283797"/>
                      <a:pt x="338463" y="296226"/>
                      <a:pt x="337128" y="307321"/>
                    </a:cubicBezTo>
                    <a:cubicBezTo>
                      <a:pt x="336711" y="312160"/>
                      <a:pt x="336210" y="316664"/>
                      <a:pt x="335793" y="321085"/>
                    </a:cubicBezTo>
                    <a:cubicBezTo>
                      <a:pt x="333123" y="349866"/>
                      <a:pt x="329619" y="381732"/>
                      <a:pt x="296833" y="396831"/>
                    </a:cubicBezTo>
                    <a:cubicBezTo>
                      <a:pt x="268885" y="409261"/>
                      <a:pt x="238350" y="412348"/>
                      <a:pt x="209151" y="415017"/>
                    </a:cubicBezTo>
                    <a:lnTo>
                      <a:pt x="202477" y="415935"/>
                    </a:lnTo>
                    <a:cubicBezTo>
                      <a:pt x="136069" y="422108"/>
                      <a:pt x="67826" y="428781"/>
                      <a:pt x="0" y="424777"/>
                    </a:cubicBezTo>
                    <a:cubicBezTo>
                      <a:pt x="4004" y="432786"/>
                      <a:pt x="8009" y="440293"/>
                      <a:pt x="11930" y="448218"/>
                    </a:cubicBezTo>
                    <a:cubicBezTo>
                      <a:pt x="17686" y="459313"/>
                      <a:pt x="23026" y="469491"/>
                      <a:pt x="28782" y="481920"/>
                    </a:cubicBezTo>
                    <a:cubicBezTo>
                      <a:pt x="42548" y="512452"/>
                      <a:pt x="54060" y="544819"/>
                      <a:pt x="65073" y="575852"/>
                    </a:cubicBezTo>
                    <a:lnTo>
                      <a:pt x="67743" y="582943"/>
                    </a:lnTo>
                    <a:cubicBezTo>
                      <a:pt x="70412" y="590951"/>
                      <a:pt x="73082" y="598876"/>
                      <a:pt x="75751" y="606884"/>
                    </a:cubicBezTo>
                    <a:cubicBezTo>
                      <a:pt x="84178" y="632578"/>
                      <a:pt x="93021" y="658688"/>
                      <a:pt x="106786" y="679960"/>
                    </a:cubicBezTo>
                    <a:cubicBezTo>
                      <a:pt x="115212" y="692807"/>
                      <a:pt x="124973" y="703902"/>
                      <a:pt x="129395" y="706071"/>
                    </a:cubicBezTo>
                    <a:cubicBezTo>
                      <a:pt x="136486" y="709575"/>
                      <a:pt x="144912" y="706071"/>
                      <a:pt x="153755" y="702067"/>
                    </a:cubicBezTo>
                    <a:cubicBezTo>
                      <a:pt x="161765" y="698563"/>
                      <a:pt x="169690" y="694976"/>
                      <a:pt x="179034" y="695894"/>
                    </a:cubicBezTo>
                    <a:cubicBezTo>
                      <a:pt x="191882" y="697229"/>
                      <a:pt x="194968" y="706989"/>
                      <a:pt x="196720" y="713162"/>
                    </a:cubicBezTo>
                    <a:cubicBezTo>
                      <a:pt x="198472" y="717166"/>
                      <a:pt x="198472" y="718000"/>
                      <a:pt x="199390" y="718000"/>
                    </a:cubicBezTo>
                    <a:cubicBezTo>
                      <a:pt x="200725" y="718417"/>
                      <a:pt x="201142" y="718417"/>
                      <a:pt x="201643" y="718000"/>
                    </a:cubicBezTo>
                    <a:cubicBezTo>
                      <a:pt x="204312" y="715748"/>
                      <a:pt x="204729" y="706071"/>
                      <a:pt x="204729" y="702484"/>
                    </a:cubicBezTo>
                    <a:lnTo>
                      <a:pt x="205147" y="698980"/>
                    </a:lnTo>
                    <a:cubicBezTo>
                      <a:pt x="206064" y="689637"/>
                      <a:pt x="210486" y="685717"/>
                      <a:pt x="213990" y="683881"/>
                    </a:cubicBezTo>
                    <a:cubicBezTo>
                      <a:pt x="219329" y="681212"/>
                      <a:pt x="225920" y="682129"/>
                      <a:pt x="232594" y="686134"/>
                    </a:cubicBezTo>
                    <a:cubicBezTo>
                      <a:pt x="243189" y="692807"/>
                      <a:pt x="255203" y="701233"/>
                      <a:pt x="262294" y="713579"/>
                    </a:cubicBezTo>
                    <a:cubicBezTo>
                      <a:pt x="264546" y="717583"/>
                      <a:pt x="265798" y="721087"/>
                      <a:pt x="267133" y="723756"/>
                    </a:cubicBezTo>
                    <a:cubicBezTo>
                      <a:pt x="269802" y="729512"/>
                      <a:pt x="269802" y="729512"/>
                      <a:pt x="279563" y="731765"/>
                    </a:cubicBezTo>
                    <a:cubicBezTo>
                      <a:pt x="297250" y="735769"/>
                      <a:pt x="304842" y="740607"/>
                      <a:pt x="311933" y="758793"/>
                    </a:cubicBezTo>
                    <a:cubicBezTo>
                      <a:pt x="312851" y="761462"/>
                      <a:pt x="313685" y="764132"/>
                      <a:pt x="314602" y="766301"/>
                    </a:cubicBezTo>
                    <a:cubicBezTo>
                      <a:pt x="317689" y="775644"/>
                      <a:pt x="320359" y="781400"/>
                      <a:pt x="327450" y="789325"/>
                    </a:cubicBezTo>
                    <a:cubicBezTo>
                      <a:pt x="330537" y="792411"/>
                      <a:pt x="333207" y="795498"/>
                      <a:pt x="335876" y="798668"/>
                    </a:cubicBezTo>
                    <a:lnTo>
                      <a:pt x="336794" y="798668"/>
                    </a:lnTo>
                    <a:cubicBezTo>
                      <a:pt x="346138" y="797750"/>
                      <a:pt x="354063" y="800003"/>
                      <a:pt x="362072" y="802172"/>
                    </a:cubicBezTo>
                    <a:cubicBezTo>
                      <a:pt x="365576" y="803089"/>
                      <a:pt x="368747" y="803506"/>
                      <a:pt x="371833" y="804424"/>
                    </a:cubicBezTo>
                    <a:cubicBezTo>
                      <a:pt x="380259" y="806176"/>
                      <a:pt x="388185" y="806676"/>
                      <a:pt x="397112" y="807093"/>
                    </a:cubicBezTo>
                    <a:cubicBezTo>
                      <a:pt x="403285" y="807511"/>
                      <a:pt x="409542" y="807511"/>
                      <a:pt x="415716" y="808428"/>
                    </a:cubicBezTo>
                    <a:cubicBezTo>
                      <a:pt x="428564" y="809763"/>
                      <a:pt x="443163" y="812849"/>
                      <a:pt x="452924" y="823527"/>
                    </a:cubicBezTo>
                    <a:cubicBezTo>
                      <a:pt x="458681" y="829700"/>
                      <a:pt x="460433" y="836374"/>
                      <a:pt x="462268" y="842547"/>
                    </a:cubicBezTo>
                    <a:cubicBezTo>
                      <a:pt x="463603" y="847386"/>
                      <a:pt x="464520" y="851390"/>
                      <a:pt x="467107" y="854977"/>
                    </a:cubicBezTo>
                    <a:cubicBezTo>
                      <a:pt x="474198" y="863819"/>
                      <a:pt x="482624" y="867407"/>
                      <a:pt x="491467" y="866906"/>
                    </a:cubicBezTo>
                    <a:lnTo>
                      <a:pt x="491467" y="866489"/>
                    </a:lnTo>
                    <a:cubicBezTo>
                      <a:pt x="498142" y="866489"/>
                      <a:pt x="504315" y="864236"/>
                      <a:pt x="510072" y="861150"/>
                    </a:cubicBezTo>
                    <a:lnTo>
                      <a:pt x="510072" y="861567"/>
                    </a:lnTo>
                    <a:cubicBezTo>
                      <a:pt x="511407" y="861150"/>
                      <a:pt x="513158" y="859815"/>
                      <a:pt x="514493" y="858897"/>
                    </a:cubicBezTo>
                    <a:cubicBezTo>
                      <a:pt x="517997" y="855811"/>
                      <a:pt x="522002" y="853559"/>
                      <a:pt x="525589" y="850889"/>
                    </a:cubicBezTo>
                    <a:cubicBezTo>
                      <a:pt x="537519" y="842881"/>
                      <a:pt x="545945" y="837625"/>
                      <a:pt x="547697" y="823444"/>
                    </a:cubicBezTo>
                    <a:cubicBezTo>
                      <a:pt x="548114" y="818105"/>
                      <a:pt x="548114" y="812849"/>
                      <a:pt x="548114" y="807511"/>
                    </a:cubicBezTo>
                    <a:cubicBezTo>
                      <a:pt x="548114" y="791577"/>
                      <a:pt x="548114" y="773391"/>
                      <a:pt x="562714" y="760128"/>
                    </a:cubicBezTo>
                    <a:cubicBezTo>
                      <a:pt x="565384" y="757458"/>
                      <a:pt x="569388" y="754372"/>
                      <a:pt x="573810" y="751285"/>
                    </a:cubicBezTo>
                    <a:cubicBezTo>
                      <a:pt x="582653" y="745112"/>
                      <a:pt x="593332" y="737521"/>
                      <a:pt x="593749" y="730430"/>
                    </a:cubicBezTo>
                    <a:cubicBezTo>
                      <a:pt x="593749" y="729512"/>
                      <a:pt x="594166" y="726426"/>
                      <a:pt x="589327" y="721087"/>
                    </a:cubicBezTo>
                    <a:cubicBezTo>
                      <a:pt x="586657" y="718417"/>
                      <a:pt x="583988" y="716665"/>
                      <a:pt x="581318" y="714413"/>
                    </a:cubicBezTo>
                    <a:cubicBezTo>
                      <a:pt x="576479" y="710910"/>
                      <a:pt x="570723" y="706905"/>
                      <a:pt x="566718" y="698480"/>
                    </a:cubicBezTo>
                    <a:cubicBezTo>
                      <a:pt x="562714" y="690472"/>
                      <a:pt x="560962" y="680795"/>
                      <a:pt x="561880" y="667948"/>
                    </a:cubicBezTo>
                    <a:cubicBezTo>
                      <a:pt x="562797" y="650680"/>
                      <a:pt x="568554" y="633412"/>
                      <a:pt x="576980" y="621399"/>
                    </a:cubicBezTo>
                    <a:cubicBezTo>
                      <a:pt x="580067" y="616978"/>
                      <a:pt x="584488" y="614309"/>
                      <a:pt x="588076" y="611639"/>
                    </a:cubicBezTo>
                    <a:cubicBezTo>
                      <a:pt x="590328" y="609387"/>
                      <a:pt x="592914" y="608136"/>
                      <a:pt x="594750" y="605883"/>
                    </a:cubicBezTo>
                    <a:cubicBezTo>
                      <a:pt x="594750" y="605466"/>
                      <a:pt x="595167" y="604966"/>
                      <a:pt x="595668" y="604966"/>
                    </a:cubicBezTo>
                    <a:cubicBezTo>
                      <a:pt x="592998" y="605883"/>
                      <a:pt x="590328" y="606300"/>
                      <a:pt x="588159" y="606300"/>
                    </a:cubicBezTo>
                    <a:cubicBezTo>
                      <a:pt x="573977" y="605800"/>
                      <a:pt x="568637" y="594288"/>
                      <a:pt x="565133" y="58636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39004208" name="Полилиния 509"/>
              <p:cNvSpPr/>
              <p:nvPr/>
            </p:nvSpPr>
            <p:spPr bwMode="auto">
              <a:xfrm>
                <a:off x="2723873" y="2462398"/>
                <a:ext cx="300276" cy="666771"/>
              </a:xfrm>
              <a:custGeom>
                <a:avLst/>
                <a:gdLst>
                  <a:gd name="connsiteX0" fmla="*/ 313702 w 337221"/>
                  <a:gd name="connsiteY0" fmla="*/ 244923 h 748807"/>
                  <a:gd name="connsiteX1" fmla="*/ 312368 w 337221"/>
                  <a:gd name="connsiteY1" fmla="*/ 241419 h 748807"/>
                  <a:gd name="connsiteX2" fmla="*/ 324798 w 337221"/>
                  <a:gd name="connsiteY2" fmla="*/ 240084 h 748807"/>
                  <a:gd name="connsiteX3" fmla="*/ 332807 w 337221"/>
                  <a:gd name="connsiteY3" fmla="*/ 213974 h 748807"/>
                  <a:gd name="connsiteX4" fmla="*/ 331055 w 337221"/>
                  <a:gd name="connsiteY4" fmla="*/ 210470 h 748807"/>
                  <a:gd name="connsiteX5" fmla="*/ 316873 w 337221"/>
                  <a:gd name="connsiteY5" fmla="*/ 168843 h 748807"/>
                  <a:gd name="connsiteX6" fmla="*/ 311533 w 337221"/>
                  <a:gd name="connsiteY6" fmla="*/ 147571 h 748807"/>
                  <a:gd name="connsiteX7" fmla="*/ 303107 w 337221"/>
                  <a:gd name="connsiteY7" fmla="*/ 152409 h 748807"/>
                  <a:gd name="connsiteX8" fmla="*/ 300437 w 337221"/>
                  <a:gd name="connsiteY8" fmla="*/ 153744 h 748807"/>
                  <a:gd name="connsiteX9" fmla="*/ 241538 w 337221"/>
                  <a:gd name="connsiteY9" fmla="*/ 148906 h 748807"/>
                  <a:gd name="connsiteX10" fmla="*/ 239286 w 337221"/>
                  <a:gd name="connsiteY10" fmla="*/ 122295 h 748807"/>
                  <a:gd name="connsiteX11" fmla="*/ 240620 w 337221"/>
                  <a:gd name="connsiteY11" fmla="*/ 120543 h 748807"/>
                  <a:gd name="connsiteX12" fmla="*/ 243290 w 337221"/>
                  <a:gd name="connsiteY12" fmla="*/ 105443 h 748807"/>
                  <a:gd name="connsiteX13" fmla="*/ 242873 w 337221"/>
                  <a:gd name="connsiteY13" fmla="*/ 98353 h 748807"/>
                  <a:gd name="connsiteX14" fmla="*/ 243290 w 337221"/>
                  <a:gd name="connsiteY14" fmla="*/ 96100 h 748807"/>
                  <a:gd name="connsiteX15" fmla="*/ 242372 w 337221"/>
                  <a:gd name="connsiteY15" fmla="*/ 66903 h 748807"/>
                  <a:gd name="connsiteX16" fmla="*/ 210503 w 337221"/>
                  <a:gd name="connsiteY16" fmla="*/ 69156 h 748807"/>
                  <a:gd name="connsiteX17" fmla="*/ 203412 w 337221"/>
                  <a:gd name="connsiteY17" fmla="*/ 67821 h 748807"/>
                  <a:gd name="connsiteX18" fmla="*/ 203412 w 337221"/>
                  <a:gd name="connsiteY18" fmla="*/ 60730 h 748807"/>
                  <a:gd name="connsiteX19" fmla="*/ 186560 w 337221"/>
                  <a:gd name="connsiteY19" fmla="*/ 9760 h 748807"/>
                  <a:gd name="connsiteX20" fmla="*/ 176382 w 337221"/>
                  <a:gd name="connsiteY20" fmla="*/ 0 h 748807"/>
                  <a:gd name="connsiteX21" fmla="*/ 173295 w 337221"/>
                  <a:gd name="connsiteY21" fmla="*/ 7091 h 748807"/>
                  <a:gd name="connsiteX22" fmla="*/ 163117 w 337221"/>
                  <a:gd name="connsiteY22" fmla="*/ 27946 h 748807"/>
                  <a:gd name="connsiteX23" fmla="*/ 160030 w 337221"/>
                  <a:gd name="connsiteY23" fmla="*/ 33285 h 748807"/>
                  <a:gd name="connsiteX24" fmla="*/ 142344 w 337221"/>
                  <a:gd name="connsiteY24" fmla="*/ 68238 h 748807"/>
                  <a:gd name="connsiteX25" fmla="*/ 137505 w 337221"/>
                  <a:gd name="connsiteY25" fmla="*/ 80668 h 748807"/>
                  <a:gd name="connsiteX26" fmla="*/ 98962 w 337221"/>
                  <a:gd name="connsiteY26" fmla="*/ 141815 h 748807"/>
                  <a:gd name="connsiteX27" fmla="*/ 68427 w 337221"/>
                  <a:gd name="connsiteY27" fmla="*/ 149823 h 748807"/>
                  <a:gd name="connsiteX28" fmla="*/ 58249 w 337221"/>
                  <a:gd name="connsiteY28" fmla="*/ 151158 h 748807"/>
                  <a:gd name="connsiteX29" fmla="*/ 61336 w 337221"/>
                  <a:gd name="connsiteY29" fmla="*/ 178186 h 748807"/>
                  <a:gd name="connsiteX30" fmla="*/ 64840 w 337221"/>
                  <a:gd name="connsiteY30" fmla="*/ 204797 h 748807"/>
                  <a:gd name="connsiteX31" fmla="*/ 91870 w 337221"/>
                  <a:gd name="connsiteY31" fmla="*/ 246841 h 748807"/>
                  <a:gd name="connsiteX32" fmla="*/ 122404 w 337221"/>
                  <a:gd name="connsiteY32" fmla="*/ 294641 h 748807"/>
                  <a:gd name="connsiteX33" fmla="*/ 123322 w 337221"/>
                  <a:gd name="connsiteY33" fmla="*/ 296393 h 748807"/>
                  <a:gd name="connsiteX34" fmla="*/ 122905 w 337221"/>
                  <a:gd name="connsiteY34" fmla="*/ 298145 h 748807"/>
                  <a:gd name="connsiteX35" fmla="*/ 106971 w 337221"/>
                  <a:gd name="connsiteY35" fmla="*/ 309657 h 748807"/>
                  <a:gd name="connsiteX36" fmla="*/ 106553 w 337221"/>
                  <a:gd name="connsiteY36" fmla="*/ 309657 h 748807"/>
                  <a:gd name="connsiteX37" fmla="*/ 106136 w 337221"/>
                  <a:gd name="connsiteY37" fmla="*/ 309657 h 748807"/>
                  <a:gd name="connsiteX38" fmla="*/ 88450 w 337221"/>
                  <a:gd name="connsiteY38" fmla="*/ 323838 h 748807"/>
                  <a:gd name="connsiteX39" fmla="*/ 70263 w 337221"/>
                  <a:gd name="connsiteY39" fmla="*/ 345111 h 748807"/>
                  <a:gd name="connsiteX40" fmla="*/ 51659 w 337221"/>
                  <a:gd name="connsiteY40" fmla="*/ 352201 h 748807"/>
                  <a:gd name="connsiteX41" fmla="*/ 56497 w 337221"/>
                  <a:gd name="connsiteY41" fmla="*/ 368552 h 748807"/>
                  <a:gd name="connsiteX42" fmla="*/ 63171 w 337221"/>
                  <a:gd name="connsiteY42" fmla="*/ 403088 h 748807"/>
                  <a:gd name="connsiteX43" fmla="*/ 37059 w 337221"/>
                  <a:gd name="connsiteY43" fmla="*/ 426529 h 748807"/>
                  <a:gd name="connsiteX44" fmla="*/ 35724 w 337221"/>
                  <a:gd name="connsiteY44" fmla="*/ 426946 h 748807"/>
                  <a:gd name="connsiteX45" fmla="*/ 34389 w 337221"/>
                  <a:gd name="connsiteY45" fmla="*/ 426946 h 748807"/>
                  <a:gd name="connsiteX46" fmla="*/ 9611 w 337221"/>
                  <a:gd name="connsiteY46" fmla="*/ 434454 h 748807"/>
                  <a:gd name="connsiteX47" fmla="*/ 268 w 337221"/>
                  <a:gd name="connsiteY47" fmla="*/ 453057 h 748807"/>
                  <a:gd name="connsiteX48" fmla="*/ 268 w 337221"/>
                  <a:gd name="connsiteY48" fmla="*/ 453474 h 748807"/>
                  <a:gd name="connsiteX49" fmla="*/ 14450 w 337221"/>
                  <a:gd name="connsiteY49" fmla="*/ 481837 h 748807"/>
                  <a:gd name="connsiteX50" fmla="*/ 24628 w 337221"/>
                  <a:gd name="connsiteY50" fmla="*/ 493349 h 748807"/>
                  <a:gd name="connsiteX51" fmla="*/ 25045 w 337221"/>
                  <a:gd name="connsiteY51" fmla="*/ 494267 h 748807"/>
                  <a:gd name="connsiteX52" fmla="*/ 25463 w 337221"/>
                  <a:gd name="connsiteY52" fmla="*/ 495184 h 748807"/>
                  <a:gd name="connsiteX53" fmla="*/ 26797 w 337221"/>
                  <a:gd name="connsiteY53" fmla="*/ 512035 h 748807"/>
                  <a:gd name="connsiteX54" fmla="*/ 32554 w 337221"/>
                  <a:gd name="connsiteY54" fmla="*/ 530221 h 748807"/>
                  <a:gd name="connsiteX55" fmla="*/ 33472 w 337221"/>
                  <a:gd name="connsiteY55" fmla="*/ 530638 h 748807"/>
                  <a:gd name="connsiteX56" fmla="*/ 44985 w 337221"/>
                  <a:gd name="connsiteY56" fmla="*/ 543485 h 748807"/>
                  <a:gd name="connsiteX57" fmla="*/ 63171 w 337221"/>
                  <a:gd name="connsiteY57" fmla="*/ 552327 h 748807"/>
                  <a:gd name="connsiteX58" fmla="*/ 67593 w 337221"/>
                  <a:gd name="connsiteY58" fmla="*/ 550992 h 748807"/>
                  <a:gd name="connsiteX59" fmla="*/ 69846 w 337221"/>
                  <a:gd name="connsiteY59" fmla="*/ 554997 h 748807"/>
                  <a:gd name="connsiteX60" fmla="*/ 53494 w 337221"/>
                  <a:gd name="connsiteY60" fmla="*/ 654684 h 748807"/>
                  <a:gd name="connsiteX61" fmla="*/ 47737 w 337221"/>
                  <a:gd name="connsiteY61" fmla="*/ 668866 h 748807"/>
                  <a:gd name="connsiteX62" fmla="*/ 63672 w 337221"/>
                  <a:gd name="connsiteY62" fmla="*/ 721587 h 748807"/>
                  <a:gd name="connsiteX63" fmla="*/ 72098 w 337221"/>
                  <a:gd name="connsiteY63" fmla="*/ 735769 h 748807"/>
                  <a:gd name="connsiteX64" fmla="*/ 87616 w 337221"/>
                  <a:gd name="connsiteY64" fmla="*/ 748198 h 748807"/>
                  <a:gd name="connsiteX65" fmla="*/ 101381 w 337221"/>
                  <a:gd name="connsiteY65" fmla="*/ 739356 h 748807"/>
                  <a:gd name="connsiteX66" fmla="*/ 104468 w 337221"/>
                  <a:gd name="connsiteY66" fmla="*/ 730013 h 748807"/>
                  <a:gd name="connsiteX67" fmla="*/ 106720 w 337221"/>
                  <a:gd name="connsiteY67" fmla="*/ 718918 h 748807"/>
                  <a:gd name="connsiteX68" fmla="*/ 114229 w 337221"/>
                  <a:gd name="connsiteY68" fmla="*/ 694559 h 748807"/>
                  <a:gd name="connsiteX69" fmla="*/ 143428 w 337221"/>
                  <a:gd name="connsiteY69" fmla="*/ 691473 h 748807"/>
                  <a:gd name="connsiteX70" fmla="*/ 151854 w 337221"/>
                  <a:gd name="connsiteY70" fmla="*/ 694976 h 748807"/>
                  <a:gd name="connsiteX71" fmla="*/ 176215 w 337221"/>
                  <a:gd name="connsiteY71" fmla="*/ 691473 h 748807"/>
                  <a:gd name="connsiteX72" fmla="*/ 190397 w 337221"/>
                  <a:gd name="connsiteY72" fmla="*/ 682630 h 748807"/>
                  <a:gd name="connsiteX73" fmla="*/ 181971 w 337221"/>
                  <a:gd name="connsiteY73" fmla="*/ 651181 h 748807"/>
                  <a:gd name="connsiteX74" fmla="*/ 185976 w 337221"/>
                  <a:gd name="connsiteY74" fmla="*/ 577687 h 748807"/>
                  <a:gd name="connsiteX75" fmla="*/ 166454 w 337221"/>
                  <a:gd name="connsiteY75" fmla="*/ 540899 h 748807"/>
                  <a:gd name="connsiteX76" fmla="*/ 187728 w 337221"/>
                  <a:gd name="connsiteY76" fmla="*/ 506780 h 748807"/>
                  <a:gd name="connsiteX77" fmla="*/ 213840 w 337221"/>
                  <a:gd name="connsiteY77" fmla="*/ 472244 h 748807"/>
                  <a:gd name="connsiteX78" fmla="*/ 237784 w 337221"/>
                  <a:gd name="connsiteY78" fmla="*/ 427947 h 748807"/>
                  <a:gd name="connsiteX79" fmla="*/ 253301 w 337221"/>
                  <a:gd name="connsiteY79" fmla="*/ 398249 h 748807"/>
                  <a:gd name="connsiteX80" fmla="*/ 265732 w 337221"/>
                  <a:gd name="connsiteY80" fmla="*/ 399584 h 748807"/>
                  <a:gd name="connsiteX81" fmla="*/ 285671 w 337221"/>
                  <a:gd name="connsiteY81" fmla="*/ 393411 h 748807"/>
                  <a:gd name="connsiteX82" fmla="*/ 333474 w 337221"/>
                  <a:gd name="connsiteY82" fmla="*/ 334016 h 748807"/>
                  <a:gd name="connsiteX83" fmla="*/ 327718 w 337221"/>
                  <a:gd name="connsiteY83" fmla="*/ 274620 h 748807"/>
                  <a:gd name="connsiteX84" fmla="*/ 313702 w 337221"/>
                  <a:gd name="connsiteY84" fmla="*/ 244923 h 748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37221" h="748807" extrusionOk="0">
                    <a:moveTo>
                      <a:pt x="313702" y="244923"/>
                    </a:moveTo>
                    <a:cubicBezTo>
                      <a:pt x="313285" y="243588"/>
                      <a:pt x="312368" y="242670"/>
                      <a:pt x="312368" y="241419"/>
                    </a:cubicBezTo>
                    <a:cubicBezTo>
                      <a:pt x="311450" y="235246"/>
                      <a:pt x="322128" y="240501"/>
                      <a:pt x="324798" y="240084"/>
                    </a:cubicBezTo>
                    <a:cubicBezTo>
                      <a:pt x="341150" y="236998"/>
                      <a:pt x="338564" y="225903"/>
                      <a:pt x="332807" y="213974"/>
                    </a:cubicBezTo>
                    <a:cubicBezTo>
                      <a:pt x="331889" y="212639"/>
                      <a:pt x="331472" y="211304"/>
                      <a:pt x="331055" y="210470"/>
                    </a:cubicBezTo>
                    <a:cubicBezTo>
                      <a:pt x="321294" y="201127"/>
                      <a:pt x="318625" y="183859"/>
                      <a:pt x="316873" y="168843"/>
                    </a:cubicBezTo>
                    <a:cubicBezTo>
                      <a:pt x="315955" y="161752"/>
                      <a:pt x="314203" y="148906"/>
                      <a:pt x="311533" y="147571"/>
                    </a:cubicBezTo>
                    <a:cubicBezTo>
                      <a:pt x="311533" y="147571"/>
                      <a:pt x="309281" y="147154"/>
                      <a:pt x="303107" y="152409"/>
                    </a:cubicBezTo>
                    <a:cubicBezTo>
                      <a:pt x="302189" y="152826"/>
                      <a:pt x="301355" y="153327"/>
                      <a:pt x="300437" y="153744"/>
                    </a:cubicBezTo>
                    <a:cubicBezTo>
                      <a:pt x="276077" y="158165"/>
                      <a:pt x="252133" y="160835"/>
                      <a:pt x="241538" y="148906"/>
                    </a:cubicBezTo>
                    <a:cubicBezTo>
                      <a:pt x="236199" y="142733"/>
                      <a:pt x="235365" y="133806"/>
                      <a:pt x="239286" y="122295"/>
                    </a:cubicBezTo>
                    <a:cubicBezTo>
                      <a:pt x="239703" y="121377"/>
                      <a:pt x="240203" y="120960"/>
                      <a:pt x="240620" y="120543"/>
                    </a:cubicBezTo>
                    <a:cubicBezTo>
                      <a:pt x="244124" y="117039"/>
                      <a:pt x="243707" y="112534"/>
                      <a:pt x="243290" y="105443"/>
                    </a:cubicBezTo>
                    <a:cubicBezTo>
                      <a:pt x="243290" y="103191"/>
                      <a:pt x="242873" y="100605"/>
                      <a:pt x="242873" y="98353"/>
                    </a:cubicBezTo>
                    <a:cubicBezTo>
                      <a:pt x="242873" y="97435"/>
                      <a:pt x="242873" y="96601"/>
                      <a:pt x="243290" y="96100"/>
                    </a:cubicBezTo>
                    <a:cubicBezTo>
                      <a:pt x="249046" y="83254"/>
                      <a:pt x="248629" y="72659"/>
                      <a:pt x="242372" y="66903"/>
                    </a:cubicBezTo>
                    <a:cubicBezTo>
                      <a:pt x="235698" y="60730"/>
                      <a:pt x="223351" y="61564"/>
                      <a:pt x="210503" y="69156"/>
                    </a:cubicBezTo>
                    <a:cubicBezTo>
                      <a:pt x="208251" y="70490"/>
                      <a:pt x="205164" y="70073"/>
                      <a:pt x="203412" y="67821"/>
                    </a:cubicBezTo>
                    <a:cubicBezTo>
                      <a:pt x="201660" y="65569"/>
                      <a:pt x="201660" y="62982"/>
                      <a:pt x="203412" y="60730"/>
                    </a:cubicBezTo>
                    <a:cubicBezTo>
                      <a:pt x="218929" y="42127"/>
                      <a:pt x="206916" y="29281"/>
                      <a:pt x="186560" y="9760"/>
                    </a:cubicBezTo>
                    <a:cubicBezTo>
                      <a:pt x="183056" y="6674"/>
                      <a:pt x="179886" y="3087"/>
                      <a:pt x="176382" y="0"/>
                    </a:cubicBezTo>
                    <a:cubicBezTo>
                      <a:pt x="175464" y="2252"/>
                      <a:pt x="174129" y="4838"/>
                      <a:pt x="173295" y="7091"/>
                    </a:cubicBezTo>
                    <a:cubicBezTo>
                      <a:pt x="170208" y="14181"/>
                      <a:pt x="167121" y="21272"/>
                      <a:pt x="163117" y="27946"/>
                    </a:cubicBezTo>
                    <a:lnTo>
                      <a:pt x="160030" y="33285"/>
                    </a:lnTo>
                    <a:cubicBezTo>
                      <a:pt x="153356" y="45214"/>
                      <a:pt x="147182" y="56309"/>
                      <a:pt x="142344" y="68238"/>
                    </a:cubicBezTo>
                    <a:cubicBezTo>
                      <a:pt x="140592" y="72242"/>
                      <a:pt x="139257" y="76246"/>
                      <a:pt x="137505" y="80668"/>
                    </a:cubicBezTo>
                    <a:cubicBezTo>
                      <a:pt x="129079" y="102774"/>
                      <a:pt x="119318" y="128050"/>
                      <a:pt x="98962" y="141815"/>
                    </a:cubicBezTo>
                    <a:cubicBezTo>
                      <a:pt x="88784" y="148489"/>
                      <a:pt x="78105" y="148906"/>
                      <a:pt x="68427" y="149823"/>
                    </a:cubicBezTo>
                    <a:cubicBezTo>
                      <a:pt x="64923" y="150240"/>
                      <a:pt x="61336" y="150240"/>
                      <a:pt x="58249" y="151158"/>
                    </a:cubicBezTo>
                    <a:cubicBezTo>
                      <a:pt x="60502" y="159583"/>
                      <a:pt x="60919" y="169344"/>
                      <a:pt x="61336" y="178186"/>
                    </a:cubicBezTo>
                    <a:cubicBezTo>
                      <a:pt x="61753" y="187946"/>
                      <a:pt x="61753" y="197206"/>
                      <a:pt x="64840" y="204797"/>
                    </a:cubicBezTo>
                    <a:cubicBezTo>
                      <a:pt x="72348" y="218979"/>
                      <a:pt x="82527" y="233160"/>
                      <a:pt x="91870" y="246841"/>
                    </a:cubicBezTo>
                    <a:cubicBezTo>
                      <a:pt x="102966" y="262358"/>
                      <a:pt x="113978" y="278291"/>
                      <a:pt x="122404" y="294641"/>
                    </a:cubicBezTo>
                    <a:lnTo>
                      <a:pt x="123322" y="296393"/>
                    </a:lnTo>
                    <a:lnTo>
                      <a:pt x="122905" y="298145"/>
                    </a:lnTo>
                    <a:cubicBezTo>
                      <a:pt x="121987" y="301649"/>
                      <a:pt x="119401" y="307905"/>
                      <a:pt x="106971" y="309657"/>
                    </a:cubicBezTo>
                    <a:lnTo>
                      <a:pt x="106553" y="309657"/>
                    </a:lnTo>
                    <a:lnTo>
                      <a:pt x="106136" y="309657"/>
                    </a:lnTo>
                    <a:cubicBezTo>
                      <a:pt x="91036" y="308322"/>
                      <a:pt x="90202" y="313661"/>
                      <a:pt x="88450" y="323838"/>
                    </a:cubicBezTo>
                    <a:cubicBezTo>
                      <a:pt x="87115" y="331847"/>
                      <a:pt x="84946" y="343359"/>
                      <a:pt x="70263" y="345111"/>
                    </a:cubicBezTo>
                    <a:cubicBezTo>
                      <a:pt x="56497" y="347363"/>
                      <a:pt x="52576" y="350450"/>
                      <a:pt x="51659" y="352201"/>
                    </a:cubicBezTo>
                    <a:cubicBezTo>
                      <a:pt x="49907" y="355288"/>
                      <a:pt x="53411" y="362379"/>
                      <a:pt x="56497" y="368552"/>
                    </a:cubicBezTo>
                    <a:cubicBezTo>
                      <a:pt x="61336" y="378312"/>
                      <a:pt x="67593" y="390658"/>
                      <a:pt x="63171" y="403088"/>
                    </a:cubicBezTo>
                    <a:cubicBezTo>
                      <a:pt x="60085" y="412431"/>
                      <a:pt x="51242" y="419939"/>
                      <a:pt x="37059" y="426529"/>
                    </a:cubicBezTo>
                    <a:lnTo>
                      <a:pt x="35724" y="426946"/>
                    </a:lnTo>
                    <a:lnTo>
                      <a:pt x="34389" y="426946"/>
                    </a:lnTo>
                    <a:cubicBezTo>
                      <a:pt x="25045" y="426029"/>
                      <a:pt x="16202" y="428698"/>
                      <a:pt x="9611" y="434454"/>
                    </a:cubicBezTo>
                    <a:cubicBezTo>
                      <a:pt x="4272" y="439292"/>
                      <a:pt x="768" y="445549"/>
                      <a:pt x="268" y="453057"/>
                    </a:cubicBezTo>
                    <a:lnTo>
                      <a:pt x="268" y="453474"/>
                    </a:lnTo>
                    <a:cubicBezTo>
                      <a:pt x="-1484" y="465403"/>
                      <a:pt x="5607" y="472994"/>
                      <a:pt x="14450" y="481837"/>
                    </a:cubicBezTo>
                    <a:cubicBezTo>
                      <a:pt x="17954" y="485341"/>
                      <a:pt x="21542" y="488928"/>
                      <a:pt x="24628" y="493349"/>
                    </a:cubicBezTo>
                    <a:lnTo>
                      <a:pt x="25045" y="494267"/>
                    </a:lnTo>
                    <a:lnTo>
                      <a:pt x="25463" y="495184"/>
                    </a:lnTo>
                    <a:cubicBezTo>
                      <a:pt x="27215" y="500523"/>
                      <a:pt x="27215" y="506696"/>
                      <a:pt x="26797" y="512035"/>
                    </a:cubicBezTo>
                    <a:cubicBezTo>
                      <a:pt x="26380" y="521795"/>
                      <a:pt x="26380" y="527134"/>
                      <a:pt x="32554" y="530221"/>
                    </a:cubicBezTo>
                    <a:lnTo>
                      <a:pt x="33472" y="530638"/>
                    </a:lnTo>
                    <a:cubicBezTo>
                      <a:pt x="38310" y="534642"/>
                      <a:pt x="41898" y="539480"/>
                      <a:pt x="44985" y="543485"/>
                    </a:cubicBezTo>
                    <a:cubicBezTo>
                      <a:pt x="50741" y="551493"/>
                      <a:pt x="53411" y="554997"/>
                      <a:pt x="63171" y="552327"/>
                    </a:cubicBezTo>
                    <a:lnTo>
                      <a:pt x="67593" y="550992"/>
                    </a:lnTo>
                    <a:lnTo>
                      <a:pt x="69846" y="554997"/>
                    </a:lnTo>
                    <a:cubicBezTo>
                      <a:pt x="84028" y="582943"/>
                      <a:pt x="67176" y="622734"/>
                      <a:pt x="53494" y="654684"/>
                    </a:cubicBezTo>
                    <a:cubicBezTo>
                      <a:pt x="51242" y="659523"/>
                      <a:pt x="49490" y="664444"/>
                      <a:pt x="47737" y="668866"/>
                    </a:cubicBezTo>
                    <a:cubicBezTo>
                      <a:pt x="49490" y="693642"/>
                      <a:pt x="55246" y="712745"/>
                      <a:pt x="63672" y="721587"/>
                    </a:cubicBezTo>
                    <a:cubicBezTo>
                      <a:pt x="67677" y="725592"/>
                      <a:pt x="69846" y="730930"/>
                      <a:pt x="72098" y="735769"/>
                    </a:cubicBezTo>
                    <a:cubicBezTo>
                      <a:pt x="76937" y="746864"/>
                      <a:pt x="79190" y="750368"/>
                      <a:pt x="87616" y="748198"/>
                    </a:cubicBezTo>
                    <a:cubicBezTo>
                      <a:pt x="92037" y="746447"/>
                      <a:pt x="97376" y="742860"/>
                      <a:pt x="101381" y="739356"/>
                    </a:cubicBezTo>
                    <a:cubicBezTo>
                      <a:pt x="102716" y="736270"/>
                      <a:pt x="103633" y="733183"/>
                      <a:pt x="104468" y="730013"/>
                    </a:cubicBezTo>
                    <a:cubicBezTo>
                      <a:pt x="105803" y="726926"/>
                      <a:pt x="106220" y="723339"/>
                      <a:pt x="106720" y="718918"/>
                    </a:cubicBezTo>
                    <a:cubicBezTo>
                      <a:pt x="108055" y="710075"/>
                      <a:pt x="109390" y="700315"/>
                      <a:pt x="114229" y="694559"/>
                    </a:cubicBezTo>
                    <a:cubicBezTo>
                      <a:pt x="124407" y="681712"/>
                      <a:pt x="135920" y="687886"/>
                      <a:pt x="143428" y="691473"/>
                    </a:cubicBezTo>
                    <a:cubicBezTo>
                      <a:pt x="146098" y="692807"/>
                      <a:pt x="149185" y="694142"/>
                      <a:pt x="151854" y="694976"/>
                    </a:cubicBezTo>
                    <a:cubicBezTo>
                      <a:pt x="160698" y="697229"/>
                      <a:pt x="167789" y="696311"/>
                      <a:pt x="176215" y="691473"/>
                    </a:cubicBezTo>
                    <a:cubicBezTo>
                      <a:pt x="181554" y="687969"/>
                      <a:pt x="186393" y="685300"/>
                      <a:pt x="190397" y="682630"/>
                    </a:cubicBezTo>
                    <a:cubicBezTo>
                      <a:pt x="184641" y="673287"/>
                      <a:pt x="181054" y="663110"/>
                      <a:pt x="181971" y="651181"/>
                    </a:cubicBezTo>
                    <a:cubicBezTo>
                      <a:pt x="184641" y="623735"/>
                      <a:pt x="203245" y="605132"/>
                      <a:pt x="185976" y="577687"/>
                    </a:cubicBezTo>
                    <a:cubicBezTo>
                      <a:pt x="178467" y="566175"/>
                      <a:pt x="168289" y="555080"/>
                      <a:pt x="166454" y="540899"/>
                    </a:cubicBezTo>
                    <a:cubicBezTo>
                      <a:pt x="163784" y="522713"/>
                      <a:pt x="175297" y="516540"/>
                      <a:pt x="187728" y="506780"/>
                    </a:cubicBezTo>
                    <a:cubicBezTo>
                      <a:pt x="200158" y="497019"/>
                      <a:pt x="206332" y="486425"/>
                      <a:pt x="213840" y="472244"/>
                    </a:cubicBezTo>
                    <a:cubicBezTo>
                      <a:pt x="222267" y="455893"/>
                      <a:pt x="232445" y="445632"/>
                      <a:pt x="237784" y="427947"/>
                    </a:cubicBezTo>
                    <a:cubicBezTo>
                      <a:pt x="240453" y="419939"/>
                      <a:pt x="244875" y="402254"/>
                      <a:pt x="253301" y="398249"/>
                    </a:cubicBezTo>
                    <a:cubicBezTo>
                      <a:pt x="259475" y="395163"/>
                      <a:pt x="260393" y="399584"/>
                      <a:pt x="265732" y="399584"/>
                    </a:cubicBezTo>
                    <a:cubicBezTo>
                      <a:pt x="275076" y="399584"/>
                      <a:pt x="277662" y="398667"/>
                      <a:pt x="285671" y="393411"/>
                    </a:cubicBezTo>
                    <a:cubicBezTo>
                      <a:pt x="311366" y="376143"/>
                      <a:pt x="324631" y="364214"/>
                      <a:pt x="333474" y="334016"/>
                    </a:cubicBezTo>
                    <a:cubicBezTo>
                      <a:pt x="339648" y="313661"/>
                      <a:pt x="335727" y="294141"/>
                      <a:pt x="327718" y="274620"/>
                    </a:cubicBezTo>
                    <a:cubicBezTo>
                      <a:pt x="323463" y="263525"/>
                      <a:pt x="319459" y="253348"/>
                      <a:pt x="313702" y="2449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77381956" name="Полилиния 510"/>
              <p:cNvSpPr/>
              <p:nvPr/>
            </p:nvSpPr>
            <p:spPr bwMode="auto">
              <a:xfrm>
                <a:off x="2787760" y="2935777"/>
                <a:ext cx="913968" cy="535658"/>
              </a:xfrm>
              <a:custGeom>
                <a:avLst/>
                <a:gdLst>
                  <a:gd name="connsiteX0" fmla="*/ 105468 w 1026416"/>
                  <a:gd name="connsiteY0" fmla="*/ 422960 h 601562"/>
                  <a:gd name="connsiteX1" fmla="*/ 133833 w 1026416"/>
                  <a:gd name="connsiteY1" fmla="*/ 407443 h 601562"/>
                  <a:gd name="connsiteX2" fmla="*/ 138255 w 1026416"/>
                  <a:gd name="connsiteY2" fmla="*/ 401688 h 601562"/>
                  <a:gd name="connsiteX3" fmla="*/ 143094 w 1026416"/>
                  <a:gd name="connsiteY3" fmla="*/ 407026 h 601562"/>
                  <a:gd name="connsiteX4" fmla="*/ 194485 w 1026416"/>
                  <a:gd name="connsiteY4" fmla="*/ 432720 h 601562"/>
                  <a:gd name="connsiteX5" fmla="*/ 337562 w 1026416"/>
                  <a:gd name="connsiteY5" fmla="*/ 366734 h 601562"/>
                  <a:gd name="connsiteX6" fmla="*/ 337979 w 1026416"/>
                  <a:gd name="connsiteY6" fmla="*/ 366317 h 601562"/>
                  <a:gd name="connsiteX7" fmla="*/ 404887 w 1026416"/>
                  <a:gd name="connsiteY7" fmla="*/ 359226 h 601562"/>
                  <a:gd name="connsiteX8" fmla="*/ 446100 w 1026416"/>
                  <a:gd name="connsiteY8" fmla="*/ 361479 h 601562"/>
                  <a:gd name="connsiteX9" fmla="*/ 482390 w 1026416"/>
                  <a:gd name="connsiteY9" fmla="*/ 338455 h 601562"/>
                  <a:gd name="connsiteX10" fmla="*/ 528943 w 1026416"/>
                  <a:gd name="connsiteY10" fmla="*/ 311844 h 601562"/>
                  <a:gd name="connsiteX11" fmla="*/ 530278 w 1026416"/>
                  <a:gd name="connsiteY11" fmla="*/ 311844 h 601562"/>
                  <a:gd name="connsiteX12" fmla="*/ 602025 w 1026416"/>
                  <a:gd name="connsiteY12" fmla="*/ 376995 h 601562"/>
                  <a:gd name="connsiteX13" fmla="*/ 658755 w 1026416"/>
                  <a:gd name="connsiteY13" fmla="*/ 434555 h 601562"/>
                  <a:gd name="connsiteX14" fmla="*/ 869157 w 1026416"/>
                  <a:gd name="connsiteY14" fmla="*/ 529821 h 601562"/>
                  <a:gd name="connsiteX15" fmla="*/ 974609 w 1026416"/>
                  <a:gd name="connsiteY15" fmla="*/ 601563 h 601562"/>
                  <a:gd name="connsiteX16" fmla="*/ 975527 w 1026416"/>
                  <a:gd name="connsiteY16" fmla="*/ 590051 h 601562"/>
                  <a:gd name="connsiteX17" fmla="*/ 979030 w 1026416"/>
                  <a:gd name="connsiteY17" fmla="*/ 575453 h 601562"/>
                  <a:gd name="connsiteX18" fmla="*/ 975026 w 1026416"/>
                  <a:gd name="connsiteY18" fmla="*/ 552428 h 601562"/>
                  <a:gd name="connsiteX19" fmla="*/ 971022 w 1026416"/>
                  <a:gd name="connsiteY19" fmla="*/ 548007 h 601562"/>
                  <a:gd name="connsiteX20" fmla="*/ 962178 w 1026416"/>
                  <a:gd name="connsiteY20" fmla="*/ 501041 h 601562"/>
                  <a:gd name="connsiteX21" fmla="*/ 975026 w 1026416"/>
                  <a:gd name="connsiteY21" fmla="*/ 481521 h 601562"/>
                  <a:gd name="connsiteX22" fmla="*/ 989626 w 1026416"/>
                  <a:gd name="connsiteY22" fmla="*/ 460249 h 601562"/>
                  <a:gd name="connsiteX23" fmla="*/ 1026417 w 1026416"/>
                  <a:gd name="connsiteY23" fmla="*/ 415535 h 601562"/>
                  <a:gd name="connsiteX24" fmla="*/ 1013986 w 1026416"/>
                  <a:gd name="connsiteY24" fmla="*/ 403106 h 601562"/>
                  <a:gd name="connsiteX25" fmla="*/ 961678 w 1026416"/>
                  <a:gd name="connsiteY25" fmla="*/ 390259 h 601562"/>
                  <a:gd name="connsiteX26" fmla="*/ 951917 w 1026416"/>
                  <a:gd name="connsiteY26" fmla="*/ 396432 h 601562"/>
                  <a:gd name="connsiteX27" fmla="*/ 926638 w 1026416"/>
                  <a:gd name="connsiteY27" fmla="*/ 407026 h 601562"/>
                  <a:gd name="connsiteX28" fmla="*/ 926221 w 1026416"/>
                  <a:gd name="connsiteY28" fmla="*/ 407026 h 601562"/>
                  <a:gd name="connsiteX29" fmla="*/ 892100 w 1026416"/>
                  <a:gd name="connsiteY29" fmla="*/ 379998 h 601562"/>
                  <a:gd name="connsiteX30" fmla="*/ 879252 w 1026416"/>
                  <a:gd name="connsiteY30" fmla="*/ 353888 h 601562"/>
                  <a:gd name="connsiteX31" fmla="*/ 861065 w 1026416"/>
                  <a:gd name="connsiteY31" fmla="*/ 318434 h 601562"/>
                  <a:gd name="connsiteX32" fmla="*/ 856643 w 1026416"/>
                  <a:gd name="connsiteY32" fmla="*/ 311760 h 601562"/>
                  <a:gd name="connsiteX33" fmla="*/ 845548 w 1026416"/>
                  <a:gd name="connsiteY33" fmla="*/ 293157 h 601562"/>
                  <a:gd name="connsiteX34" fmla="*/ 842044 w 1026416"/>
                  <a:gd name="connsiteY34" fmla="*/ 282980 h 601562"/>
                  <a:gd name="connsiteX35" fmla="*/ 837205 w 1026416"/>
                  <a:gd name="connsiteY35" fmla="*/ 271468 h 601562"/>
                  <a:gd name="connsiteX36" fmla="*/ 822605 w 1026416"/>
                  <a:gd name="connsiteY36" fmla="*/ 253783 h 601562"/>
                  <a:gd name="connsiteX37" fmla="*/ 802249 w 1026416"/>
                  <a:gd name="connsiteY37" fmla="*/ 224586 h 601562"/>
                  <a:gd name="connsiteX38" fmla="*/ 799997 w 1026416"/>
                  <a:gd name="connsiteY38" fmla="*/ 205566 h 601562"/>
                  <a:gd name="connsiteX39" fmla="*/ 799579 w 1026416"/>
                  <a:gd name="connsiteY39" fmla="*/ 198892 h 601562"/>
                  <a:gd name="connsiteX40" fmla="*/ 795158 w 1026416"/>
                  <a:gd name="connsiteY40" fmla="*/ 178037 h 601562"/>
                  <a:gd name="connsiteX41" fmla="*/ 776136 w 1026416"/>
                  <a:gd name="connsiteY41" fmla="*/ 190884 h 601562"/>
                  <a:gd name="connsiteX42" fmla="*/ 746937 w 1026416"/>
                  <a:gd name="connsiteY42" fmla="*/ 231176 h 601562"/>
                  <a:gd name="connsiteX43" fmla="*/ 732754 w 1026416"/>
                  <a:gd name="connsiteY43" fmla="*/ 245357 h 601562"/>
                  <a:gd name="connsiteX44" fmla="*/ 743850 w 1026416"/>
                  <a:gd name="connsiteY44" fmla="*/ 219247 h 601562"/>
                  <a:gd name="connsiteX45" fmla="*/ 734089 w 1026416"/>
                  <a:gd name="connsiteY45" fmla="*/ 182041 h 601562"/>
                  <a:gd name="connsiteX46" fmla="*/ 708394 w 1026416"/>
                  <a:gd name="connsiteY46" fmla="*/ 190467 h 601562"/>
                  <a:gd name="connsiteX47" fmla="*/ 746520 w 1026416"/>
                  <a:gd name="connsiteY47" fmla="*/ 154596 h 601562"/>
                  <a:gd name="connsiteX48" fmla="*/ 727499 w 1026416"/>
                  <a:gd name="connsiteY48" fmla="*/ 128902 h 601562"/>
                  <a:gd name="connsiteX49" fmla="*/ 705390 w 1026416"/>
                  <a:gd name="connsiteY49" fmla="*/ 97453 h 601562"/>
                  <a:gd name="connsiteX50" fmla="*/ 642070 w 1026416"/>
                  <a:gd name="connsiteY50" fmla="*/ 98788 h 601562"/>
                  <a:gd name="connsiteX51" fmla="*/ 595517 w 1026416"/>
                  <a:gd name="connsiteY51" fmla="*/ 100539 h 601562"/>
                  <a:gd name="connsiteX52" fmla="*/ 545044 w 1026416"/>
                  <a:gd name="connsiteY52" fmla="*/ 86775 h 601562"/>
                  <a:gd name="connsiteX53" fmla="*/ 505583 w 1026416"/>
                  <a:gd name="connsiteY53" fmla="*/ 95618 h 601562"/>
                  <a:gd name="connsiteX54" fmla="*/ 456862 w 1026416"/>
                  <a:gd name="connsiteY54" fmla="*/ 104961 h 601562"/>
                  <a:gd name="connsiteX55" fmla="*/ 427162 w 1026416"/>
                  <a:gd name="connsiteY55" fmla="*/ 193136 h 601562"/>
                  <a:gd name="connsiteX56" fmla="*/ 412062 w 1026416"/>
                  <a:gd name="connsiteY56" fmla="*/ 229925 h 601562"/>
                  <a:gd name="connsiteX57" fmla="*/ 385949 w 1026416"/>
                  <a:gd name="connsiteY57" fmla="*/ 249445 h 601562"/>
                  <a:gd name="connsiteX58" fmla="*/ 361589 w 1026416"/>
                  <a:gd name="connsiteY58" fmla="*/ 218413 h 601562"/>
                  <a:gd name="connsiteX59" fmla="*/ 337228 w 1026416"/>
                  <a:gd name="connsiteY59" fmla="*/ 181207 h 601562"/>
                  <a:gd name="connsiteX60" fmla="*/ 323462 w 1026416"/>
                  <a:gd name="connsiteY60" fmla="*/ 139997 h 601562"/>
                  <a:gd name="connsiteX61" fmla="*/ 303106 w 1026416"/>
                  <a:gd name="connsiteY61" fmla="*/ 95701 h 601562"/>
                  <a:gd name="connsiteX62" fmla="*/ 296432 w 1026416"/>
                  <a:gd name="connsiteY62" fmla="*/ 17703 h 601562"/>
                  <a:gd name="connsiteX63" fmla="*/ 279163 w 1026416"/>
                  <a:gd name="connsiteY63" fmla="*/ 18 h 601562"/>
                  <a:gd name="connsiteX64" fmla="*/ 248629 w 1026416"/>
                  <a:gd name="connsiteY64" fmla="*/ 13282 h 601562"/>
                  <a:gd name="connsiteX65" fmla="*/ 224268 w 1026416"/>
                  <a:gd name="connsiteY65" fmla="*/ 7526 h 601562"/>
                  <a:gd name="connsiteX66" fmla="*/ 210085 w 1026416"/>
                  <a:gd name="connsiteY66" fmla="*/ 31884 h 601562"/>
                  <a:gd name="connsiteX67" fmla="*/ 200324 w 1026416"/>
                  <a:gd name="connsiteY67" fmla="*/ 98788 h 601562"/>
                  <a:gd name="connsiteX68" fmla="*/ 209668 w 1026416"/>
                  <a:gd name="connsiteY68" fmla="*/ 130237 h 601562"/>
                  <a:gd name="connsiteX69" fmla="*/ 234446 w 1026416"/>
                  <a:gd name="connsiteY69" fmla="*/ 150592 h 601562"/>
                  <a:gd name="connsiteX70" fmla="*/ 220263 w 1026416"/>
                  <a:gd name="connsiteY70" fmla="*/ 177620 h 601562"/>
                  <a:gd name="connsiteX71" fmla="*/ 198155 w 1026416"/>
                  <a:gd name="connsiteY71" fmla="*/ 212573 h 601562"/>
                  <a:gd name="connsiteX72" fmla="*/ 168956 w 1026416"/>
                  <a:gd name="connsiteY72" fmla="*/ 205900 h 601562"/>
                  <a:gd name="connsiteX73" fmla="*/ 149017 w 1026416"/>
                  <a:gd name="connsiteY73" fmla="*/ 204982 h 601562"/>
                  <a:gd name="connsiteX74" fmla="*/ 141509 w 1026416"/>
                  <a:gd name="connsiteY74" fmla="*/ 189049 h 601562"/>
                  <a:gd name="connsiteX75" fmla="*/ 127326 w 1026416"/>
                  <a:gd name="connsiteY75" fmla="*/ 157599 h 601562"/>
                  <a:gd name="connsiteX76" fmla="*/ 126909 w 1026416"/>
                  <a:gd name="connsiteY76" fmla="*/ 156682 h 601562"/>
                  <a:gd name="connsiteX77" fmla="*/ 111809 w 1026416"/>
                  <a:gd name="connsiteY77" fmla="*/ 166442 h 601562"/>
                  <a:gd name="connsiteX78" fmla="*/ 76853 w 1026416"/>
                  <a:gd name="connsiteY78" fmla="*/ 171280 h 601562"/>
                  <a:gd name="connsiteX79" fmla="*/ 65757 w 1026416"/>
                  <a:gd name="connsiteY79" fmla="*/ 166859 h 601562"/>
                  <a:gd name="connsiteX80" fmla="*/ 53827 w 1026416"/>
                  <a:gd name="connsiteY80" fmla="*/ 166442 h 601562"/>
                  <a:gd name="connsiteX81" fmla="*/ 49405 w 1026416"/>
                  <a:gd name="connsiteY81" fmla="*/ 184627 h 601562"/>
                  <a:gd name="connsiteX82" fmla="*/ 47153 w 1026416"/>
                  <a:gd name="connsiteY82" fmla="*/ 197474 h 601562"/>
                  <a:gd name="connsiteX83" fmla="*/ 30301 w 1026416"/>
                  <a:gd name="connsiteY83" fmla="*/ 232010 h 601562"/>
                  <a:gd name="connsiteX84" fmla="*/ 20540 w 1026416"/>
                  <a:gd name="connsiteY84" fmla="*/ 240436 h 601562"/>
                  <a:gd name="connsiteX85" fmla="*/ 12531 w 1026416"/>
                  <a:gd name="connsiteY85" fmla="*/ 247109 h 601562"/>
                  <a:gd name="connsiteX86" fmla="*/ 100 w 1026416"/>
                  <a:gd name="connsiteY86" fmla="*/ 285650 h 601562"/>
                  <a:gd name="connsiteX87" fmla="*/ 3604 w 1026416"/>
                  <a:gd name="connsiteY87" fmla="*/ 309591 h 601562"/>
                  <a:gd name="connsiteX88" fmla="*/ 13782 w 1026416"/>
                  <a:gd name="connsiteY88" fmla="*/ 319769 h 601562"/>
                  <a:gd name="connsiteX89" fmla="*/ 23960 w 1026416"/>
                  <a:gd name="connsiteY89" fmla="*/ 328194 h 601562"/>
                  <a:gd name="connsiteX90" fmla="*/ 32386 w 1026416"/>
                  <a:gd name="connsiteY90" fmla="*/ 348549 h 601562"/>
                  <a:gd name="connsiteX91" fmla="*/ 29299 w 1026416"/>
                  <a:gd name="connsiteY91" fmla="*/ 358309 h 601562"/>
                  <a:gd name="connsiteX92" fmla="*/ 105468 w 1026416"/>
                  <a:gd name="connsiteY92" fmla="*/ 422960 h 60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026416" h="601562" extrusionOk="0">
                    <a:moveTo>
                      <a:pt x="105468" y="422960"/>
                    </a:moveTo>
                    <a:cubicBezTo>
                      <a:pt x="115646" y="422960"/>
                      <a:pt x="124990" y="418121"/>
                      <a:pt x="133833" y="407443"/>
                    </a:cubicBezTo>
                    <a:lnTo>
                      <a:pt x="138255" y="401688"/>
                    </a:lnTo>
                    <a:lnTo>
                      <a:pt x="143094" y="407026"/>
                    </a:lnTo>
                    <a:cubicBezTo>
                      <a:pt x="156859" y="422960"/>
                      <a:pt x="174128" y="431385"/>
                      <a:pt x="194485" y="432720"/>
                    </a:cubicBezTo>
                    <a:cubicBezTo>
                      <a:pt x="252967" y="436724"/>
                      <a:pt x="318540" y="383085"/>
                      <a:pt x="337562" y="366734"/>
                    </a:cubicBezTo>
                    <a:lnTo>
                      <a:pt x="337979" y="366317"/>
                    </a:lnTo>
                    <a:cubicBezTo>
                      <a:pt x="358835" y="351218"/>
                      <a:pt x="382278" y="355222"/>
                      <a:pt x="404887" y="359226"/>
                    </a:cubicBezTo>
                    <a:cubicBezTo>
                      <a:pt x="419487" y="361896"/>
                      <a:pt x="433669" y="364065"/>
                      <a:pt x="446100" y="361479"/>
                    </a:cubicBezTo>
                    <a:cubicBezTo>
                      <a:pt x="459365" y="357058"/>
                      <a:pt x="470461" y="347715"/>
                      <a:pt x="482390" y="338455"/>
                    </a:cubicBezTo>
                    <a:cubicBezTo>
                      <a:pt x="496573" y="327360"/>
                      <a:pt x="511173" y="315848"/>
                      <a:pt x="528943" y="311844"/>
                    </a:cubicBezTo>
                    <a:lnTo>
                      <a:pt x="530278" y="311844"/>
                    </a:lnTo>
                    <a:cubicBezTo>
                      <a:pt x="572825" y="310926"/>
                      <a:pt x="588343" y="345963"/>
                      <a:pt x="602025" y="376995"/>
                    </a:cubicBezTo>
                    <a:cubicBezTo>
                      <a:pt x="614872" y="406192"/>
                      <a:pt x="626802" y="433721"/>
                      <a:pt x="658755" y="434555"/>
                    </a:cubicBezTo>
                    <a:cubicBezTo>
                      <a:pt x="744267" y="431469"/>
                      <a:pt x="807588" y="481521"/>
                      <a:pt x="869157" y="529821"/>
                    </a:cubicBezTo>
                    <a:cubicBezTo>
                      <a:pt x="902361" y="555932"/>
                      <a:pt x="936483" y="582960"/>
                      <a:pt x="974609" y="601563"/>
                    </a:cubicBezTo>
                    <a:cubicBezTo>
                      <a:pt x="974609" y="598060"/>
                      <a:pt x="974609" y="594055"/>
                      <a:pt x="975527" y="590051"/>
                    </a:cubicBezTo>
                    <a:cubicBezTo>
                      <a:pt x="976444" y="584295"/>
                      <a:pt x="977779" y="579874"/>
                      <a:pt x="979030" y="575453"/>
                    </a:cubicBezTo>
                    <a:cubicBezTo>
                      <a:pt x="982117" y="565275"/>
                      <a:pt x="983452" y="561271"/>
                      <a:pt x="975026" y="552428"/>
                    </a:cubicBezTo>
                    <a:lnTo>
                      <a:pt x="971022" y="548007"/>
                    </a:lnTo>
                    <a:cubicBezTo>
                      <a:pt x="959092" y="535577"/>
                      <a:pt x="947579" y="524065"/>
                      <a:pt x="962178" y="501041"/>
                    </a:cubicBezTo>
                    <a:cubicBezTo>
                      <a:pt x="966183" y="494368"/>
                      <a:pt x="970604" y="487777"/>
                      <a:pt x="975026" y="481521"/>
                    </a:cubicBezTo>
                    <a:cubicBezTo>
                      <a:pt x="979865" y="474430"/>
                      <a:pt x="985204" y="467339"/>
                      <a:pt x="989626" y="460249"/>
                    </a:cubicBezTo>
                    <a:cubicBezTo>
                      <a:pt x="998469" y="445650"/>
                      <a:pt x="1009565" y="427464"/>
                      <a:pt x="1026417" y="415535"/>
                    </a:cubicBezTo>
                    <a:cubicBezTo>
                      <a:pt x="1022412" y="411114"/>
                      <a:pt x="1018408" y="406693"/>
                      <a:pt x="1013986" y="403106"/>
                    </a:cubicBezTo>
                    <a:cubicBezTo>
                      <a:pt x="1000721" y="391594"/>
                      <a:pt x="979448" y="381416"/>
                      <a:pt x="961678" y="390259"/>
                    </a:cubicBezTo>
                    <a:cubicBezTo>
                      <a:pt x="958591" y="392011"/>
                      <a:pt x="955003" y="394263"/>
                      <a:pt x="951917" y="396432"/>
                    </a:cubicBezTo>
                    <a:cubicBezTo>
                      <a:pt x="944825" y="401270"/>
                      <a:pt x="936817" y="407026"/>
                      <a:pt x="926638" y="407026"/>
                    </a:cubicBezTo>
                    <a:cubicBezTo>
                      <a:pt x="926638" y="407026"/>
                      <a:pt x="926638" y="407026"/>
                      <a:pt x="926221" y="407026"/>
                    </a:cubicBezTo>
                    <a:cubicBezTo>
                      <a:pt x="913374" y="407026"/>
                      <a:pt x="901861" y="397683"/>
                      <a:pt x="892100" y="379998"/>
                    </a:cubicBezTo>
                    <a:cubicBezTo>
                      <a:pt x="887261" y="371573"/>
                      <a:pt x="883256" y="362730"/>
                      <a:pt x="879252" y="353888"/>
                    </a:cubicBezTo>
                    <a:cubicBezTo>
                      <a:pt x="873496" y="341458"/>
                      <a:pt x="868156" y="329529"/>
                      <a:pt x="861065" y="318434"/>
                    </a:cubicBezTo>
                    <a:cubicBezTo>
                      <a:pt x="859730" y="316182"/>
                      <a:pt x="857978" y="314012"/>
                      <a:pt x="856643" y="311760"/>
                    </a:cubicBezTo>
                    <a:cubicBezTo>
                      <a:pt x="852639" y="306004"/>
                      <a:pt x="848634" y="299831"/>
                      <a:pt x="845548" y="293157"/>
                    </a:cubicBezTo>
                    <a:cubicBezTo>
                      <a:pt x="844213" y="289654"/>
                      <a:pt x="843295" y="286067"/>
                      <a:pt x="842044" y="282980"/>
                    </a:cubicBezTo>
                    <a:cubicBezTo>
                      <a:pt x="840292" y="278976"/>
                      <a:pt x="839374" y="274972"/>
                      <a:pt x="837205" y="271468"/>
                    </a:cubicBezTo>
                    <a:cubicBezTo>
                      <a:pt x="833701" y="264794"/>
                      <a:pt x="828362" y="259539"/>
                      <a:pt x="822605" y="253783"/>
                    </a:cubicBezTo>
                    <a:cubicBezTo>
                      <a:pt x="814179" y="245774"/>
                      <a:pt x="805753" y="236932"/>
                      <a:pt x="802249" y="224586"/>
                    </a:cubicBezTo>
                    <a:cubicBezTo>
                      <a:pt x="799997" y="217912"/>
                      <a:pt x="799997" y="211739"/>
                      <a:pt x="799997" y="205566"/>
                    </a:cubicBezTo>
                    <a:cubicBezTo>
                      <a:pt x="799579" y="203314"/>
                      <a:pt x="799579" y="201145"/>
                      <a:pt x="799579" y="198892"/>
                    </a:cubicBezTo>
                    <a:cubicBezTo>
                      <a:pt x="799162" y="191801"/>
                      <a:pt x="797827" y="184711"/>
                      <a:pt x="795158" y="178037"/>
                    </a:cubicBezTo>
                    <a:cubicBezTo>
                      <a:pt x="788484" y="182041"/>
                      <a:pt x="782310" y="186046"/>
                      <a:pt x="776136" y="190884"/>
                    </a:cubicBezTo>
                    <a:cubicBezTo>
                      <a:pt x="761954" y="202396"/>
                      <a:pt x="756615" y="216577"/>
                      <a:pt x="746937" y="231176"/>
                    </a:cubicBezTo>
                    <a:cubicBezTo>
                      <a:pt x="745185" y="234263"/>
                      <a:pt x="735424" y="249779"/>
                      <a:pt x="732754" y="245357"/>
                    </a:cubicBezTo>
                    <a:cubicBezTo>
                      <a:pt x="726581" y="242688"/>
                      <a:pt x="742515" y="224085"/>
                      <a:pt x="743850" y="219247"/>
                    </a:cubicBezTo>
                    <a:cubicBezTo>
                      <a:pt x="746520" y="210404"/>
                      <a:pt x="746103" y="186463"/>
                      <a:pt x="734089" y="182041"/>
                    </a:cubicBezTo>
                    <a:cubicBezTo>
                      <a:pt x="730585" y="180706"/>
                      <a:pt x="708811" y="194471"/>
                      <a:pt x="708394" y="190467"/>
                    </a:cubicBezTo>
                    <a:cubicBezTo>
                      <a:pt x="707059" y="176285"/>
                      <a:pt x="749190" y="176702"/>
                      <a:pt x="746520" y="154596"/>
                    </a:cubicBezTo>
                    <a:cubicBezTo>
                      <a:pt x="745185" y="144836"/>
                      <a:pt x="734089" y="135576"/>
                      <a:pt x="727499" y="128902"/>
                    </a:cubicBezTo>
                    <a:cubicBezTo>
                      <a:pt x="717321" y="118725"/>
                      <a:pt x="710646" y="110717"/>
                      <a:pt x="705390" y="97453"/>
                    </a:cubicBezTo>
                    <a:cubicBezTo>
                      <a:pt x="690290" y="63334"/>
                      <a:pt x="665930" y="92615"/>
                      <a:pt x="642070" y="98788"/>
                    </a:cubicBezTo>
                    <a:cubicBezTo>
                      <a:pt x="626552" y="102792"/>
                      <a:pt x="611035" y="104961"/>
                      <a:pt x="595517" y="100539"/>
                    </a:cubicBezTo>
                    <a:cubicBezTo>
                      <a:pt x="578665" y="95701"/>
                      <a:pt x="563648" y="82854"/>
                      <a:pt x="545044" y="86775"/>
                    </a:cubicBezTo>
                    <a:cubicBezTo>
                      <a:pt x="530444" y="89445"/>
                      <a:pt x="521101" y="95618"/>
                      <a:pt x="505583" y="95618"/>
                    </a:cubicBezTo>
                    <a:cubicBezTo>
                      <a:pt x="488314" y="95200"/>
                      <a:pt x="472379" y="95200"/>
                      <a:pt x="456862" y="104961"/>
                    </a:cubicBezTo>
                    <a:cubicBezTo>
                      <a:pt x="431584" y="120477"/>
                      <a:pt x="432501" y="166942"/>
                      <a:pt x="427162" y="193136"/>
                    </a:cubicBezTo>
                    <a:cubicBezTo>
                      <a:pt x="424492" y="206400"/>
                      <a:pt x="415649" y="217078"/>
                      <a:pt x="412062" y="229925"/>
                    </a:cubicBezTo>
                    <a:cubicBezTo>
                      <a:pt x="408975" y="243689"/>
                      <a:pt x="404053" y="268048"/>
                      <a:pt x="385949" y="249445"/>
                    </a:cubicBezTo>
                    <a:cubicBezTo>
                      <a:pt x="375354" y="238851"/>
                      <a:pt x="375354" y="227339"/>
                      <a:pt x="361589" y="218413"/>
                    </a:cubicBezTo>
                    <a:cubicBezTo>
                      <a:pt x="347406" y="209069"/>
                      <a:pt x="341649" y="197558"/>
                      <a:pt x="337228" y="181207"/>
                    </a:cubicBezTo>
                    <a:cubicBezTo>
                      <a:pt x="333223" y="165274"/>
                      <a:pt x="334975" y="152844"/>
                      <a:pt x="323462" y="139997"/>
                    </a:cubicBezTo>
                    <a:cubicBezTo>
                      <a:pt x="310198" y="125399"/>
                      <a:pt x="307528" y="114304"/>
                      <a:pt x="303106" y="95701"/>
                    </a:cubicBezTo>
                    <a:cubicBezTo>
                      <a:pt x="296933" y="69590"/>
                      <a:pt x="306193" y="43897"/>
                      <a:pt x="296432" y="17703"/>
                    </a:cubicBezTo>
                    <a:cubicBezTo>
                      <a:pt x="293345" y="9694"/>
                      <a:pt x="289341" y="-483"/>
                      <a:pt x="279163" y="18"/>
                    </a:cubicBezTo>
                    <a:cubicBezTo>
                      <a:pt x="264563" y="435"/>
                      <a:pt x="265397" y="17703"/>
                      <a:pt x="248629" y="13282"/>
                    </a:cubicBezTo>
                    <a:cubicBezTo>
                      <a:pt x="239785" y="11029"/>
                      <a:pt x="234446" y="2687"/>
                      <a:pt x="224268" y="7526"/>
                    </a:cubicBezTo>
                    <a:cubicBezTo>
                      <a:pt x="215425" y="11530"/>
                      <a:pt x="212338" y="23459"/>
                      <a:pt x="210085" y="31884"/>
                    </a:cubicBezTo>
                    <a:cubicBezTo>
                      <a:pt x="204746" y="53157"/>
                      <a:pt x="202577" y="77098"/>
                      <a:pt x="200324" y="98788"/>
                    </a:cubicBezTo>
                    <a:cubicBezTo>
                      <a:pt x="198990" y="111217"/>
                      <a:pt x="199407" y="121812"/>
                      <a:pt x="209668" y="130237"/>
                    </a:cubicBezTo>
                    <a:cubicBezTo>
                      <a:pt x="216760" y="136410"/>
                      <a:pt x="233111" y="139080"/>
                      <a:pt x="234446" y="150592"/>
                    </a:cubicBezTo>
                    <a:cubicBezTo>
                      <a:pt x="235781" y="159017"/>
                      <a:pt x="223851" y="170112"/>
                      <a:pt x="220263" y="177620"/>
                    </a:cubicBezTo>
                    <a:cubicBezTo>
                      <a:pt x="215425" y="186963"/>
                      <a:pt x="209168" y="208152"/>
                      <a:pt x="198155" y="212573"/>
                    </a:cubicBezTo>
                    <a:cubicBezTo>
                      <a:pt x="187560" y="216577"/>
                      <a:pt x="179968" y="205900"/>
                      <a:pt x="168956" y="205900"/>
                    </a:cubicBezTo>
                    <a:cubicBezTo>
                      <a:pt x="160530" y="205900"/>
                      <a:pt x="157026" y="211656"/>
                      <a:pt x="149017" y="204982"/>
                    </a:cubicBezTo>
                    <a:cubicBezTo>
                      <a:pt x="144178" y="200978"/>
                      <a:pt x="142843" y="194388"/>
                      <a:pt x="141509" y="189049"/>
                    </a:cubicBezTo>
                    <a:cubicBezTo>
                      <a:pt x="137504" y="176202"/>
                      <a:pt x="135335" y="168193"/>
                      <a:pt x="127326" y="157599"/>
                    </a:cubicBezTo>
                    <a:cubicBezTo>
                      <a:pt x="127326" y="157182"/>
                      <a:pt x="127326" y="157182"/>
                      <a:pt x="126909" y="156682"/>
                    </a:cubicBezTo>
                    <a:cubicBezTo>
                      <a:pt x="122487" y="159768"/>
                      <a:pt x="117565" y="163355"/>
                      <a:pt x="111809" y="166442"/>
                    </a:cubicBezTo>
                    <a:cubicBezTo>
                      <a:pt x="100296" y="173115"/>
                      <a:pt x="89200" y="174450"/>
                      <a:pt x="76853" y="171280"/>
                    </a:cubicBezTo>
                    <a:cubicBezTo>
                      <a:pt x="72848" y="170362"/>
                      <a:pt x="68844" y="168611"/>
                      <a:pt x="65757" y="166859"/>
                    </a:cubicBezTo>
                    <a:cubicBezTo>
                      <a:pt x="56914" y="162855"/>
                      <a:pt x="56413" y="163355"/>
                      <a:pt x="53827" y="166442"/>
                    </a:cubicBezTo>
                    <a:cubicBezTo>
                      <a:pt x="51574" y="169528"/>
                      <a:pt x="50323" y="177954"/>
                      <a:pt x="49405" y="184627"/>
                    </a:cubicBezTo>
                    <a:cubicBezTo>
                      <a:pt x="48988" y="189466"/>
                      <a:pt x="48070" y="193970"/>
                      <a:pt x="47153" y="197474"/>
                    </a:cubicBezTo>
                    <a:cubicBezTo>
                      <a:pt x="44483" y="205483"/>
                      <a:pt x="39144" y="220915"/>
                      <a:pt x="30301" y="232010"/>
                    </a:cubicBezTo>
                    <a:cubicBezTo>
                      <a:pt x="27214" y="235514"/>
                      <a:pt x="23626" y="237766"/>
                      <a:pt x="20540" y="240436"/>
                    </a:cubicBezTo>
                    <a:cubicBezTo>
                      <a:pt x="17453" y="242188"/>
                      <a:pt x="14783" y="244440"/>
                      <a:pt x="12531" y="247109"/>
                    </a:cubicBezTo>
                    <a:cubicBezTo>
                      <a:pt x="5856" y="256452"/>
                      <a:pt x="1018" y="271051"/>
                      <a:pt x="100" y="285650"/>
                    </a:cubicBezTo>
                    <a:cubicBezTo>
                      <a:pt x="-317" y="295827"/>
                      <a:pt x="517" y="303335"/>
                      <a:pt x="3604" y="309591"/>
                    </a:cubicBezTo>
                    <a:cubicBezTo>
                      <a:pt x="5856" y="314430"/>
                      <a:pt x="9360" y="316682"/>
                      <a:pt x="13782" y="319769"/>
                    </a:cubicBezTo>
                    <a:cubicBezTo>
                      <a:pt x="16869" y="322021"/>
                      <a:pt x="20456" y="324607"/>
                      <a:pt x="23960" y="328194"/>
                    </a:cubicBezTo>
                    <a:cubicBezTo>
                      <a:pt x="30134" y="334367"/>
                      <a:pt x="33304" y="341458"/>
                      <a:pt x="32386" y="348549"/>
                    </a:cubicBezTo>
                    <a:cubicBezTo>
                      <a:pt x="31969" y="352052"/>
                      <a:pt x="31051" y="355222"/>
                      <a:pt x="29299" y="358309"/>
                    </a:cubicBezTo>
                    <a:cubicBezTo>
                      <a:pt x="46986" y="383085"/>
                      <a:pt x="77103" y="422459"/>
                      <a:pt x="105468" y="42296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34920753" name="Полилиния 511"/>
              <p:cNvSpPr/>
              <p:nvPr/>
            </p:nvSpPr>
            <p:spPr bwMode="auto">
              <a:xfrm>
                <a:off x="4405333" y="3424676"/>
                <a:ext cx="300069" cy="287060"/>
              </a:xfrm>
              <a:custGeom>
                <a:avLst/>
                <a:gdLst>
                  <a:gd name="connsiteX0" fmla="*/ 331504 w 336988"/>
                  <a:gd name="connsiteY0" fmla="*/ 92723 h 322379"/>
                  <a:gd name="connsiteX1" fmla="*/ 323078 w 336988"/>
                  <a:gd name="connsiteY1" fmla="*/ 89219 h 322379"/>
                  <a:gd name="connsiteX2" fmla="*/ 305392 w 336988"/>
                  <a:gd name="connsiteY2" fmla="*/ 78124 h 322379"/>
                  <a:gd name="connsiteX3" fmla="*/ 314235 w 336988"/>
                  <a:gd name="connsiteY3" fmla="*/ 33411 h 322379"/>
                  <a:gd name="connsiteX4" fmla="*/ 315570 w 336988"/>
                  <a:gd name="connsiteY4" fmla="*/ 31659 h 322379"/>
                  <a:gd name="connsiteX5" fmla="*/ 328000 w 336988"/>
                  <a:gd name="connsiteY5" fmla="*/ 13974 h 322379"/>
                  <a:gd name="connsiteX6" fmla="*/ 333757 w 336988"/>
                  <a:gd name="connsiteY6" fmla="*/ 5965 h 322379"/>
                  <a:gd name="connsiteX7" fmla="*/ 332005 w 336988"/>
                  <a:gd name="connsiteY7" fmla="*/ 5548 h 322379"/>
                  <a:gd name="connsiteX8" fmla="*/ 281949 w 336988"/>
                  <a:gd name="connsiteY8" fmla="*/ 6883 h 322379"/>
                  <a:gd name="connsiteX9" fmla="*/ 272188 w 336988"/>
                  <a:gd name="connsiteY9" fmla="*/ 16643 h 322379"/>
                  <a:gd name="connsiteX10" fmla="*/ 248244 w 336988"/>
                  <a:gd name="connsiteY10" fmla="*/ 33911 h 322379"/>
                  <a:gd name="connsiteX11" fmla="*/ 222966 w 336988"/>
                  <a:gd name="connsiteY11" fmla="*/ 54266 h 322379"/>
                  <a:gd name="connsiteX12" fmla="*/ 175997 w 336988"/>
                  <a:gd name="connsiteY12" fmla="*/ 76873 h 322379"/>
                  <a:gd name="connsiteX13" fmla="*/ 144127 w 336988"/>
                  <a:gd name="connsiteY13" fmla="*/ 83546 h 322379"/>
                  <a:gd name="connsiteX14" fmla="*/ 130362 w 336988"/>
                  <a:gd name="connsiteY14" fmla="*/ 98145 h 322379"/>
                  <a:gd name="connsiteX15" fmla="*/ 114010 w 336988"/>
                  <a:gd name="connsiteY15" fmla="*/ 115830 h 322379"/>
                  <a:gd name="connsiteX16" fmla="*/ 76802 w 336988"/>
                  <a:gd name="connsiteY16" fmla="*/ 124255 h 322379"/>
                  <a:gd name="connsiteX17" fmla="*/ 64872 w 336988"/>
                  <a:gd name="connsiteY17" fmla="*/ 125173 h 322379"/>
                  <a:gd name="connsiteX18" fmla="*/ 41846 w 336988"/>
                  <a:gd name="connsiteY18" fmla="*/ 133182 h 322379"/>
                  <a:gd name="connsiteX19" fmla="*/ 28581 w 336988"/>
                  <a:gd name="connsiteY19" fmla="*/ 139355 h 322379"/>
                  <a:gd name="connsiteX20" fmla="*/ 16151 w 336988"/>
                  <a:gd name="connsiteY20" fmla="*/ 141607 h 322379"/>
                  <a:gd name="connsiteX21" fmla="*/ 19238 w 336988"/>
                  <a:gd name="connsiteY21" fmla="*/ 146445 h 322379"/>
                  <a:gd name="connsiteX22" fmla="*/ 23242 w 336988"/>
                  <a:gd name="connsiteY22" fmla="*/ 152201 h 322379"/>
                  <a:gd name="connsiteX23" fmla="*/ 14399 w 336988"/>
                  <a:gd name="connsiteY23" fmla="*/ 168135 h 322379"/>
                  <a:gd name="connsiteX24" fmla="*/ 2886 w 336988"/>
                  <a:gd name="connsiteY24" fmla="*/ 207593 h 322379"/>
                  <a:gd name="connsiteX25" fmla="*/ 6890 w 336988"/>
                  <a:gd name="connsiteY25" fmla="*/ 214266 h 322379"/>
                  <a:gd name="connsiteX26" fmla="*/ 13564 w 336988"/>
                  <a:gd name="connsiteY26" fmla="*/ 228865 h 322379"/>
                  <a:gd name="connsiteX27" fmla="*/ 12229 w 336988"/>
                  <a:gd name="connsiteY27" fmla="*/ 251472 h 322379"/>
                  <a:gd name="connsiteX28" fmla="*/ 15734 w 336988"/>
                  <a:gd name="connsiteY28" fmla="*/ 293099 h 322379"/>
                  <a:gd name="connsiteX29" fmla="*/ 19238 w 336988"/>
                  <a:gd name="connsiteY29" fmla="*/ 297103 h 322379"/>
                  <a:gd name="connsiteX30" fmla="*/ 28998 w 336988"/>
                  <a:gd name="connsiteY30" fmla="*/ 315706 h 322379"/>
                  <a:gd name="connsiteX31" fmla="*/ 28081 w 336988"/>
                  <a:gd name="connsiteY31" fmla="*/ 321044 h 322379"/>
                  <a:gd name="connsiteX32" fmla="*/ 27663 w 336988"/>
                  <a:gd name="connsiteY32" fmla="*/ 322379 h 322379"/>
                  <a:gd name="connsiteX33" fmla="*/ 45350 w 336988"/>
                  <a:gd name="connsiteY33" fmla="*/ 302859 h 322379"/>
                  <a:gd name="connsiteX34" fmla="*/ 71963 w 336988"/>
                  <a:gd name="connsiteY34" fmla="*/ 275831 h 322379"/>
                  <a:gd name="connsiteX35" fmla="*/ 170740 w 336988"/>
                  <a:gd name="connsiteY35" fmla="*/ 239543 h 322379"/>
                  <a:gd name="connsiteX36" fmla="*/ 179584 w 336988"/>
                  <a:gd name="connsiteY36" fmla="*/ 238208 h 322379"/>
                  <a:gd name="connsiteX37" fmla="*/ 219462 w 336988"/>
                  <a:gd name="connsiteY37" fmla="*/ 227113 h 322379"/>
                  <a:gd name="connsiteX38" fmla="*/ 232310 w 336988"/>
                  <a:gd name="connsiteY38" fmla="*/ 213349 h 322379"/>
                  <a:gd name="connsiteX39" fmla="*/ 246492 w 336988"/>
                  <a:gd name="connsiteY39" fmla="*/ 197833 h 322379"/>
                  <a:gd name="connsiteX40" fmla="*/ 278361 w 336988"/>
                  <a:gd name="connsiteY40" fmla="*/ 182316 h 322379"/>
                  <a:gd name="connsiteX41" fmla="*/ 319157 w 336988"/>
                  <a:gd name="connsiteY41" fmla="*/ 154370 h 322379"/>
                  <a:gd name="connsiteX42" fmla="*/ 320075 w 336988"/>
                  <a:gd name="connsiteY42" fmla="*/ 148614 h 322379"/>
                  <a:gd name="connsiteX43" fmla="*/ 325414 w 336988"/>
                  <a:gd name="connsiteY43" fmla="*/ 133515 h 322379"/>
                  <a:gd name="connsiteX44" fmla="*/ 329418 w 336988"/>
                  <a:gd name="connsiteY44" fmla="*/ 128677 h 322379"/>
                  <a:gd name="connsiteX45" fmla="*/ 333840 w 336988"/>
                  <a:gd name="connsiteY45" fmla="*/ 122504 h 322379"/>
                  <a:gd name="connsiteX46" fmla="*/ 331504 w 336988"/>
                  <a:gd name="connsiteY46" fmla="*/ 92723 h 32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36988" h="322379" extrusionOk="0">
                    <a:moveTo>
                      <a:pt x="331504" y="92723"/>
                    </a:moveTo>
                    <a:cubicBezTo>
                      <a:pt x="329752" y="91388"/>
                      <a:pt x="326666" y="90053"/>
                      <a:pt x="323078" y="89219"/>
                    </a:cubicBezTo>
                    <a:cubicBezTo>
                      <a:pt x="317322" y="87884"/>
                      <a:pt x="310230" y="85715"/>
                      <a:pt x="305392" y="78124"/>
                    </a:cubicBezTo>
                    <a:cubicBezTo>
                      <a:pt x="295631" y="62608"/>
                      <a:pt x="307143" y="44005"/>
                      <a:pt x="314235" y="33411"/>
                    </a:cubicBezTo>
                    <a:lnTo>
                      <a:pt x="315570" y="31659"/>
                    </a:lnTo>
                    <a:cubicBezTo>
                      <a:pt x="319574" y="25486"/>
                      <a:pt x="323996" y="19229"/>
                      <a:pt x="328000" y="13974"/>
                    </a:cubicBezTo>
                    <a:cubicBezTo>
                      <a:pt x="330253" y="11304"/>
                      <a:pt x="332005" y="8635"/>
                      <a:pt x="333757" y="5965"/>
                    </a:cubicBezTo>
                    <a:cubicBezTo>
                      <a:pt x="333340" y="5965"/>
                      <a:pt x="332422" y="5965"/>
                      <a:pt x="332005" y="5548"/>
                    </a:cubicBezTo>
                    <a:cubicBezTo>
                      <a:pt x="312983" y="209"/>
                      <a:pt x="296131" y="-4212"/>
                      <a:pt x="281949" y="6883"/>
                    </a:cubicBezTo>
                    <a:cubicBezTo>
                      <a:pt x="277944" y="9969"/>
                      <a:pt x="274857" y="13557"/>
                      <a:pt x="272188" y="16643"/>
                    </a:cubicBezTo>
                    <a:cubicBezTo>
                      <a:pt x="266431" y="23317"/>
                      <a:pt x="260675" y="30407"/>
                      <a:pt x="248244" y="33911"/>
                    </a:cubicBezTo>
                    <a:cubicBezTo>
                      <a:pt x="230975" y="39250"/>
                      <a:pt x="228722" y="39667"/>
                      <a:pt x="222966" y="54266"/>
                    </a:cubicBezTo>
                    <a:cubicBezTo>
                      <a:pt x="214540" y="74620"/>
                      <a:pt x="194183" y="75955"/>
                      <a:pt x="175997" y="76873"/>
                    </a:cubicBezTo>
                    <a:cubicBezTo>
                      <a:pt x="164483" y="77290"/>
                      <a:pt x="152971" y="78208"/>
                      <a:pt x="144127" y="83546"/>
                    </a:cubicBezTo>
                    <a:cubicBezTo>
                      <a:pt x="138788" y="87050"/>
                      <a:pt x="134784" y="92389"/>
                      <a:pt x="130362" y="98145"/>
                    </a:cubicBezTo>
                    <a:cubicBezTo>
                      <a:pt x="125940" y="104318"/>
                      <a:pt x="121018" y="110992"/>
                      <a:pt x="114010" y="115830"/>
                    </a:cubicBezTo>
                    <a:cubicBezTo>
                      <a:pt x="102497" y="123338"/>
                      <a:pt x="88732" y="123838"/>
                      <a:pt x="76802" y="124255"/>
                    </a:cubicBezTo>
                    <a:cubicBezTo>
                      <a:pt x="72797" y="124673"/>
                      <a:pt x="68793" y="124673"/>
                      <a:pt x="64872" y="125173"/>
                    </a:cubicBezTo>
                    <a:cubicBezTo>
                      <a:pt x="56029" y="126508"/>
                      <a:pt x="49354" y="129594"/>
                      <a:pt x="41846" y="133182"/>
                    </a:cubicBezTo>
                    <a:cubicBezTo>
                      <a:pt x="37425" y="135434"/>
                      <a:pt x="33420" y="137603"/>
                      <a:pt x="28581" y="139355"/>
                    </a:cubicBezTo>
                    <a:cubicBezTo>
                      <a:pt x="24160" y="141107"/>
                      <a:pt x="20155" y="141607"/>
                      <a:pt x="16151" y="141607"/>
                    </a:cubicBezTo>
                    <a:cubicBezTo>
                      <a:pt x="17068" y="143359"/>
                      <a:pt x="17903" y="145111"/>
                      <a:pt x="19238" y="146445"/>
                    </a:cubicBezTo>
                    <a:cubicBezTo>
                      <a:pt x="20572" y="147780"/>
                      <a:pt x="22324" y="149532"/>
                      <a:pt x="23242" y="152201"/>
                    </a:cubicBezTo>
                    <a:cubicBezTo>
                      <a:pt x="25912" y="160627"/>
                      <a:pt x="17486" y="166383"/>
                      <a:pt x="14399" y="168135"/>
                    </a:cubicBezTo>
                    <a:cubicBezTo>
                      <a:pt x="1551" y="176143"/>
                      <a:pt x="-3788" y="194245"/>
                      <a:pt x="2886" y="207593"/>
                    </a:cubicBezTo>
                    <a:cubicBezTo>
                      <a:pt x="3804" y="209845"/>
                      <a:pt x="5138" y="212014"/>
                      <a:pt x="6890" y="214266"/>
                    </a:cubicBezTo>
                    <a:cubicBezTo>
                      <a:pt x="9560" y="218688"/>
                      <a:pt x="12229" y="223109"/>
                      <a:pt x="13564" y="228865"/>
                    </a:cubicBezTo>
                    <a:cubicBezTo>
                      <a:pt x="15316" y="236873"/>
                      <a:pt x="13564" y="244381"/>
                      <a:pt x="12229" y="251472"/>
                    </a:cubicBezTo>
                    <a:cubicBezTo>
                      <a:pt x="9143" y="266571"/>
                      <a:pt x="6890" y="282921"/>
                      <a:pt x="15734" y="293099"/>
                    </a:cubicBezTo>
                    <a:cubicBezTo>
                      <a:pt x="16651" y="294433"/>
                      <a:pt x="17986" y="295768"/>
                      <a:pt x="19238" y="297103"/>
                    </a:cubicBezTo>
                    <a:cubicBezTo>
                      <a:pt x="23659" y="301524"/>
                      <a:pt x="29415" y="307280"/>
                      <a:pt x="28998" y="315706"/>
                    </a:cubicBezTo>
                    <a:cubicBezTo>
                      <a:pt x="28998" y="317958"/>
                      <a:pt x="28581" y="319710"/>
                      <a:pt x="28081" y="321044"/>
                    </a:cubicBezTo>
                    <a:cubicBezTo>
                      <a:pt x="28081" y="321462"/>
                      <a:pt x="28081" y="321962"/>
                      <a:pt x="27663" y="322379"/>
                    </a:cubicBezTo>
                    <a:cubicBezTo>
                      <a:pt x="34338" y="317541"/>
                      <a:pt x="39594" y="310450"/>
                      <a:pt x="45350" y="302859"/>
                    </a:cubicBezTo>
                    <a:cubicBezTo>
                      <a:pt x="52441" y="293099"/>
                      <a:pt x="60868" y="282921"/>
                      <a:pt x="71963" y="275831"/>
                    </a:cubicBezTo>
                    <a:cubicBezTo>
                      <a:pt x="99411" y="258563"/>
                      <a:pt x="136202" y="244798"/>
                      <a:pt x="170740" y="239543"/>
                    </a:cubicBezTo>
                    <a:lnTo>
                      <a:pt x="179584" y="238208"/>
                    </a:lnTo>
                    <a:cubicBezTo>
                      <a:pt x="194183" y="236456"/>
                      <a:pt x="208783" y="234204"/>
                      <a:pt x="219462" y="227113"/>
                    </a:cubicBezTo>
                    <a:cubicBezTo>
                      <a:pt x="224301" y="223609"/>
                      <a:pt x="228305" y="218688"/>
                      <a:pt x="232310" y="213349"/>
                    </a:cubicBezTo>
                    <a:cubicBezTo>
                      <a:pt x="236314" y="208010"/>
                      <a:pt x="240736" y="202254"/>
                      <a:pt x="246492" y="197833"/>
                    </a:cubicBezTo>
                    <a:cubicBezTo>
                      <a:pt x="254918" y="191159"/>
                      <a:pt x="266014" y="186737"/>
                      <a:pt x="278361" y="182316"/>
                    </a:cubicBezTo>
                    <a:cubicBezTo>
                      <a:pt x="296548" y="175226"/>
                      <a:pt x="315987" y="168135"/>
                      <a:pt x="319157" y="154370"/>
                    </a:cubicBezTo>
                    <a:cubicBezTo>
                      <a:pt x="319574" y="151701"/>
                      <a:pt x="320075" y="149949"/>
                      <a:pt x="320075" y="148614"/>
                    </a:cubicBezTo>
                    <a:cubicBezTo>
                      <a:pt x="320075" y="143776"/>
                      <a:pt x="320492" y="140189"/>
                      <a:pt x="325414" y="133515"/>
                    </a:cubicBezTo>
                    <a:cubicBezTo>
                      <a:pt x="326749" y="131763"/>
                      <a:pt x="328084" y="130011"/>
                      <a:pt x="329418" y="128677"/>
                    </a:cubicBezTo>
                    <a:cubicBezTo>
                      <a:pt x="331171" y="126425"/>
                      <a:pt x="332923" y="125173"/>
                      <a:pt x="333840" y="122504"/>
                    </a:cubicBezTo>
                    <a:cubicBezTo>
                      <a:pt x="338178" y="113077"/>
                      <a:pt x="338595" y="98896"/>
                      <a:pt x="331504" y="927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53956088" name="Полилиния 512"/>
              <p:cNvSpPr/>
              <p:nvPr/>
            </p:nvSpPr>
            <p:spPr bwMode="auto">
              <a:xfrm>
                <a:off x="5474553" y="2162725"/>
                <a:ext cx="1660286" cy="2606370"/>
              </a:xfrm>
              <a:custGeom>
                <a:avLst/>
                <a:gdLst>
                  <a:gd name="connsiteX0" fmla="*/ 1864465 w 1864556"/>
                  <a:gd name="connsiteY0" fmla="*/ 1025344 h 2927039"/>
                  <a:gd name="connsiteX1" fmla="*/ 1841440 w 1864556"/>
                  <a:gd name="connsiteY1" fmla="*/ 1004072 h 2927039"/>
                  <a:gd name="connsiteX2" fmla="*/ 1807735 w 1864556"/>
                  <a:gd name="connsiteY2" fmla="*/ 973040 h 2927039"/>
                  <a:gd name="connsiteX3" fmla="*/ 1798892 w 1864556"/>
                  <a:gd name="connsiteY3" fmla="*/ 935834 h 2927039"/>
                  <a:gd name="connsiteX4" fmla="*/ 1791801 w 1864556"/>
                  <a:gd name="connsiteY4" fmla="*/ 903050 h 2927039"/>
                  <a:gd name="connsiteX5" fmla="*/ 1758096 w 1864556"/>
                  <a:gd name="connsiteY5" fmla="*/ 871600 h 2927039"/>
                  <a:gd name="connsiteX6" fmla="*/ 1743496 w 1864556"/>
                  <a:gd name="connsiteY6" fmla="*/ 863175 h 2927039"/>
                  <a:gd name="connsiteX7" fmla="*/ 1721388 w 1864556"/>
                  <a:gd name="connsiteY7" fmla="*/ 836147 h 2927039"/>
                  <a:gd name="connsiteX8" fmla="*/ 1708541 w 1864556"/>
                  <a:gd name="connsiteY8" fmla="*/ 817544 h 2927039"/>
                  <a:gd name="connsiteX9" fmla="*/ 1705037 w 1864556"/>
                  <a:gd name="connsiteY9" fmla="*/ 814457 h 2927039"/>
                  <a:gd name="connsiteX10" fmla="*/ 1678423 w 1864556"/>
                  <a:gd name="connsiteY10" fmla="*/ 771079 h 2927039"/>
                  <a:gd name="connsiteX11" fmla="*/ 1677089 w 1864556"/>
                  <a:gd name="connsiteY11" fmla="*/ 753393 h 2927039"/>
                  <a:gd name="connsiteX12" fmla="*/ 1667328 w 1864556"/>
                  <a:gd name="connsiteY12" fmla="*/ 724196 h 2927039"/>
                  <a:gd name="connsiteX13" fmla="*/ 1648307 w 1864556"/>
                  <a:gd name="connsiteY13" fmla="*/ 663049 h 2927039"/>
                  <a:gd name="connsiteX14" fmla="*/ 1652728 w 1864556"/>
                  <a:gd name="connsiteY14" fmla="*/ 654207 h 2927039"/>
                  <a:gd name="connsiteX15" fmla="*/ 1657150 w 1864556"/>
                  <a:gd name="connsiteY15" fmla="*/ 640025 h 2927039"/>
                  <a:gd name="connsiteX16" fmla="*/ 1654063 w 1864556"/>
                  <a:gd name="connsiteY16" fmla="*/ 632934 h 2927039"/>
                  <a:gd name="connsiteX17" fmla="*/ 1649224 w 1864556"/>
                  <a:gd name="connsiteY17" fmla="*/ 615666 h 2927039"/>
                  <a:gd name="connsiteX18" fmla="*/ 1661655 w 1864556"/>
                  <a:gd name="connsiteY18" fmla="*/ 587720 h 2927039"/>
                  <a:gd name="connsiteX19" fmla="*/ 1654564 w 1864556"/>
                  <a:gd name="connsiteY19" fmla="*/ 579295 h 2927039"/>
                  <a:gd name="connsiteX20" fmla="*/ 1661655 w 1864556"/>
                  <a:gd name="connsiteY20" fmla="*/ 556271 h 2927039"/>
                  <a:gd name="connsiteX21" fmla="*/ 1645303 w 1864556"/>
                  <a:gd name="connsiteY21" fmla="*/ 559775 h 2927039"/>
                  <a:gd name="connsiteX22" fmla="*/ 1612516 w 1864556"/>
                  <a:gd name="connsiteY22" fmla="*/ 569952 h 2927039"/>
                  <a:gd name="connsiteX23" fmla="*/ 1573973 w 1864556"/>
                  <a:gd name="connsiteY23" fmla="*/ 622674 h 2927039"/>
                  <a:gd name="connsiteX24" fmla="*/ 1632456 w 1864556"/>
                  <a:gd name="connsiteY24" fmla="*/ 612496 h 2927039"/>
                  <a:gd name="connsiteX25" fmla="*/ 1627617 w 1864556"/>
                  <a:gd name="connsiteY25" fmla="*/ 633769 h 2927039"/>
                  <a:gd name="connsiteX26" fmla="*/ 1601504 w 1864556"/>
                  <a:gd name="connsiteY26" fmla="*/ 672309 h 2927039"/>
                  <a:gd name="connsiteX27" fmla="*/ 1581982 w 1864556"/>
                  <a:gd name="connsiteY27" fmla="*/ 680317 h 2927039"/>
                  <a:gd name="connsiteX28" fmla="*/ 1570470 w 1864556"/>
                  <a:gd name="connsiteY28" fmla="*/ 698920 h 2927039"/>
                  <a:gd name="connsiteX29" fmla="*/ 1549196 w 1864556"/>
                  <a:gd name="connsiteY29" fmla="*/ 714019 h 2927039"/>
                  <a:gd name="connsiteX30" fmla="*/ 1529256 w 1864556"/>
                  <a:gd name="connsiteY30" fmla="*/ 735708 h 2927039"/>
                  <a:gd name="connsiteX31" fmla="*/ 1471692 w 1864556"/>
                  <a:gd name="connsiteY31" fmla="*/ 763154 h 2927039"/>
                  <a:gd name="connsiteX32" fmla="*/ 1436235 w 1864556"/>
                  <a:gd name="connsiteY32" fmla="*/ 778253 h 2927039"/>
                  <a:gd name="connsiteX33" fmla="*/ 1438488 w 1864556"/>
                  <a:gd name="connsiteY33" fmla="*/ 811454 h 2927039"/>
                  <a:gd name="connsiteX34" fmla="*/ 1422971 w 1864556"/>
                  <a:gd name="connsiteY34" fmla="*/ 833561 h 2927039"/>
                  <a:gd name="connsiteX35" fmla="*/ 1418549 w 1864556"/>
                  <a:gd name="connsiteY35" fmla="*/ 836647 h 2927039"/>
                  <a:gd name="connsiteX36" fmla="*/ 1410540 w 1864556"/>
                  <a:gd name="connsiteY36" fmla="*/ 840151 h 2927039"/>
                  <a:gd name="connsiteX37" fmla="*/ 1409622 w 1864556"/>
                  <a:gd name="connsiteY37" fmla="*/ 839233 h 2927039"/>
                  <a:gd name="connsiteX38" fmla="*/ 1408705 w 1864556"/>
                  <a:gd name="connsiteY38" fmla="*/ 836981 h 2927039"/>
                  <a:gd name="connsiteX39" fmla="*/ 1409622 w 1864556"/>
                  <a:gd name="connsiteY39" fmla="*/ 835229 h 2927039"/>
                  <a:gd name="connsiteX40" fmla="*/ 1411875 w 1864556"/>
                  <a:gd name="connsiteY40" fmla="*/ 831725 h 2927039"/>
                  <a:gd name="connsiteX41" fmla="*/ 1417214 w 1864556"/>
                  <a:gd name="connsiteY41" fmla="*/ 824635 h 2927039"/>
                  <a:gd name="connsiteX42" fmla="*/ 1426057 w 1864556"/>
                  <a:gd name="connsiteY42" fmla="*/ 809118 h 2927039"/>
                  <a:gd name="connsiteX43" fmla="*/ 1430479 w 1864556"/>
                  <a:gd name="connsiteY43" fmla="*/ 759984 h 2927039"/>
                  <a:gd name="connsiteX44" fmla="*/ 1443327 w 1864556"/>
                  <a:gd name="connsiteY44" fmla="*/ 741381 h 2927039"/>
                  <a:gd name="connsiteX45" fmla="*/ 1461013 w 1864556"/>
                  <a:gd name="connsiteY45" fmla="*/ 728117 h 2927039"/>
                  <a:gd name="connsiteX46" fmla="*/ 1478700 w 1864556"/>
                  <a:gd name="connsiteY46" fmla="*/ 679817 h 2927039"/>
                  <a:gd name="connsiteX47" fmla="*/ 1521665 w 1864556"/>
                  <a:gd name="connsiteY47" fmla="*/ 644363 h 2927039"/>
                  <a:gd name="connsiteX48" fmla="*/ 1541603 w 1864556"/>
                  <a:gd name="connsiteY48" fmla="*/ 588972 h 2927039"/>
                  <a:gd name="connsiteX49" fmla="*/ 1571304 w 1864556"/>
                  <a:gd name="connsiteY49" fmla="*/ 557939 h 2927039"/>
                  <a:gd name="connsiteX50" fmla="*/ 1566464 w 1864556"/>
                  <a:gd name="connsiteY50" fmla="*/ 523820 h 2927039"/>
                  <a:gd name="connsiteX51" fmla="*/ 1596582 w 1864556"/>
                  <a:gd name="connsiteY51" fmla="*/ 482194 h 2927039"/>
                  <a:gd name="connsiteX52" fmla="*/ 1603673 w 1864556"/>
                  <a:gd name="connsiteY52" fmla="*/ 464008 h 2927039"/>
                  <a:gd name="connsiteX53" fmla="*/ 1623195 w 1864556"/>
                  <a:gd name="connsiteY53" fmla="*/ 445822 h 2927039"/>
                  <a:gd name="connsiteX54" fmla="*/ 1642717 w 1864556"/>
                  <a:gd name="connsiteY54" fmla="*/ 402861 h 2927039"/>
                  <a:gd name="connsiteX55" fmla="*/ 1654647 w 1864556"/>
                  <a:gd name="connsiteY55" fmla="*/ 385593 h 2927039"/>
                  <a:gd name="connsiteX56" fmla="*/ 1664408 w 1864556"/>
                  <a:gd name="connsiteY56" fmla="*/ 355061 h 2927039"/>
                  <a:gd name="connsiteX57" fmla="*/ 1665742 w 1864556"/>
                  <a:gd name="connsiteY57" fmla="*/ 274894 h 2927039"/>
                  <a:gd name="connsiteX58" fmla="*/ 1617939 w 1864556"/>
                  <a:gd name="connsiteY58" fmla="*/ 255373 h 2927039"/>
                  <a:gd name="connsiteX59" fmla="*/ 1624613 w 1864556"/>
                  <a:gd name="connsiteY59" fmla="*/ 245613 h 2927039"/>
                  <a:gd name="connsiteX60" fmla="*/ 1664908 w 1864556"/>
                  <a:gd name="connsiteY60" fmla="*/ 228345 h 2927039"/>
                  <a:gd name="connsiteX61" fmla="*/ 1651143 w 1864556"/>
                  <a:gd name="connsiteY61" fmla="*/ 207073 h 2927039"/>
                  <a:gd name="connsiteX62" fmla="*/ 1636043 w 1864556"/>
                  <a:gd name="connsiteY62" fmla="*/ 189388 h 2927039"/>
                  <a:gd name="connsiteX63" fmla="*/ 1599752 w 1864556"/>
                  <a:gd name="connsiteY63" fmla="*/ 155268 h 2927039"/>
                  <a:gd name="connsiteX64" fmla="*/ 1600669 w 1864556"/>
                  <a:gd name="connsiteY64" fmla="*/ 184966 h 2927039"/>
                  <a:gd name="connsiteX65" fmla="*/ 1582483 w 1864556"/>
                  <a:gd name="connsiteY65" fmla="*/ 165029 h 2927039"/>
                  <a:gd name="connsiteX66" fmla="*/ 1560374 w 1864556"/>
                  <a:gd name="connsiteY66" fmla="*/ 137583 h 2927039"/>
                  <a:gd name="connsiteX67" fmla="*/ 1528005 w 1864556"/>
                  <a:gd name="connsiteY67" fmla="*/ 111890 h 2927039"/>
                  <a:gd name="connsiteX68" fmla="*/ 1454506 w 1864556"/>
                  <a:gd name="connsiteY68" fmla="*/ 110555 h 2927039"/>
                  <a:gd name="connsiteX69" fmla="*/ 1436820 w 1864556"/>
                  <a:gd name="connsiteY69" fmla="*/ 116728 h 2927039"/>
                  <a:gd name="connsiteX70" fmla="*/ 1379255 w 1864556"/>
                  <a:gd name="connsiteY70" fmla="*/ 133996 h 2927039"/>
                  <a:gd name="connsiteX71" fmla="*/ 1370412 w 1864556"/>
                  <a:gd name="connsiteY71" fmla="*/ 155686 h 2927039"/>
                  <a:gd name="connsiteX72" fmla="*/ 1346051 w 1864556"/>
                  <a:gd name="connsiteY72" fmla="*/ 180962 h 2927039"/>
                  <a:gd name="connsiteX73" fmla="*/ 1315934 w 1864556"/>
                  <a:gd name="connsiteY73" fmla="*/ 187135 h 2927039"/>
                  <a:gd name="connsiteX74" fmla="*/ 1318604 w 1864556"/>
                  <a:gd name="connsiteY74" fmla="*/ 158355 h 2927039"/>
                  <a:gd name="connsiteX75" fmla="*/ 1334121 w 1864556"/>
                  <a:gd name="connsiteY75" fmla="*/ 107886 h 2927039"/>
                  <a:gd name="connsiteX76" fmla="*/ 1295578 w 1864556"/>
                  <a:gd name="connsiteY76" fmla="*/ 95456 h 2927039"/>
                  <a:gd name="connsiteX77" fmla="*/ 1272135 w 1864556"/>
                  <a:gd name="connsiteY77" fmla="*/ 105633 h 2927039"/>
                  <a:gd name="connsiteX78" fmla="*/ 1253948 w 1864556"/>
                  <a:gd name="connsiteY78" fmla="*/ 98960 h 2927039"/>
                  <a:gd name="connsiteX79" fmla="*/ 1204309 w 1864556"/>
                  <a:gd name="connsiteY79" fmla="*/ 103381 h 2927039"/>
                  <a:gd name="connsiteX80" fmla="*/ 1231756 w 1864556"/>
                  <a:gd name="connsiteY80" fmla="*/ 78605 h 2927039"/>
                  <a:gd name="connsiteX81" fmla="*/ 1258786 w 1864556"/>
                  <a:gd name="connsiteY81" fmla="*/ 44903 h 2927039"/>
                  <a:gd name="connsiteX82" fmla="*/ 1242852 w 1864556"/>
                  <a:gd name="connsiteY82" fmla="*/ 13871 h 2927039"/>
                  <a:gd name="connsiteX83" fmla="*/ 1221578 w 1864556"/>
                  <a:gd name="connsiteY83" fmla="*/ 13454 h 2927039"/>
                  <a:gd name="connsiteX84" fmla="*/ 1197218 w 1864556"/>
                  <a:gd name="connsiteY84" fmla="*/ 2359 h 2927039"/>
                  <a:gd name="connsiteX85" fmla="*/ 1147162 w 1864556"/>
                  <a:gd name="connsiteY85" fmla="*/ 16957 h 2927039"/>
                  <a:gd name="connsiteX86" fmla="*/ 1117962 w 1864556"/>
                  <a:gd name="connsiteY86" fmla="*/ 48824 h 2927039"/>
                  <a:gd name="connsiteX87" fmla="*/ 1108618 w 1864556"/>
                  <a:gd name="connsiteY87" fmla="*/ 61254 h 2927039"/>
                  <a:gd name="connsiteX88" fmla="*/ 1107284 w 1864556"/>
                  <a:gd name="connsiteY88" fmla="*/ 79856 h 2927039"/>
                  <a:gd name="connsiteX89" fmla="*/ 1095353 w 1864556"/>
                  <a:gd name="connsiteY89" fmla="*/ 101129 h 2927039"/>
                  <a:gd name="connsiteX90" fmla="*/ 1085593 w 1864556"/>
                  <a:gd name="connsiteY90" fmla="*/ 121483 h 2927039"/>
                  <a:gd name="connsiteX91" fmla="*/ 1080253 w 1864556"/>
                  <a:gd name="connsiteY91" fmla="*/ 148511 h 2927039"/>
                  <a:gd name="connsiteX92" fmla="*/ 1076749 w 1864556"/>
                  <a:gd name="connsiteY92" fmla="*/ 164862 h 2927039"/>
                  <a:gd name="connsiteX93" fmla="*/ 1086093 w 1864556"/>
                  <a:gd name="connsiteY93" fmla="*/ 182130 h 2927039"/>
                  <a:gd name="connsiteX94" fmla="*/ 1092267 w 1864556"/>
                  <a:gd name="connsiteY94" fmla="*/ 209158 h 2927039"/>
                  <a:gd name="connsiteX95" fmla="*/ 1117962 w 1864556"/>
                  <a:gd name="connsiteY95" fmla="*/ 229096 h 2927039"/>
                  <a:gd name="connsiteX96" fmla="*/ 1134815 w 1864556"/>
                  <a:gd name="connsiteY96" fmla="*/ 241525 h 2927039"/>
                  <a:gd name="connsiteX97" fmla="*/ 1116210 w 1864556"/>
                  <a:gd name="connsiteY97" fmla="*/ 239273 h 2927039"/>
                  <a:gd name="connsiteX98" fmla="*/ 1053723 w 1864556"/>
                  <a:gd name="connsiteY98" fmla="*/ 246781 h 2927039"/>
                  <a:gd name="connsiteX99" fmla="*/ 1028945 w 1864556"/>
                  <a:gd name="connsiteY99" fmla="*/ 250284 h 2927039"/>
                  <a:gd name="connsiteX100" fmla="*/ 1010341 w 1864556"/>
                  <a:gd name="connsiteY100" fmla="*/ 241859 h 2927039"/>
                  <a:gd name="connsiteX101" fmla="*/ 1029863 w 1864556"/>
                  <a:gd name="connsiteY101" fmla="*/ 286572 h 2927039"/>
                  <a:gd name="connsiteX102" fmla="*/ 1055142 w 1864556"/>
                  <a:gd name="connsiteY102" fmla="*/ 360983 h 2927039"/>
                  <a:gd name="connsiteX103" fmla="*/ 1041877 w 1864556"/>
                  <a:gd name="connsiteY103" fmla="*/ 402193 h 2927039"/>
                  <a:gd name="connsiteX104" fmla="*/ 1064903 w 1864556"/>
                  <a:gd name="connsiteY104" fmla="*/ 429221 h 2927039"/>
                  <a:gd name="connsiteX105" fmla="*/ 1089681 w 1864556"/>
                  <a:gd name="connsiteY105" fmla="*/ 466844 h 2927039"/>
                  <a:gd name="connsiteX106" fmla="*/ 1117628 w 1864556"/>
                  <a:gd name="connsiteY106" fmla="*/ 511557 h 2927039"/>
                  <a:gd name="connsiteX107" fmla="*/ 1119881 w 1864556"/>
                  <a:gd name="connsiteY107" fmla="*/ 530160 h 2927039"/>
                  <a:gd name="connsiteX108" fmla="*/ 1134063 w 1864556"/>
                  <a:gd name="connsiteY108" fmla="*/ 547845 h 2927039"/>
                  <a:gd name="connsiteX109" fmla="*/ 1179281 w 1864556"/>
                  <a:gd name="connsiteY109" fmla="*/ 560275 h 2927039"/>
                  <a:gd name="connsiteX110" fmla="*/ 1194798 w 1864556"/>
                  <a:gd name="connsiteY110" fmla="*/ 551850 h 2927039"/>
                  <a:gd name="connsiteX111" fmla="*/ 1219576 w 1864556"/>
                  <a:gd name="connsiteY111" fmla="*/ 549180 h 2927039"/>
                  <a:gd name="connsiteX112" fmla="*/ 1267380 w 1864556"/>
                  <a:gd name="connsiteY112" fmla="*/ 518148 h 2927039"/>
                  <a:gd name="connsiteX113" fmla="*/ 1271384 w 1864556"/>
                  <a:gd name="connsiteY113" fmla="*/ 490202 h 2927039"/>
                  <a:gd name="connsiteX114" fmla="*/ 1286901 w 1864556"/>
                  <a:gd name="connsiteY114" fmla="*/ 445906 h 2927039"/>
                  <a:gd name="connsiteX115" fmla="*/ 1315267 w 1864556"/>
                  <a:gd name="connsiteY115" fmla="*/ 475103 h 2927039"/>
                  <a:gd name="connsiteX116" fmla="*/ 1352475 w 1864556"/>
                  <a:gd name="connsiteY116" fmla="*/ 495958 h 2927039"/>
                  <a:gd name="connsiteX117" fmla="*/ 1310428 w 1864556"/>
                  <a:gd name="connsiteY117" fmla="*/ 514978 h 2927039"/>
                  <a:gd name="connsiteX118" fmla="*/ 1296245 w 1864556"/>
                  <a:gd name="connsiteY118" fmla="*/ 527407 h 2927039"/>
                  <a:gd name="connsiteX119" fmla="*/ 1274972 w 1864556"/>
                  <a:gd name="connsiteY119" fmla="*/ 544258 h 2927039"/>
                  <a:gd name="connsiteX120" fmla="*/ 1250611 w 1864556"/>
                  <a:gd name="connsiteY120" fmla="*/ 557522 h 2927039"/>
                  <a:gd name="connsiteX121" fmla="*/ 1234676 w 1864556"/>
                  <a:gd name="connsiteY121" fmla="*/ 573455 h 2927039"/>
                  <a:gd name="connsiteX122" fmla="*/ 1199720 w 1864556"/>
                  <a:gd name="connsiteY122" fmla="*/ 588972 h 2927039"/>
                  <a:gd name="connsiteX123" fmla="*/ 1211650 w 1864556"/>
                  <a:gd name="connsiteY123" fmla="*/ 620838 h 2927039"/>
                  <a:gd name="connsiteX124" fmla="*/ 1187290 w 1864556"/>
                  <a:gd name="connsiteY124" fmla="*/ 624843 h 2927039"/>
                  <a:gd name="connsiteX125" fmla="*/ 1164264 w 1864556"/>
                  <a:gd name="connsiteY125" fmla="*/ 613748 h 2927039"/>
                  <a:gd name="connsiteX126" fmla="*/ 1169103 w 1864556"/>
                  <a:gd name="connsiteY126" fmla="*/ 641693 h 2927039"/>
                  <a:gd name="connsiteX127" fmla="*/ 1194798 w 1864556"/>
                  <a:gd name="connsiteY127" fmla="*/ 682486 h 2927039"/>
                  <a:gd name="connsiteX128" fmla="*/ 1169520 w 1864556"/>
                  <a:gd name="connsiteY128" fmla="*/ 698419 h 2927039"/>
                  <a:gd name="connsiteX129" fmla="*/ 1156672 w 1864556"/>
                  <a:gd name="connsiteY129" fmla="*/ 641693 h 2927039"/>
                  <a:gd name="connsiteX130" fmla="*/ 1119881 w 1864556"/>
                  <a:gd name="connsiteY130" fmla="*/ 621756 h 2927039"/>
                  <a:gd name="connsiteX131" fmla="*/ 1105281 w 1864556"/>
                  <a:gd name="connsiteY131" fmla="*/ 651454 h 2927039"/>
                  <a:gd name="connsiteX132" fmla="*/ 1115042 w 1864556"/>
                  <a:gd name="connsiteY132" fmla="*/ 679817 h 2927039"/>
                  <a:gd name="connsiteX133" fmla="*/ 1085843 w 1864556"/>
                  <a:gd name="connsiteY133" fmla="*/ 663466 h 2927039"/>
                  <a:gd name="connsiteX134" fmla="*/ 1082756 w 1864556"/>
                  <a:gd name="connsiteY134" fmla="*/ 640442 h 2927039"/>
                  <a:gd name="connsiteX135" fmla="*/ 1074747 w 1864556"/>
                  <a:gd name="connsiteY135" fmla="*/ 623591 h 2927039"/>
                  <a:gd name="connsiteX136" fmla="*/ 1071660 w 1864556"/>
                  <a:gd name="connsiteY136" fmla="*/ 611162 h 2927039"/>
                  <a:gd name="connsiteX137" fmla="*/ 1093768 w 1864556"/>
                  <a:gd name="connsiteY137" fmla="*/ 608075 h 2927039"/>
                  <a:gd name="connsiteX138" fmla="*/ 1116794 w 1864556"/>
                  <a:gd name="connsiteY138" fmla="*/ 581964 h 2927039"/>
                  <a:gd name="connsiteX139" fmla="*/ 1103029 w 1864556"/>
                  <a:gd name="connsiteY139" fmla="*/ 545176 h 2927039"/>
                  <a:gd name="connsiteX140" fmla="*/ 1107867 w 1864556"/>
                  <a:gd name="connsiteY140" fmla="*/ 504884 h 2927039"/>
                  <a:gd name="connsiteX141" fmla="*/ 1084842 w 1864556"/>
                  <a:gd name="connsiteY141" fmla="*/ 480942 h 2927039"/>
                  <a:gd name="connsiteX142" fmla="*/ 1080003 w 1864556"/>
                  <a:gd name="connsiteY142" fmla="*/ 463257 h 2927039"/>
                  <a:gd name="connsiteX143" fmla="*/ 1068073 w 1864556"/>
                  <a:gd name="connsiteY143" fmla="*/ 453080 h 2927039"/>
                  <a:gd name="connsiteX144" fmla="*/ 1057895 w 1864556"/>
                  <a:gd name="connsiteY144" fmla="*/ 435395 h 2927039"/>
                  <a:gd name="connsiteX145" fmla="*/ 1036621 w 1864556"/>
                  <a:gd name="connsiteY145" fmla="*/ 420796 h 2927039"/>
                  <a:gd name="connsiteX146" fmla="*/ 1050804 w 1864556"/>
                  <a:gd name="connsiteY146" fmla="*/ 349888 h 2927039"/>
                  <a:gd name="connsiteX147" fmla="*/ 1037038 w 1864556"/>
                  <a:gd name="connsiteY147" fmla="*/ 309596 h 2927039"/>
                  <a:gd name="connsiteX148" fmla="*/ 987399 w 1864556"/>
                  <a:gd name="connsiteY148" fmla="*/ 313100 h 2927039"/>
                  <a:gd name="connsiteX149" fmla="*/ 961704 w 1864556"/>
                  <a:gd name="connsiteY149" fmla="*/ 344133 h 2927039"/>
                  <a:gd name="connsiteX150" fmla="*/ 933756 w 1864556"/>
                  <a:gd name="connsiteY150" fmla="*/ 348554 h 2927039"/>
                  <a:gd name="connsiteX151" fmla="*/ 918238 w 1864556"/>
                  <a:gd name="connsiteY151" fmla="*/ 360983 h 2927039"/>
                  <a:gd name="connsiteX152" fmla="*/ 909395 w 1864556"/>
                  <a:gd name="connsiteY152" fmla="*/ 352141 h 2927039"/>
                  <a:gd name="connsiteX153" fmla="*/ 893878 w 1864556"/>
                  <a:gd name="connsiteY153" fmla="*/ 363653 h 2927039"/>
                  <a:gd name="connsiteX154" fmla="*/ 889039 w 1864556"/>
                  <a:gd name="connsiteY154" fmla="*/ 353893 h 2927039"/>
                  <a:gd name="connsiteX155" fmla="*/ 870017 w 1864556"/>
                  <a:gd name="connsiteY155" fmla="*/ 330869 h 2927039"/>
                  <a:gd name="connsiteX156" fmla="*/ 774327 w 1864556"/>
                  <a:gd name="connsiteY156" fmla="*/ 350806 h 2927039"/>
                  <a:gd name="connsiteX157" fmla="*/ 767236 w 1864556"/>
                  <a:gd name="connsiteY157" fmla="*/ 368491 h 2927039"/>
                  <a:gd name="connsiteX158" fmla="*/ 796936 w 1864556"/>
                  <a:gd name="connsiteY158" fmla="*/ 371995 h 2927039"/>
                  <a:gd name="connsiteX159" fmla="*/ 790762 w 1864556"/>
                  <a:gd name="connsiteY159" fmla="*/ 386176 h 2927039"/>
                  <a:gd name="connsiteX160" fmla="*/ 764649 w 1864556"/>
                  <a:gd name="connsiteY160" fmla="*/ 394185 h 2927039"/>
                  <a:gd name="connsiteX161" fmla="*/ 716846 w 1864556"/>
                  <a:gd name="connsiteY161" fmla="*/ 412370 h 2927039"/>
                  <a:gd name="connsiteX162" fmla="*/ 670294 w 1864556"/>
                  <a:gd name="connsiteY162" fmla="*/ 429639 h 2927039"/>
                  <a:gd name="connsiteX163" fmla="*/ 646851 w 1864556"/>
                  <a:gd name="connsiteY163" fmla="*/ 431891 h 2927039"/>
                  <a:gd name="connsiteX164" fmla="*/ 629164 w 1864556"/>
                  <a:gd name="connsiteY164" fmla="*/ 447824 h 2927039"/>
                  <a:gd name="connsiteX165" fmla="*/ 586617 w 1864556"/>
                  <a:gd name="connsiteY165" fmla="*/ 463340 h 2927039"/>
                  <a:gd name="connsiteX166" fmla="*/ 561338 w 1864556"/>
                  <a:gd name="connsiteY166" fmla="*/ 501881 h 2927039"/>
                  <a:gd name="connsiteX167" fmla="*/ 488674 w 1864556"/>
                  <a:gd name="connsiteY167" fmla="*/ 578544 h 2927039"/>
                  <a:gd name="connsiteX168" fmla="*/ 479830 w 1864556"/>
                  <a:gd name="connsiteY168" fmla="*/ 596730 h 2927039"/>
                  <a:gd name="connsiteX169" fmla="*/ 482083 w 1864556"/>
                  <a:gd name="connsiteY169" fmla="*/ 607324 h 2927039"/>
                  <a:gd name="connsiteX170" fmla="*/ 477661 w 1864556"/>
                  <a:gd name="connsiteY170" fmla="*/ 632601 h 2927039"/>
                  <a:gd name="connsiteX171" fmla="*/ 494931 w 1864556"/>
                  <a:gd name="connsiteY171" fmla="*/ 643696 h 2927039"/>
                  <a:gd name="connsiteX172" fmla="*/ 486922 w 1864556"/>
                  <a:gd name="connsiteY172" fmla="*/ 653456 h 2927039"/>
                  <a:gd name="connsiteX173" fmla="*/ 449713 w 1864556"/>
                  <a:gd name="connsiteY173" fmla="*/ 637940 h 2927039"/>
                  <a:gd name="connsiteX174" fmla="*/ 464313 w 1864556"/>
                  <a:gd name="connsiteY174" fmla="*/ 674728 h 2927039"/>
                  <a:gd name="connsiteX175" fmla="*/ 477578 w 1864556"/>
                  <a:gd name="connsiteY175" fmla="*/ 692914 h 2927039"/>
                  <a:gd name="connsiteX176" fmla="*/ 493095 w 1864556"/>
                  <a:gd name="connsiteY176" fmla="*/ 707512 h 2927039"/>
                  <a:gd name="connsiteX177" fmla="*/ 472739 w 1864556"/>
                  <a:gd name="connsiteY177" fmla="*/ 732789 h 2927039"/>
                  <a:gd name="connsiteX178" fmla="*/ 424435 w 1864556"/>
                  <a:gd name="connsiteY178" fmla="*/ 742549 h 2927039"/>
                  <a:gd name="connsiteX179" fmla="*/ 386809 w 1864556"/>
                  <a:gd name="connsiteY179" fmla="*/ 760735 h 2927039"/>
                  <a:gd name="connsiteX180" fmla="*/ 360697 w 1864556"/>
                  <a:gd name="connsiteY180" fmla="*/ 750557 h 2927039"/>
                  <a:gd name="connsiteX181" fmla="*/ 328327 w 1864556"/>
                  <a:gd name="connsiteY181" fmla="*/ 758983 h 2927039"/>
                  <a:gd name="connsiteX182" fmla="*/ 272515 w 1864556"/>
                  <a:gd name="connsiteY182" fmla="*/ 752810 h 2927039"/>
                  <a:gd name="connsiteX183" fmla="*/ 216702 w 1864556"/>
                  <a:gd name="connsiteY183" fmla="*/ 756313 h 2927039"/>
                  <a:gd name="connsiteX184" fmla="*/ 167063 w 1864556"/>
                  <a:gd name="connsiteY184" fmla="*/ 769160 h 2927039"/>
                  <a:gd name="connsiteX185" fmla="*/ 143620 w 1864556"/>
                  <a:gd name="connsiteY185" fmla="*/ 815208 h 2927039"/>
                  <a:gd name="connsiteX186" fmla="*/ 160472 w 1864556"/>
                  <a:gd name="connsiteY186" fmla="*/ 851496 h 2927039"/>
                  <a:gd name="connsiteX187" fmla="*/ 149377 w 1864556"/>
                  <a:gd name="connsiteY187" fmla="*/ 918399 h 2927039"/>
                  <a:gd name="connsiteX188" fmla="*/ 161306 w 1864556"/>
                  <a:gd name="connsiteY188" fmla="*/ 965365 h 2927039"/>
                  <a:gd name="connsiteX189" fmla="*/ 208276 w 1864556"/>
                  <a:gd name="connsiteY189" fmla="*/ 993728 h 2927039"/>
                  <a:gd name="connsiteX190" fmla="*/ 241480 w 1864556"/>
                  <a:gd name="connsiteY190" fmla="*/ 1064135 h 2927039"/>
                  <a:gd name="connsiteX191" fmla="*/ 280440 w 1864556"/>
                  <a:gd name="connsiteY191" fmla="*/ 1095167 h 2927039"/>
                  <a:gd name="connsiteX192" fmla="*/ 268510 w 1864556"/>
                  <a:gd name="connsiteY192" fmla="*/ 1143885 h 2927039"/>
                  <a:gd name="connsiteX193" fmla="*/ 270262 w 1864556"/>
                  <a:gd name="connsiteY193" fmla="*/ 1263927 h 2927039"/>
                  <a:gd name="connsiteX194" fmla="*/ 262253 w 1864556"/>
                  <a:gd name="connsiteY194" fmla="*/ 1330830 h 2927039"/>
                  <a:gd name="connsiteX195" fmla="*/ 237475 w 1864556"/>
                  <a:gd name="connsiteY195" fmla="*/ 1340591 h 2927039"/>
                  <a:gd name="connsiteX196" fmla="*/ 233471 w 1864556"/>
                  <a:gd name="connsiteY196" fmla="*/ 1358776 h 2927039"/>
                  <a:gd name="connsiteX197" fmla="*/ 212197 w 1864556"/>
                  <a:gd name="connsiteY197" fmla="*/ 1373375 h 2927039"/>
                  <a:gd name="connsiteX198" fmla="*/ 214867 w 1864556"/>
                  <a:gd name="connsiteY198" fmla="*/ 1336169 h 2927039"/>
                  <a:gd name="connsiteX199" fmla="*/ 234388 w 1864556"/>
                  <a:gd name="connsiteY199" fmla="*/ 1282530 h 2927039"/>
                  <a:gd name="connsiteX200" fmla="*/ 240562 w 1864556"/>
                  <a:gd name="connsiteY200" fmla="*/ 1235147 h 2927039"/>
                  <a:gd name="connsiteX201" fmla="*/ 225962 w 1864556"/>
                  <a:gd name="connsiteY201" fmla="*/ 1226304 h 2927039"/>
                  <a:gd name="connsiteX202" fmla="*/ 214032 w 1864556"/>
                  <a:gd name="connsiteY202" fmla="*/ 1244490 h 2927039"/>
                  <a:gd name="connsiteX203" fmla="*/ 207358 w 1864556"/>
                  <a:gd name="connsiteY203" fmla="*/ 1260840 h 2927039"/>
                  <a:gd name="connsiteX204" fmla="*/ 200267 w 1864556"/>
                  <a:gd name="connsiteY204" fmla="*/ 1272353 h 2927039"/>
                  <a:gd name="connsiteX205" fmla="*/ 195845 w 1864556"/>
                  <a:gd name="connsiteY205" fmla="*/ 1267014 h 2927039"/>
                  <a:gd name="connsiteX206" fmla="*/ 196263 w 1864556"/>
                  <a:gd name="connsiteY206" fmla="*/ 1261675 h 2927039"/>
                  <a:gd name="connsiteX207" fmla="*/ 197180 w 1864556"/>
                  <a:gd name="connsiteY207" fmla="*/ 1245741 h 2927039"/>
                  <a:gd name="connsiteX208" fmla="*/ 199850 w 1864556"/>
                  <a:gd name="connsiteY208" fmla="*/ 1223635 h 2927039"/>
                  <a:gd name="connsiteX209" fmla="*/ 224211 w 1864556"/>
                  <a:gd name="connsiteY209" fmla="*/ 1157649 h 2927039"/>
                  <a:gd name="connsiteX210" fmla="*/ 255245 w 1864556"/>
                  <a:gd name="connsiteY210" fmla="*/ 1094333 h 2927039"/>
                  <a:gd name="connsiteX211" fmla="*/ 167063 w 1864556"/>
                  <a:gd name="connsiteY211" fmla="*/ 1079734 h 2927039"/>
                  <a:gd name="connsiteX212" fmla="*/ 145372 w 1864556"/>
                  <a:gd name="connsiteY212" fmla="*/ 1035438 h 2927039"/>
                  <a:gd name="connsiteX213" fmla="*/ 111250 w 1864556"/>
                  <a:gd name="connsiteY213" fmla="*/ 999150 h 2927039"/>
                  <a:gd name="connsiteX214" fmla="*/ 82468 w 1864556"/>
                  <a:gd name="connsiteY214" fmla="*/ 965448 h 2927039"/>
                  <a:gd name="connsiteX215" fmla="*/ 44843 w 1864556"/>
                  <a:gd name="connsiteY215" fmla="*/ 951684 h 2927039"/>
                  <a:gd name="connsiteX216" fmla="*/ 49681 w 1864556"/>
                  <a:gd name="connsiteY216" fmla="*/ 973790 h 2927039"/>
                  <a:gd name="connsiteX217" fmla="*/ 75794 w 1864556"/>
                  <a:gd name="connsiteY217" fmla="*/ 1013665 h 2927039"/>
                  <a:gd name="connsiteX218" fmla="*/ 85972 w 1864556"/>
                  <a:gd name="connsiteY218" fmla="*/ 1018504 h 2927039"/>
                  <a:gd name="connsiteX219" fmla="*/ 118759 w 1864556"/>
                  <a:gd name="connsiteY219" fmla="*/ 1054375 h 2927039"/>
                  <a:gd name="connsiteX220" fmla="*/ 87307 w 1864556"/>
                  <a:gd name="connsiteY220" fmla="*/ 1105762 h 2927039"/>
                  <a:gd name="connsiteX221" fmla="*/ 83803 w 1864556"/>
                  <a:gd name="connsiteY221" fmla="*/ 1108014 h 2927039"/>
                  <a:gd name="connsiteX222" fmla="*/ 54103 w 1864556"/>
                  <a:gd name="connsiteY222" fmla="*/ 1141216 h 2927039"/>
                  <a:gd name="connsiteX223" fmla="*/ 79799 w 1864556"/>
                  <a:gd name="connsiteY223" fmla="*/ 1170413 h 2927039"/>
                  <a:gd name="connsiteX224" fmla="*/ 85138 w 1864556"/>
                  <a:gd name="connsiteY224" fmla="*/ 1173499 h 2927039"/>
                  <a:gd name="connsiteX225" fmla="*/ 117924 w 1864556"/>
                  <a:gd name="connsiteY225" fmla="*/ 1277191 h 2927039"/>
                  <a:gd name="connsiteX226" fmla="*/ 82468 w 1864556"/>
                  <a:gd name="connsiteY226" fmla="*/ 1320570 h 2927039"/>
                  <a:gd name="connsiteX227" fmla="*/ 26238 w 1864556"/>
                  <a:gd name="connsiteY227" fmla="*/ 1358192 h 2927039"/>
                  <a:gd name="connsiteX228" fmla="*/ 543 w 1864556"/>
                  <a:gd name="connsiteY228" fmla="*/ 1404240 h 2927039"/>
                  <a:gd name="connsiteX229" fmla="*/ 12974 w 1864556"/>
                  <a:gd name="connsiteY229" fmla="*/ 1425930 h 2927039"/>
                  <a:gd name="connsiteX230" fmla="*/ 27156 w 1864556"/>
                  <a:gd name="connsiteY230" fmla="*/ 1448954 h 2927039"/>
                  <a:gd name="connsiteX231" fmla="*/ 60861 w 1864556"/>
                  <a:gd name="connsiteY231" fmla="*/ 1480821 h 2927039"/>
                  <a:gd name="connsiteX232" fmla="*/ 80382 w 1864556"/>
                  <a:gd name="connsiteY232" fmla="*/ 1495002 h 2927039"/>
                  <a:gd name="connsiteX233" fmla="*/ 102073 w 1864556"/>
                  <a:gd name="connsiteY233" fmla="*/ 1506931 h 2927039"/>
                  <a:gd name="connsiteX234" fmla="*/ 114504 w 1864556"/>
                  <a:gd name="connsiteY234" fmla="*/ 1500758 h 2927039"/>
                  <a:gd name="connsiteX235" fmla="*/ 145038 w 1864556"/>
                  <a:gd name="connsiteY235" fmla="*/ 1493250 h 2927039"/>
                  <a:gd name="connsiteX236" fmla="*/ 156968 w 1864556"/>
                  <a:gd name="connsiteY236" fmla="*/ 1510935 h 2927039"/>
                  <a:gd name="connsiteX237" fmla="*/ 157886 w 1864556"/>
                  <a:gd name="connsiteY237" fmla="*/ 1515774 h 2927039"/>
                  <a:gd name="connsiteX238" fmla="*/ 164060 w 1864556"/>
                  <a:gd name="connsiteY238" fmla="*/ 1525117 h 2927039"/>
                  <a:gd name="connsiteX239" fmla="*/ 168481 w 1864556"/>
                  <a:gd name="connsiteY239" fmla="*/ 1529121 h 2927039"/>
                  <a:gd name="connsiteX240" fmla="*/ 171568 w 1864556"/>
                  <a:gd name="connsiteY240" fmla="*/ 1531790 h 2927039"/>
                  <a:gd name="connsiteX241" fmla="*/ 178659 w 1864556"/>
                  <a:gd name="connsiteY241" fmla="*/ 1541551 h 2927039"/>
                  <a:gd name="connsiteX242" fmla="*/ 183081 w 1864556"/>
                  <a:gd name="connsiteY242" fmla="*/ 1559736 h 2927039"/>
                  <a:gd name="connsiteX243" fmla="*/ 185334 w 1864556"/>
                  <a:gd name="connsiteY243" fmla="*/ 1571665 h 2927039"/>
                  <a:gd name="connsiteX244" fmla="*/ 191507 w 1864556"/>
                  <a:gd name="connsiteY244" fmla="*/ 1584929 h 2927039"/>
                  <a:gd name="connsiteX245" fmla="*/ 194177 w 1864556"/>
                  <a:gd name="connsiteY245" fmla="*/ 1631478 h 2927039"/>
                  <a:gd name="connsiteX246" fmla="*/ 188837 w 1864556"/>
                  <a:gd name="connsiteY246" fmla="*/ 1637651 h 2927039"/>
                  <a:gd name="connsiteX247" fmla="*/ 183999 w 1864556"/>
                  <a:gd name="connsiteY247" fmla="*/ 1644325 h 2927039"/>
                  <a:gd name="connsiteX248" fmla="*/ 185334 w 1864556"/>
                  <a:gd name="connsiteY248" fmla="*/ 1655420 h 2927039"/>
                  <a:gd name="connsiteX249" fmla="*/ 188003 w 1864556"/>
                  <a:gd name="connsiteY249" fmla="*/ 1666931 h 2927039"/>
                  <a:gd name="connsiteX250" fmla="*/ 184916 w 1864556"/>
                  <a:gd name="connsiteY250" fmla="*/ 1688621 h 2927039"/>
                  <a:gd name="connsiteX251" fmla="*/ 179577 w 1864556"/>
                  <a:gd name="connsiteY251" fmla="*/ 1697463 h 2927039"/>
                  <a:gd name="connsiteX252" fmla="*/ 176490 w 1864556"/>
                  <a:gd name="connsiteY252" fmla="*/ 1701885 h 2927039"/>
                  <a:gd name="connsiteX253" fmla="*/ 171151 w 1864556"/>
                  <a:gd name="connsiteY253" fmla="*/ 1713814 h 2927039"/>
                  <a:gd name="connsiteX254" fmla="*/ 160973 w 1864556"/>
                  <a:gd name="connsiteY254" fmla="*/ 1732416 h 2927039"/>
                  <a:gd name="connsiteX255" fmla="*/ 141451 w 1864556"/>
                  <a:gd name="connsiteY255" fmla="*/ 1744346 h 2927039"/>
                  <a:gd name="connsiteX256" fmla="*/ 127686 w 1864556"/>
                  <a:gd name="connsiteY256" fmla="*/ 1761614 h 2927039"/>
                  <a:gd name="connsiteX257" fmla="*/ 136529 w 1864556"/>
                  <a:gd name="connsiteY257" fmla="*/ 1782886 h 2927039"/>
                  <a:gd name="connsiteX258" fmla="*/ 146290 w 1864556"/>
                  <a:gd name="connsiteY258" fmla="*/ 1825430 h 2927039"/>
                  <a:gd name="connsiteX259" fmla="*/ 144037 w 1864556"/>
                  <a:gd name="connsiteY259" fmla="*/ 1835608 h 2927039"/>
                  <a:gd name="connsiteX260" fmla="*/ 146707 w 1864556"/>
                  <a:gd name="connsiteY260" fmla="*/ 1874565 h 2927039"/>
                  <a:gd name="connsiteX261" fmla="*/ 163058 w 1864556"/>
                  <a:gd name="connsiteY261" fmla="*/ 1894086 h 2927039"/>
                  <a:gd name="connsiteX262" fmla="*/ 189171 w 1864556"/>
                  <a:gd name="connsiteY262" fmla="*/ 1931291 h 2927039"/>
                  <a:gd name="connsiteX263" fmla="*/ 191841 w 1864556"/>
                  <a:gd name="connsiteY263" fmla="*/ 1964993 h 2927039"/>
                  <a:gd name="connsiteX264" fmla="*/ 187002 w 1864556"/>
                  <a:gd name="connsiteY264" fmla="*/ 1977840 h 2927039"/>
                  <a:gd name="connsiteX265" fmla="*/ 183498 w 1864556"/>
                  <a:gd name="connsiteY265" fmla="*/ 1991604 h 2927039"/>
                  <a:gd name="connsiteX266" fmla="*/ 190589 w 1864556"/>
                  <a:gd name="connsiteY266" fmla="*/ 2004868 h 2927039"/>
                  <a:gd name="connsiteX267" fmla="*/ 198598 w 1864556"/>
                  <a:gd name="connsiteY267" fmla="*/ 2017715 h 2927039"/>
                  <a:gd name="connsiteX268" fmla="*/ 198598 w 1864556"/>
                  <a:gd name="connsiteY268" fmla="*/ 2053168 h 2927039"/>
                  <a:gd name="connsiteX269" fmla="*/ 197681 w 1864556"/>
                  <a:gd name="connsiteY269" fmla="*/ 2055421 h 2927039"/>
                  <a:gd name="connsiteX270" fmla="*/ 225629 w 1864556"/>
                  <a:gd name="connsiteY270" fmla="*/ 2109477 h 2927039"/>
                  <a:gd name="connsiteX271" fmla="*/ 258416 w 1864556"/>
                  <a:gd name="connsiteY271" fmla="*/ 2144431 h 2927039"/>
                  <a:gd name="connsiteX272" fmla="*/ 257081 w 1864556"/>
                  <a:gd name="connsiteY272" fmla="*/ 2209999 h 2927039"/>
                  <a:gd name="connsiteX273" fmla="*/ 254828 w 1864556"/>
                  <a:gd name="connsiteY273" fmla="*/ 2213503 h 2927039"/>
                  <a:gd name="connsiteX274" fmla="*/ 246819 w 1864556"/>
                  <a:gd name="connsiteY274" fmla="*/ 2252961 h 2927039"/>
                  <a:gd name="connsiteX275" fmla="*/ 252576 w 1864556"/>
                  <a:gd name="connsiteY275" fmla="*/ 2253378 h 2927039"/>
                  <a:gd name="connsiteX276" fmla="*/ 259250 w 1864556"/>
                  <a:gd name="connsiteY276" fmla="*/ 2253378 h 2927039"/>
                  <a:gd name="connsiteX277" fmla="*/ 286697 w 1864556"/>
                  <a:gd name="connsiteY277" fmla="*/ 2266225 h 2927039"/>
                  <a:gd name="connsiteX278" fmla="*/ 303966 w 1864556"/>
                  <a:gd name="connsiteY278" fmla="*/ 2275067 h 2927039"/>
                  <a:gd name="connsiteX279" fmla="*/ 312392 w 1864556"/>
                  <a:gd name="connsiteY279" fmla="*/ 2274150 h 2927039"/>
                  <a:gd name="connsiteX280" fmla="*/ 336753 w 1864556"/>
                  <a:gd name="connsiteY280" fmla="*/ 2278988 h 2927039"/>
                  <a:gd name="connsiteX281" fmla="*/ 347849 w 1864556"/>
                  <a:gd name="connsiteY281" fmla="*/ 2321032 h 2927039"/>
                  <a:gd name="connsiteX282" fmla="*/ 348266 w 1864556"/>
                  <a:gd name="connsiteY282" fmla="*/ 2329040 h 2927039"/>
                  <a:gd name="connsiteX283" fmla="*/ 349184 w 1864556"/>
                  <a:gd name="connsiteY283" fmla="*/ 2343222 h 2927039"/>
                  <a:gd name="connsiteX284" fmla="*/ 344345 w 1864556"/>
                  <a:gd name="connsiteY284" fmla="*/ 2402617 h 2927039"/>
                  <a:gd name="connsiteX285" fmla="*/ 321319 w 1864556"/>
                  <a:gd name="connsiteY285" fmla="*/ 2429645 h 2927039"/>
                  <a:gd name="connsiteX286" fmla="*/ 304467 w 1864556"/>
                  <a:gd name="connsiteY286" fmla="*/ 2445996 h 2927039"/>
                  <a:gd name="connsiteX287" fmla="*/ 295624 w 1864556"/>
                  <a:gd name="connsiteY287" fmla="*/ 2458425 h 2927039"/>
                  <a:gd name="connsiteX288" fmla="*/ 285029 w 1864556"/>
                  <a:gd name="connsiteY288" fmla="*/ 2494713 h 2927039"/>
                  <a:gd name="connsiteX289" fmla="*/ 295206 w 1864556"/>
                  <a:gd name="connsiteY289" fmla="*/ 2507560 h 2927039"/>
                  <a:gd name="connsiteX290" fmla="*/ 307137 w 1864556"/>
                  <a:gd name="connsiteY290" fmla="*/ 2544766 h 2927039"/>
                  <a:gd name="connsiteX291" fmla="*/ 306219 w 1864556"/>
                  <a:gd name="connsiteY291" fmla="*/ 2558947 h 2927039"/>
                  <a:gd name="connsiteX292" fmla="*/ 303966 w 1864556"/>
                  <a:gd name="connsiteY292" fmla="*/ 2580219 h 2927039"/>
                  <a:gd name="connsiteX293" fmla="*/ 285779 w 1864556"/>
                  <a:gd name="connsiteY293" fmla="*/ 2611669 h 2927039"/>
                  <a:gd name="connsiteX294" fmla="*/ 283110 w 1864556"/>
                  <a:gd name="connsiteY294" fmla="*/ 2614755 h 2927039"/>
                  <a:gd name="connsiteX295" fmla="*/ 265423 w 1864556"/>
                  <a:gd name="connsiteY295" fmla="*/ 2640032 h 2927039"/>
                  <a:gd name="connsiteX296" fmla="*/ 245067 w 1864556"/>
                  <a:gd name="connsiteY296" fmla="*/ 2668812 h 2927039"/>
                  <a:gd name="connsiteX297" fmla="*/ 235306 w 1864556"/>
                  <a:gd name="connsiteY297" fmla="*/ 2679406 h 2927039"/>
                  <a:gd name="connsiteX298" fmla="*/ 220706 w 1864556"/>
                  <a:gd name="connsiteY298" fmla="*/ 2696675 h 2927039"/>
                  <a:gd name="connsiteX299" fmla="*/ 215367 w 1864556"/>
                  <a:gd name="connsiteY299" fmla="*/ 2709104 h 2927039"/>
                  <a:gd name="connsiteX300" fmla="*/ 215367 w 1864556"/>
                  <a:gd name="connsiteY300" fmla="*/ 2710022 h 2927039"/>
                  <a:gd name="connsiteX301" fmla="*/ 221541 w 1864556"/>
                  <a:gd name="connsiteY301" fmla="*/ 2759657 h 2927039"/>
                  <a:gd name="connsiteX302" fmla="*/ 265840 w 1864556"/>
                  <a:gd name="connsiteY302" fmla="*/ 2788437 h 2927039"/>
                  <a:gd name="connsiteX303" fmla="*/ 288866 w 1864556"/>
                  <a:gd name="connsiteY303" fmla="*/ 2799532 h 2927039"/>
                  <a:gd name="connsiteX304" fmla="*/ 292871 w 1864556"/>
                  <a:gd name="connsiteY304" fmla="*/ 2801784 h 2927039"/>
                  <a:gd name="connsiteX305" fmla="*/ 304383 w 1864556"/>
                  <a:gd name="connsiteY305" fmla="*/ 2809292 h 2927039"/>
                  <a:gd name="connsiteX306" fmla="*/ 332331 w 1864556"/>
                  <a:gd name="connsiteY306" fmla="*/ 2796028 h 2927039"/>
                  <a:gd name="connsiteX307" fmla="*/ 363784 w 1864556"/>
                  <a:gd name="connsiteY307" fmla="*/ 2808875 h 2927039"/>
                  <a:gd name="connsiteX308" fmla="*/ 369957 w 1864556"/>
                  <a:gd name="connsiteY308" fmla="*/ 2817300 h 2927039"/>
                  <a:gd name="connsiteX309" fmla="*/ 373461 w 1864556"/>
                  <a:gd name="connsiteY309" fmla="*/ 2822139 h 2927039"/>
                  <a:gd name="connsiteX310" fmla="*/ 388061 w 1864556"/>
                  <a:gd name="connsiteY310" fmla="*/ 2834986 h 2927039"/>
                  <a:gd name="connsiteX311" fmla="*/ 401326 w 1864556"/>
                  <a:gd name="connsiteY311" fmla="*/ 2838489 h 2927039"/>
                  <a:gd name="connsiteX312" fmla="*/ 403578 w 1864556"/>
                  <a:gd name="connsiteY312" fmla="*/ 2836737 h 2927039"/>
                  <a:gd name="connsiteX313" fmla="*/ 403995 w 1864556"/>
                  <a:gd name="connsiteY313" fmla="*/ 2835820 h 2927039"/>
                  <a:gd name="connsiteX314" fmla="*/ 405747 w 1864556"/>
                  <a:gd name="connsiteY314" fmla="*/ 2832316 h 2927039"/>
                  <a:gd name="connsiteX315" fmla="*/ 415925 w 1864556"/>
                  <a:gd name="connsiteY315" fmla="*/ 2826977 h 2927039"/>
                  <a:gd name="connsiteX316" fmla="*/ 415925 w 1864556"/>
                  <a:gd name="connsiteY316" fmla="*/ 2826977 h 2927039"/>
                  <a:gd name="connsiteX317" fmla="*/ 436782 w 1864556"/>
                  <a:gd name="connsiteY317" fmla="*/ 2842911 h 2927039"/>
                  <a:gd name="connsiteX318" fmla="*/ 438117 w 1864556"/>
                  <a:gd name="connsiteY318" fmla="*/ 2844662 h 2927039"/>
                  <a:gd name="connsiteX319" fmla="*/ 454969 w 1864556"/>
                  <a:gd name="connsiteY319" fmla="*/ 2854005 h 2927039"/>
                  <a:gd name="connsiteX320" fmla="*/ 460726 w 1864556"/>
                  <a:gd name="connsiteY320" fmla="*/ 2847332 h 2927039"/>
                  <a:gd name="connsiteX321" fmla="*/ 469151 w 1864556"/>
                  <a:gd name="connsiteY321" fmla="*/ 2837572 h 2927039"/>
                  <a:gd name="connsiteX322" fmla="*/ 503273 w 1864556"/>
                  <a:gd name="connsiteY322" fmla="*/ 2843745 h 2927039"/>
                  <a:gd name="connsiteX323" fmla="*/ 515704 w 1864556"/>
                  <a:gd name="connsiteY323" fmla="*/ 2869855 h 2927039"/>
                  <a:gd name="connsiteX324" fmla="*/ 516121 w 1864556"/>
                  <a:gd name="connsiteY324" fmla="*/ 2871607 h 2927039"/>
                  <a:gd name="connsiteX325" fmla="*/ 540064 w 1864556"/>
                  <a:gd name="connsiteY325" fmla="*/ 2913651 h 2927039"/>
                  <a:gd name="connsiteX326" fmla="*/ 579943 w 1864556"/>
                  <a:gd name="connsiteY326" fmla="*/ 2926081 h 2927039"/>
                  <a:gd name="connsiteX327" fmla="*/ 702246 w 1864556"/>
                  <a:gd name="connsiteY327" fmla="*/ 2908813 h 2927039"/>
                  <a:gd name="connsiteX328" fmla="*/ 696490 w 1864556"/>
                  <a:gd name="connsiteY328" fmla="*/ 2895966 h 2927039"/>
                  <a:gd name="connsiteX329" fmla="*/ 684059 w 1864556"/>
                  <a:gd name="connsiteY329" fmla="*/ 2825559 h 2927039"/>
                  <a:gd name="connsiteX330" fmla="*/ 692902 w 1864556"/>
                  <a:gd name="connsiteY330" fmla="*/ 2805621 h 2927039"/>
                  <a:gd name="connsiteX331" fmla="*/ 705750 w 1864556"/>
                  <a:gd name="connsiteY331" fmla="*/ 2772420 h 2927039"/>
                  <a:gd name="connsiteX332" fmla="*/ 708420 w 1864556"/>
                  <a:gd name="connsiteY332" fmla="*/ 2761826 h 2927039"/>
                  <a:gd name="connsiteX333" fmla="*/ 711924 w 1864556"/>
                  <a:gd name="connsiteY333" fmla="*/ 2744141 h 2927039"/>
                  <a:gd name="connsiteX334" fmla="*/ 707502 w 1864556"/>
                  <a:gd name="connsiteY334" fmla="*/ 2722451 h 2927039"/>
                  <a:gd name="connsiteX335" fmla="*/ 703081 w 1864556"/>
                  <a:gd name="connsiteY335" fmla="*/ 2702931 h 2927039"/>
                  <a:gd name="connsiteX336" fmla="*/ 716846 w 1864556"/>
                  <a:gd name="connsiteY336" fmla="*/ 2637780 h 2927039"/>
                  <a:gd name="connsiteX337" fmla="*/ 733197 w 1864556"/>
                  <a:gd name="connsiteY337" fmla="*/ 2621429 h 2927039"/>
                  <a:gd name="connsiteX338" fmla="*/ 754471 w 1864556"/>
                  <a:gd name="connsiteY338" fmla="*/ 2592649 h 2927039"/>
                  <a:gd name="connsiteX339" fmla="*/ 757141 w 1864556"/>
                  <a:gd name="connsiteY339" fmla="*/ 2564703 h 2927039"/>
                  <a:gd name="connsiteX340" fmla="*/ 762897 w 1864556"/>
                  <a:gd name="connsiteY340" fmla="*/ 2525245 h 2927039"/>
                  <a:gd name="connsiteX341" fmla="*/ 774411 w 1864556"/>
                  <a:gd name="connsiteY341" fmla="*/ 2500886 h 2927039"/>
                  <a:gd name="connsiteX342" fmla="*/ 788176 w 1864556"/>
                  <a:gd name="connsiteY342" fmla="*/ 2463264 h 2927039"/>
                  <a:gd name="connsiteX343" fmla="*/ 769572 w 1864556"/>
                  <a:gd name="connsiteY343" fmla="*/ 2408373 h 2927039"/>
                  <a:gd name="connsiteX344" fmla="*/ 726190 w 1864556"/>
                  <a:gd name="connsiteY344" fmla="*/ 2378675 h 2927039"/>
                  <a:gd name="connsiteX345" fmla="*/ 705834 w 1864556"/>
                  <a:gd name="connsiteY345" fmla="*/ 2368081 h 2927039"/>
                  <a:gd name="connsiteX346" fmla="*/ 681056 w 1864556"/>
                  <a:gd name="connsiteY346" fmla="*/ 2351731 h 2927039"/>
                  <a:gd name="connsiteX347" fmla="*/ 644265 w 1864556"/>
                  <a:gd name="connsiteY347" fmla="*/ 2329624 h 2927039"/>
                  <a:gd name="connsiteX348" fmla="*/ 622157 w 1864556"/>
                  <a:gd name="connsiteY348" fmla="*/ 2325203 h 2927039"/>
                  <a:gd name="connsiteX349" fmla="*/ 587618 w 1864556"/>
                  <a:gd name="connsiteY349" fmla="*/ 2315026 h 2927039"/>
                  <a:gd name="connsiteX350" fmla="*/ 583196 w 1864556"/>
                  <a:gd name="connsiteY350" fmla="*/ 2260552 h 2927039"/>
                  <a:gd name="connsiteX351" fmla="*/ 585449 w 1864556"/>
                  <a:gd name="connsiteY351" fmla="*/ 2255714 h 2927039"/>
                  <a:gd name="connsiteX352" fmla="*/ 577940 w 1864556"/>
                  <a:gd name="connsiteY352" fmla="*/ 2204327 h 2927039"/>
                  <a:gd name="connsiteX353" fmla="*/ 564175 w 1864556"/>
                  <a:gd name="connsiteY353" fmla="*/ 2194566 h 2927039"/>
                  <a:gd name="connsiteX354" fmla="*/ 540732 w 1864556"/>
                  <a:gd name="connsiteY354" fmla="*/ 2170625 h 2927039"/>
                  <a:gd name="connsiteX355" fmla="*/ 547823 w 1864556"/>
                  <a:gd name="connsiteY355" fmla="*/ 2144014 h 2927039"/>
                  <a:gd name="connsiteX356" fmla="*/ 550493 w 1864556"/>
                  <a:gd name="connsiteY356" fmla="*/ 2139175 h 2927039"/>
                  <a:gd name="connsiteX357" fmla="*/ 560671 w 1864556"/>
                  <a:gd name="connsiteY357" fmla="*/ 2104222 h 2927039"/>
                  <a:gd name="connsiteX358" fmla="*/ 561589 w 1864556"/>
                  <a:gd name="connsiteY358" fmla="*/ 2089623 h 2927039"/>
                  <a:gd name="connsiteX359" fmla="*/ 572184 w 1864556"/>
                  <a:gd name="connsiteY359" fmla="*/ 2041323 h 2927039"/>
                  <a:gd name="connsiteX360" fmla="*/ 602301 w 1864556"/>
                  <a:gd name="connsiteY360" fmla="*/ 2016964 h 2927039"/>
                  <a:gd name="connsiteX361" fmla="*/ 623575 w 1864556"/>
                  <a:gd name="connsiteY361" fmla="*/ 2002782 h 2927039"/>
                  <a:gd name="connsiteX362" fmla="*/ 648353 w 1864556"/>
                  <a:gd name="connsiteY362" fmla="*/ 1968664 h 2927039"/>
                  <a:gd name="connsiteX363" fmla="*/ 664287 w 1864556"/>
                  <a:gd name="connsiteY363" fmla="*/ 1944722 h 2927039"/>
                  <a:gd name="connsiteX364" fmla="*/ 685144 w 1864556"/>
                  <a:gd name="connsiteY364" fmla="*/ 1905264 h 2927039"/>
                  <a:gd name="connsiteX365" fmla="*/ 697991 w 1864556"/>
                  <a:gd name="connsiteY365" fmla="*/ 1876901 h 2927039"/>
                  <a:gd name="connsiteX366" fmla="*/ 712591 w 1864556"/>
                  <a:gd name="connsiteY366" fmla="*/ 1856046 h 2927039"/>
                  <a:gd name="connsiteX367" fmla="*/ 727692 w 1864556"/>
                  <a:gd name="connsiteY367" fmla="*/ 1834774 h 2927039"/>
                  <a:gd name="connsiteX368" fmla="*/ 728609 w 1864556"/>
                  <a:gd name="connsiteY368" fmla="*/ 1834774 h 2927039"/>
                  <a:gd name="connsiteX369" fmla="*/ 729026 w 1864556"/>
                  <a:gd name="connsiteY369" fmla="*/ 1834774 h 2927039"/>
                  <a:gd name="connsiteX370" fmla="*/ 729026 w 1864556"/>
                  <a:gd name="connsiteY370" fmla="*/ 1834356 h 2927039"/>
                  <a:gd name="connsiteX371" fmla="*/ 737869 w 1864556"/>
                  <a:gd name="connsiteY371" fmla="*/ 1820175 h 2927039"/>
                  <a:gd name="connsiteX372" fmla="*/ 745878 w 1864556"/>
                  <a:gd name="connsiteY372" fmla="*/ 1802490 h 2927039"/>
                  <a:gd name="connsiteX373" fmla="*/ 774661 w 1864556"/>
                  <a:gd name="connsiteY373" fmla="*/ 1757777 h 2927039"/>
                  <a:gd name="connsiteX374" fmla="*/ 811869 w 1864556"/>
                  <a:gd name="connsiteY374" fmla="*/ 1709476 h 2927039"/>
                  <a:gd name="connsiteX375" fmla="*/ 859673 w 1864556"/>
                  <a:gd name="connsiteY375" fmla="*/ 1678027 h 2927039"/>
                  <a:gd name="connsiteX376" fmla="*/ 889373 w 1864556"/>
                  <a:gd name="connsiteY376" fmla="*/ 1653250 h 2927039"/>
                  <a:gd name="connsiteX377" fmla="*/ 890290 w 1864556"/>
                  <a:gd name="connsiteY377" fmla="*/ 1647912 h 2927039"/>
                  <a:gd name="connsiteX378" fmla="*/ 901803 w 1864556"/>
                  <a:gd name="connsiteY378" fmla="*/ 1614710 h 2927039"/>
                  <a:gd name="connsiteX379" fmla="*/ 910646 w 1864556"/>
                  <a:gd name="connsiteY379" fmla="*/ 1601863 h 2927039"/>
                  <a:gd name="connsiteX380" fmla="*/ 923494 w 1864556"/>
                  <a:gd name="connsiteY380" fmla="*/ 1582343 h 2927039"/>
                  <a:gd name="connsiteX381" fmla="*/ 931920 w 1864556"/>
                  <a:gd name="connsiteY381" fmla="*/ 1564158 h 2927039"/>
                  <a:gd name="connsiteX382" fmla="*/ 954529 w 1864556"/>
                  <a:gd name="connsiteY382" fmla="*/ 1525617 h 2927039"/>
                  <a:gd name="connsiteX383" fmla="*/ 996576 w 1864556"/>
                  <a:gd name="connsiteY383" fmla="*/ 1497671 h 2927039"/>
                  <a:gd name="connsiteX384" fmla="*/ 1008506 w 1864556"/>
                  <a:gd name="connsiteY384" fmla="*/ 1490998 h 2927039"/>
                  <a:gd name="connsiteX385" fmla="*/ 1049719 w 1864556"/>
                  <a:gd name="connsiteY385" fmla="*/ 1457296 h 2927039"/>
                  <a:gd name="connsiteX386" fmla="*/ 1109119 w 1864556"/>
                  <a:gd name="connsiteY386" fmla="*/ 1420507 h 2927039"/>
                  <a:gd name="connsiteX387" fmla="*/ 1130810 w 1864556"/>
                  <a:gd name="connsiteY387" fmla="*/ 1421842 h 2927039"/>
                  <a:gd name="connsiteX388" fmla="*/ 1170271 w 1864556"/>
                  <a:gd name="connsiteY388" fmla="*/ 1417004 h 2927039"/>
                  <a:gd name="connsiteX389" fmla="*/ 1181367 w 1864556"/>
                  <a:gd name="connsiteY389" fmla="*/ 1406409 h 2927039"/>
                  <a:gd name="connsiteX390" fmla="*/ 1225666 w 1864556"/>
                  <a:gd name="connsiteY390" fmla="*/ 1390476 h 2927039"/>
                  <a:gd name="connsiteX391" fmla="*/ 1252279 w 1864556"/>
                  <a:gd name="connsiteY391" fmla="*/ 1413917 h 2927039"/>
                  <a:gd name="connsiteX392" fmla="*/ 1264209 w 1864556"/>
                  <a:gd name="connsiteY392" fmla="*/ 1428516 h 2927039"/>
                  <a:gd name="connsiteX393" fmla="*/ 1300083 w 1864556"/>
                  <a:gd name="connsiteY393" fmla="*/ 1428933 h 2927039"/>
                  <a:gd name="connsiteX394" fmla="*/ 1306757 w 1864556"/>
                  <a:gd name="connsiteY394" fmla="*/ 1427598 h 2927039"/>
                  <a:gd name="connsiteX395" fmla="*/ 1369244 w 1864556"/>
                  <a:gd name="connsiteY395" fmla="*/ 1434272 h 2927039"/>
                  <a:gd name="connsiteX396" fmla="*/ 1376752 w 1864556"/>
                  <a:gd name="connsiteY396" fmla="*/ 1440445 h 2927039"/>
                  <a:gd name="connsiteX397" fmla="*/ 1415712 w 1864556"/>
                  <a:gd name="connsiteY397" fmla="*/ 1451039 h 2927039"/>
                  <a:gd name="connsiteX398" fmla="*/ 1419216 w 1864556"/>
                  <a:gd name="connsiteY398" fmla="*/ 1450122 h 2927039"/>
                  <a:gd name="connsiteX399" fmla="*/ 1452420 w 1864556"/>
                  <a:gd name="connsiteY399" fmla="*/ 1447452 h 2927039"/>
                  <a:gd name="connsiteX400" fmla="*/ 1457759 w 1864556"/>
                  <a:gd name="connsiteY400" fmla="*/ 1448787 h 2927039"/>
                  <a:gd name="connsiteX401" fmla="*/ 1471942 w 1864556"/>
                  <a:gd name="connsiteY401" fmla="*/ 1450122 h 2927039"/>
                  <a:gd name="connsiteX402" fmla="*/ 1486542 w 1864556"/>
                  <a:gd name="connsiteY402" fmla="*/ 1435022 h 2927039"/>
                  <a:gd name="connsiteX403" fmla="*/ 1508233 w 1864556"/>
                  <a:gd name="connsiteY403" fmla="*/ 1414668 h 2927039"/>
                  <a:gd name="connsiteX404" fmla="*/ 1536598 w 1864556"/>
                  <a:gd name="connsiteY404" fmla="*/ 1417755 h 2927039"/>
                  <a:gd name="connsiteX405" fmla="*/ 1559624 w 1864556"/>
                  <a:gd name="connsiteY405" fmla="*/ 1420007 h 2927039"/>
                  <a:gd name="connsiteX406" fmla="*/ 1576476 w 1864556"/>
                  <a:gd name="connsiteY406" fmla="*/ 1408495 h 2927039"/>
                  <a:gd name="connsiteX407" fmla="*/ 1581815 w 1864556"/>
                  <a:gd name="connsiteY407" fmla="*/ 1403656 h 2927039"/>
                  <a:gd name="connsiteX408" fmla="*/ 1586654 w 1864556"/>
                  <a:gd name="connsiteY408" fmla="*/ 1399235 h 2927039"/>
                  <a:gd name="connsiteX409" fmla="*/ 1612766 w 1864556"/>
                  <a:gd name="connsiteY409" fmla="*/ 1382885 h 2927039"/>
                  <a:gd name="connsiteX410" fmla="*/ 1644218 w 1864556"/>
                  <a:gd name="connsiteY410" fmla="*/ 1362530 h 2927039"/>
                  <a:gd name="connsiteX411" fmla="*/ 1662822 w 1864556"/>
                  <a:gd name="connsiteY411" fmla="*/ 1347431 h 2927039"/>
                  <a:gd name="connsiteX412" fmla="*/ 1668996 w 1864556"/>
                  <a:gd name="connsiteY412" fmla="*/ 1343427 h 2927039"/>
                  <a:gd name="connsiteX413" fmla="*/ 1681427 w 1864556"/>
                  <a:gd name="connsiteY413" fmla="*/ 1332332 h 2927039"/>
                  <a:gd name="connsiteX414" fmla="*/ 1684513 w 1864556"/>
                  <a:gd name="connsiteY414" fmla="*/ 1323489 h 2927039"/>
                  <a:gd name="connsiteX415" fmla="*/ 1702701 w 1864556"/>
                  <a:gd name="connsiteY415" fmla="*/ 1302217 h 2927039"/>
                  <a:gd name="connsiteX416" fmla="*/ 1728396 w 1864556"/>
                  <a:gd name="connsiteY416" fmla="*/ 1299965 h 2927039"/>
                  <a:gd name="connsiteX417" fmla="*/ 1755009 w 1864556"/>
                  <a:gd name="connsiteY417" fmla="*/ 1293792 h 2927039"/>
                  <a:gd name="connsiteX418" fmla="*/ 1748836 w 1864556"/>
                  <a:gd name="connsiteY418" fmla="*/ 1259673 h 2927039"/>
                  <a:gd name="connsiteX419" fmla="*/ 1742162 w 1864556"/>
                  <a:gd name="connsiteY419" fmla="*/ 1249078 h 2927039"/>
                  <a:gd name="connsiteX420" fmla="*/ 1758096 w 1864556"/>
                  <a:gd name="connsiteY420" fmla="*/ 1194188 h 2927039"/>
                  <a:gd name="connsiteX421" fmla="*/ 1761183 w 1864556"/>
                  <a:gd name="connsiteY421" fmla="*/ 1191101 h 2927039"/>
                  <a:gd name="connsiteX422" fmla="*/ 1768691 w 1864556"/>
                  <a:gd name="connsiteY422" fmla="*/ 1178671 h 2927039"/>
                  <a:gd name="connsiteX423" fmla="*/ 1765187 w 1864556"/>
                  <a:gd name="connsiteY423" fmla="*/ 1168494 h 2927039"/>
                  <a:gd name="connsiteX424" fmla="*/ 1760349 w 1864556"/>
                  <a:gd name="connsiteY424" fmla="*/ 1150308 h 2927039"/>
                  <a:gd name="connsiteX425" fmla="*/ 1792218 w 1864556"/>
                  <a:gd name="connsiteY425" fmla="*/ 1104260 h 2927039"/>
                  <a:gd name="connsiteX426" fmla="*/ 1797057 w 1864556"/>
                  <a:gd name="connsiteY426" fmla="*/ 1099839 h 2927039"/>
                  <a:gd name="connsiteX427" fmla="*/ 1842691 w 1864556"/>
                  <a:gd name="connsiteY427" fmla="*/ 1055960 h 2927039"/>
                  <a:gd name="connsiteX428" fmla="*/ 1854621 w 1864556"/>
                  <a:gd name="connsiteY428" fmla="*/ 1044031 h 2927039"/>
                  <a:gd name="connsiteX429" fmla="*/ 1864465 w 1864556"/>
                  <a:gd name="connsiteY429" fmla="*/ 1025344 h 292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</a:cxnLst>
                <a:rect l="l" t="t" r="r" b="b"/>
                <a:pathLst>
                  <a:path w="1864556" h="2927039" extrusionOk="0">
                    <a:moveTo>
                      <a:pt x="1864465" y="1025344"/>
                    </a:moveTo>
                    <a:cubicBezTo>
                      <a:pt x="1863548" y="1017836"/>
                      <a:pt x="1852035" y="1010746"/>
                      <a:pt x="1841440" y="1004072"/>
                    </a:cubicBezTo>
                    <a:cubicBezTo>
                      <a:pt x="1828592" y="996064"/>
                      <a:pt x="1813992" y="987221"/>
                      <a:pt x="1807735" y="973040"/>
                    </a:cubicBezTo>
                    <a:cubicBezTo>
                      <a:pt x="1802396" y="961111"/>
                      <a:pt x="1800644" y="948264"/>
                      <a:pt x="1798892" y="935834"/>
                    </a:cubicBezTo>
                    <a:cubicBezTo>
                      <a:pt x="1797557" y="924322"/>
                      <a:pt x="1796222" y="913227"/>
                      <a:pt x="1791801" y="903050"/>
                    </a:cubicBezTo>
                    <a:cubicBezTo>
                      <a:pt x="1785127" y="886199"/>
                      <a:pt x="1773614" y="879609"/>
                      <a:pt x="1758096" y="871600"/>
                    </a:cubicBezTo>
                    <a:cubicBezTo>
                      <a:pt x="1753675" y="868931"/>
                      <a:pt x="1748335" y="866261"/>
                      <a:pt x="1743496" y="863175"/>
                    </a:cubicBezTo>
                    <a:cubicBezTo>
                      <a:pt x="1731984" y="855667"/>
                      <a:pt x="1726644" y="845907"/>
                      <a:pt x="1721388" y="836147"/>
                    </a:cubicBezTo>
                    <a:cubicBezTo>
                      <a:pt x="1717884" y="829473"/>
                      <a:pt x="1713880" y="822883"/>
                      <a:pt x="1708541" y="817544"/>
                    </a:cubicBezTo>
                    <a:lnTo>
                      <a:pt x="1705037" y="814457"/>
                    </a:lnTo>
                    <a:cubicBezTo>
                      <a:pt x="1691271" y="802028"/>
                      <a:pt x="1682011" y="793185"/>
                      <a:pt x="1678423" y="771079"/>
                    </a:cubicBezTo>
                    <a:cubicBezTo>
                      <a:pt x="1677506" y="764906"/>
                      <a:pt x="1677506" y="758649"/>
                      <a:pt x="1677089" y="753393"/>
                    </a:cubicBezTo>
                    <a:cubicBezTo>
                      <a:pt x="1676672" y="740547"/>
                      <a:pt x="1676672" y="731704"/>
                      <a:pt x="1667328" y="724196"/>
                    </a:cubicBezTo>
                    <a:cubicBezTo>
                      <a:pt x="1647388" y="707345"/>
                      <a:pt x="1637628" y="691412"/>
                      <a:pt x="1648307" y="663049"/>
                    </a:cubicBezTo>
                    <a:cubicBezTo>
                      <a:pt x="1649641" y="659963"/>
                      <a:pt x="1651394" y="657293"/>
                      <a:pt x="1652728" y="654207"/>
                    </a:cubicBezTo>
                    <a:cubicBezTo>
                      <a:pt x="1655815" y="648450"/>
                      <a:pt x="1658068" y="644446"/>
                      <a:pt x="1657150" y="640025"/>
                    </a:cubicBezTo>
                    <a:cubicBezTo>
                      <a:pt x="1657150" y="637773"/>
                      <a:pt x="1655815" y="635604"/>
                      <a:pt x="1654063" y="632934"/>
                    </a:cubicBezTo>
                    <a:cubicBezTo>
                      <a:pt x="1651811" y="628513"/>
                      <a:pt x="1648724" y="623591"/>
                      <a:pt x="1649224" y="615666"/>
                    </a:cubicBezTo>
                    <a:cubicBezTo>
                      <a:pt x="1649641" y="605489"/>
                      <a:pt x="1655398" y="596146"/>
                      <a:pt x="1661655" y="587720"/>
                    </a:cubicBezTo>
                    <a:cubicBezTo>
                      <a:pt x="1658568" y="585468"/>
                      <a:pt x="1656315" y="582381"/>
                      <a:pt x="1654564" y="579295"/>
                    </a:cubicBezTo>
                    <a:cubicBezTo>
                      <a:pt x="1647055" y="564196"/>
                      <a:pt x="1661655" y="567366"/>
                      <a:pt x="1661655" y="556271"/>
                    </a:cubicBezTo>
                    <a:cubicBezTo>
                      <a:pt x="1661655" y="540338"/>
                      <a:pt x="1648807" y="556271"/>
                      <a:pt x="1645303" y="559775"/>
                    </a:cubicBezTo>
                    <a:cubicBezTo>
                      <a:pt x="1633373" y="573539"/>
                      <a:pt x="1628951" y="569952"/>
                      <a:pt x="1612516" y="569952"/>
                    </a:cubicBezTo>
                    <a:cubicBezTo>
                      <a:pt x="1590408" y="570369"/>
                      <a:pt x="1569551" y="600984"/>
                      <a:pt x="1573973" y="622674"/>
                    </a:cubicBezTo>
                    <a:cubicBezTo>
                      <a:pt x="1581982" y="658544"/>
                      <a:pt x="1615186" y="612913"/>
                      <a:pt x="1632456" y="612496"/>
                    </a:cubicBezTo>
                    <a:cubicBezTo>
                      <a:pt x="1648807" y="612079"/>
                      <a:pt x="1633373" y="627095"/>
                      <a:pt x="1627617" y="633769"/>
                    </a:cubicBezTo>
                    <a:cubicBezTo>
                      <a:pt x="1617439" y="646198"/>
                      <a:pt x="1617439" y="664300"/>
                      <a:pt x="1601504" y="672309"/>
                    </a:cubicBezTo>
                    <a:cubicBezTo>
                      <a:pt x="1593495" y="675812"/>
                      <a:pt x="1588656" y="672726"/>
                      <a:pt x="1581982" y="680317"/>
                    </a:cubicBezTo>
                    <a:cubicBezTo>
                      <a:pt x="1577144" y="685656"/>
                      <a:pt x="1575308" y="693581"/>
                      <a:pt x="1570470" y="698920"/>
                    </a:cubicBezTo>
                    <a:cubicBezTo>
                      <a:pt x="1564713" y="705593"/>
                      <a:pt x="1555870" y="707762"/>
                      <a:pt x="1549196" y="714019"/>
                    </a:cubicBezTo>
                    <a:cubicBezTo>
                      <a:pt x="1542104" y="720693"/>
                      <a:pt x="1537265" y="729118"/>
                      <a:pt x="1529256" y="735708"/>
                    </a:cubicBezTo>
                    <a:cubicBezTo>
                      <a:pt x="1511987" y="751225"/>
                      <a:pt x="1493383" y="756563"/>
                      <a:pt x="1471692" y="763154"/>
                    </a:cubicBezTo>
                    <a:cubicBezTo>
                      <a:pt x="1461931" y="766240"/>
                      <a:pt x="1441575" y="767992"/>
                      <a:pt x="1436235" y="778253"/>
                    </a:cubicBezTo>
                    <a:cubicBezTo>
                      <a:pt x="1430479" y="789765"/>
                      <a:pt x="1443744" y="798607"/>
                      <a:pt x="1438488" y="811454"/>
                    </a:cubicBezTo>
                    <a:cubicBezTo>
                      <a:pt x="1435401" y="818962"/>
                      <a:pt x="1428310" y="827805"/>
                      <a:pt x="1422971" y="833561"/>
                    </a:cubicBezTo>
                    <a:cubicBezTo>
                      <a:pt x="1421636" y="834478"/>
                      <a:pt x="1419884" y="835813"/>
                      <a:pt x="1418549" y="836647"/>
                    </a:cubicBezTo>
                    <a:cubicBezTo>
                      <a:pt x="1415879" y="838399"/>
                      <a:pt x="1414127" y="840151"/>
                      <a:pt x="1410540" y="840151"/>
                    </a:cubicBezTo>
                    <a:cubicBezTo>
                      <a:pt x="1410123" y="840151"/>
                      <a:pt x="1410123" y="839233"/>
                      <a:pt x="1409622" y="839233"/>
                    </a:cubicBezTo>
                    <a:cubicBezTo>
                      <a:pt x="1409622" y="839233"/>
                      <a:pt x="1408705" y="837481"/>
                      <a:pt x="1408705" y="836981"/>
                    </a:cubicBezTo>
                    <a:cubicBezTo>
                      <a:pt x="1408705" y="836564"/>
                      <a:pt x="1409122" y="835646"/>
                      <a:pt x="1409622" y="835229"/>
                    </a:cubicBezTo>
                    <a:cubicBezTo>
                      <a:pt x="1410540" y="834311"/>
                      <a:pt x="1410957" y="832977"/>
                      <a:pt x="1411875" y="831725"/>
                    </a:cubicBezTo>
                    <a:cubicBezTo>
                      <a:pt x="1413627" y="829056"/>
                      <a:pt x="1415379" y="826887"/>
                      <a:pt x="1417214" y="824635"/>
                    </a:cubicBezTo>
                    <a:cubicBezTo>
                      <a:pt x="1420718" y="819796"/>
                      <a:pt x="1424723" y="814874"/>
                      <a:pt x="1426057" y="809118"/>
                    </a:cubicBezTo>
                    <a:cubicBezTo>
                      <a:pt x="1430062" y="791850"/>
                      <a:pt x="1422554" y="777669"/>
                      <a:pt x="1430479" y="759984"/>
                    </a:cubicBezTo>
                    <a:cubicBezTo>
                      <a:pt x="1433566" y="751975"/>
                      <a:pt x="1436653" y="746720"/>
                      <a:pt x="1443327" y="741381"/>
                    </a:cubicBezTo>
                    <a:cubicBezTo>
                      <a:pt x="1449500" y="736543"/>
                      <a:pt x="1456592" y="736042"/>
                      <a:pt x="1461013" y="728117"/>
                    </a:cubicBezTo>
                    <a:cubicBezTo>
                      <a:pt x="1470357" y="710849"/>
                      <a:pt x="1460596" y="693581"/>
                      <a:pt x="1478700" y="679817"/>
                    </a:cubicBezTo>
                    <a:cubicBezTo>
                      <a:pt x="1494634" y="667387"/>
                      <a:pt x="1511904" y="663883"/>
                      <a:pt x="1521665" y="644363"/>
                    </a:cubicBezTo>
                    <a:cubicBezTo>
                      <a:pt x="1530508" y="626678"/>
                      <a:pt x="1531842" y="606240"/>
                      <a:pt x="1541603" y="588972"/>
                    </a:cubicBezTo>
                    <a:cubicBezTo>
                      <a:pt x="1549112" y="576125"/>
                      <a:pt x="1564213" y="570369"/>
                      <a:pt x="1571304" y="557939"/>
                    </a:cubicBezTo>
                    <a:cubicBezTo>
                      <a:pt x="1581064" y="541088"/>
                      <a:pt x="1565964" y="538419"/>
                      <a:pt x="1566464" y="523820"/>
                    </a:cubicBezTo>
                    <a:cubicBezTo>
                      <a:pt x="1567383" y="509639"/>
                      <a:pt x="1590408" y="495457"/>
                      <a:pt x="1596582" y="482194"/>
                    </a:cubicBezTo>
                    <a:cubicBezTo>
                      <a:pt x="1599669" y="476437"/>
                      <a:pt x="1599669" y="469764"/>
                      <a:pt x="1603673" y="464008"/>
                    </a:cubicBezTo>
                    <a:cubicBezTo>
                      <a:pt x="1608512" y="456917"/>
                      <a:pt x="1617439" y="452079"/>
                      <a:pt x="1623195" y="445822"/>
                    </a:cubicBezTo>
                    <a:cubicBezTo>
                      <a:pt x="1638295" y="430306"/>
                      <a:pt x="1637377" y="422381"/>
                      <a:pt x="1642717" y="402861"/>
                    </a:cubicBezTo>
                    <a:cubicBezTo>
                      <a:pt x="1644469" y="394435"/>
                      <a:pt x="1649808" y="391766"/>
                      <a:pt x="1654647" y="385593"/>
                    </a:cubicBezTo>
                    <a:cubicBezTo>
                      <a:pt x="1663073" y="375415"/>
                      <a:pt x="1662656" y="367907"/>
                      <a:pt x="1664408" y="355061"/>
                    </a:cubicBezTo>
                    <a:cubicBezTo>
                      <a:pt x="1668412" y="330285"/>
                      <a:pt x="1692356" y="294831"/>
                      <a:pt x="1665742" y="274894"/>
                    </a:cubicBezTo>
                    <a:cubicBezTo>
                      <a:pt x="1651560" y="264299"/>
                      <a:pt x="1632038" y="266468"/>
                      <a:pt x="1617939" y="255373"/>
                    </a:cubicBezTo>
                    <a:cubicBezTo>
                      <a:pt x="1600669" y="241609"/>
                      <a:pt x="1608178" y="237187"/>
                      <a:pt x="1624613" y="245613"/>
                    </a:cubicBezTo>
                    <a:cubicBezTo>
                      <a:pt x="1641883" y="254038"/>
                      <a:pt x="1667995" y="257125"/>
                      <a:pt x="1664908" y="228345"/>
                    </a:cubicBezTo>
                    <a:cubicBezTo>
                      <a:pt x="1663574" y="217750"/>
                      <a:pt x="1657817" y="213746"/>
                      <a:pt x="1651143" y="207073"/>
                    </a:cubicBezTo>
                    <a:cubicBezTo>
                      <a:pt x="1644469" y="199982"/>
                      <a:pt x="1640965" y="199064"/>
                      <a:pt x="1636043" y="189388"/>
                    </a:cubicBezTo>
                    <a:cubicBezTo>
                      <a:pt x="1629869" y="178293"/>
                      <a:pt x="1613935" y="155686"/>
                      <a:pt x="1599752" y="155268"/>
                    </a:cubicBezTo>
                    <a:cubicBezTo>
                      <a:pt x="1568717" y="154351"/>
                      <a:pt x="1602839" y="176958"/>
                      <a:pt x="1600669" y="184966"/>
                    </a:cubicBezTo>
                    <a:cubicBezTo>
                      <a:pt x="1599752" y="190305"/>
                      <a:pt x="1583401" y="169450"/>
                      <a:pt x="1582483" y="165029"/>
                    </a:cubicBezTo>
                    <a:cubicBezTo>
                      <a:pt x="1578061" y="146843"/>
                      <a:pt x="1582065" y="142422"/>
                      <a:pt x="1560374" y="137583"/>
                    </a:cubicBezTo>
                    <a:cubicBezTo>
                      <a:pt x="1541770" y="133579"/>
                      <a:pt x="1548445" y="123402"/>
                      <a:pt x="1528005" y="111890"/>
                    </a:cubicBezTo>
                    <a:cubicBezTo>
                      <a:pt x="1508483" y="100795"/>
                      <a:pt x="1474862" y="101295"/>
                      <a:pt x="1454506" y="110555"/>
                    </a:cubicBezTo>
                    <a:cubicBezTo>
                      <a:pt x="1448750" y="113225"/>
                      <a:pt x="1442993" y="115393"/>
                      <a:pt x="1436820" y="116728"/>
                    </a:cubicBezTo>
                    <a:cubicBezTo>
                      <a:pt x="1417798" y="120232"/>
                      <a:pt x="1397359" y="126071"/>
                      <a:pt x="1379255" y="133996"/>
                    </a:cubicBezTo>
                    <a:cubicBezTo>
                      <a:pt x="1363738" y="140670"/>
                      <a:pt x="1369494" y="142839"/>
                      <a:pt x="1370412" y="155686"/>
                    </a:cubicBezTo>
                    <a:cubicBezTo>
                      <a:pt x="1371747" y="172954"/>
                      <a:pt x="1360234" y="175623"/>
                      <a:pt x="1346051" y="180962"/>
                    </a:cubicBezTo>
                    <a:cubicBezTo>
                      <a:pt x="1337625" y="184048"/>
                      <a:pt x="1325194" y="191139"/>
                      <a:pt x="1315934" y="187135"/>
                    </a:cubicBezTo>
                    <a:cubicBezTo>
                      <a:pt x="1300000" y="180461"/>
                      <a:pt x="1311930" y="167615"/>
                      <a:pt x="1318604" y="158355"/>
                    </a:cubicBezTo>
                    <a:cubicBezTo>
                      <a:pt x="1328365" y="145091"/>
                      <a:pt x="1342047" y="125571"/>
                      <a:pt x="1334121" y="107886"/>
                    </a:cubicBezTo>
                    <a:cubicBezTo>
                      <a:pt x="1327948" y="93704"/>
                      <a:pt x="1308843" y="91535"/>
                      <a:pt x="1295578" y="95456"/>
                    </a:cubicBezTo>
                    <a:cubicBezTo>
                      <a:pt x="1287569" y="98125"/>
                      <a:pt x="1280978" y="105216"/>
                      <a:pt x="1272135" y="105633"/>
                    </a:cubicBezTo>
                    <a:cubicBezTo>
                      <a:pt x="1265043" y="105633"/>
                      <a:pt x="1260622" y="101212"/>
                      <a:pt x="1253948" y="98960"/>
                    </a:cubicBezTo>
                    <a:cubicBezTo>
                      <a:pt x="1245105" y="96290"/>
                      <a:pt x="1206979" y="109137"/>
                      <a:pt x="1204309" y="103381"/>
                    </a:cubicBezTo>
                    <a:cubicBezTo>
                      <a:pt x="1202056" y="98960"/>
                      <a:pt x="1228670" y="81274"/>
                      <a:pt x="1231756" y="78605"/>
                    </a:cubicBezTo>
                    <a:cubicBezTo>
                      <a:pt x="1242352" y="69762"/>
                      <a:pt x="1254782" y="58250"/>
                      <a:pt x="1258786" y="44903"/>
                    </a:cubicBezTo>
                    <a:cubicBezTo>
                      <a:pt x="1263208" y="30304"/>
                      <a:pt x="1257869" y="17458"/>
                      <a:pt x="1242852" y="13871"/>
                    </a:cubicBezTo>
                    <a:cubicBezTo>
                      <a:pt x="1235761" y="12119"/>
                      <a:pt x="1228670" y="14788"/>
                      <a:pt x="1221578" y="13454"/>
                    </a:cubicBezTo>
                    <a:cubicBezTo>
                      <a:pt x="1211817" y="12119"/>
                      <a:pt x="1206061" y="5946"/>
                      <a:pt x="1197218" y="2359"/>
                    </a:cubicBezTo>
                    <a:cubicBezTo>
                      <a:pt x="1177696" y="-5149"/>
                      <a:pt x="1163096" y="6780"/>
                      <a:pt x="1147162" y="16957"/>
                    </a:cubicBezTo>
                    <a:cubicBezTo>
                      <a:pt x="1131644" y="26718"/>
                      <a:pt x="1128140" y="34642"/>
                      <a:pt x="1117962" y="48824"/>
                    </a:cubicBezTo>
                    <a:cubicBezTo>
                      <a:pt x="1114875" y="52828"/>
                      <a:pt x="1109953" y="56332"/>
                      <a:pt x="1108618" y="61254"/>
                    </a:cubicBezTo>
                    <a:cubicBezTo>
                      <a:pt x="1106366" y="67427"/>
                      <a:pt x="1109536" y="73683"/>
                      <a:pt x="1107284" y="79856"/>
                    </a:cubicBezTo>
                    <a:cubicBezTo>
                      <a:pt x="1104614" y="87865"/>
                      <a:pt x="1097940" y="92286"/>
                      <a:pt x="1095353" y="101129"/>
                    </a:cubicBezTo>
                    <a:cubicBezTo>
                      <a:pt x="1092684" y="109137"/>
                      <a:pt x="1088679" y="113975"/>
                      <a:pt x="1085593" y="121483"/>
                    </a:cubicBezTo>
                    <a:cubicBezTo>
                      <a:pt x="1082089" y="129909"/>
                      <a:pt x="1082506" y="139669"/>
                      <a:pt x="1080253" y="148511"/>
                    </a:cubicBezTo>
                    <a:cubicBezTo>
                      <a:pt x="1079336" y="154267"/>
                      <a:pt x="1076249" y="159106"/>
                      <a:pt x="1076749" y="164862"/>
                    </a:cubicBezTo>
                    <a:cubicBezTo>
                      <a:pt x="1077667" y="171953"/>
                      <a:pt x="1082923" y="176374"/>
                      <a:pt x="1086093" y="182130"/>
                    </a:cubicBezTo>
                    <a:cubicBezTo>
                      <a:pt x="1091850" y="192307"/>
                      <a:pt x="1090515" y="198480"/>
                      <a:pt x="1092267" y="209158"/>
                    </a:cubicBezTo>
                    <a:cubicBezTo>
                      <a:pt x="1095771" y="228678"/>
                      <a:pt x="1102445" y="222923"/>
                      <a:pt x="1117962" y="229096"/>
                    </a:cubicBezTo>
                    <a:cubicBezTo>
                      <a:pt x="1121049" y="230430"/>
                      <a:pt x="1135649" y="236603"/>
                      <a:pt x="1134815" y="241525"/>
                    </a:cubicBezTo>
                    <a:cubicBezTo>
                      <a:pt x="1133897" y="244612"/>
                      <a:pt x="1118880" y="239773"/>
                      <a:pt x="1116210" y="239273"/>
                    </a:cubicBezTo>
                    <a:cubicBezTo>
                      <a:pt x="1093184" y="234852"/>
                      <a:pt x="1075915" y="240608"/>
                      <a:pt x="1053723" y="246781"/>
                    </a:cubicBezTo>
                    <a:cubicBezTo>
                      <a:pt x="1045714" y="249033"/>
                      <a:pt x="1037372" y="252537"/>
                      <a:pt x="1028945" y="250284"/>
                    </a:cubicBezTo>
                    <a:cubicBezTo>
                      <a:pt x="1024107" y="249367"/>
                      <a:pt x="1015180" y="240941"/>
                      <a:pt x="1010341" y="241859"/>
                    </a:cubicBezTo>
                    <a:cubicBezTo>
                      <a:pt x="989068" y="246280"/>
                      <a:pt x="1024524" y="281317"/>
                      <a:pt x="1029863" y="286572"/>
                    </a:cubicBezTo>
                    <a:cubicBezTo>
                      <a:pt x="1049802" y="307845"/>
                      <a:pt x="1069324" y="330451"/>
                      <a:pt x="1055142" y="360983"/>
                    </a:cubicBezTo>
                    <a:cubicBezTo>
                      <a:pt x="1048968" y="374247"/>
                      <a:pt x="1036955" y="386260"/>
                      <a:pt x="1041877" y="402193"/>
                    </a:cubicBezTo>
                    <a:cubicBezTo>
                      <a:pt x="1045381" y="413705"/>
                      <a:pt x="1056977" y="420796"/>
                      <a:pt x="1064903" y="429221"/>
                    </a:cubicBezTo>
                    <a:cubicBezTo>
                      <a:pt x="1075999" y="440316"/>
                      <a:pt x="1079502" y="455332"/>
                      <a:pt x="1089681" y="466844"/>
                    </a:cubicBezTo>
                    <a:cubicBezTo>
                      <a:pt x="1100776" y="478773"/>
                      <a:pt x="1116294" y="494289"/>
                      <a:pt x="1117628" y="511557"/>
                    </a:cubicBezTo>
                    <a:cubicBezTo>
                      <a:pt x="1118546" y="519065"/>
                      <a:pt x="1115876" y="522152"/>
                      <a:pt x="1119881" y="530160"/>
                    </a:cubicBezTo>
                    <a:cubicBezTo>
                      <a:pt x="1122551" y="535916"/>
                      <a:pt x="1129225" y="543424"/>
                      <a:pt x="1134063" y="547845"/>
                    </a:cubicBezTo>
                    <a:cubicBezTo>
                      <a:pt x="1144242" y="557188"/>
                      <a:pt x="1165098" y="563362"/>
                      <a:pt x="1179281" y="560275"/>
                    </a:cubicBezTo>
                    <a:cubicBezTo>
                      <a:pt x="1186372" y="558940"/>
                      <a:pt x="1188625" y="554519"/>
                      <a:pt x="1194798" y="551850"/>
                    </a:cubicBezTo>
                    <a:cubicBezTo>
                      <a:pt x="1203225" y="548346"/>
                      <a:pt x="1211150" y="550515"/>
                      <a:pt x="1219576" y="549180"/>
                    </a:cubicBezTo>
                    <a:cubicBezTo>
                      <a:pt x="1238597" y="545676"/>
                      <a:pt x="1253698" y="530577"/>
                      <a:pt x="1267380" y="518148"/>
                    </a:cubicBezTo>
                    <a:cubicBezTo>
                      <a:pt x="1281562" y="504884"/>
                      <a:pt x="1279310" y="505718"/>
                      <a:pt x="1271384" y="490202"/>
                    </a:cubicBezTo>
                    <a:cubicBezTo>
                      <a:pt x="1265628" y="479607"/>
                      <a:pt x="1265210" y="442819"/>
                      <a:pt x="1286901" y="445906"/>
                    </a:cubicBezTo>
                    <a:cubicBezTo>
                      <a:pt x="1296663" y="447240"/>
                      <a:pt x="1307258" y="469347"/>
                      <a:pt x="1315267" y="475103"/>
                    </a:cubicBezTo>
                    <a:cubicBezTo>
                      <a:pt x="1320606" y="479107"/>
                      <a:pt x="1352892" y="487949"/>
                      <a:pt x="1352475" y="495958"/>
                    </a:cubicBezTo>
                    <a:cubicBezTo>
                      <a:pt x="1352058" y="502632"/>
                      <a:pt x="1315684" y="510139"/>
                      <a:pt x="1310428" y="514978"/>
                    </a:cubicBezTo>
                    <a:cubicBezTo>
                      <a:pt x="1305088" y="519399"/>
                      <a:pt x="1302419" y="523403"/>
                      <a:pt x="1296245" y="527407"/>
                    </a:cubicBezTo>
                    <a:cubicBezTo>
                      <a:pt x="1287819" y="533163"/>
                      <a:pt x="1282063" y="537168"/>
                      <a:pt x="1274972" y="544258"/>
                    </a:cubicBezTo>
                    <a:cubicBezTo>
                      <a:pt x="1266963" y="551766"/>
                      <a:pt x="1259454" y="552267"/>
                      <a:pt x="1250611" y="557522"/>
                    </a:cubicBezTo>
                    <a:cubicBezTo>
                      <a:pt x="1243520" y="561943"/>
                      <a:pt x="1240850" y="569034"/>
                      <a:pt x="1234676" y="573455"/>
                    </a:cubicBezTo>
                    <a:cubicBezTo>
                      <a:pt x="1224498" y="580129"/>
                      <a:pt x="1204559" y="575207"/>
                      <a:pt x="1199720" y="588972"/>
                    </a:cubicBezTo>
                    <a:cubicBezTo>
                      <a:pt x="1194882" y="602736"/>
                      <a:pt x="1214320" y="608492"/>
                      <a:pt x="1211650" y="620838"/>
                    </a:cubicBezTo>
                    <a:cubicBezTo>
                      <a:pt x="1208564" y="634102"/>
                      <a:pt x="1195299" y="628346"/>
                      <a:pt x="1187290" y="624843"/>
                    </a:cubicBezTo>
                    <a:cubicBezTo>
                      <a:pt x="1181534" y="622173"/>
                      <a:pt x="1170938" y="612413"/>
                      <a:pt x="1164264" y="613748"/>
                    </a:cubicBezTo>
                    <a:cubicBezTo>
                      <a:pt x="1149164" y="617752"/>
                      <a:pt x="1164264" y="635437"/>
                      <a:pt x="1169103" y="641693"/>
                    </a:cubicBezTo>
                    <a:cubicBezTo>
                      <a:pt x="1178864" y="653206"/>
                      <a:pt x="1193046" y="666469"/>
                      <a:pt x="1194798" y="682486"/>
                    </a:cubicBezTo>
                    <a:cubicBezTo>
                      <a:pt x="1197051" y="701506"/>
                      <a:pt x="1185037" y="703341"/>
                      <a:pt x="1169520" y="698419"/>
                    </a:cubicBezTo>
                    <a:cubicBezTo>
                      <a:pt x="1146077" y="690411"/>
                      <a:pt x="1167768" y="660296"/>
                      <a:pt x="1156672" y="641693"/>
                    </a:cubicBezTo>
                    <a:cubicBezTo>
                      <a:pt x="1153586" y="636354"/>
                      <a:pt x="1126555" y="622173"/>
                      <a:pt x="1119881" y="621756"/>
                    </a:cubicBezTo>
                    <a:cubicBezTo>
                      <a:pt x="1102195" y="620421"/>
                      <a:pt x="1100359" y="639024"/>
                      <a:pt x="1105281" y="651454"/>
                    </a:cubicBezTo>
                    <a:cubicBezTo>
                      <a:pt x="1108368" y="659462"/>
                      <a:pt x="1122133" y="670974"/>
                      <a:pt x="1115042" y="679817"/>
                    </a:cubicBezTo>
                    <a:cubicBezTo>
                      <a:pt x="1107033" y="689994"/>
                      <a:pt x="1089347" y="670056"/>
                      <a:pt x="1085843" y="663466"/>
                    </a:cubicBezTo>
                    <a:cubicBezTo>
                      <a:pt x="1081421" y="654624"/>
                      <a:pt x="1083173" y="650202"/>
                      <a:pt x="1082756" y="640442"/>
                    </a:cubicBezTo>
                    <a:cubicBezTo>
                      <a:pt x="1081838" y="630682"/>
                      <a:pt x="1079252" y="630682"/>
                      <a:pt x="1074747" y="623591"/>
                    </a:cubicBezTo>
                    <a:cubicBezTo>
                      <a:pt x="1072077" y="619170"/>
                      <a:pt x="1065403" y="617418"/>
                      <a:pt x="1071660" y="611162"/>
                    </a:cubicBezTo>
                    <a:cubicBezTo>
                      <a:pt x="1075164" y="607658"/>
                      <a:pt x="1088930" y="610244"/>
                      <a:pt x="1093768" y="608075"/>
                    </a:cubicBezTo>
                    <a:cubicBezTo>
                      <a:pt x="1102612" y="604071"/>
                      <a:pt x="1112372" y="590807"/>
                      <a:pt x="1116794" y="581964"/>
                    </a:cubicBezTo>
                    <a:cubicBezTo>
                      <a:pt x="1124303" y="565614"/>
                      <a:pt x="1108785" y="559775"/>
                      <a:pt x="1103029" y="545176"/>
                    </a:cubicBezTo>
                    <a:cubicBezTo>
                      <a:pt x="1095938" y="527908"/>
                      <a:pt x="1111038" y="520400"/>
                      <a:pt x="1107867" y="504884"/>
                    </a:cubicBezTo>
                    <a:cubicBezTo>
                      <a:pt x="1105198" y="492955"/>
                      <a:pt x="1089681" y="492955"/>
                      <a:pt x="1084842" y="480942"/>
                    </a:cubicBezTo>
                    <a:cubicBezTo>
                      <a:pt x="1082589" y="475603"/>
                      <a:pt x="1083507" y="468512"/>
                      <a:pt x="1080003" y="463257"/>
                    </a:cubicBezTo>
                    <a:cubicBezTo>
                      <a:pt x="1076499" y="458419"/>
                      <a:pt x="1071160" y="457084"/>
                      <a:pt x="1068073" y="453080"/>
                    </a:cubicBezTo>
                    <a:cubicBezTo>
                      <a:pt x="1063651" y="447324"/>
                      <a:pt x="1064569" y="441150"/>
                      <a:pt x="1057895" y="435395"/>
                    </a:cubicBezTo>
                    <a:cubicBezTo>
                      <a:pt x="1051221" y="429639"/>
                      <a:pt x="1042794" y="426552"/>
                      <a:pt x="1036621" y="420796"/>
                    </a:cubicBezTo>
                    <a:cubicBezTo>
                      <a:pt x="1007839" y="395102"/>
                      <a:pt x="1048134" y="376500"/>
                      <a:pt x="1050804" y="349888"/>
                    </a:cubicBezTo>
                    <a:cubicBezTo>
                      <a:pt x="1052138" y="334789"/>
                      <a:pt x="1051221" y="318022"/>
                      <a:pt x="1037038" y="309596"/>
                    </a:cubicBezTo>
                    <a:cubicBezTo>
                      <a:pt x="1020686" y="299419"/>
                      <a:pt x="1002082" y="301171"/>
                      <a:pt x="987399" y="313100"/>
                    </a:cubicBezTo>
                    <a:cubicBezTo>
                      <a:pt x="979390" y="319774"/>
                      <a:pt x="970130" y="341463"/>
                      <a:pt x="961704" y="344133"/>
                    </a:cubicBezTo>
                    <a:cubicBezTo>
                      <a:pt x="947938" y="348971"/>
                      <a:pt x="944017" y="328616"/>
                      <a:pt x="933756" y="348554"/>
                    </a:cubicBezTo>
                    <a:cubicBezTo>
                      <a:pt x="927999" y="359649"/>
                      <a:pt x="930252" y="367157"/>
                      <a:pt x="918238" y="360983"/>
                    </a:cubicBezTo>
                    <a:cubicBezTo>
                      <a:pt x="914734" y="359232"/>
                      <a:pt x="914734" y="353476"/>
                      <a:pt x="909395" y="352141"/>
                    </a:cubicBezTo>
                    <a:cubicBezTo>
                      <a:pt x="900051" y="349888"/>
                      <a:pt x="899634" y="359232"/>
                      <a:pt x="893878" y="363653"/>
                    </a:cubicBezTo>
                    <a:cubicBezTo>
                      <a:pt x="886369" y="369409"/>
                      <a:pt x="885451" y="366739"/>
                      <a:pt x="889039" y="353893"/>
                    </a:cubicBezTo>
                    <a:cubicBezTo>
                      <a:pt x="893460" y="337542"/>
                      <a:pt x="888121" y="327281"/>
                      <a:pt x="870017" y="330869"/>
                    </a:cubicBezTo>
                    <a:cubicBezTo>
                      <a:pt x="837231" y="336625"/>
                      <a:pt x="805362" y="340212"/>
                      <a:pt x="774327" y="350806"/>
                    </a:cubicBezTo>
                    <a:cubicBezTo>
                      <a:pt x="764983" y="353893"/>
                      <a:pt x="754388" y="360983"/>
                      <a:pt x="767236" y="368491"/>
                    </a:cubicBezTo>
                    <a:cubicBezTo>
                      <a:pt x="772992" y="371578"/>
                      <a:pt x="794266" y="361818"/>
                      <a:pt x="796936" y="371995"/>
                    </a:cubicBezTo>
                    <a:cubicBezTo>
                      <a:pt x="797853" y="378168"/>
                      <a:pt x="795184" y="382589"/>
                      <a:pt x="790762" y="386176"/>
                    </a:cubicBezTo>
                    <a:cubicBezTo>
                      <a:pt x="777914" y="396771"/>
                      <a:pt x="771240" y="393267"/>
                      <a:pt x="764649" y="394185"/>
                    </a:cubicBezTo>
                    <a:cubicBezTo>
                      <a:pt x="747797" y="396854"/>
                      <a:pt x="732280" y="403945"/>
                      <a:pt x="716846" y="412370"/>
                    </a:cubicBezTo>
                    <a:cubicBezTo>
                      <a:pt x="699994" y="421213"/>
                      <a:pt x="689398" y="428304"/>
                      <a:pt x="670294" y="429639"/>
                    </a:cubicBezTo>
                    <a:cubicBezTo>
                      <a:pt x="662785" y="430556"/>
                      <a:pt x="654359" y="429639"/>
                      <a:pt x="646851" y="431891"/>
                    </a:cubicBezTo>
                    <a:cubicBezTo>
                      <a:pt x="634921" y="435395"/>
                      <a:pt x="636256" y="439899"/>
                      <a:pt x="629164" y="447824"/>
                    </a:cubicBezTo>
                    <a:cubicBezTo>
                      <a:pt x="617651" y="460254"/>
                      <a:pt x="599464" y="450911"/>
                      <a:pt x="586617" y="463340"/>
                    </a:cubicBezTo>
                    <a:cubicBezTo>
                      <a:pt x="575521" y="474435"/>
                      <a:pt x="572434" y="490786"/>
                      <a:pt x="561338" y="501881"/>
                    </a:cubicBezTo>
                    <a:cubicBezTo>
                      <a:pt x="534725" y="527991"/>
                      <a:pt x="505108" y="543508"/>
                      <a:pt x="488674" y="578544"/>
                    </a:cubicBezTo>
                    <a:cubicBezTo>
                      <a:pt x="486421" y="584300"/>
                      <a:pt x="480665" y="590473"/>
                      <a:pt x="479830" y="596730"/>
                    </a:cubicBezTo>
                    <a:cubicBezTo>
                      <a:pt x="478913" y="602069"/>
                      <a:pt x="483835" y="601151"/>
                      <a:pt x="482083" y="607324"/>
                    </a:cubicBezTo>
                    <a:cubicBezTo>
                      <a:pt x="478579" y="618836"/>
                      <a:pt x="462144" y="620171"/>
                      <a:pt x="477661" y="632601"/>
                    </a:cubicBezTo>
                    <a:cubicBezTo>
                      <a:pt x="483418" y="637022"/>
                      <a:pt x="492761" y="635270"/>
                      <a:pt x="494931" y="643696"/>
                    </a:cubicBezTo>
                    <a:cubicBezTo>
                      <a:pt x="496682" y="650369"/>
                      <a:pt x="494514" y="654290"/>
                      <a:pt x="486922" y="653456"/>
                    </a:cubicBezTo>
                    <a:cubicBezTo>
                      <a:pt x="476326" y="652538"/>
                      <a:pt x="462978" y="631766"/>
                      <a:pt x="449713" y="637940"/>
                    </a:cubicBezTo>
                    <a:cubicBezTo>
                      <a:pt x="429357" y="647283"/>
                      <a:pt x="458139" y="668471"/>
                      <a:pt x="464313" y="674728"/>
                    </a:cubicBezTo>
                    <a:cubicBezTo>
                      <a:pt x="469652" y="680484"/>
                      <a:pt x="472739" y="687575"/>
                      <a:pt x="477578" y="692914"/>
                    </a:cubicBezTo>
                    <a:cubicBezTo>
                      <a:pt x="481082" y="696918"/>
                      <a:pt x="492177" y="701756"/>
                      <a:pt x="493095" y="707512"/>
                    </a:cubicBezTo>
                    <a:cubicBezTo>
                      <a:pt x="495348" y="718607"/>
                      <a:pt x="481165" y="730119"/>
                      <a:pt x="472739" y="732789"/>
                    </a:cubicBezTo>
                    <a:cubicBezTo>
                      <a:pt x="455887" y="737627"/>
                      <a:pt x="439952" y="733706"/>
                      <a:pt x="424435" y="742549"/>
                    </a:cubicBezTo>
                    <a:cubicBezTo>
                      <a:pt x="412505" y="749640"/>
                      <a:pt x="402744" y="763821"/>
                      <a:pt x="386809" y="760735"/>
                    </a:cubicBezTo>
                    <a:cubicBezTo>
                      <a:pt x="376631" y="758482"/>
                      <a:pt x="372210" y="749640"/>
                      <a:pt x="360697" y="750557"/>
                    </a:cubicBezTo>
                    <a:cubicBezTo>
                      <a:pt x="350102" y="750974"/>
                      <a:pt x="339423" y="758065"/>
                      <a:pt x="328327" y="758983"/>
                    </a:cubicBezTo>
                    <a:cubicBezTo>
                      <a:pt x="309723" y="760735"/>
                      <a:pt x="289784" y="759400"/>
                      <a:pt x="272515" y="752810"/>
                    </a:cubicBezTo>
                    <a:cubicBezTo>
                      <a:pt x="250407" y="744384"/>
                      <a:pt x="238810" y="755062"/>
                      <a:pt x="216702" y="756313"/>
                    </a:cubicBezTo>
                    <a:cubicBezTo>
                      <a:pt x="197180" y="757648"/>
                      <a:pt x="182163" y="754979"/>
                      <a:pt x="167063" y="769160"/>
                    </a:cubicBezTo>
                    <a:cubicBezTo>
                      <a:pt x="155550" y="780255"/>
                      <a:pt x="141785" y="798357"/>
                      <a:pt x="143620" y="815208"/>
                    </a:cubicBezTo>
                    <a:cubicBezTo>
                      <a:pt x="144955" y="828973"/>
                      <a:pt x="157803" y="838232"/>
                      <a:pt x="160472" y="851496"/>
                    </a:cubicBezTo>
                    <a:cubicBezTo>
                      <a:pt x="164477" y="873185"/>
                      <a:pt x="151129" y="897127"/>
                      <a:pt x="149377" y="918399"/>
                    </a:cubicBezTo>
                    <a:cubicBezTo>
                      <a:pt x="148042" y="937419"/>
                      <a:pt x="146707" y="951184"/>
                      <a:pt x="161306" y="965365"/>
                    </a:cubicBezTo>
                    <a:cubicBezTo>
                      <a:pt x="175072" y="978629"/>
                      <a:pt x="193676" y="982216"/>
                      <a:pt x="208276" y="993728"/>
                    </a:cubicBezTo>
                    <a:cubicBezTo>
                      <a:pt x="230384" y="1011413"/>
                      <a:pt x="218454" y="1046867"/>
                      <a:pt x="241480" y="1064135"/>
                    </a:cubicBezTo>
                    <a:cubicBezTo>
                      <a:pt x="255245" y="1075230"/>
                      <a:pt x="270679" y="1078316"/>
                      <a:pt x="280440" y="1095167"/>
                    </a:cubicBezTo>
                    <a:cubicBezTo>
                      <a:pt x="292370" y="1116857"/>
                      <a:pt x="279522" y="1126617"/>
                      <a:pt x="268510" y="1143885"/>
                    </a:cubicBezTo>
                    <a:cubicBezTo>
                      <a:pt x="240562" y="1185929"/>
                      <a:pt x="262336" y="1220548"/>
                      <a:pt x="270262" y="1263927"/>
                    </a:cubicBezTo>
                    <a:cubicBezTo>
                      <a:pt x="273349" y="1282113"/>
                      <a:pt x="279606" y="1317566"/>
                      <a:pt x="262253" y="1330830"/>
                    </a:cubicBezTo>
                    <a:cubicBezTo>
                      <a:pt x="255162" y="1336586"/>
                      <a:pt x="243649" y="1333500"/>
                      <a:pt x="237475" y="1340591"/>
                    </a:cubicBezTo>
                    <a:cubicBezTo>
                      <a:pt x="233053" y="1345929"/>
                      <a:pt x="234388" y="1352520"/>
                      <a:pt x="233471" y="1358776"/>
                    </a:cubicBezTo>
                    <a:cubicBezTo>
                      <a:pt x="231719" y="1370288"/>
                      <a:pt x="225962" y="1385387"/>
                      <a:pt x="212197" y="1373375"/>
                    </a:cubicBezTo>
                    <a:cubicBezTo>
                      <a:pt x="201101" y="1364032"/>
                      <a:pt x="208693" y="1345012"/>
                      <a:pt x="214867" y="1336169"/>
                    </a:cubicBezTo>
                    <a:cubicBezTo>
                      <a:pt x="227297" y="1318484"/>
                      <a:pt x="228632" y="1303385"/>
                      <a:pt x="234388" y="1282530"/>
                    </a:cubicBezTo>
                    <a:cubicBezTo>
                      <a:pt x="237892" y="1268765"/>
                      <a:pt x="247653" y="1249328"/>
                      <a:pt x="240562" y="1235147"/>
                    </a:cubicBezTo>
                    <a:cubicBezTo>
                      <a:pt x="237892" y="1229808"/>
                      <a:pt x="232553" y="1222300"/>
                      <a:pt x="225962" y="1226304"/>
                    </a:cubicBezTo>
                    <a:cubicBezTo>
                      <a:pt x="219288" y="1229808"/>
                      <a:pt x="217119" y="1238233"/>
                      <a:pt x="214032" y="1244490"/>
                    </a:cubicBezTo>
                    <a:cubicBezTo>
                      <a:pt x="211780" y="1249829"/>
                      <a:pt x="210028" y="1255585"/>
                      <a:pt x="207358" y="1260840"/>
                    </a:cubicBezTo>
                    <a:cubicBezTo>
                      <a:pt x="206440" y="1263093"/>
                      <a:pt x="204271" y="1272770"/>
                      <a:pt x="200267" y="1272353"/>
                    </a:cubicBezTo>
                    <a:cubicBezTo>
                      <a:pt x="195845" y="1272353"/>
                      <a:pt x="195845" y="1268348"/>
                      <a:pt x="195845" y="1267014"/>
                    </a:cubicBezTo>
                    <a:cubicBezTo>
                      <a:pt x="196263" y="1264761"/>
                      <a:pt x="195845" y="1264344"/>
                      <a:pt x="196263" y="1261675"/>
                    </a:cubicBezTo>
                    <a:cubicBezTo>
                      <a:pt x="196680" y="1256336"/>
                      <a:pt x="196680" y="1251080"/>
                      <a:pt x="197180" y="1245741"/>
                    </a:cubicBezTo>
                    <a:cubicBezTo>
                      <a:pt x="197597" y="1238233"/>
                      <a:pt x="199433" y="1231143"/>
                      <a:pt x="199850" y="1223635"/>
                    </a:cubicBezTo>
                    <a:cubicBezTo>
                      <a:pt x="201185" y="1198859"/>
                      <a:pt x="206941" y="1177086"/>
                      <a:pt x="224211" y="1157649"/>
                    </a:cubicBezTo>
                    <a:cubicBezTo>
                      <a:pt x="236140" y="1144385"/>
                      <a:pt x="281358" y="1114271"/>
                      <a:pt x="255245" y="1094333"/>
                    </a:cubicBezTo>
                    <a:cubicBezTo>
                      <a:pt x="226880" y="1072644"/>
                      <a:pt x="190589" y="1106763"/>
                      <a:pt x="167063" y="1079734"/>
                    </a:cubicBezTo>
                    <a:cubicBezTo>
                      <a:pt x="155967" y="1067305"/>
                      <a:pt x="151963" y="1050537"/>
                      <a:pt x="145372" y="1035438"/>
                    </a:cubicBezTo>
                    <a:cubicBezTo>
                      <a:pt x="136946" y="1016418"/>
                      <a:pt x="128520" y="1009745"/>
                      <a:pt x="111250" y="999150"/>
                    </a:cubicBezTo>
                    <a:cubicBezTo>
                      <a:pt x="96150" y="989390"/>
                      <a:pt x="94398" y="977461"/>
                      <a:pt x="82468" y="965448"/>
                    </a:cubicBezTo>
                    <a:cubicBezTo>
                      <a:pt x="73625" y="956606"/>
                      <a:pt x="57691" y="954354"/>
                      <a:pt x="44843" y="951684"/>
                    </a:cubicBezTo>
                    <a:cubicBezTo>
                      <a:pt x="45260" y="958775"/>
                      <a:pt x="46595" y="965865"/>
                      <a:pt x="49681" y="973790"/>
                    </a:cubicBezTo>
                    <a:cubicBezTo>
                      <a:pt x="57190" y="992810"/>
                      <a:pt x="62529" y="1004823"/>
                      <a:pt x="75794" y="1013665"/>
                    </a:cubicBezTo>
                    <a:cubicBezTo>
                      <a:pt x="78881" y="1015417"/>
                      <a:pt x="82468" y="1017169"/>
                      <a:pt x="85972" y="1018504"/>
                    </a:cubicBezTo>
                    <a:cubicBezTo>
                      <a:pt x="99738" y="1025178"/>
                      <a:pt x="116506" y="1033102"/>
                      <a:pt x="118759" y="1054375"/>
                    </a:cubicBezTo>
                    <a:cubicBezTo>
                      <a:pt x="120511" y="1074312"/>
                      <a:pt x="110333" y="1091163"/>
                      <a:pt x="87307" y="1105762"/>
                    </a:cubicBezTo>
                    <a:lnTo>
                      <a:pt x="83803" y="1108014"/>
                    </a:lnTo>
                    <a:cubicBezTo>
                      <a:pt x="70538" y="1116022"/>
                      <a:pt x="55021" y="1125699"/>
                      <a:pt x="54103" y="1141216"/>
                    </a:cubicBezTo>
                    <a:cubicBezTo>
                      <a:pt x="53186" y="1154062"/>
                      <a:pt x="64281" y="1161570"/>
                      <a:pt x="79799" y="1170413"/>
                    </a:cubicBezTo>
                    <a:lnTo>
                      <a:pt x="85138" y="1173499"/>
                    </a:lnTo>
                    <a:cubicBezTo>
                      <a:pt x="117924" y="1193437"/>
                      <a:pt x="130773" y="1234146"/>
                      <a:pt x="117924" y="1277191"/>
                    </a:cubicBezTo>
                    <a:cubicBezTo>
                      <a:pt x="112168" y="1297128"/>
                      <a:pt x="101072" y="1310392"/>
                      <a:pt x="82468" y="1320570"/>
                    </a:cubicBezTo>
                    <a:cubicBezTo>
                      <a:pt x="59860" y="1332499"/>
                      <a:pt x="43007" y="1341842"/>
                      <a:pt x="26238" y="1358192"/>
                    </a:cubicBezTo>
                    <a:cubicBezTo>
                      <a:pt x="15643" y="1368369"/>
                      <a:pt x="-3462" y="1386972"/>
                      <a:pt x="543" y="1404240"/>
                    </a:cubicBezTo>
                    <a:cubicBezTo>
                      <a:pt x="1878" y="1411331"/>
                      <a:pt x="7634" y="1418422"/>
                      <a:pt x="12974" y="1425930"/>
                    </a:cubicBezTo>
                    <a:cubicBezTo>
                      <a:pt x="18730" y="1433020"/>
                      <a:pt x="24069" y="1440528"/>
                      <a:pt x="27156" y="1448954"/>
                    </a:cubicBezTo>
                    <a:cubicBezTo>
                      <a:pt x="35165" y="1469809"/>
                      <a:pt x="39587" y="1471978"/>
                      <a:pt x="60861" y="1480821"/>
                    </a:cubicBezTo>
                    <a:cubicBezTo>
                      <a:pt x="68369" y="1483907"/>
                      <a:pt x="74626" y="1489663"/>
                      <a:pt x="80382" y="1495002"/>
                    </a:cubicBezTo>
                    <a:cubicBezTo>
                      <a:pt x="89226" y="1503427"/>
                      <a:pt x="94565" y="1508266"/>
                      <a:pt x="102073" y="1506931"/>
                    </a:cubicBezTo>
                    <a:cubicBezTo>
                      <a:pt x="105577" y="1506013"/>
                      <a:pt x="110082" y="1503427"/>
                      <a:pt x="114504" y="1500758"/>
                    </a:cubicBezTo>
                    <a:cubicBezTo>
                      <a:pt x="123848" y="1495419"/>
                      <a:pt x="134443" y="1488829"/>
                      <a:pt x="145038" y="1493250"/>
                    </a:cubicBezTo>
                    <a:cubicBezTo>
                      <a:pt x="154799" y="1497254"/>
                      <a:pt x="156134" y="1505680"/>
                      <a:pt x="156968" y="1510935"/>
                    </a:cubicBezTo>
                    <a:cubicBezTo>
                      <a:pt x="156968" y="1512687"/>
                      <a:pt x="157386" y="1514439"/>
                      <a:pt x="157886" y="1515774"/>
                    </a:cubicBezTo>
                    <a:cubicBezTo>
                      <a:pt x="159638" y="1521112"/>
                      <a:pt x="160556" y="1521947"/>
                      <a:pt x="164060" y="1525117"/>
                    </a:cubicBezTo>
                    <a:cubicBezTo>
                      <a:pt x="165395" y="1526034"/>
                      <a:pt x="166729" y="1527369"/>
                      <a:pt x="168481" y="1529121"/>
                    </a:cubicBezTo>
                    <a:cubicBezTo>
                      <a:pt x="169816" y="1530456"/>
                      <a:pt x="170734" y="1531373"/>
                      <a:pt x="171568" y="1531790"/>
                    </a:cubicBezTo>
                    <a:cubicBezTo>
                      <a:pt x="174238" y="1534043"/>
                      <a:pt x="175990" y="1535795"/>
                      <a:pt x="178659" y="1541551"/>
                    </a:cubicBezTo>
                    <a:cubicBezTo>
                      <a:pt x="181329" y="1546889"/>
                      <a:pt x="182163" y="1553479"/>
                      <a:pt x="183081" y="1559736"/>
                    </a:cubicBezTo>
                    <a:cubicBezTo>
                      <a:pt x="183498" y="1564158"/>
                      <a:pt x="184416" y="1568579"/>
                      <a:pt x="185334" y="1571665"/>
                    </a:cubicBezTo>
                    <a:cubicBezTo>
                      <a:pt x="187086" y="1576087"/>
                      <a:pt x="189338" y="1580508"/>
                      <a:pt x="191507" y="1584929"/>
                    </a:cubicBezTo>
                    <a:cubicBezTo>
                      <a:pt x="198181" y="1598193"/>
                      <a:pt x="206607" y="1614627"/>
                      <a:pt x="194177" y="1631478"/>
                    </a:cubicBezTo>
                    <a:cubicBezTo>
                      <a:pt x="192425" y="1634147"/>
                      <a:pt x="190673" y="1635899"/>
                      <a:pt x="188837" y="1637651"/>
                    </a:cubicBezTo>
                    <a:cubicBezTo>
                      <a:pt x="186168" y="1639903"/>
                      <a:pt x="184833" y="1641655"/>
                      <a:pt x="183999" y="1644325"/>
                    </a:cubicBezTo>
                    <a:cubicBezTo>
                      <a:pt x="183081" y="1646994"/>
                      <a:pt x="183999" y="1650998"/>
                      <a:pt x="185334" y="1655420"/>
                    </a:cubicBezTo>
                    <a:cubicBezTo>
                      <a:pt x="186668" y="1658923"/>
                      <a:pt x="187586" y="1662927"/>
                      <a:pt x="188003" y="1666931"/>
                    </a:cubicBezTo>
                    <a:lnTo>
                      <a:pt x="184916" y="1688621"/>
                    </a:lnTo>
                    <a:cubicBezTo>
                      <a:pt x="183582" y="1692125"/>
                      <a:pt x="181829" y="1694794"/>
                      <a:pt x="179577" y="1697463"/>
                    </a:cubicBezTo>
                    <a:lnTo>
                      <a:pt x="176490" y="1701885"/>
                    </a:lnTo>
                    <a:cubicBezTo>
                      <a:pt x="174238" y="1705388"/>
                      <a:pt x="172986" y="1709393"/>
                      <a:pt x="171151" y="1713814"/>
                    </a:cubicBezTo>
                    <a:cubicBezTo>
                      <a:pt x="168064" y="1720487"/>
                      <a:pt x="165395" y="1727078"/>
                      <a:pt x="160973" y="1732416"/>
                    </a:cubicBezTo>
                    <a:cubicBezTo>
                      <a:pt x="155216" y="1738173"/>
                      <a:pt x="148125" y="1741760"/>
                      <a:pt x="141451" y="1744346"/>
                    </a:cubicBezTo>
                    <a:cubicBezTo>
                      <a:pt x="129938" y="1749685"/>
                      <a:pt x="125516" y="1751854"/>
                      <a:pt x="127686" y="1761614"/>
                    </a:cubicBezTo>
                    <a:cubicBezTo>
                      <a:pt x="129020" y="1770039"/>
                      <a:pt x="133025" y="1776212"/>
                      <a:pt x="136529" y="1782886"/>
                    </a:cubicBezTo>
                    <a:cubicBezTo>
                      <a:pt x="143203" y="1793981"/>
                      <a:pt x="150711" y="1806327"/>
                      <a:pt x="146290" y="1825430"/>
                    </a:cubicBezTo>
                    <a:cubicBezTo>
                      <a:pt x="145372" y="1828934"/>
                      <a:pt x="144955" y="1832521"/>
                      <a:pt x="144037" y="1835608"/>
                    </a:cubicBezTo>
                    <a:cubicBezTo>
                      <a:pt x="140033" y="1851124"/>
                      <a:pt x="137363" y="1861301"/>
                      <a:pt x="146707" y="1874565"/>
                    </a:cubicBezTo>
                    <a:cubicBezTo>
                      <a:pt x="151129" y="1881656"/>
                      <a:pt x="156885" y="1887829"/>
                      <a:pt x="163058" y="1894086"/>
                    </a:cubicBezTo>
                    <a:cubicBezTo>
                      <a:pt x="173237" y="1905180"/>
                      <a:pt x="183915" y="1915775"/>
                      <a:pt x="189171" y="1931291"/>
                    </a:cubicBezTo>
                    <a:cubicBezTo>
                      <a:pt x="193176" y="1942386"/>
                      <a:pt x="194511" y="1953898"/>
                      <a:pt x="191841" y="1964993"/>
                    </a:cubicBezTo>
                    <a:cubicBezTo>
                      <a:pt x="190506" y="1969831"/>
                      <a:pt x="188754" y="1974336"/>
                      <a:pt x="187002" y="1977840"/>
                    </a:cubicBezTo>
                    <a:cubicBezTo>
                      <a:pt x="184749" y="1982678"/>
                      <a:pt x="182580" y="1987183"/>
                      <a:pt x="183498" y="1991604"/>
                    </a:cubicBezTo>
                    <a:cubicBezTo>
                      <a:pt x="183915" y="1996025"/>
                      <a:pt x="187503" y="2000030"/>
                      <a:pt x="190589" y="2004868"/>
                    </a:cubicBezTo>
                    <a:cubicBezTo>
                      <a:pt x="193676" y="2008872"/>
                      <a:pt x="196763" y="2013293"/>
                      <a:pt x="198598" y="2017715"/>
                    </a:cubicBezTo>
                    <a:cubicBezTo>
                      <a:pt x="204772" y="2032313"/>
                      <a:pt x="202102" y="2041156"/>
                      <a:pt x="198598" y="2053168"/>
                    </a:cubicBezTo>
                    <a:lnTo>
                      <a:pt x="197681" y="2055421"/>
                    </a:lnTo>
                    <a:cubicBezTo>
                      <a:pt x="190589" y="2079780"/>
                      <a:pt x="203854" y="2091709"/>
                      <a:pt x="225629" y="2109477"/>
                    </a:cubicBezTo>
                    <a:cubicBezTo>
                      <a:pt x="238059" y="2119238"/>
                      <a:pt x="250407" y="2129832"/>
                      <a:pt x="258416" y="2144431"/>
                    </a:cubicBezTo>
                    <a:cubicBezTo>
                      <a:pt x="269928" y="2167037"/>
                      <a:pt x="269511" y="2186057"/>
                      <a:pt x="257081" y="2209999"/>
                    </a:cubicBezTo>
                    <a:lnTo>
                      <a:pt x="254828" y="2213503"/>
                    </a:lnTo>
                    <a:cubicBezTo>
                      <a:pt x="249489" y="2223680"/>
                      <a:pt x="237142" y="2247205"/>
                      <a:pt x="246819" y="2252961"/>
                    </a:cubicBezTo>
                    <a:cubicBezTo>
                      <a:pt x="247737" y="2253878"/>
                      <a:pt x="251241" y="2253878"/>
                      <a:pt x="252576" y="2253378"/>
                    </a:cubicBezTo>
                    <a:cubicBezTo>
                      <a:pt x="254828" y="2253378"/>
                      <a:pt x="256997" y="2252961"/>
                      <a:pt x="259250" y="2253378"/>
                    </a:cubicBezTo>
                    <a:cubicBezTo>
                      <a:pt x="272515" y="2254295"/>
                      <a:pt x="276936" y="2257799"/>
                      <a:pt x="286697" y="2266225"/>
                    </a:cubicBezTo>
                    <a:cubicBezTo>
                      <a:pt x="293371" y="2271981"/>
                      <a:pt x="296875" y="2274650"/>
                      <a:pt x="303966" y="2275067"/>
                    </a:cubicBezTo>
                    <a:cubicBezTo>
                      <a:pt x="307053" y="2275067"/>
                      <a:pt x="309723" y="2274650"/>
                      <a:pt x="312392" y="2274150"/>
                    </a:cubicBezTo>
                    <a:cubicBezTo>
                      <a:pt x="319484" y="2272815"/>
                      <a:pt x="327910" y="2271897"/>
                      <a:pt x="336753" y="2278988"/>
                    </a:cubicBezTo>
                    <a:cubicBezTo>
                      <a:pt x="348266" y="2289165"/>
                      <a:pt x="348266" y="2306934"/>
                      <a:pt x="347849" y="2321032"/>
                    </a:cubicBezTo>
                    <a:cubicBezTo>
                      <a:pt x="347849" y="2324118"/>
                      <a:pt x="347849" y="2326371"/>
                      <a:pt x="348266" y="2329040"/>
                    </a:cubicBezTo>
                    <a:cubicBezTo>
                      <a:pt x="348683" y="2333878"/>
                      <a:pt x="348683" y="2338801"/>
                      <a:pt x="349184" y="2343222"/>
                    </a:cubicBezTo>
                    <a:cubicBezTo>
                      <a:pt x="350519" y="2363159"/>
                      <a:pt x="351854" y="2381345"/>
                      <a:pt x="344345" y="2402617"/>
                    </a:cubicBezTo>
                    <a:cubicBezTo>
                      <a:pt x="339506" y="2415881"/>
                      <a:pt x="329746" y="2423472"/>
                      <a:pt x="321319" y="2429645"/>
                    </a:cubicBezTo>
                    <a:cubicBezTo>
                      <a:pt x="314645" y="2434484"/>
                      <a:pt x="308889" y="2439405"/>
                      <a:pt x="304467" y="2445996"/>
                    </a:cubicBezTo>
                    <a:cubicBezTo>
                      <a:pt x="301798" y="2450000"/>
                      <a:pt x="298711" y="2454004"/>
                      <a:pt x="295624" y="2458425"/>
                    </a:cubicBezTo>
                    <a:cubicBezTo>
                      <a:pt x="284528" y="2473525"/>
                      <a:pt x="278355" y="2483201"/>
                      <a:pt x="285029" y="2494713"/>
                    </a:cubicBezTo>
                    <a:cubicBezTo>
                      <a:pt x="288115" y="2500052"/>
                      <a:pt x="291703" y="2504056"/>
                      <a:pt x="295206" y="2507560"/>
                    </a:cubicBezTo>
                    <a:cubicBezTo>
                      <a:pt x="303216" y="2515986"/>
                      <a:pt x="310307" y="2524411"/>
                      <a:pt x="307137" y="2544766"/>
                    </a:cubicBezTo>
                    <a:cubicBezTo>
                      <a:pt x="306720" y="2549187"/>
                      <a:pt x="306720" y="2554109"/>
                      <a:pt x="306219" y="2558947"/>
                    </a:cubicBezTo>
                    <a:cubicBezTo>
                      <a:pt x="306219" y="2566038"/>
                      <a:pt x="305802" y="2573129"/>
                      <a:pt x="303966" y="2580219"/>
                    </a:cubicBezTo>
                    <a:cubicBezTo>
                      <a:pt x="300880" y="2593483"/>
                      <a:pt x="292871" y="2602826"/>
                      <a:pt x="285779" y="2611669"/>
                    </a:cubicBezTo>
                    <a:lnTo>
                      <a:pt x="283110" y="2614755"/>
                    </a:lnTo>
                    <a:cubicBezTo>
                      <a:pt x="276936" y="2622764"/>
                      <a:pt x="270679" y="2631607"/>
                      <a:pt x="265423" y="2640032"/>
                    </a:cubicBezTo>
                    <a:cubicBezTo>
                      <a:pt x="259250" y="2649792"/>
                      <a:pt x="252993" y="2659552"/>
                      <a:pt x="245067" y="2668812"/>
                    </a:cubicBezTo>
                    <a:cubicBezTo>
                      <a:pt x="241980" y="2672316"/>
                      <a:pt x="238393" y="2675902"/>
                      <a:pt x="235306" y="2679406"/>
                    </a:cubicBezTo>
                    <a:cubicBezTo>
                      <a:pt x="229550" y="2685162"/>
                      <a:pt x="224211" y="2690501"/>
                      <a:pt x="220706" y="2696675"/>
                    </a:cubicBezTo>
                    <a:cubicBezTo>
                      <a:pt x="218037" y="2700679"/>
                      <a:pt x="216285" y="2704683"/>
                      <a:pt x="215367" y="2709104"/>
                    </a:cubicBezTo>
                    <a:lnTo>
                      <a:pt x="215367" y="2710022"/>
                    </a:lnTo>
                    <a:cubicBezTo>
                      <a:pt x="212280" y="2724620"/>
                      <a:pt x="213615" y="2748562"/>
                      <a:pt x="221541" y="2759657"/>
                    </a:cubicBezTo>
                    <a:cubicBezTo>
                      <a:pt x="229967" y="2772087"/>
                      <a:pt x="248988" y="2780512"/>
                      <a:pt x="265840" y="2788437"/>
                    </a:cubicBezTo>
                    <a:cubicBezTo>
                      <a:pt x="274267" y="2791940"/>
                      <a:pt x="282192" y="2795945"/>
                      <a:pt x="288866" y="2799532"/>
                    </a:cubicBezTo>
                    <a:lnTo>
                      <a:pt x="292871" y="2801784"/>
                    </a:lnTo>
                    <a:cubicBezTo>
                      <a:pt x="296375" y="2804036"/>
                      <a:pt x="300880" y="2806623"/>
                      <a:pt x="304383" y="2809292"/>
                    </a:cubicBezTo>
                    <a:cubicBezTo>
                      <a:pt x="313727" y="2802619"/>
                      <a:pt x="325240" y="2796445"/>
                      <a:pt x="332331" y="2796028"/>
                    </a:cubicBezTo>
                    <a:cubicBezTo>
                      <a:pt x="343845" y="2795111"/>
                      <a:pt x="355774" y="2800032"/>
                      <a:pt x="363784" y="2808875"/>
                    </a:cubicBezTo>
                    <a:cubicBezTo>
                      <a:pt x="366453" y="2811544"/>
                      <a:pt x="368205" y="2814631"/>
                      <a:pt x="369957" y="2817300"/>
                    </a:cubicBezTo>
                    <a:cubicBezTo>
                      <a:pt x="370875" y="2819052"/>
                      <a:pt x="372210" y="2820804"/>
                      <a:pt x="373461" y="2822139"/>
                    </a:cubicBezTo>
                    <a:cubicBezTo>
                      <a:pt x="376965" y="2826977"/>
                      <a:pt x="381887" y="2831482"/>
                      <a:pt x="388061" y="2834986"/>
                    </a:cubicBezTo>
                    <a:cubicBezTo>
                      <a:pt x="392899" y="2837655"/>
                      <a:pt x="398239" y="2839407"/>
                      <a:pt x="401326" y="2838489"/>
                    </a:cubicBezTo>
                    <a:cubicBezTo>
                      <a:pt x="402243" y="2838072"/>
                      <a:pt x="403078" y="2837572"/>
                      <a:pt x="403578" y="2836737"/>
                    </a:cubicBezTo>
                    <a:cubicBezTo>
                      <a:pt x="403578" y="2836320"/>
                      <a:pt x="403995" y="2836320"/>
                      <a:pt x="403995" y="2835820"/>
                    </a:cubicBezTo>
                    <a:cubicBezTo>
                      <a:pt x="404413" y="2834902"/>
                      <a:pt x="404913" y="2833567"/>
                      <a:pt x="405747" y="2832316"/>
                    </a:cubicBezTo>
                    <a:cubicBezTo>
                      <a:pt x="409251" y="2827895"/>
                      <a:pt x="413255" y="2826977"/>
                      <a:pt x="415925" y="2826977"/>
                    </a:cubicBezTo>
                    <a:lnTo>
                      <a:pt x="415925" y="2826977"/>
                    </a:lnTo>
                    <a:cubicBezTo>
                      <a:pt x="424769" y="2826977"/>
                      <a:pt x="432277" y="2837155"/>
                      <a:pt x="436782" y="2842911"/>
                    </a:cubicBezTo>
                    <a:cubicBezTo>
                      <a:pt x="437199" y="2843828"/>
                      <a:pt x="437700" y="2844245"/>
                      <a:pt x="438117" y="2844662"/>
                    </a:cubicBezTo>
                    <a:cubicBezTo>
                      <a:pt x="442955" y="2850835"/>
                      <a:pt x="450547" y="2856174"/>
                      <a:pt x="454969" y="2854005"/>
                    </a:cubicBezTo>
                    <a:cubicBezTo>
                      <a:pt x="457222" y="2853088"/>
                      <a:pt x="458974" y="2850502"/>
                      <a:pt x="460726" y="2847332"/>
                    </a:cubicBezTo>
                    <a:cubicBezTo>
                      <a:pt x="462978" y="2844245"/>
                      <a:pt x="465147" y="2840658"/>
                      <a:pt x="469151" y="2837572"/>
                    </a:cubicBezTo>
                    <a:cubicBezTo>
                      <a:pt x="480247" y="2829563"/>
                      <a:pt x="494847" y="2834485"/>
                      <a:pt x="503273" y="2843745"/>
                    </a:cubicBezTo>
                    <a:cubicBezTo>
                      <a:pt x="509947" y="2851253"/>
                      <a:pt x="513034" y="2861430"/>
                      <a:pt x="515704" y="2869855"/>
                    </a:cubicBezTo>
                    <a:lnTo>
                      <a:pt x="516121" y="2871607"/>
                    </a:lnTo>
                    <a:cubicBezTo>
                      <a:pt x="520542" y="2886706"/>
                      <a:pt x="527217" y="2903474"/>
                      <a:pt x="540064" y="2913651"/>
                    </a:cubicBezTo>
                    <a:cubicBezTo>
                      <a:pt x="551577" y="2922494"/>
                      <a:pt x="566678" y="2924746"/>
                      <a:pt x="579943" y="2926081"/>
                    </a:cubicBezTo>
                    <a:cubicBezTo>
                      <a:pt x="621155" y="2929584"/>
                      <a:pt x="663703" y="2923411"/>
                      <a:pt x="702246" y="2908813"/>
                    </a:cubicBezTo>
                    <a:cubicBezTo>
                      <a:pt x="700494" y="2904392"/>
                      <a:pt x="698742" y="2899970"/>
                      <a:pt x="696490" y="2895966"/>
                    </a:cubicBezTo>
                    <a:cubicBezTo>
                      <a:pt x="686312" y="2876946"/>
                      <a:pt x="673464" y="2853422"/>
                      <a:pt x="684059" y="2825559"/>
                    </a:cubicBezTo>
                    <a:cubicBezTo>
                      <a:pt x="686729" y="2818468"/>
                      <a:pt x="689815" y="2811795"/>
                      <a:pt x="692902" y="2805621"/>
                    </a:cubicBezTo>
                    <a:cubicBezTo>
                      <a:pt x="698242" y="2794527"/>
                      <a:pt x="703081" y="2784766"/>
                      <a:pt x="705750" y="2772420"/>
                    </a:cubicBezTo>
                    <a:cubicBezTo>
                      <a:pt x="706167" y="2768916"/>
                      <a:pt x="707502" y="2765329"/>
                      <a:pt x="708420" y="2761826"/>
                    </a:cubicBezTo>
                    <a:cubicBezTo>
                      <a:pt x="710672" y="2755152"/>
                      <a:pt x="712424" y="2749396"/>
                      <a:pt x="711924" y="2744141"/>
                    </a:cubicBezTo>
                    <a:cubicBezTo>
                      <a:pt x="711924" y="2737467"/>
                      <a:pt x="709671" y="2730376"/>
                      <a:pt x="707502" y="2722451"/>
                    </a:cubicBezTo>
                    <a:cubicBezTo>
                      <a:pt x="705750" y="2716278"/>
                      <a:pt x="703998" y="2709605"/>
                      <a:pt x="703081" y="2702931"/>
                    </a:cubicBezTo>
                    <a:cubicBezTo>
                      <a:pt x="700828" y="2682993"/>
                      <a:pt x="700411" y="2658218"/>
                      <a:pt x="716846" y="2637780"/>
                    </a:cubicBezTo>
                    <a:cubicBezTo>
                      <a:pt x="722185" y="2631607"/>
                      <a:pt x="727942" y="2626267"/>
                      <a:pt x="733197" y="2621429"/>
                    </a:cubicBezTo>
                    <a:cubicBezTo>
                      <a:pt x="743376" y="2612586"/>
                      <a:pt x="751802" y="2605079"/>
                      <a:pt x="754471" y="2592649"/>
                    </a:cubicBezTo>
                    <a:cubicBezTo>
                      <a:pt x="756223" y="2583306"/>
                      <a:pt x="756724" y="2574463"/>
                      <a:pt x="757141" y="2564703"/>
                    </a:cubicBezTo>
                    <a:cubicBezTo>
                      <a:pt x="757558" y="2552274"/>
                      <a:pt x="758476" y="2539010"/>
                      <a:pt x="762897" y="2525245"/>
                    </a:cubicBezTo>
                    <a:cubicBezTo>
                      <a:pt x="765984" y="2516820"/>
                      <a:pt x="769989" y="2508895"/>
                      <a:pt x="774411" y="2500886"/>
                    </a:cubicBezTo>
                    <a:cubicBezTo>
                      <a:pt x="781502" y="2488457"/>
                      <a:pt x="787675" y="2476527"/>
                      <a:pt x="788176" y="2463264"/>
                    </a:cubicBezTo>
                    <a:cubicBezTo>
                      <a:pt x="788176" y="2445996"/>
                      <a:pt x="780668" y="2422972"/>
                      <a:pt x="769572" y="2408373"/>
                    </a:cubicBezTo>
                    <a:cubicBezTo>
                      <a:pt x="759394" y="2394609"/>
                      <a:pt x="742541" y="2386684"/>
                      <a:pt x="726190" y="2378675"/>
                    </a:cubicBezTo>
                    <a:cubicBezTo>
                      <a:pt x="719098" y="2375172"/>
                      <a:pt x="712007" y="2371585"/>
                      <a:pt x="705834" y="2368081"/>
                    </a:cubicBezTo>
                    <a:cubicBezTo>
                      <a:pt x="696990" y="2363243"/>
                      <a:pt x="688981" y="2357487"/>
                      <a:pt x="681056" y="2351731"/>
                    </a:cubicBezTo>
                    <a:cubicBezTo>
                      <a:pt x="668625" y="2343305"/>
                      <a:pt x="657112" y="2334880"/>
                      <a:pt x="644265" y="2329624"/>
                    </a:cubicBezTo>
                    <a:cubicBezTo>
                      <a:pt x="638091" y="2326955"/>
                      <a:pt x="630082" y="2326120"/>
                      <a:pt x="622157" y="2325203"/>
                    </a:cubicBezTo>
                    <a:cubicBezTo>
                      <a:pt x="610226" y="2323451"/>
                      <a:pt x="597796" y="2322116"/>
                      <a:pt x="587618" y="2315026"/>
                    </a:cubicBezTo>
                    <a:cubicBezTo>
                      <a:pt x="565509" y="2299092"/>
                      <a:pt x="575688" y="2276902"/>
                      <a:pt x="583196" y="2260552"/>
                    </a:cubicBezTo>
                    <a:lnTo>
                      <a:pt x="585449" y="2255714"/>
                    </a:lnTo>
                    <a:cubicBezTo>
                      <a:pt x="593457" y="2237528"/>
                      <a:pt x="590788" y="2219843"/>
                      <a:pt x="577940" y="2204327"/>
                    </a:cubicBezTo>
                    <a:cubicBezTo>
                      <a:pt x="574853" y="2200823"/>
                      <a:pt x="569514" y="2197653"/>
                      <a:pt x="564175" y="2194566"/>
                    </a:cubicBezTo>
                    <a:cubicBezTo>
                      <a:pt x="554831" y="2188810"/>
                      <a:pt x="543818" y="2182637"/>
                      <a:pt x="540732" y="2170625"/>
                    </a:cubicBezTo>
                    <a:cubicBezTo>
                      <a:pt x="538062" y="2160447"/>
                      <a:pt x="543401" y="2151605"/>
                      <a:pt x="547823" y="2144014"/>
                    </a:cubicBezTo>
                    <a:cubicBezTo>
                      <a:pt x="549158" y="2142262"/>
                      <a:pt x="549575" y="2140510"/>
                      <a:pt x="550493" y="2139175"/>
                    </a:cubicBezTo>
                    <a:cubicBezTo>
                      <a:pt x="556249" y="2127663"/>
                      <a:pt x="559336" y="2117069"/>
                      <a:pt x="560671" y="2104222"/>
                    </a:cubicBezTo>
                    <a:cubicBezTo>
                      <a:pt x="561088" y="2099384"/>
                      <a:pt x="561589" y="2094461"/>
                      <a:pt x="561589" y="2089623"/>
                    </a:cubicBezTo>
                    <a:cubicBezTo>
                      <a:pt x="562006" y="2074107"/>
                      <a:pt x="562924" y="2055921"/>
                      <a:pt x="572184" y="2041323"/>
                    </a:cubicBezTo>
                    <a:cubicBezTo>
                      <a:pt x="579275" y="2029393"/>
                      <a:pt x="591205" y="2023137"/>
                      <a:pt x="602301" y="2016964"/>
                    </a:cubicBezTo>
                    <a:cubicBezTo>
                      <a:pt x="610727" y="2012960"/>
                      <a:pt x="618235" y="2008955"/>
                      <a:pt x="623575" y="2002782"/>
                    </a:cubicBezTo>
                    <a:cubicBezTo>
                      <a:pt x="632919" y="1993022"/>
                      <a:pt x="640844" y="1980676"/>
                      <a:pt x="648353" y="1968664"/>
                    </a:cubicBezTo>
                    <a:cubicBezTo>
                      <a:pt x="653692" y="1960238"/>
                      <a:pt x="658947" y="1951812"/>
                      <a:pt x="664287" y="1944722"/>
                    </a:cubicBezTo>
                    <a:cubicBezTo>
                      <a:pt x="674048" y="1932292"/>
                      <a:pt x="679387" y="1919028"/>
                      <a:pt x="685144" y="1905264"/>
                    </a:cubicBezTo>
                    <a:cubicBezTo>
                      <a:pt x="688648" y="1895921"/>
                      <a:pt x="692652" y="1886661"/>
                      <a:pt x="697991" y="1876901"/>
                    </a:cubicBezTo>
                    <a:cubicBezTo>
                      <a:pt x="701996" y="1868893"/>
                      <a:pt x="707335" y="1862302"/>
                      <a:pt x="712591" y="1856046"/>
                    </a:cubicBezTo>
                    <a:lnTo>
                      <a:pt x="727692" y="1834774"/>
                    </a:lnTo>
                    <a:cubicBezTo>
                      <a:pt x="728109" y="1834774"/>
                      <a:pt x="728609" y="1834774"/>
                      <a:pt x="728609" y="1834774"/>
                    </a:cubicBezTo>
                    <a:lnTo>
                      <a:pt x="729026" y="1834774"/>
                    </a:lnTo>
                    <a:lnTo>
                      <a:pt x="729026" y="1834356"/>
                    </a:lnTo>
                    <a:cubicBezTo>
                      <a:pt x="732113" y="1829935"/>
                      <a:pt x="735200" y="1825013"/>
                      <a:pt x="737869" y="1820175"/>
                    </a:cubicBezTo>
                    <a:cubicBezTo>
                      <a:pt x="740956" y="1813501"/>
                      <a:pt x="743209" y="1807745"/>
                      <a:pt x="745878" y="1802490"/>
                    </a:cubicBezTo>
                    <a:cubicBezTo>
                      <a:pt x="752553" y="1786974"/>
                      <a:pt x="758726" y="1772375"/>
                      <a:pt x="774661" y="1757777"/>
                    </a:cubicBezTo>
                    <a:cubicBezTo>
                      <a:pt x="790178" y="1743595"/>
                      <a:pt x="802108" y="1729831"/>
                      <a:pt x="811869" y="1709476"/>
                    </a:cubicBezTo>
                    <a:cubicBezTo>
                      <a:pt x="823382" y="1684700"/>
                      <a:pt x="836230" y="1681530"/>
                      <a:pt x="859673" y="1678027"/>
                    </a:cubicBezTo>
                    <a:cubicBezTo>
                      <a:pt x="879194" y="1674940"/>
                      <a:pt x="886286" y="1670936"/>
                      <a:pt x="889373" y="1653250"/>
                    </a:cubicBezTo>
                    <a:lnTo>
                      <a:pt x="890290" y="1647912"/>
                    </a:lnTo>
                    <a:cubicBezTo>
                      <a:pt x="892042" y="1636400"/>
                      <a:pt x="893794" y="1627057"/>
                      <a:pt x="901803" y="1614710"/>
                    </a:cubicBezTo>
                    <a:cubicBezTo>
                      <a:pt x="904473" y="1610289"/>
                      <a:pt x="907559" y="1606285"/>
                      <a:pt x="910646" y="1601863"/>
                    </a:cubicBezTo>
                    <a:cubicBezTo>
                      <a:pt x="915485" y="1595190"/>
                      <a:pt x="919990" y="1589017"/>
                      <a:pt x="923494" y="1582343"/>
                    </a:cubicBezTo>
                    <a:cubicBezTo>
                      <a:pt x="926998" y="1576587"/>
                      <a:pt x="929250" y="1570414"/>
                      <a:pt x="931920" y="1564158"/>
                    </a:cubicBezTo>
                    <a:cubicBezTo>
                      <a:pt x="937677" y="1550894"/>
                      <a:pt x="943433" y="1536712"/>
                      <a:pt x="954529" y="1525617"/>
                    </a:cubicBezTo>
                    <a:cubicBezTo>
                      <a:pt x="966459" y="1513688"/>
                      <a:pt x="981976" y="1505680"/>
                      <a:pt x="996576" y="1497671"/>
                    </a:cubicBezTo>
                    <a:cubicBezTo>
                      <a:pt x="1000580" y="1495419"/>
                      <a:pt x="1005002" y="1493250"/>
                      <a:pt x="1008506" y="1490998"/>
                    </a:cubicBezTo>
                    <a:cubicBezTo>
                      <a:pt x="1026693" y="1480821"/>
                      <a:pt x="1039040" y="1471060"/>
                      <a:pt x="1049719" y="1457296"/>
                    </a:cubicBezTo>
                    <a:cubicBezTo>
                      <a:pt x="1062984" y="1440945"/>
                      <a:pt x="1078501" y="1421842"/>
                      <a:pt x="1109119" y="1420507"/>
                    </a:cubicBezTo>
                    <a:cubicBezTo>
                      <a:pt x="1116210" y="1420090"/>
                      <a:pt x="1123718" y="1420924"/>
                      <a:pt x="1130810" y="1421842"/>
                    </a:cubicBezTo>
                    <a:cubicBezTo>
                      <a:pt x="1145409" y="1423594"/>
                      <a:pt x="1159592" y="1424929"/>
                      <a:pt x="1170271" y="1417004"/>
                    </a:cubicBezTo>
                    <a:cubicBezTo>
                      <a:pt x="1174275" y="1413917"/>
                      <a:pt x="1177779" y="1409913"/>
                      <a:pt x="1181367" y="1406409"/>
                    </a:cubicBezTo>
                    <a:cubicBezTo>
                      <a:pt x="1191128" y="1395314"/>
                      <a:pt x="1202640" y="1383385"/>
                      <a:pt x="1225666" y="1390476"/>
                    </a:cubicBezTo>
                    <a:cubicBezTo>
                      <a:pt x="1239849" y="1394480"/>
                      <a:pt x="1246523" y="1405074"/>
                      <a:pt x="1252279" y="1413917"/>
                    </a:cubicBezTo>
                    <a:cubicBezTo>
                      <a:pt x="1255783" y="1419673"/>
                      <a:pt x="1259371" y="1425012"/>
                      <a:pt x="1264209" y="1428516"/>
                    </a:cubicBezTo>
                    <a:cubicBezTo>
                      <a:pt x="1273053" y="1435189"/>
                      <a:pt x="1287652" y="1432020"/>
                      <a:pt x="1300083" y="1428933"/>
                    </a:cubicBezTo>
                    <a:lnTo>
                      <a:pt x="1306757" y="1427598"/>
                    </a:lnTo>
                    <a:cubicBezTo>
                      <a:pt x="1328031" y="1423177"/>
                      <a:pt x="1349722" y="1418755"/>
                      <a:pt x="1369244" y="1434272"/>
                    </a:cubicBezTo>
                    <a:cubicBezTo>
                      <a:pt x="1371913" y="1436524"/>
                      <a:pt x="1374583" y="1438276"/>
                      <a:pt x="1376752" y="1440445"/>
                    </a:cubicBezTo>
                    <a:cubicBezTo>
                      <a:pt x="1390518" y="1451957"/>
                      <a:pt x="1396691" y="1457296"/>
                      <a:pt x="1415712" y="1451039"/>
                    </a:cubicBezTo>
                    <a:lnTo>
                      <a:pt x="1419216" y="1450122"/>
                    </a:lnTo>
                    <a:cubicBezTo>
                      <a:pt x="1430729" y="1446118"/>
                      <a:pt x="1437821" y="1443949"/>
                      <a:pt x="1452420" y="1447452"/>
                    </a:cubicBezTo>
                    <a:cubicBezTo>
                      <a:pt x="1454172" y="1447869"/>
                      <a:pt x="1455924" y="1448370"/>
                      <a:pt x="1457759" y="1448787"/>
                    </a:cubicBezTo>
                    <a:cubicBezTo>
                      <a:pt x="1463099" y="1450122"/>
                      <a:pt x="1467521" y="1451456"/>
                      <a:pt x="1471942" y="1450122"/>
                    </a:cubicBezTo>
                    <a:cubicBezTo>
                      <a:pt x="1478116" y="1447869"/>
                      <a:pt x="1482120" y="1442113"/>
                      <a:pt x="1486542" y="1435022"/>
                    </a:cubicBezTo>
                    <a:cubicBezTo>
                      <a:pt x="1491881" y="1427014"/>
                      <a:pt x="1497637" y="1418172"/>
                      <a:pt x="1508233" y="1414668"/>
                    </a:cubicBezTo>
                    <a:cubicBezTo>
                      <a:pt x="1519328" y="1411164"/>
                      <a:pt x="1528172" y="1414668"/>
                      <a:pt x="1536598" y="1417755"/>
                    </a:cubicBezTo>
                    <a:cubicBezTo>
                      <a:pt x="1545024" y="1420841"/>
                      <a:pt x="1551198" y="1423510"/>
                      <a:pt x="1559624" y="1420007"/>
                    </a:cubicBezTo>
                    <a:cubicBezTo>
                      <a:pt x="1565797" y="1417337"/>
                      <a:pt x="1571137" y="1412916"/>
                      <a:pt x="1576476" y="1408495"/>
                    </a:cubicBezTo>
                    <a:cubicBezTo>
                      <a:pt x="1578228" y="1407160"/>
                      <a:pt x="1579980" y="1405408"/>
                      <a:pt x="1581815" y="1403656"/>
                    </a:cubicBezTo>
                    <a:cubicBezTo>
                      <a:pt x="1583567" y="1402322"/>
                      <a:pt x="1584902" y="1400570"/>
                      <a:pt x="1586654" y="1399235"/>
                    </a:cubicBezTo>
                    <a:cubicBezTo>
                      <a:pt x="1594162" y="1392561"/>
                      <a:pt x="1602172" y="1386388"/>
                      <a:pt x="1612766" y="1382885"/>
                    </a:cubicBezTo>
                    <a:cubicBezTo>
                      <a:pt x="1626032" y="1378463"/>
                      <a:pt x="1634457" y="1370956"/>
                      <a:pt x="1644218" y="1362530"/>
                    </a:cubicBezTo>
                    <a:cubicBezTo>
                      <a:pt x="1649975" y="1357692"/>
                      <a:pt x="1655731" y="1352353"/>
                      <a:pt x="1662822" y="1347431"/>
                    </a:cubicBezTo>
                    <a:cubicBezTo>
                      <a:pt x="1664575" y="1346096"/>
                      <a:pt x="1666828" y="1344762"/>
                      <a:pt x="1668996" y="1343427"/>
                    </a:cubicBezTo>
                    <a:cubicBezTo>
                      <a:pt x="1674336" y="1340340"/>
                      <a:pt x="1678757" y="1337254"/>
                      <a:pt x="1681427" y="1332332"/>
                    </a:cubicBezTo>
                    <a:cubicBezTo>
                      <a:pt x="1683179" y="1328828"/>
                      <a:pt x="1683679" y="1326159"/>
                      <a:pt x="1684513" y="1323489"/>
                    </a:cubicBezTo>
                    <a:cubicBezTo>
                      <a:pt x="1686766" y="1315481"/>
                      <a:pt x="1689353" y="1307139"/>
                      <a:pt x="1702701" y="1302217"/>
                    </a:cubicBezTo>
                    <a:cubicBezTo>
                      <a:pt x="1711544" y="1298713"/>
                      <a:pt x="1720387" y="1299548"/>
                      <a:pt x="1728396" y="1299965"/>
                    </a:cubicBezTo>
                    <a:cubicBezTo>
                      <a:pt x="1740827" y="1300882"/>
                      <a:pt x="1748335" y="1300882"/>
                      <a:pt x="1755009" y="1293792"/>
                    </a:cubicBezTo>
                    <a:cubicBezTo>
                      <a:pt x="1763019" y="1284449"/>
                      <a:pt x="1759014" y="1275606"/>
                      <a:pt x="1748836" y="1259673"/>
                    </a:cubicBezTo>
                    <a:cubicBezTo>
                      <a:pt x="1746583" y="1256169"/>
                      <a:pt x="1743997" y="1252582"/>
                      <a:pt x="1742162" y="1249078"/>
                    </a:cubicBezTo>
                    <a:cubicBezTo>
                      <a:pt x="1728897" y="1223802"/>
                      <a:pt x="1745249" y="1207451"/>
                      <a:pt x="1758096" y="1194188"/>
                    </a:cubicBezTo>
                    <a:lnTo>
                      <a:pt x="1761183" y="1191101"/>
                    </a:lnTo>
                    <a:cubicBezTo>
                      <a:pt x="1766523" y="1186263"/>
                      <a:pt x="1768691" y="1183593"/>
                      <a:pt x="1768691" y="1178671"/>
                    </a:cubicBezTo>
                    <a:cubicBezTo>
                      <a:pt x="1768691" y="1175585"/>
                      <a:pt x="1766940" y="1171998"/>
                      <a:pt x="1765187" y="1168494"/>
                    </a:cubicBezTo>
                    <a:cubicBezTo>
                      <a:pt x="1762935" y="1163155"/>
                      <a:pt x="1759849" y="1157399"/>
                      <a:pt x="1760349" y="1150308"/>
                    </a:cubicBezTo>
                    <a:cubicBezTo>
                      <a:pt x="1761266" y="1131706"/>
                      <a:pt x="1779370" y="1115772"/>
                      <a:pt x="1792218" y="1104260"/>
                    </a:cubicBezTo>
                    <a:lnTo>
                      <a:pt x="1797057" y="1099839"/>
                    </a:lnTo>
                    <a:cubicBezTo>
                      <a:pt x="1812991" y="1085657"/>
                      <a:pt x="1827173" y="1071476"/>
                      <a:pt x="1842691" y="1055960"/>
                    </a:cubicBezTo>
                    <a:lnTo>
                      <a:pt x="1854621" y="1044031"/>
                    </a:lnTo>
                    <a:cubicBezTo>
                      <a:pt x="1859210" y="1038191"/>
                      <a:pt x="1865383" y="1031100"/>
                      <a:pt x="1864465" y="102534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6789698" name="Полилиния 513"/>
              <p:cNvSpPr/>
              <p:nvPr/>
            </p:nvSpPr>
            <p:spPr bwMode="auto">
              <a:xfrm>
                <a:off x="6895703" y="1682368"/>
                <a:ext cx="2646997" cy="2130465"/>
              </a:xfrm>
              <a:custGeom>
                <a:avLst/>
                <a:gdLst>
                  <a:gd name="connsiteX0" fmla="*/ 2921108 w 2972665"/>
                  <a:gd name="connsiteY0" fmla="*/ 499022 h 2392583"/>
                  <a:gd name="connsiteX1" fmla="*/ 2908260 w 2972665"/>
                  <a:gd name="connsiteY1" fmla="*/ 481753 h 2392583"/>
                  <a:gd name="connsiteX2" fmla="*/ 2886151 w 2972665"/>
                  <a:gd name="connsiteY2" fmla="*/ 456977 h 2392583"/>
                  <a:gd name="connsiteX3" fmla="*/ 2855618 w 2972665"/>
                  <a:gd name="connsiteY3" fmla="*/ 452556 h 2392583"/>
                  <a:gd name="connsiteX4" fmla="*/ 2833927 w 2972665"/>
                  <a:gd name="connsiteY4" fmla="*/ 458729 h 2392583"/>
                  <a:gd name="connsiteX5" fmla="*/ 2801139 w 2972665"/>
                  <a:gd name="connsiteY5" fmla="*/ 465820 h 2392583"/>
                  <a:gd name="connsiteX6" fmla="*/ 2801139 w 2972665"/>
                  <a:gd name="connsiteY6" fmla="*/ 465820 h 2392583"/>
                  <a:gd name="connsiteX7" fmla="*/ 2762179 w 2972665"/>
                  <a:gd name="connsiteY7" fmla="*/ 459147 h 2392583"/>
                  <a:gd name="connsiteX8" fmla="*/ 2739153 w 2972665"/>
                  <a:gd name="connsiteY8" fmla="*/ 423693 h 2392583"/>
                  <a:gd name="connsiteX9" fmla="*/ 2740906 w 2972665"/>
                  <a:gd name="connsiteY9" fmla="*/ 414850 h 2392583"/>
                  <a:gd name="connsiteX10" fmla="*/ 2741823 w 2972665"/>
                  <a:gd name="connsiteY10" fmla="*/ 404256 h 2392583"/>
                  <a:gd name="connsiteX11" fmla="*/ 2731228 w 2972665"/>
                  <a:gd name="connsiteY11" fmla="*/ 397165 h 2392583"/>
                  <a:gd name="connsiteX12" fmla="*/ 2726806 w 2972665"/>
                  <a:gd name="connsiteY12" fmla="*/ 395830 h 2392583"/>
                  <a:gd name="connsiteX13" fmla="*/ 2711289 w 2972665"/>
                  <a:gd name="connsiteY13" fmla="*/ 389657 h 2392583"/>
                  <a:gd name="connsiteX14" fmla="*/ 2697107 w 2972665"/>
                  <a:gd name="connsiteY14" fmla="*/ 349365 h 2392583"/>
                  <a:gd name="connsiteX15" fmla="*/ 2704615 w 2972665"/>
                  <a:gd name="connsiteY15" fmla="*/ 329845 h 2392583"/>
                  <a:gd name="connsiteX16" fmla="*/ 2705532 w 2972665"/>
                  <a:gd name="connsiteY16" fmla="*/ 327592 h 2392583"/>
                  <a:gd name="connsiteX17" fmla="*/ 2715293 w 2972665"/>
                  <a:gd name="connsiteY17" fmla="*/ 305486 h 2392583"/>
                  <a:gd name="connsiteX18" fmla="*/ 2734815 w 2972665"/>
                  <a:gd name="connsiteY18" fmla="*/ 265194 h 2392583"/>
                  <a:gd name="connsiteX19" fmla="*/ 2753420 w 2972665"/>
                  <a:gd name="connsiteY19" fmla="*/ 216476 h 2392583"/>
                  <a:gd name="connsiteX20" fmla="*/ 2753420 w 2972665"/>
                  <a:gd name="connsiteY20" fmla="*/ 204547 h 2392583"/>
                  <a:gd name="connsiteX21" fmla="*/ 2759176 w 2972665"/>
                  <a:gd name="connsiteY21" fmla="*/ 173515 h 2392583"/>
                  <a:gd name="connsiteX22" fmla="*/ 2776862 w 2972665"/>
                  <a:gd name="connsiteY22" fmla="*/ 157581 h 2392583"/>
                  <a:gd name="connsiteX23" fmla="*/ 2787958 w 2972665"/>
                  <a:gd name="connsiteY23" fmla="*/ 149156 h 2392583"/>
                  <a:gd name="connsiteX24" fmla="*/ 2795967 w 2972665"/>
                  <a:gd name="connsiteY24" fmla="*/ 125214 h 2392583"/>
                  <a:gd name="connsiteX25" fmla="*/ 2781785 w 2972665"/>
                  <a:gd name="connsiteY25" fmla="*/ 104359 h 2392583"/>
                  <a:gd name="connsiteX26" fmla="*/ 2772024 w 2972665"/>
                  <a:gd name="connsiteY26" fmla="*/ 99938 h 2392583"/>
                  <a:gd name="connsiteX27" fmla="*/ 2752084 w 2972665"/>
                  <a:gd name="connsiteY27" fmla="*/ 88009 h 2392583"/>
                  <a:gd name="connsiteX28" fmla="*/ 2745410 w 2972665"/>
                  <a:gd name="connsiteY28" fmla="*/ 77414 h 2392583"/>
                  <a:gd name="connsiteX29" fmla="*/ 2736066 w 2972665"/>
                  <a:gd name="connsiteY29" fmla="*/ 66820 h 2392583"/>
                  <a:gd name="connsiteX30" fmla="*/ 2720966 w 2972665"/>
                  <a:gd name="connsiteY30" fmla="*/ 65902 h 2392583"/>
                  <a:gd name="connsiteX31" fmla="*/ 2718296 w 2972665"/>
                  <a:gd name="connsiteY31" fmla="*/ 65902 h 2392583"/>
                  <a:gd name="connsiteX32" fmla="*/ 2694353 w 2972665"/>
                  <a:gd name="connsiteY32" fmla="*/ 61064 h 2392583"/>
                  <a:gd name="connsiteX33" fmla="*/ 2684593 w 2972665"/>
                  <a:gd name="connsiteY33" fmla="*/ 50887 h 2392583"/>
                  <a:gd name="connsiteX34" fmla="*/ 2677501 w 2972665"/>
                  <a:gd name="connsiteY34" fmla="*/ 43379 h 2392583"/>
                  <a:gd name="connsiteX35" fmla="*/ 2662400 w 2972665"/>
                  <a:gd name="connsiteY35" fmla="*/ 40709 h 2392583"/>
                  <a:gd name="connsiteX36" fmla="*/ 2653558 w 2972665"/>
                  <a:gd name="connsiteY36" fmla="*/ 40292 h 2392583"/>
                  <a:gd name="connsiteX37" fmla="*/ 2616766 w 2972665"/>
                  <a:gd name="connsiteY37" fmla="*/ 18186 h 2392583"/>
                  <a:gd name="connsiteX38" fmla="*/ 2606588 w 2972665"/>
                  <a:gd name="connsiteY38" fmla="*/ 0 h 2392583"/>
                  <a:gd name="connsiteX39" fmla="*/ 2602166 w 2972665"/>
                  <a:gd name="connsiteY39" fmla="*/ 31032 h 2392583"/>
                  <a:gd name="connsiteX40" fmla="*/ 2647801 w 2972665"/>
                  <a:gd name="connsiteY40" fmla="*/ 81502 h 2392583"/>
                  <a:gd name="connsiteX41" fmla="*/ 2662400 w 2972665"/>
                  <a:gd name="connsiteY41" fmla="*/ 99688 h 2392583"/>
                  <a:gd name="connsiteX42" fmla="*/ 2633618 w 2972665"/>
                  <a:gd name="connsiteY42" fmla="*/ 100605 h 2392583"/>
                  <a:gd name="connsiteX43" fmla="*/ 2546354 w 2972665"/>
                  <a:gd name="connsiteY43" fmla="*/ 83754 h 2392583"/>
                  <a:gd name="connsiteX44" fmla="*/ 2508728 w 2972665"/>
                  <a:gd name="connsiteY44" fmla="*/ 109031 h 2392583"/>
                  <a:gd name="connsiteX45" fmla="*/ 2479529 w 2972665"/>
                  <a:gd name="connsiteY45" fmla="*/ 86424 h 2392583"/>
                  <a:gd name="connsiteX46" fmla="*/ 2395769 w 2972665"/>
                  <a:gd name="connsiteY46" fmla="*/ 30615 h 2392583"/>
                  <a:gd name="connsiteX47" fmla="*/ 2289483 w 2972665"/>
                  <a:gd name="connsiteY47" fmla="*/ 67404 h 2392583"/>
                  <a:gd name="connsiteX48" fmla="*/ 2209310 w 2972665"/>
                  <a:gd name="connsiteY48" fmla="*/ 147571 h 2392583"/>
                  <a:gd name="connsiteX49" fmla="*/ 2186283 w 2972665"/>
                  <a:gd name="connsiteY49" fmla="*/ 199375 h 2392583"/>
                  <a:gd name="connsiteX50" fmla="*/ 2163258 w 2972665"/>
                  <a:gd name="connsiteY50" fmla="*/ 247676 h 2392583"/>
                  <a:gd name="connsiteX51" fmla="*/ 2146406 w 2972665"/>
                  <a:gd name="connsiteY51" fmla="*/ 299480 h 2392583"/>
                  <a:gd name="connsiteX52" fmla="*/ 2112284 w 2972665"/>
                  <a:gd name="connsiteY52" fmla="*/ 338437 h 2392583"/>
                  <a:gd name="connsiteX53" fmla="*/ 2074658 w 2972665"/>
                  <a:gd name="connsiteY53" fmla="*/ 346862 h 2392583"/>
                  <a:gd name="connsiteX54" fmla="*/ 2058724 w 2972665"/>
                  <a:gd name="connsiteY54" fmla="*/ 334933 h 2392583"/>
                  <a:gd name="connsiteX55" fmla="*/ 2033029 w 2972665"/>
                  <a:gd name="connsiteY55" fmla="*/ 329594 h 2392583"/>
                  <a:gd name="connsiteX56" fmla="*/ 1980303 w 2972665"/>
                  <a:gd name="connsiteY56" fmla="*/ 380982 h 2392583"/>
                  <a:gd name="connsiteX57" fmla="*/ 1937338 w 2972665"/>
                  <a:gd name="connsiteY57" fmla="*/ 378312 h 2392583"/>
                  <a:gd name="connsiteX58" fmla="*/ 1900546 w 2972665"/>
                  <a:gd name="connsiteY58" fmla="*/ 379230 h 2392583"/>
                  <a:gd name="connsiteX59" fmla="*/ 1868678 w 2972665"/>
                  <a:gd name="connsiteY59" fmla="*/ 392076 h 2392583"/>
                  <a:gd name="connsiteX60" fmla="*/ 1895708 w 2972665"/>
                  <a:gd name="connsiteY60" fmla="*/ 348197 h 2392583"/>
                  <a:gd name="connsiteX61" fmla="*/ 1875769 w 2972665"/>
                  <a:gd name="connsiteY61" fmla="*/ 319000 h 2392583"/>
                  <a:gd name="connsiteX62" fmla="*/ 1825296 w 2972665"/>
                  <a:gd name="connsiteY62" fmla="*/ 321252 h 2392583"/>
                  <a:gd name="connsiteX63" fmla="*/ 1739366 w 2972665"/>
                  <a:gd name="connsiteY63" fmla="*/ 377978 h 2392583"/>
                  <a:gd name="connsiteX64" fmla="*/ 1747792 w 2972665"/>
                  <a:gd name="connsiteY64" fmla="*/ 475914 h 2392583"/>
                  <a:gd name="connsiteX65" fmla="*/ 1750879 w 2972665"/>
                  <a:gd name="connsiteY65" fmla="*/ 521962 h 2392583"/>
                  <a:gd name="connsiteX66" fmla="*/ 1723849 w 2972665"/>
                  <a:gd name="connsiteY66" fmla="*/ 550742 h 2392583"/>
                  <a:gd name="connsiteX67" fmla="*/ 1717174 w 2972665"/>
                  <a:gd name="connsiteY67" fmla="*/ 516206 h 2392583"/>
                  <a:gd name="connsiteX68" fmla="*/ 1734861 w 2972665"/>
                  <a:gd name="connsiteY68" fmla="*/ 483005 h 2392583"/>
                  <a:gd name="connsiteX69" fmla="*/ 1722013 w 2972665"/>
                  <a:gd name="connsiteY69" fmla="*/ 484757 h 2392583"/>
                  <a:gd name="connsiteX70" fmla="*/ 1701657 w 2972665"/>
                  <a:gd name="connsiteY70" fmla="*/ 468823 h 2392583"/>
                  <a:gd name="connsiteX71" fmla="*/ 1703910 w 2972665"/>
                  <a:gd name="connsiteY71" fmla="*/ 455059 h 2392583"/>
                  <a:gd name="connsiteX72" fmla="*/ 1665784 w 2972665"/>
                  <a:gd name="connsiteY72" fmla="*/ 473662 h 2392583"/>
                  <a:gd name="connsiteX73" fmla="*/ 1636083 w 2972665"/>
                  <a:gd name="connsiteY73" fmla="*/ 501107 h 2392583"/>
                  <a:gd name="connsiteX74" fmla="*/ 1637002 w 2972665"/>
                  <a:gd name="connsiteY74" fmla="*/ 467906 h 2392583"/>
                  <a:gd name="connsiteX75" fmla="*/ 1677797 w 2972665"/>
                  <a:gd name="connsiteY75" fmla="*/ 447968 h 2392583"/>
                  <a:gd name="connsiteX76" fmla="*/ 1699905 w 2972665"/>
                  <a:gd name="connsiteY76" fmla="*/ 415184 h 2392583"/>
                  <a:gd name="connsiteX77" fmla="*/ 1660945 w 2972665"/>
                  <a:gd name="connsiteY77" fmla="*/ 421858 h 2392583"/>
                  <a:gd name="connsiteX78" fmla="*/ 1553325 w 2972665"/>
                  <a:gd name="connsiteY78" fmla="*/ 484757 h 2392583"/>
                  <a:gd name="connsiteX79" fmla="*/ 1508107 w 2972665"/>
                  <a:gd name="connsiteY79" fmla="*/ 522379 h 2392583"/>
                  <a:gd name="connsiteX80" fmla="*/ 1450960 w 2972665"/>
                  <a:gd name="connsiteY80" fmla="*/ 542734 h 2392583"/>
                  <a:gd name="connsiteX81" fmla="*/ 1427016 w 2972665"/>
                  <a:gd name="connsiteY81" fmla="*/ 562671 h 2392583"/>
                  <a:gd name="connsiteX82" fmla="*/ 1464224 w 2972665"/>
                  <a:gd name="connsiteY82" fmla="*/ 584361 h 2392583"/>
                  <a:gd name="connsiteX83" fmla="*/ 1431855 w 2972665"/>
                  <a:gd name="connsiteY83" fmla="*/ 640586 h 2392583"/>
                  <a:gd name="connsiteX84" fmla="*/ 1419007 w 2972665"/>
                  <a:gd name="connsiteY84" fmla="*/ 671619 h 2392583"/>
                  <a:gd name="connsiteX85" fmla="*/ 1446037 w 2972665"/>
                  <a:gd name="connsiteY85" fmla="*/ 701733 h 2392583"/>
                  <a:gd name="connsiteX86" fmla="*/ 1476572 w 2972665"/>
                  <a:gd name="connsiteY86" fmla="*/ 685800 h 2392583"/>
                  <a:gd name="connsiteX87" fmla="*/ 1538558 w 2972665"/>
                  <a:gd name="connsiteY87" fmla="*/ 758459 h 2392583"/>
                  <a:gd name="connsiteX88" fmla="*/ 1541645 w 2972665"/>
                  <a:gd name="connsiteY88" fmla="*/ 781900 h 2392583"/>
                  <a:gd name="connsiteX89" fmla="*/ 1525710 w 2972665"/>
                  <a:gd name="connsiteY89" fmla="*/ 794330 h 2392583"/>
                  <a:gd name="connsiteX90" fmla="*/ 1500432 w 2972665"/>
                  <a:gd name="connsiteY90" fmla="*/ 791661 h 2392583"/>
                  <a:gd name="connsiteX91" fmla="*/ 1466727 w 2972665"/>
                  <a:gd name="connsiteY91" fmla="*/ 840795 h 2392583"/>
                  <a:gd name="connsiteX92" fmla="*/ 1498596 w 2972665"/>
                  <a:gd name="connsiteY92" fmla="*/ 862485 h 2392583"/>
                  <a:gd name="connsiteX93" fmla="*/ 1474652 w 2972665"/>
                  <a:gd name="connsiteY93" fmla="*/ 877083 h 2392583"/>
                  <a:gd name="connsiteX94" fmla="*/ 1380714 w 2972665"/>
                  <a:gd name="connsiteY94" fmla="*/ 877500 h 2392583"/>
                  <a:gd name="connsiteX95" fmla="*/ 1332410 w 2972665"/>
                  <a:gd name="connsiteY95" fmla="*/ 954581 h 2392583"/>
                  <a:gd name="connsiteX96" fmla="*/ 1322649 w 2972665"/>
                  <a:gd name="connsiteY96" fmla="*/ 974936 h 2392583"/>
                  <a:gd name="connsiteX97" fmla="*/ 1274345 w 2972665"/>
                  <a:gd name="connsiteY97" fmla="*/ 985113 h 2392583"/>
                  <a:gd name="connsiteX98" fmla="*/ 1230963 w 2972665"/>
                  <a:gd name="connsiteY98" fmla="*/ 970514 h 2392583"/>
                  <a:gd name="connsiteX99" fmla="*/ 1197759 w 2972665"/>
                  <a:gd name="connsiteY99" fmla="*/ 954164 h 2392583"/>
                  <a:gd name="connsiteX100" fmla="*/ 1211942 w 2972665"/>
                  <a:gd name="connsiteY100" fmla="*/ 1034748 h 2392583"/>
                  <a:gd name="connsiteX101" fmla="*/ 1235885 w 2972665"/>
                  <a:gd name="connsiteY101" fmla="*/ 1123341 h 2392583"/>
                  <a:gd name="connsiteX102" fmla="*/ 1233633 w 2972665"/>
                  <a:gd name="connsiteY102" fmla="*/ 1160546 h 2392583"/>
                  <a:gd name="connsiteX103" fmla="*/ 1202181 w 2972665"/>
                  <a:gd name="connsiteY103" fmla="*/ 1152538 h 2392583"/>
                  <a:gd name="connsiteX104" fmla="*/ 1187581 w 2972665"/>
                  <a:gd name="connsiteY104" fmla="*/ 1157877 h 2392583"/>
                  <a:gd name="connsiteX105" fmla="*/ 1165890 w 2972665"/>
                  <a:gd name="connsiteY105" fmla="*/ 1153873 h 2392583"/>
                  <a:gd name="connsiteX106" fmla="*/ 1137942 w 2972665"/>
                  <a:gd name="connsiteY106" fmla="*/ 1150369 h 2392583"/>
                  <a:gd name="connsiteX107" fmla="*/ 1116251 w 2972665"/>
                  <a:gd name="connsiteY107" fmla="*/ 1137522 h 2392583"/>
                  <a:gd name="connsiteX108" fmla="*/ 1093643 w 2972665"/>
                  <a:gd name="connsiteY108" fmla="*/ 1125093 h 2392583"/>
                  <a:gd name="connsiteX109" fmla="*/ 1077291 w 2972665"/>
                  <a:gd name="connsiteY109" fmla="*/ 1112246 h 2392583"/>
                  <a:gd name="connsiteX110" fmla="*/ 1054682 w 2972665"/>
                  <a:gd name="connsiteY110" fmla="*/ 1107824 h 2392583"/>
                  <a:gd name="connsiteX111" fmla="*/ 1039164 w 2972665"/>
                  <a:gd name="connsiteY111" fmla="*/ 1089222 h 2392583"/>
                  <a:gd name="connsiteX112" fmla="*/ 979348 w 2972665"/>
                  <a:gd name="connsiteY112" fmla="*/ 1051599 h 2392583"/>
                  <a:gd name="connsiteX113" fmla="*/ 978931 w 2972665"/>
                  <a:gd name="connsiteY113" fmla="*/ 1046761 h 2392583"/>
                  <a:gd name="connsiteX114" fmla="*/ 986022 w 2972665"/>
                  <a:gd name="connsiteY114" fmla="*/ 1039253 h 2392583"/>
                  <a:gd name="connsiteX115" fmla="*/ 1008130 w 2972665"/>
                  <a:gd name="connsiteY115" fmla="*/ 1031244 h 2392583"/>
                  <a:gd name="connsiteX116" fmla="*/ 1011633 w 2972665"/>
                  <a:gd name="connsiteY116" fmla="*/ 988283 h 2392583"/>
                  <a:gd name="connsiteX117" fmla="*/ 974843 w 2972665"/>
                  <a:gd name="connsiteY117" fmla="*/ 974518 h 2392583"/>
                  <a:gd name="connsiteX118" fmla="*/ 966417 w 2972665"/>
                  <a:gd name="connsiteY118" fmla="*/ 977605 h 2392583"/>
                  <a:gd name="connsiteX119" fmla="*/ 966000 w 2972665"/>
                  <a:gd name="connsiteY119" fmla="*/ 977605 h 2392583"/>
                  <a:gd name="connsiteX120" fmla="*/ 958491 w 2972665"/>
                  <a:gd name="connsiteY120" fmla="*/ 975353 h 2392583"/>
                  <a:gd name="connsiteX121" fmla="*/ 954987 w 2972665"/>
                  <a:gd name="connsiteY121" fmla="*/ 968262 h 2392583"/>
                  <a:gd name="connsiteX122" fmla="*/ 957657 w 2972665"/>
                  <a:gd name="connsiteY122" fmla="*/ 953163 h 2392583"/>
                  <a:gd name="connsiteX123" fmla="*/ 957657 w 2972665"/>
                  <a:gd name="connsiteY123" fmla="*/ 928804 h 2392583"/>
                  <a:gd name="connsiteX124" fmla="*/ 946561 w 2972665"/>
                  <a:gd name="connsiteY124" fmla="*/ 924383 h 2392583"/>
                  <a:gd name="connsiteX125" fmla="*/ 930209 w 2972665"/>
                  <a:gd name="connsiteY125" fmla="*/ 914205 h 2392583"/>
                  <a:gd name="connsiteX126" fmla="*/ 929292 w 2972665"/>
                  <a:gd name="connsiteY126" fmla="*/ 913788 h 2392583"/>
                  <a:gd name="connsiteX127" fmla="*/ 920865 w 2972665"/>
                  <a:gd name="connsiteY127" fmla="*/ 902276 h 2392583"/>
                  <a:gd name="connsiteX128" fmla="*/ 911104 w 2972665"/>
                  <a:gd name="connsiteY128" fmla="*/ 880587 h 2392583"/>
                  <a:gd name="connsiteX129" fmla="*/ 876149 w 2972665"/>
                  <a:gd name="connsiteY129" fmla="*/ 870410 h 2392583"/>
                  <a:gd name="connsiteX130" fmla="*/ 790636 w 2972665"/>
                  <a:gd name="connsiteY130" fmla="*/ 872662 h 2392583"/>
                  <a:gd name="connsiteX131" fmla="*/ 786215 w 2972665"/>
                  <a:gd name="connsiteY131" fmla="*/ 895686 h 2392583"/>
                  <a:gd name="connsiteX132" fmla="*/ 780041 w 2972665"/>
                  <a:gd name="connsiteY132" fmla="*/ 901442 h 2392583"/>
                  <a:gd name="connsiteX133" fmla="*/ 772950 w 2972665"/>
                  <a:gd name="connsiteY133" fmla="*/ 900524 h 2392583"/>
                  <a:gd name="connsiteX134" fmla="*/ 751676 w 2972665"/>
                  <a:gd name="connsiteY134" fmla="*/ 897855 h 2392583"/>
                  <a:gd name="connsiteX135" fmla="*/ 726398 w 2972665"/>
                  <a:gd name="connsiteY135" fmla="*/ 903194 h 2392583"/>
                  <a:gd name="connsiteX136" fmla="*/ 709128 w 2972665"/>
                  <a:gd name="connsiteY136" fmla="*/ 900107 h 2392583"/>
                  <a:gd name="connsiteX137" fmla="*/ 700702 w 2972665"/>
                  <a:gd name="connsiteY137" fmla="*/ 897021 h 2392583"/>
                  <a:gd name="connsiteX138" fmla="*/ 692693 w 2972665"/>
                  <a:gd name="connsiteY138" fmla="*/ 893517 h 2392583"/>
                  <a:gd name="connsiteX139" fmla="*/ 682932 w 2972665"/>
                  <a:gd name="connsiteY139" fmla="*/ 899273 h 2392583"/>
                  <a:gd name="connsiteX140" fmla="*/ 676258 w 2972665"/>
                  <a:gd name="connsiteY140" fmla="*/ 898856 h 2392583"/>
                  <a:gd name="connsiteX141" fmla="*/ 666080 w 2972665"/>
                  <a:gd name="connsiteY141" fmla="*/ 884674 h 2392583"/>
                  <a:gd name="connsiteX142" fmla="*/ 659406 w 2972665"/>
                  <a:gd name="connsiteY142" fmla="*/ 873580 h 2392583"/>
                  <a:gd name="connsiteX143" fmla="*/ 655902 w 2972665"/>
                  <a:gd name="connsiteY143" fmla="*/ 870493 h 2392583"/>
                  <a:gd name="connsiteX144" fmla="*/ 652398 w 2972665"/>
                  <a:gd name="connsiteY144" fmla="*/ 870910 h 2392583"/>
                  <a:gd name="connsiteX145" fmla="*/ 656819 w 2972665"/>
                  <a:gd name="connsiteY145" fmla="*/ 893934 h 2392583"/>
                  <a:gd name="connsiteX146" fmla="*/ 647976 w 2972665"/>
                  <a:gd name="connsiteY146" fmla="*/ 910285 h 2392583"/>
                  <a:gd name="connsiteX147" fmla="*/ 642220 w 2972665"/>
                  <a:gd name="connsiteY147" fmla="*/ 926218 h 2392583"/>
                  <a:gd name="connsiteX148" fmla="*/ 629790 w 2972665"/>
                  <a:gd name="connsiteY148" fmla="*/ 934226 h 2392583"/>
                  <a:gd name="connsiteX149" fmla="*/ 674506 w 2972665"/>
                  <a:gd name="connsiteY149" fmla="*/ 1018398 h 2392583"/>
                  <a:gd name="connsiteX150" fmla="*/ 674923 w 2972665"/>
                  <a:gd name="connsiteY150" fmla="*/ 1019732 h 2392583"/>
                  <a:gd name="connsiteX151" fmla="*/ 674923 w 2972665"/>
                  <a:gd name="connsiteY151" fmla="*/ 1020149 h 2392583"/>
                  <a:gd name="connsiteX152" fmla="*/ 675340 w 2972665"/>
                  <a:gd name="connsiteY152" fmla="*/ 1035248 h 2392583"/>
                  <a:gd name="connsiteX153" fmla="*/ 667332 w 2972665"/>
                  <a:gd name="connsiteY153" fmla="*/ 1052934 h 2392583"/>
                  <a:gd name="connsiteX154" fmla="*/ 654901 w 2972665"/>
                  <a:gd name="connsiteY154" fmla="*/ 1061359 h 2392583"/>
                  <a:gd name="connsiteX155" fmla="*/ 652648 w 2972665"/>
                  <a:gd name="connsiteY155" fmla="*/ 1062277 h 2392583"/>
                  <a:gd name="connsiteX156" fmla="*/ 641135 w 2972665"/>
                  <a:gd name="connsiteY156" fmla="*/ 1070702 h 2392583"/>
                  <a:gd name="connsiteX157" fmla="*/ 630957 w 2972665"/>
                  <a:gd name="connsiteY157" fmla="*/ 1076875 h 2392583"/>
                  <a:gd name="connsiteX158" fmla="*/ 609683 w 2972665"/>
                  <a:gd name="connsiteY158" fmla="*/ 1077293 h 2392583"/>
                  <a:gd name="connsiteX159" fmla="*/ 597253 w 2972665"/>
                  <a:gd name="connsiteY159" fmla="*/ 1085718 h 2392583"/>
                  <a:gd name="connsiteX160" fmla="*/ 552536 w 2972665"/>
                  <a:gd name="connsiteY160" fmla="*/ 1107824 h 2392583"/>
                  <a:gd name="connsiteX161" fmla="*/ 535266 w 2972665"/>
                  <a:gd name="connsiteY161" fmla="*/ 1105155 h 2392583"/>
                  <a:gd name="connsiteX162" fmla="*/ 521084 w 2972665"/>
                  <a:gd name="connsiteY162" fmla="*/ 1090973 h 2392583"/>
                  <a:gd name="connsiteX163" fmla="*/ 494971 w 2972665"/>
                  <a:gd name="connsiteY163" fmla="*/ 1115749 h 2392583"/>
                  <a:gd name="connsiteX164" fmla="*/ 454176 w 2972665"/>
                  <a:gd name="connsiteY164" fmla="*/ 1118002 h 2392583"/>
                  <a:gd name="connsiteX165" fmla="*/ 424977 w 2972665"/>
                  <a:gd name="connsiteY165" fmla="*/ 1094060 h 2392583"/>
                  <a:gd name="connsiteX166" fmla="*/ 423641 w 2972665"/>
                  <a:gd name="connsiteY166" fmla="*/ 1076792 h 2392583"/>
                  <a:gd name="connsiteX167" fmla="*/ 436072 w 2972665"/>
                  <a:gd name="connsiteY167" fmla="*/ 1059524 h 2392583"/>
                  <a:gd name="connsiteX168" fmla="*/ 394859 w 2972665"/>
                  <a:gd name="connsiteY168" fmla="*/ 1056020 h 2392583"/>
                  <a:gd name="connsiteX169" fmla="*/ 349642 w 2972665"/>
                  <a:gd name="connsiteY169" fmla="*/ 1075958 h 2392583"/>
                  <a:gd name="connsiteX170" fmla="*/ 325282 w 2972665"/>
                  <a:gd name="connsiteY170" fmla="*/ 1077710 h 2392583"/>
                  <a:gd name="connsiteX171" fmla="*/ 287155 w 2972665"/>
                  <a:gd name="connsiteY171" fmla="*/ 1083048 h 2392583"/>
                  <a:gd name="connsiteX172" fmla="*/ 247695 w 2972665"/>
                  <a:gd name="connsiteY172" fmla="*/ 1100734 h 2392583"/>
                  <a:gd name="connsiteX173" fmla="*/ 201643 w 2972665"/>
                  <a:gd name="connsiteY173" fmla="*/ 1135687 h 2392583"/>
                  <a:gd name="connsiteX174" fmla="*/ 189212 w 2972665"/>
                  <a:gd name="connsiteY174" fmla="*/ 1165384 h 2392583"/>
                  <a:gd name="connsiteX175" fmla="*/ 201643 w 2972665"/>
                  <a:gd name="connsiteY175" fmla="*/ 1181318 h 2392583"/>
                  <a:gd name="connsiteX176" fmla="*/ 187043 w 2972665"/>
                  <a:gd name="connsiteY176" fmla="*/ 1178231 h 2392583"/>
                  <a:gd name="connsiteX177" fmla="*/ 172443 w 2972665"/>
                  <a:gd name="connsiteY177" fmla="*/ 1139274 h 2392583"/>
                  <a:gd name="connsiteX178" fmla="*/ 147165 w 2972665"/>
                  <a:gd name="connsiteY178" fmla="*/ 1098064 h 2392583"/>
                  <a:gd name="connsiteX179" fmla="*/ 133400 w 2972665"/>
                  <a:gd name="connsiteY179" fmla="*/ 1116250 h 2392583"/>
                  <a:gd name="connsiteX180" fmla="*/ 101030 w 2972665"/>
                  <a:gd name="connsiteY180" fmla="*/ 1141943 h 2392583"/>
                  <a:gd name="connsiteX181" fmla="*/ 79756 w 2972665"/>
                  <a:gd name="connsiteY181" fmla="*/ 1138440 h 2392583"/>
                  <a:gd name="connsiteX182" fmla="*/ 68660 w 2972665"/>
                  <a:gd name="connsiteY182" fmla="*/ 1160546 h 2392583"/>
                  <a:gd name="connsiteX183" fmla="*/ 71747 w 2972665"/>
                  <a:gd name="connsiteY183" fmla="*/ 1169389 h 2392583"/>
                  <a:gd name="connsiteX184" fmla="*/ 76586 w 2972665"/>
                  <a:gd name="connsiteY184" fmla="*/ 1182236 h 2392583"/>
                  <a:gd name="connsiteX185" fmla="*/ 70413 w 2972665"/>
                  <a:gd name="connsiteY185" fmla="*/ 1204842 h 2392583"/>
                  <a:gd name="connsiteX186" fmla="*/ 66908 w 2972665"/>
                  <a:gd name="connsiteY186" fmla="*/ 1211933 h 2392583"/>
                  <a:gd name="connsiteX187" fmla="*/ 81508 w 2972665"/>
                  <a:gd name="connsiteY187" fmla="*/ 1256647 h 2392583"/>
                  <a:gd name="connsiteX188" fmla="*/ 96108 w 2972665"/>
                  <a:gd name="connsiteY188" fmla="*/ 1296522 h 2392583"/>
                  <a:gd name="connsiteX189" fmla="*/ 97025 w 2972665"/>
                  <a:gd name="connsiteY189" fmla="*/ 1312455 h 2392583"/>
                  <a:gd name="connsiteX190" fmla="*/ 119133 w 2972665"/>
                  <a:gd name="connsiteY190" fmla="*/ 1347408 h 2392583"/>
                  <a:gd name="connsiteX191" fmla="*/ 122637 w 2972665"/>
                  <a:gd name="connsiteY191" fmla="*/ 1350495 h 2392583"/>
                  <a:gd name="connsiteX192" fmla="*/ 138572 w 2972665"/>
                  <a:gd name="connsiteY192" fmla="*/ 1372601 h 2392583"/>
                  <a:gd name="connsiteX193" fmla="*/ 156258 w 2972665"/>
                  <a:gd name="connsiteY193" fmla="*/ 1394290 h 2392583"/>
                  <a:gd name="connsiteX194" fmla="*/ 170024 w 2972665"/>
                  <a:gd name="connsiteY194" fmla="*/ 1402299 h 2392583"/>
                  <a:gd name="connsiteX195" fmla="*/ 210319 w 2972665"/>
                  <a:gd name="connsiteY195" fmla="*/ 1440839 h 2392583"/>
                  <a:gd name="connsiteX196" fmla="*/ 218328 w 2972665"/>
                  <a:gd name="connsiteY196" fmla="*/ 1476710 h 2392583"/>
                  <a:gd name="connsiteX197" fmla="*/ 226337 w 2972665"/>
                  <a:gd name="connsiteY197" fmla="*/ 1510412 h 2392583"/>
                  <a:gd name="connsiteX198" fmla="*/ 254285 w 2972665"/>
                  <a:gd name="connsiteY198" fmla="*/ 1534771 h 2392583"/>
                  <a:gd name="connsiteX199" fmla="*/ 283985 w 2972665"/>
                  <a:gd name="connsiteY199" fmla="*/ 1566220 h 2392583"/>
                  <a:gd name="connsiteX200" fmla="*/ 269386 w 2972665"/>
                  <a:gd name="connsiteY200" fmla="*/ 1596335 h 2392583"/>
                  <a:gd name="connsiteX201" fmla="*/ 257455 w 2972665"/>
                  <a:gd name="connsiteY201" fmla="*/ 1608264 h 2392583"/>
                  <a:gd name="connsiteX202" fmla="*/ 211404 w 2972665"/>
                  <a:gd name="connsiteY202" fmla="*/ 1652560 h 2392583"/>
                  <a:gd name="connsiteX203" fmla="*/ 206565 w 2972665"/>
                  <a:gd name="connsiteY203" fmla="*/ 1656982 h 2392583"/>
                  <a:gd name="connsiteX204" fmla="*/ 179118 w 2972665"/>
                  <a:gd name="connsiteY204" fmla="*/ 1693269 h 2392583"/>
                  <a:gd name="connsiteX205" fmla="*/ 182622 w 2972665"/>
                  <a:gd name="connsiteY205" fmla="*/ 1704364 h 2392583"/>
                  <a:gd name="connsiteX206" fmla="*/ 187043 w 2972665"/>
                  <a:gd name="connsiteY206" fmla="*/ 1720715 h 2392583"/>
                  <a:gd name="connsiteX207" fmla="*/ 175113 w 2972665"/>
                  <a:gd name="connsiteY207" fmla="*/ 1742821 h 2392583"/>
                  <a:gd name="connsiteX208" fmla="*/ 172443 w 2972665"/>
                  <a:gd name="connsiteY208" fmla="*/ 1745491 h 2392583"/>
                  <a:gd name="connsiteX209" fmla="*/ 158678 w 2972665"/>
                  <a:gd name="connsiteY209" fmla="*/ 1784031 h 2392583"/>
                  <a:gd name="connsiteX210" fmla="*/ 164851 w 2972665"/>
                  <a:gd name="connsiteY210" fmla="*/ 1793791 h 2392583"/>
                  <a:gd name="connsiteX211" fmla="*/ 169273 w 2972665"/>
                  <a:gd name="connsiteY211" fmla="*/ 1845178 h 2392583"/>
                  <a:gd name="connsiteX212" fmla="*/ 131147 w 2972665"/>
                  <a:gd name="connsiteY212" fmla="*/ 1855773 h 2392583"/>
                  <a:gd name="connsiteX213" fmla="*/ 111625 w 2972665"/>
                  <a:gd name="connsiteY213" fmla="*/ 1856690 h 2392583"/>
                  <a:gd name="connsiteX214" fmla="*/ 101864 w 2972665"/>
                  <a:gd name="connsiteY214" fmla="*/ 1868619 h 2392583"/>
                  <a:gd name="connsiteX215" fmla="*/ 97442 w 2972665"/>
                  <a:gd name="connsiteY215" fmla="*/ 1879714 h 2392583"/>
                  <a:gd name="connsiteX216" fmla="*/ 79255 w 2972665"/>
                  <a:gd name="connsiteY216" fmla="*/ 1896565 h 2392583"/>
                  <a:gd name="connsiteX217" fmla="*/ 73916 w 2972665"/>
                  <a:gd name="connsiteY217" fmla="*/ 1900069 h 2392583"/>
                  <a:gd name="connsiteX218" fmla="*/ 56647 w 2972665"/>
                  <a:gd name="connsiteY218" fmla="*/ 1913833 h 2392583"/>
                  <a:gd name="connsiteX219" fmla="*/ 20356 w 2972665"/>
                  <a:gd name="connsiteY219" fmla="*/ 1937274 h 2392583"/>
                  <a:gd name="connsiteX220" fmla="*/ 0 w 2972665"/>
                  <a:gd name="connsiteY220" fmla="*/ 1950121 h 2392583"/>
                  <a:gd name="connsiteX221" fmla="*/ 11096 w 2972665"/>
                  <a:gd name="connsiteY221" fmla="*/ 1959881 h 2392583"/>
                  <a:gd name="connsiteX222" fmla="*/ 47386 w 2972665"/>
                  <a:gd name="connsiteY222" fmla="*/ 1997087 h 2392583"/>
                  <a:gd name="connsiteX223" fmla="*/ 96525 w 2972665"/>
                  <a:gd name="connsiteY223" fmla="*/ 2126889 h 2392583"/>
                  <a:gd name="connsiteX224" fmla="*/ 98778 w 2972665"/>
                  <a:gd name="connsiteY224" fmla="*/ 2135315 h 2392583"/>
                  <a:gd name="connsiteX225" fmla="*/ 108955 w 2972665"/>
                  <a:gd name="connsiteY225" fmla="*/ 2216399 h 2392583"/>
                  <a:gd name="connsiteX226" fmla="*/ 108955 w 2972665"/>
                  <a:gd name="connsiteY226" fmla="*/ 2218151 h 2392583"/>
                  <a:gd name="connsiteX227" fmla="*/ 114712 w 2972665"/>
                  <a:gd name="connsiteY227" fmla="*/ 2243428 h 2392583"/>
                  <a:gd name="connsiteX228" fmla="*/ 120469 w 2972665"/>
                  <a:gd name="connsiteY228" fmla="*/ 2288141 h 2392583"/>
                  <a:gd name="connsiteX229" fmla="*/ 97025 w 2972665"/>
                  <a:gd name="connsiteY229" fmla="*/ 2318673 h 2392583"/>
                  <a:gd name="connsiteX230" fmla="*/ 71330 w 2972665"/>
                  <a:gd name="connsiteY230" fmla="*/ 2355879 h 2392583"/>
                  <a:gd name="connsiteX231" fmla="*/ 79339 w 2972665"/>
                  <a:gd name="connsiteY231" fmla="*/ 2366473 h 2392583"/>
                  <a:gd name="connsiteX232" fmla="*/ 93521 w 2972665"/>
                  <a:gd name="connsiteY232" fmla="*/ 2373981 h 2392583"/>
                  <a:gd name="connsiteX233" fmla="*/ 118299 w 2972665"/>
                  <a:gd name="connsiteY233" fmla="*/ 2392584 h 2392583"/>
                  <a:gd name="connsiteX234" fmla="*/ 128060 w 2972665"/>
                  <a:gd name="connsiteY234" fmla="*/ 2378402 h 2392583"/>
                  <a:gd name="connsiteX235" fmla="*/ 140491 w 2972665"/>
                  <a:gd name="connsiteY235" fmla="*/ 2362469 h 2392583"/>
                  <a:gd name="connsiteX236" fmla="*/ 182538 w 2972665"/>
                  <a:gd name="connsiteY236" fmla="*/ 2339445 h 2392583"/>
                  <a:gd name="connsiteX237" fmla="*/ 256538 w 2972665"/>
                  <a:gd name="connsiteY237" fmla="*/ 2340779 h 2392583"/>
                  <a:gd name="connsiteX238" fmla="*/ 257455 w 2972665"/>
                  <a:gd name="connsiteY238" fmla="*/ 2341197 h 2392583"/>
                  <a:gd name="connsiteX239" fmla="*/ 271637 w 2972665"/>
                  <a:gd name="connsiteY239" fmla="*/ 2343449 h 2392583"/>
                  <a:gd name="connsiteX240" fmla="*/ 284903 w 2972665"/>
                  <a:gd name="connsiteY240" fmla="*/ 2335941 h 2392583"/>
                  <a:gd name="connsiteX241" fmla="*/ 308846 w 2972665"/>
                  <a:gd name="connsiteY241" fmla="*/ 2289392 h 2392583"/>
                  <a:gd name="connsiteX242" fmla="*/ 316855 w 2972665"/>
                  <a:gd name="connsiteY242" fmla="*/ 2273042 h 2392583"/>
                  <a:gd name="connsiteX243" fmla="*/ 325699 w 2972665"/>
                  <a:gd name="connsiteY243" fmla="*/ 2273042 h 2392583"/>
                  <a:gd name="connsiteX244" fmla="*/ 363824 w 2972665"/>
                  <a:gd name="connsiteY244" fmla="*/ 2292062 h 2392583"/>
                  <a:gd name="connsiteX245" fmla="*/ 366494 w 2972665"/>
                  <a:gd name="connsiteY245" fmla="*/ 2294315 h 2392583"/>
                  <a:gd name="connsiteX246" fmla="*/ 374921 w 2972665"/>
                  <a:gd name="connsiteY246" fmla="*/ 2300488 h 2392583"/>
                  <a:gd name="connsiteX247" fmla="*/ 397946 w 2972665"/>
                  <a:gd name="connsiteY247" fmla="*/ 2296483 h 2392583"/>
                  <a:gd name="connsiteX248" fmla="*/ 416967 w 2972665"/>
                  <a:gd name="connsiteY248" fmla="*/ 2274377 h 2392583"/>
                  <a:gd name="connsiteX249" fmla="*/ 526840 w 2972665"/>
                  <a:gd name="connsiteY249" fmla="*/ 2165430 h 2392583"/>
                  <a:gd name="connsiteX250" fmla="*/ 566301 w 2972665"/>
                  <a:gd name="connsiteY250" fmla="*/ 2165430 h 2392583"/>
                  <a:gd name="connsiteX251" fmla="*/ 576897 w 2972665"/>
                  <a:gd name="connsiteY251" fmla="*/ 2183615 h 2392583"/>
                  <a:gd name="connsiteX252" fmla="*/ 572475 w 2972665"/>
                  <a:gd name="connsiteY252" fmla="*/ 2237255 h 2392583"/>
                  <a:gd name="connsiteX253" fmla="*/ 568471 w 2972665"/>
                  <a:gd name="connsiteY253" fmla="*/ 2289059 h 2392583"/>
                  <a:gd name="connsiteX254" fmla="*/ 570723 w 2972665"/>
                  <a:gd name="connsiteY254" fmla="*/ 2302823 h 2392583"/>
                  <a:gd name="connsiteX255" fmla="*/ 578732 w 2972665"/>
                  <a:gd name="connsiteY255" fmla="*/ 2315253 h 2392583"/>
                  <a:gd name="connsiteX256" fmla="*/ 597336 w 2972665"/>
                  <a:gd name="connsiteY256" fmla="*/ 2332938 h 2392583"/>
                  <a:gd name="connsiteX257" fmla="*/ 614189 w 2972665"/>
                  <a:gd name="connsiteY257" fmla="*/ 2337359 h 2392583"/>
                  <a:gd name="connsiteX258" fmla="*/ 686436 w 2972665"/>
                  <a:gd name="connsiteY258" fmla="*/ 2340029 h 2392583"/>
                  <a:gd name="connsiteX259" fmla="*/ 713466 w 2972665"/>
                  <a:gd name="connsiteY259" fmla="*/ 2331186 h 2392583"/>
                  <a:gd name="connsiteX260" fmla="*/ 739579 w 2972665"/>
                  <a:gd name="connsiteY260" fmla="*/ 2315253 h 2392583"/>
                  <a:gd name="connsiteX261" fmla="*/ 753761 w 2972665"/>
                  <a:gd name="connsiteY261" fmla="*/ 2275378 h 2392583"/>
                  <a:gd name="connsiteX262" fmla="*/ 754179 w 2972665"/>
                  <a:gd name="connsiteY262" fmla="*/ 2273626 h 2392583"/>
                  <a:gd name="connsiteX263" fmla="*/ 775870 w 2972665"/>
                  <a:gd name="connsiteY263" fmla="*/ 2225826 h 2392583"/>
                  <a:gd name="connsiteX264" fmla="*/ 823256 w 2972665"/>
                  <a:gd name="connsiteY264" fmla="*/ 2212562 h 2392583"/>
                  <a:gd name="connsiteX265" fmla="*/ 853791 w 2972665"/>
                  <a:gd name="connsiteY265" fmla="*/ 2201467 h 2392583"/>
                  <a:gd name="connsiteX266" fmla="*/ 857294 w 2972665"/>
                  <a:gd name="connsiteY266" fmla="*/ 2189538 h 2392583"/>
                  <a:gd name="connsiteX267" fmla="*/ 866138 w 2972665"/>
                  <a:gd name="connsiteY267" fmla="*/ 2123553 h 2392583"/>
                  <a:gd name="connsiteX268" fmla="*/ 857294 w 2972665"/>
                  <a:gd name="connsiteY268" fmla="*/ 2059736 h 2392583"/>
                  <a:gd name="connsiteX269" fmla="*/ 855959 w 2972665"/>
                  <a:gd name="connsiteY269" fmla="*/ 2056232 h 2392583"/>
                  <a:gd name="connsiteX270" fmla="*/ 851121 w 2972665"/>
                  <a:gd name="connsiteY270" fmla="*/ 2037212 h 2392583"/>
                  <a:gd name="connsiteX271" fmla="*/ 852038 w 2972665"/>
                  <a:gd name="connsiteY271" fmla="*/ 2026118 h 2392583"/>
                  <a:gd name="connsiteX272" fmla="*/ 852956 w 2972665"/>
                  <a:gd name="connsiteY272" fmla="*/ 2019444 h 2392583"/>
                  <a:gd name="connsiteX273" fmla="*/ 861382 w 2972665"/>
                  <a:gd name="connsiteY273" fmla="*/ 1975148 h 2392583"/>
                  <a:gd name="connsiteX274" fmla="*/ 883990 w 2972665"/>
                  <a:gd name="connsiteY274" fmla="*/ 1949037 h 2392583"/>
                  <a:gd name="connsiteX275" fmla="*/ 905681 w 2972665"/>
                  <a:gd name="connsiteY275" fmla="*/ 1958797 h 2392583"/>
                  <a:gd name="connsiteX276" fmla="*/ 953068 w 2972665"/>
                  <a:gd name="connsiteY276" fmla="*/ 2018610 h 2392583"/>
                  <a:gd name="connsiteX277" fmla="*/ 958824 w 2972665"/>
                  <a:gd name="connsiteY277" fmla="*/ 2029704 h 2392583"/>
                  <a:gd name="connsiteX278" fmla="*/ 992946 w 2972665"/>
                  <a:gd name="connsiteY278" fmla="*/ 2073083 h 2392583"/>
                  <a:gd name="connsiteX279" fmla="*/ 1028820 w 2972665"/>
                  <a:gd name="connsiteY279" fmla="*/ 2081092 h 2392583"/>
                  <a:gd name="connsiteX280" fmla="*/ 1050928 w 2972665"/>
                  <a:gd name="connsiteY280" fmla="*/ 2084178 h 2392583"/>
                  <a:gd name="connsiteX281" fmla="*/ 1078876 w 2972665"/>
                  <a:gd name="connsiteY281" fmla="*/ 2094772 h 2392583"/>
                  <a:gd name="connsiteX282" fmla="*/ 1086384 w 2972665"/>
                  <a:gd name="connsiteY282" fmla="*/ 2099194 h 2392583"/>
                  <a:gd name="connsiteX283" fmla="*/ 1097897 w 2972665"/>
                  <a:gd name="connsiteY283" fmla="*/ 2105867 h 2392583"/>
                  <a:gd name="connsiteX284" fmla="*/ 1151540 w 2972665"/>
                  <a:gd name="connsiteY284" fmla="*/ 2104116 h 2392583"/>
                  <a:gd name="connsiteX285" fmla="*/ 1182993 w 2972665"/>
                  <a:gd name="connsiteY285" fmla="*/ 2089517 h 2392583"/>
                  <a:gd name="connsiteX286" fmla="*/ 1205101 w 2972665"/>
                  <a:gd name="connsiteY286" fmla="*/ 2078422 h 2392583"/>
                  <a:gd name="connsiteX287" fmla="*/ 1217949 w 2972665"/>
                  <a:gd name="connsiteY287" fmla="*/ 2073083 h 2392583"/>
                  <a:gd name="connsiteX288" fmla="*/ 1239223 w 2972665"/>
                  <a:gd name="connsiteY288" fmla="*/ 2063323 h 2392583"/>
                  <a:gd name="connsiteX289" fmla="*/ 1285775 w 2972665"/>
                  <a:gd name="connsiteY289" fmla="*/ 2016774 h 2392583"/>
                  <a:gd name="connsiteX290" fmla="*/ 1294617 w 2972665"/>
                  <a:gd name="connsiteY290" fmla="*/ 2002176 h 2392583"/>
                  <a:gd name="connsiteX291" fmla="*/ 1326987 w 2972665"/>
                  <a:gd name="connsiteY291" fmla="*/ 1945033 h 2392583"/>
                  <a:gd name="connsiteX292" fmla="*/ 1343339 w 2972665"/>
                  <a:gd name="connsiteY292" fmla="*/ 1886555 h 2392583"/>
                  <a:gd name="connsiteX293" fmla="*/ 1343756 w 2972665"/>
                  <a:gd name="connsiteY293" fmla="*/ 1876795 h 2392583"/>
                  <a:gd name="connsiteX294" fmla="*/ 1343756 w 2972665"/>
                  <a:gd name="connsiteY294" fmla="*/ 1871039 h 2392583"/>
                  <a:gd name="connsiteX295" fmla="*/ 1344674 w 2972665"/>
                  <a:gd name="connsiteY295" fmla="*/ 1862613 h 2392583"/>
                  <a:gd name="connsiteX296" fmla="*/ 1345592 w 2972665"/>
                  <a:gd name="connsiteY296" fmla="*/ 1858192 h 2392583"/>
                  <a:gd name="connsiteX297" fmla="*/ 1346926 w 2972665"/>
                  <a:gd name="connsiteY297" fmla="*/ 1847097 h 2392583"/>
                  <a:gd name="connsiteX298" fmla="*/ 1349179 w 2972665"/>
                  <a:gd name="connsiteY298" fmla="*/ 1826242 h 2392583"/>
                  <a:gd name="connsiteX299" fmla="*/ 1346926 w 2972665"/>
                  <a:gd name="connsiteY299" fmla="*/ 1804970 h 2392583"/>
                  <a:gd name="connsiteX300" fmla="*/ 1340752 w 2972665"/>
                  <a:gd name="connsiteY300" fmla="*/ 1797879 h 2392583"/>
                  <a:gd name="connsiteX301" fmla="*/ 1328322 w 2972665"/>
                  <a:gd name="connsiteY301" fmla="*/ 1786784 h 2392583"/>
                  <a:gd name="connsiteX302" fmla="*/ 1327905 w 2972665"/>
                  <a:gd name="connsiteY302" fmla="*/ 1786367 h 2392583"/>
                  <a:gd name="connsiteX303" fmla="*/ 1318561 w 2972665"/>
                  <a:gd name="connsiteY303" fmla="*/ 1776607 h 2392583"/>
                  <a:gd name="connsiteX304" fmla="*/ 1315474 w 2972665"/>
                  <a:gd name="connsiteY304" fmla="*/ 1758921 h 2392583"/>
                  <a:gd name="connsiteX305" fmla="*/ 1327905 w 2972665"/>
                  <a:gd name="connsiteY305" fmla="*/ 1745658 h 2392583"/>
                  <a:gd name="connsiteX306" fmla="*/ 1333661 w 2972665"/>
                  <a:gd name="connsiteY306" fmla="*/ 1741236 h 2392583"/>
                  <a:gd name="connsiteX307" fmla="*/ 1337666 w 2972665"/>
                  <a:gd name="connsiteY307" fmla="*/ 1734563 h 2392583"/>
                  <a:gd name="connsiteX308" fmla="*/ 1345175 w 2972665"/>
                  <a:gd name="connsiteY308" fmla="*/ 1723468 h 2392583"/>
                  <a:gd name="connsiteX309" fmla="*/ 1352683 w 2972665"/>
                  <a:gd name="connsiteY309" fmla="*/ 1718629 h 2392583"/>
                  <a:gd name="connsiteX310" fmla="*/ 1357522 w 2972665"/>
                  <a:gd name="connsiteY310" fmla="*/ 1715543 h 2392583"/>
                  <a:gd name="connsiteX311" fmla="*/ 1360191 w 2972665"/>
                  <a:gd name="connsiteY311" fmla="*/ 1711539 h 2392583"/>
                  <a:gd name="connsiteX312" fmla="*/ 1369034 w 2972665"/>
                  <a:gd name="connsiteY312" fmla="*/ 1701361 h 2392583"/>
                  <a:gd name="connsiteX313" fmla="*/ 1389391 w 2972665"/>
                  <a:gd name="connsiteY313" fmla="*/ 1701361 h 2392583"/>
                  <a:gd name="connsiteX314" fmla="*/ 1395564 w 2972665"/>
                  <a:gd name="connsiteY314" fmla="*/ 1703614 h 2392583"/>
                  <a:gd name="connsiteX315" fmla="*/ 1402655 w 2972665"/>
                  <a:gd name="connsiteY315" fmla="*/ 1705866 h 2392583"/>
                  <a:gd name="connsiteX316" fmla="*/ 1418173 w 2972665"/>
                  <a:gd name="connsiteY316" fmla="*/ 1705866 h 2392583"/>
                  <a:gd name="connsiteX317" fmla="*/ 1426182 w 2972665"/>
                  <a:gd name="connsiteY317" fmla="*/ 1705449 h 2392583"/>
                  <a:gd name="connsiteX318" fmla="*/ 1455381 w 2972665"/>
                  <a:gd name="connsiteY318" fmla="*/ 1717378 h 2392583"/>
                  <a:gd name="connsiteX319" fmla="*/ 1459803 w 2972665"/>
                  <a:gd name="connsiteY319" fmla="*/ 1727972 h 2392583"/>
                  <a:gd name="connsiteX320" fmla="*/ 1462055 w 2972665"/>
                  <a:gd name="connsiteY320" fmla="*/ 1734646 h 2392583"/>
                  <a:gd name="connsiteX321" fmla="*/ 1481995 w 2972665"/>
                  <a:gd name="connsiteY321" fmla="*/ 1740819 h 2392583"/>
                  <a:gd name="connsiteX322" fmla="*/ 1484247 w 2972665"/>
                  <a:gd name="connsiteY322" fmla="*/ 1740819 h 2392583"/>
                  <a:gd name="connsiteX323" fmla="*/ 1503769 w 2972665"/>
                  <a:gd name="connsiteY323" fmla="*/ 1743071 h 2392583"/>
                  <a:gd name="connsiteX324" fmla="*/ 1513530 w 2972665"/>
                  <a:gd name="connsiteY324" fmla="*/ 1750579 h 2392583"/>
                  <a:gd name="connsiteX325" fmla="*/ 1514447 w 2972665"/>
                  <a:gd name="connsiteY325" fmla="*/ 1751497 h 2392583"/>
                  <a:gd name="connsiteX326" fmla="*/ 1530382 w 2972665"/>
                  <a:gd name="connsiteY326" fmla="*/ 1763426 h 2392583"/>
                  <a:gd name="connsiteX327" fmla="*/ 1533051 w 2972665"/>
                  <a:gd name="connsiteY327" fmla="*/ 1764761 h 2392583"/>
                  <a:gd name="connsiteX328" fmla="*/ 1541478 w 2972665"/>
                  <a:gd name="connsiteY328" fmla="*/ 1768265 h 2392583"/>
                  <a:gd name="connsiteX329" fmla="*/ 1541478 w 2972665"/>
                  <a:gd name="connsiteY329" fmla="*/ 1768265 h 2392583"/>
                  <a:gd name="connsiteX330" fmla="*/ 1544148 w 2972665"/>
                  <a:gd name="connsiteY330" fmla="*/ 1765595 h 2392583"/>
                  <a:gd name="connsiteX331" fmla="*/ 1551656 w 2972665"/>
                  <a:gd name="connsiteY331" fmla="*/ 1759839 h 2392583"/>
                  <a:gd name="connsiteX332" fmla="*/ 1575099 w 2972665"/>
                  <a:gd name="connsiteY332" fmla="*/ 1767848 h 2392583"/>
                  <a:gd name="connsiteX333" fmla="*/ 1579937 w 2972665"/>
                  <a:gd name="connsiteY333" fmla="*/ 1776690 h 2392583"/>
                  <a:gd name="connsiteX334" fmla="*/ 1583441 w 2972665"/>
                  <a:gd name="connsiteY334" fmla="*/ 1782863 h 2392583"/>
                  <a:gd name="connsiteX335" fmla="*/ 1597624 w 2972665"/>
                  <a:gd name="connsiteY335" fmla="*/ 1794792 h 2392583"/>
                  <a:gd name="connsiteX336" fmla="*/ 1611389 w 2972665"/>
                  <a:gd name="connsiteY336" fmla="*/ 1803635 h 2392583"/>
                  <a:gd name="connsiteX337" fmla="*/ 1623820 w 2972665"/>
                  <a:gd name="connsiteY337" fmla="*/ 1812978 h 2392583"/>
                  <a:gd name="connsiteX338" fmla="*/ 1627825 w 2972665"/>
                  <a:gd name="connsiteY338" fmla="*/ 1817399 h 2392583"/>
                  <a:gd name="connsiteX339" fmla="*/ 1630494 w 2972665"/>
                  <a:gd name="connsiteY339" fmla="*/ 1820486 h 2392583"/>
                  <a:gd name="connsiteX340" fmla="*/ 1650850 w 2972665"/>
                  <a:gd name="connsiteY340" fmla="*/ 1833750 h 2392583"/>
                  <a:gd name="connsiteX341" fmla="*/ 1701323 w 2972665"/>
                  <a:gd name="connsiteY341" fmla="*/ 1849266 h 2392583"/>
                  <a:gd name="connsiteX342" fmla="*/ 1707080 w 2972665"/>
                  <a:gd name="connsiteY342" fmla="*/ 1848348 h 2392583"/>
                  <a:gd name="connsiteX343" fmla="*/ 1708832 w 2972665"/>
                  <a:gd name="connsiteY343" fmla="*/ 1841675 h 2392583"/>
                  <a:gd name="connsiteX344" fmla="*/ 1709249 w 2972665"/>
                  <a:gd name="connsiteY344" fmla="*/ 1809307 h 2392583"/>
                  <a:gd name="connsiteX345" fmla="*/ 1707914 w 2972665"/>
                  <a:gd name="connsiteY345" fmla="*/ 1801299 h 2392583"/>
                  <a:gd name="connsiteX346" fmla="*/ 1709666 w 2972665"/>
                  <a:gd name="connsiteY346" fmla="*/ 1775188 h 2392583"/>
                  <a:gd name="connsiteX347" fmla="*/ 1727353 w 2972665"/>
                  <a:gd name="connsiteY347" fmla="*/ 1759255 h 2392583"/>
                  <a:gd name="connsiteX348" fmla="*/ 1733527 w 2972665"/>
                  <a:gd name="connsiteY348" fmla="*/ 1755251 h 2392583"/>
                  <a:gd name="connsiteX349" fmla="*/ 1753465 w 2972665"/>
                  <a:gd name="connsiteY349" fmla="*/ 1724219 h 2392583"/>
                  <a:gd name="connsiteX350" fmla="*/ 1757469 w 2972665"/>
                  <a:gd name="connsiteY350" fmla="*/ 1684344 h 2392583"/>
                  <a:gd name="connsiteX351" fmla="*/ 1757469 w 2972665"/>
                  <a:gd name="connsiteY351" fmla="*/ 1683926 h 2392583"/>
                  <a:gd name="connsiteX352" fmla="*/ 1763226 w 2972665"/>
                  <a:gd name="connsiteY352" fmla="*/ 1653394 h 2392583"/>
                  <a:gd name="connsiteX353" fmla="*/ 1769400 w 2972665"/>
                  <a:gd name="connsiteY353" fmla="*/ 1645386 h 2392583"/>
                  <a:gd name="connsiteX354" fmla="*/ 1772903 w 2972665"/>
                  <a:gd name="connsiteY354" fmla="*/ 1641382 h 2392583"/>
                  <a:gd name="connsiteX355" fmla="*/ 1782664 w 2972665"/>
                  <a:gd name="connsiteY355" fmla="*/ 1617440 h 2392583"/>
                  <a:gd name="connsiteX356" fmla="*/ 1792008 w 2972665"/>
                  <a:gd name="connsiteY356" fmla="*/ 1592664 h 2392583"/>
                  <a:gd name="connsiteX357" fmla="*/ 1824795 w 2972665"/>
                  <a:gd name="connsiteY357" fmla="*/ 1564301 h 2392583"/>
                  <a:gd name="connsiteX358" fmla="*/ 1890369 w 2972665"/>
                  <a:gd name="connsiteY358" fmla="*/ 1539525 h 2392583"/>
                  <a:gd name="connsiteX359" fmla="*/ 1897460 w 2972665"/>
                  <a:gd name="connsiteY359" fmla="*/ 1538608 h 2392583"/>
                  <a:gd name="connsiteX360" fmla="*/ 1915647 w 2972665"/>
                  <a:gd name="connsiteY360" fmla="*/ 1535104 h 2392583"/>
                  <a:gd name="connsiteX361" fmla="*/ 1927160 w 2972665"/>
                  <a:gd name="connsiteY361" fmla="*/ 1529348 h 2392583"/>
                  <a:gd name="connsiteX362" fmla="*/ 1934251 w 2972665"/>
                  <a:gd name="connsiteY362" fmla="*/ 1525344 h 2392583"/>
                  <a:gd name="connsiteX363" fmla="*/ 1988312 w 2972665"/>
                  <a:gd name="connsiteY363" fmla="*/ 1511580 h 2392583"/>
                  <a:gd name="connsiteX364" fmla="*/ 1992316 w 2972665"/>
                  <a:gd name="connsiteY364" fmla="*/ 1511580 h 2392583"/>
                  <a:gd name="connsiteX365" fmla="*/ 2005581 w 2972665"/>
                  <a:gd name="connsiteY365" fmla="*/ 1509828 h 2392583"/>
                  <a:gd name="connsiteX366" fmla="*/ 2012255 w 2972665"/>
                  <a:gd name="connsiteY366" fmla="*/ 1505407 h 2392583"/>
                  <a:gd name="connsiteX367" fmla="*/ 2023768 w 2972665"/>
                  <a:gd name="connsiteY367" fmla="*/ 1498316 h 2392583"/>
                  <a:gd name="connsiteX368" fmla="*/ 2039286 w 2972665"/>
                  <a:gd name="connsiteY368" fmla="*/ 1496981 h 2392583"/>
                  <a:gd name="connsiteX369" fmla="*/ 2049880 w 2972665"/>
                  <a:gd name="connsiteY369" fmla="*/ 1496063 h 2392583"/>
                  <a:gd name="connsiteX370" fmla="*/ 2051216 w 2972665"/>
                  <a:gd name="connsiteY370" fmla="*/ 1495146 h 2392583"/>
                  <a:gd name="connsiteX371" fmla="*/ 2050799 w 2972665"/>
                  <a:gd name="connsiteY371" fmla="*/ 1492893 h 2392583"/>
                  <a:gd name="connsiteX372" fmla="*/ 2037533 w 2972665"/>
                  <a:gd name="connsiteY372" fmla="*/ 1478712 h 2392583"/>
                  <a:gd name="connsiteX373" fmla="*/ 2023768 w 2972665"/>
                  <a:gd name="connsiteY373" fmla="*/ 1465865 h 2392583"/>
                  <a:gd name="connsiteX374" fmla="*/ 2012672 w 2972665"/>
                  <a:gd name="connsiteY374" fmla="*/ 1433081 h 2392583"/>
                  <a:gd name="connsiteX375" fmla="*/ 2013090 w 2972665"/>
                  <a:gd name="connsiteY375" fmla="*/ 1405636 h 2392583"/>
                  <a:gd name="connsiteX376" fmla="*/ 2027689 w 2972665"/>
                  <a:gd name="connsiteY376" fmla="*/ 1383529 h 2392583"/>
                  <a:gd name="connsiteX377" fmla="*/ 2042289 w 2972665"/>
                  <a:gd name="connsiteY377" fmla="*/ 1371100 h 2392583"/>
                  <a:gd name="connsiteX378" fmla="*/ 2063980 w 2972665"/>
                  <a:gd name="connsiteY378" fmla="*/ 1365344 h 2392583"/>
                  <a:gd name="connsiteX379" fmla="*/ 2075910 w 2972665"/>
                  <a:gd name="connsiteY379" fmla="*/ 1363091 h 2392583"/>
                  <a:gd name="connsiteX380" fmla="*/ 2093179 w 2972665"/>
                  <a:gd name="connsiteY380" fmla="*/ 1351996 h 2392583"/>
                  <a:gd name="connsiteX381" fmla="*/ 2117957 w 2972665"/>
                  <a:gd name="connsiteY381" fmla="*/ 1342653 h 2392583"/>
                  <a:gd name="connsiteX382" fmla="*/ 2137896 w 2972665"/>
                  <a:gd name="connsiteY382" fmla="*/ 1343988 h 2392583"/>
                  <a:gd name="connsiteX383" fmla="*/ 2165344 w 2972665"/>
                  <a:gd name="connsiteY383" fmla="*/ 1343571 h 2392583"/>
                  <a:gd name="connsiteX384" fmla="*/ 2172852 w 2972665"/>
                  <a:gd name="connsiteY384" fmla="*/ 1340484 h 2392583"/>
                  <a:gd name="connsiteX385" fmla="*/ 2180360 w 2972665"/>
                  <a:gd name="connsiteY385" fmla="*/ 1337398 h 2392583"/>
                  <a:gd name="connsiteX386" fmla="*/ 2234004 w 2972665"/>
                  <a:gd name="connsiteY386" fmla="*/ 1339650 h 2392583"/>
                  <a:gd name="connsiteX387" fmla="*/ 2269460 w 2972665"/>
                  <a:gd name="connsiteY387" fmla="*/ 1352914 h 2392583"/>
                  <a:gd name="connsiteX388" fmla="*/ 2277470 w 2972665"/>
                  <a:gd name="connsiteY388" fmla="*/ 1358670 h 2392583"/>
                  <a:gd name="connsiteX389" fmla="*/ 2287230 w 2972665"/>
                  <a:gd name="connsiteY389" fmla="*/ 1365344 h 2392583"/>
                  <a:gd name="connsiteX390" fmla="*/ 2326691 w 2972665"/>
                  <a:gd name="connsiteY390" fmla="*/ 1366261 h 2392583"/>
                  <a:gd name="connsiteX391" fmla="*/ 2343960 w 2972665"/>
                  <a:gd name="connsiteY391" fmla="*/ 1360505 h 2392583"/>
                  <a:gd name="connsiteX392" fmla="*/ 2370991 w 2972665"/>
                  <a:gd name="connsiteY392" fmla="*/ 1352080 h 2392583"/>
                  <a:gd name="connsiteX393" fmla="*/ 2393099 w 2972665"/>
                  <a:gd name="connsiteY393" fmla="*/ 1349410 h 2392583"/>
                  <a:gd name="connsiteX394" fmla="*/ 2424551 w 2972665"/>
                  <a:gd name="connsiteY394" fmla="*/ 1343654 h 2392583"/>
                  <a:gd name="connsiteX395" fmla="*/ 2428972 w 2972665"/>
                  <a:gd name="connsiteY395" fmla="*/ 1341402 h 2392583"/>
                  <a:gd name="connsiteX396" fmla="*/ 2447576 w 2972665"/>
                  <a:gd name="connsiteY396" fmla="*/ 1336063 h 2392583"/>
                  <a:gd name="connsiteX397" fmla="*/ 2447576 w 2972665"/>
                  <a:gd name="connsiteY397" fmla="*/ 1336063 h 2392583"/>
                  <a:gd name="connsiteX398" fmla="*/ 2463929 w 2972665"/>
                  <a:gd name="connsiteY398" fmla="*/ 1340484 h 2392583"/>
                  <a:gd name="connsiteX399" fmla="*/ 2474106 w 2972665"/>
                  <a:gd name="connsiteY399" fmla="*/ 1343571 h 2392583"/>
                  <a:gd name="connsiteX400" fmla="*/ 2492711 w 2972665"/>
                  <a:gd name="connsiteY400" fmla="*/ 1331642 h 2392583"/>
                  <a:gd name="connsiteX401" fmla="*/ 2500219 w 2972665"/>
                  <a:gd name="connsiteY401" fmla="*/ 1304196 h 2392583"/>
                  <a:gd name="connsiteX402" fmla="*/ 2501137 w 2972665"/>
                  <a:gd name="connsiteY402" fmla="*/ 1226699 h 2392583"/>
                  <a:gd name="connsiteX403" fmla="*/ 2499385 w 2972665"/>
                  <a:gd name="connsiteY403" fmla="*/ 1219608 h 2392583"/>
                  <a:gd name="connsiteX404" fmla="*/ 2495380 w 2972665"/>
                  <a:gd name="connsiteY404" fmla="*/ 1204092 h 2392583"/>
                  <a:gd name="connsiteX405" fmla="*/ 2495380 w 2972665"/>
                  <a:gd name="connsiteY405" fmla="*/ 1180650 h 2392583"/>
                  <a:gd name="connsiteX406" fmla="*/ 2495797 w 2972665"/>
                  <a:gd name="connsiteY406" fmla="*/ 1166886 h 2392583"/>
                  <a:gd name="connsiteX407" fmla="*/ 2484701 w 2972665"/>
                  <a:gd name="connsiteY407" fmla="*/ 1141610 h 2392583"/>
                  <a:gd name="connsiteX408" fmla="*/ 2472771 w 2972665"/>
                  <a:gd name="connsiteY408" fmla="*/ 1138523 h 2392583"/>
                  <a:gd name="connsiteX409" fmla="*/ 2417877 w 2972665"/>
                  <a:gd name="connsiteY409" fmla="*/ 1136771 h 2392583"/>
                  <a:gd name="connsiteX410" fmla="*/ 2409033 w 2972665"/>
                  <a:gd name="connsiteY410" fmla="*/ 1137689 h 2392583"/>
                  <a:gd name="connsiteX411" fmla="*/ 2358060 w 2972665"/>
                  <a:gd name="connsiteY411" fmla="*/ 1134602 h 2392583"/>
                  <a:gd name="connsiteX412" fmla="*/ 2349217 w 2972665"/>
                  <a:gd name="connsiteY412" fmla="*/ 1128429 h 2392583"/>
                  <a:gd name="connsiteX413" fmla="*/ 2346547 w 2972665"/>
                  <a:gd name="connsiteY413" fmla="*/ 1116000 h 2392583"/>
                  <a:gd name="connsiteX414" fmla="*/ 2359394 w 2972665"/>
                  <a:gd name="connsiteY414" fmla="*/ 1091641 h 2392583"/>
                  <a:gd name="connsiteX415" fmla="*/ 2360312 w 2972665"/>
                  <a:gd name="connsiteY415" fmla="*/ 1090723 h 2392583"/>
                  <a:gd name="connsiteX416" fmla="*/ 2385590 w 2972665"/>
                  <a:gd name="connsiteY416" fmla="*/ 1077876 h 2392583"/>
                  <a:gd name="connsiteX417" fmla="*/ 2413956 w 2972665"/>
                  <a:gd name="connsiteY417" fmla="*/ 1096479 h 2392583"/>
                  <a:gd name="connsiteX418" fmla="*/ 2443655 w 2972665"/>
                  <a:gd name="connsiteY418" fmla="*/ 1107074 h 2392583"/>
                  <a:gd name="connsiteX419" fmla="*/ 2454752 w 2972665"/>
                  <a:gd name="connsiteY419" fmla="*/ 1107074 h 2392583"/>
                  <a:gd name="connsiteX420" fmla="*/ 2474273 w 2972665"/>
                  <a:gd name="connsiteY420" fmla="*/ 1103987 h 2392583"/>
                  <a:gd name="connsiteX421" fmla="*/ 2492460 w 2972665"/>
                  <a:gd name="connsiteY421" fmla="*/ 1099983 h 2392583"/>
                  <a:gd name="connsiteX422" fmla="*/ 2493378 w 2972665"/>
                  <a:gd name="connsiteY422" fmla="*/ 1099983 h 2392583"/>
                  <a:gd name="connsiteX423" fmla="*/ 2516821 w 2972665"/>
                  <a:gd name="connsiteY423" fmla="*/ 1108408 h 2392583"/>
                  <a:gd name="connsiteX424" fmla="*/ 2520325 w 2972665"/>
                  <a:gd name="connsiteY424" fmla="*/ 1110661 h 2392583"/>
                  <a:gd name="connsiteX425" fmla="*/ 2584146 w 2972665"/>
                  <a:gd name="connsiteY425" fmla="*/ 1078794 h 2392583"/>
                  <a:gd name="connsiteX426" fmla="*/ 2592572 w 2972665"/>
                  <a:gd name="connsiteY426" fmla="*/ 1066364 h 2392583"/>
                  <a:gd name="connsiteX427" fmla="*/ 2612929 w 2972665"/>
                  <a:gd name="connsiteY427" fmla="*/ 1041088 h 2392583"/>
                  <a:gd name="connsiteX428" fmla="*/ 2617767 w 2972665"/>
                  <a:gd name="connsiteY428" fmla="*/ 1036667 h 2392583"/>
                  <a:gd name="connsiteX429" fmla="*/ 2633702 w 2972665"/>
                  <a:gd name="connsiteY429" fmla="*/ 1010556 h 2392583"/>
                  <a:gd name="connsiteX430" fmla="*/ 2639875 w 2972665"/>
                  <a:gd name="connsiteY430" fmla="*/ 956917 h 2392583"/>
                  <a:gd name="connsiteX431" fmla="*/ 2634536 w 2972665"/>
                  <a:gd name="connsiteY431" fmla="*/ 832036 h 2392583"/>
                  <a:gd name="connsiteX432" fmla="*/ 2628363 w 2972665"/>
                  <a:gd name="connsiteY432" fmla="*/ 820107 h 2392583"/>
                  <a:gd name="connsiteX433" fmla="*/ 2615514 w 2972665"/>
                  <a:gd name="connsiteY433" fmla="*/ 812599 h 2392583"/>
                  <a:gd name="connsiteX434" fmla="*/ 2597829 w 2972665"/>
                  <a:gd name="connsiteY434" fmla="*/ 801087 h 2392583"/>
                  <a:gd name="connsiteX435" fmla="*/ 2591655 w 2972665"/>
                  <a:gd name="connsiteY435" fmla="*/ 777145 h 2392583"/>
                  <a:gd name="connsiteX436" fmla="*/ 2619603 w 2972665"/>
                  <a:gd name="connsiteY436" fmla="*/ 751035 h 2392583"/>
                  <a:gd name="connsiteX437" fmla="*/ 2679837 w 2972665"/>
                  <a:gd name="connsiteY437" fmla="*/ 759460 h 2392583"/>
                  <a:gd name="connsiteX438" fmla="*/ 2682507 w 2972665"/>
                  <a:gd name="connsiteY438" fmla="*/ 760795 h 2392583"/>
                  <a:gd name="connsiteX439" fmla="*/ 2695771 w 2972665"/>
                  <a:gd name="connsiteY439" fmla="*/ 765633 h 2392583"/>
                  <a:gd name="connsiteX440" fmla="*/ 2701528 w 2972665"/>
                  <a:gd name="connsiteY440" fmla="*/ 762547 h 2392583"/>
                  <a:gd name="connsiteX441" fmla="*/ 2702863 w 2972665"/>
                  <a:gd name="connsiteY441" fmla="*/ 761629 h 2392583"/>
                  <a:gd name="connsiteX442" fmla="*/ 2775111 w 2972665"/>
                  <a:gd name="connsiteY442" fmla="*/ 758126 h 2392583"/>
                  <a:gd name="connsiteX443" fmla="*/ 2776862 w 2972665"/>
                  <a:gd name="connsiteY443" fmla="*/ 759043 h 2392583"/>
                  <a:gd name="connsiteX444" fmla="*/ 2783954 w 2972665"/>
                  <a:gd name="connsiteY444" fmla="*/ 761713 h 2392583"/>
                  <a:gd name="connsiteX445" fmla="*/ 2795883 w 2972665"/>
                  <a:gd name="connsiteY445" fmla="*/ 758209 h 2392583"/>
                  <a:gd name="connsiteX446" fmla="*/ 2814905 w 2972665"/>
                  <a:gd name="connsiteY446" fmla="*/ 753788 h 2392583"/>
                  <a:gd name="connsiteX447" fmla="*/ 2826835 w 2972665"/>
                  <a:gd name="connsiteY447" fmla="*/ 734267 h 2392583"/>
                  <a:gd name="connsiteX448" fmla="*/ 2880479 w 2972665"/>
                  <a:gd name="connsiteY448" fmla="*/ 683297 h 2392583"/>
                  <a:gd name="connsiteX449" fmla="*/ 2887570 w 2972665"/>
                  <a:gd name="connsiteY449" fmla="*/ 678876 h 2392583"/>
                  <a:gd name="connsiteX450" fmla="*/ 2899500 w 2972665"/>
                  <a:gd name="connsiteY450" fmla="*/ 669116 h 2392583"/>
                  <a:gd name="connsiteX451" fmla="*/ 2900417 w 2972665"/>
                  <a:gd name="connsiteY451" fmla="*/ 659356 h 2392583"/>
                  <a:gd name="connsiteX452" fmla="*/ 2902670 w 2972665"/>
                  <a:gd name="connsiteY452" fmla="*/ 643422 h 2392583"/>
                  <a:gd name="connsiteX453" fmla="*/ 2940296 w 2972665"/>
                  <a:gd name="connsiteY453" fmla="*/ 630576 h 2392583"/>
                  <a:gd name="connsiteX454" fmla="*/ 2958483 w 2972665"/>
                  <a:gd name="connsiteY454" fmla="*/ 629241 h 2392583"/>
                  <a:gd name="connsiteX455" fmla="*/ 2957147 w 2972665"/>
                  <a:gd name="connsiteY455" fmla="*/ 613308 h 2392583"/>
                  <a:gd name="connsiteX456" fmla="*/ 2954478 w 2972665"/>
                  <a:gd name="connsiteY456" fmla="*/ 599543 h 2392583"/>
                  <a:gd name="connsiteX457" fmla="*/ 2959317 w 2972665"/>
                  <a:gd name="connsiteY457" fmla="*/ 576936 h 2392583"/>
                  <a:gd name="connsiteX458" fmla="*/ 2961987 w 2972665"/>
                  <a:gd name="connsiteY458" fmla="*/ 569846 h 2392583"/>
                  <a:gd name="connsiteX459" fmla="*/ 2965991 w 2972665"/>
                  <a:gd name="connsiteY459" fmla="*/ 559668 h 2392583"/>
                  <a:gd name="connsiteX460" fmla="*/ 2972665 w 2972665"/>
                  <a:gd name="connsiteY460" fmla="*/ 541983 h 2392583"/>
                  <a:gd name="connsiteX461" fmla="*/ 2968661 w 2972665"/>
                  <a:gd name="connsiteY461" fmla="*/ 535810 h 2392583"/>
                  <a:gd name="connsiteX462" fmla="*/ 2947387 w 2972665"/>
                  <a:gd name="connsiteY462" fmla="*/ 522045 h 2392583"/>
                  <a:gd name="connsiteX463" fmla="*/ 2921108 w 2972665"/>
                  <a:gd name="connsiteY463" fmla="*/ 499022 h 239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</a:cxnLst>
                <a:rect l="l" t="t" r="r" b="b"/>
                <a:pathLst>
                  <a:path w="2972665" h="2392583" extrusionOk="0">
                    <a:moveTo>
                      <a:pt x="2921108" y="499022"/>
                    </a:moveTo>
                    <a:cubicBezTo>
                      <a:pt x="2916268" y="493683"/>
                      <a:pt x="2912264" y="487509"/>
                      <a:pt x="2908260" y="481753"/>
                    </a:cubicBezTo>
                    <a:cubicBezTo>
                      <a:pt x="2901585" y="471993"/>
                      <a:pt x="2895411" y="462233"/>
                      <a:pt x="2886151" y="456977"/>
                    </a:cubicBezTo>
                    <a:cubicBezTo>
                      <a:pt x="2875973" y="450804"/>
                      <a:pt x="2863543" y="451222"/>
                      <a:pt x="2855618" y="452556"/>
                    </a:cubicBezTo>
                    <a:cubicBezTo>
                      <a:pt x="2848109" y="453474"/>
                      <a:pt x="2841018" y="456060"/>
                      <a:pt x="2833927" y="458729"/>
                    </a:cubicBezTo>
                    <a:cubicBezTo>
                      <a:pt x="2823748" y="462233"/>
                      <a:pt x="2813570" y="465820"/>
                      <a:pt x="2801139" y="465820"/>
                    </a:cubicBezTo>
                    <a:lnTo>
                      <a:pt x="2801139" y="465820"/>
                    </a:lnTo>
                    <a:cubicBezTo>
                      <a:pt x="2788709" y="465820"/>
                      <a:pt x="2774526" y="465403"/>
                      <a:pt x="2762179" y="459147"/>
                    </a:cubicBezTo>
                    <a:cubicBezTo>
                      <a:pt x="2749749" y="453390"/>
                      <a:pt x="2737819" y="440127"/>
                      <a:pt x="2739153" y="423693"/>
                    </a:cubicBezTo>
                    <a:cubicBezTo>
                      <a:pt x="2739570" y="420606"/>
                      <a:pt x="2740071" y="417520"/>
                      <a:pt x="2740906" y="414850"/>
                    </a:cubicBezTo>
                    <a:cubicBezTo>
                      <a:pt x="2741823" y="410429"/>
                      <a:pt x="2742657" y="406842"/>
                      <a:pt x="2741823" y="404256"/>
                    </a:cubicBezTo>
                    <a:cubicBezTo>
                      <a:pt x="2740488" y="400252"/>
                      <a:pt x="2734732" y="398083"/>
                      <a:pt x="2731228" y="397165"/>
                    </a:cubicBezTo>
                    <a:cubicBezTo>
                      <a:pt x="2729893" y="396748"/>
                      <a:pt x="2728141" y="396247"/>
                      <a:pt x="2726806" y="395830"/>
                    </a:cubicBezTo>
                    <a:cubicBezTo>
                      <a:pt x="2721968" y="394496"/>
                      <a:pt x="2716211" y="393161"/>
                      <a:pt x="2711289" y="389657"/>
                    </a:cubicBezTo>
                    <a:cubicBezTo>
                      <a:pt x="2698441" y="381232"/>
                      <a:pt x="2694020" y="362212"/>
                      <a:pt x="2697107" y="349365"/>
                    </a:cubicBezTo>
                    <a:cubicBezTo>
                      <a:pt x="2698858" y="342274"/>
                      <a:pt x="2701945" y="336101"/>
                      <a:pt x="2704615" y="329845"/>
                    </a:cubicBezTo>
                    <a:lnTo>
                      <a:pt x="2705532" y="327592"/>
                    </a:lnTo>
                    <a:cubicBezTo>
                      <a:pt x="2709036" y="320085"/>
                      <a:pt x="2712206" y="312493"/>
                      <a:pt x="2715293" y="305486"/>
                    </a:cubicBezTo>
                    <a:cubicBezTo>
                      <a:pt x="2720632" y="292222"/>
                      <a:pt x="2726389" y="278041"/>
                      <a:pt x="2734815" y="265194"/>
                    </a:cubicBezTo>
                    <a:cubicBezTo>
                      <a:pt x="2744576" y="249678"/>
                      <a:pt x="2751667" y="235496"/>
                      <a:pt x="2753420" y="216476"/>
                    </a:cubicBezTo>
                    <a:cubicBezTo>
                      <a:pt x="2753837" y="212472"/>
                      <a:pt x="2753837" y="208468"/>
                      <a:pt x="2753420" y="204547"/>
                    </a:cubicBezTo>
                    <a:cubicBezTo>
                      <a:pt x="2753003" y="194787"/>
                      <a:pt x="2753003" y="183692"/>
                      <a:pt x="2759176" y="173515"/>
                    </a:cubicBezTo>
                    <a:cubicBezTo>
                      <a:pt x="2763597" y="166424"/>
                      <a:pt x="2770688" y="161585"/>
                      <a:pt x="2776862" y="157581"/>
                    </a:cubicBezTo>
                    <a:cubicBezTo>
                      <a:pt x="2780867" y="154912"/>
                      <a:pt x="2784871" y="152242"/>
                      <a:pt x="2787958" y="149156"/>
                    </a:cubicBezTo>
                    <a:cubicBezTo>
                      <a:pt x="2794132" y="142983"/>
                      <a:pt x="2796802" y="133640"/>
                      <a:pt x="2795967" y="125214"/>
                    </a:cubicBezTo>
                    <a:cubicBezTo>
                      <a:pt x="2794632" y="116789"/>
                      <a:pt x="2789293" y="108864"/>
                      <a:pt x="2781785" y="104359"/>
                    </a:cubicBezTo>
                    <a:cubicBezTo>
                      <a:pt x="2778698" y="102607"/>
                      <a:pt x="2775611" y="101273"/>
                      <a:pt x="2772024" y="99938"/>
                    </a:cubicBezTo>
                    <a:cubicBezTo>
                      <a:pt x="2765350" y="97268"/>
                      <a:pt x="2757841" y="94599"/>
                      <a:pt x="2752084" y="88009"/>
                    </a:cubicBezTo>
                    <a:cubicBezTo>
                      <a:pt x="2748997" y="84505"/>
                      <a:pt x="2747246" y="80501"/>
                      <a:pt x="2745410" y="77414"/>
                    </a:cubicBezTo>
                    <a:cubicBezTo>
                      <a:pt x="2742323" y="71658"/>
                      <a:pt x="2740572" y="68071"/>
                      <a:pt x="2736066" y="66820"/>
                    </a:cubicBezTo>
                    <a:cubicBezTo>
                      <a:pt x="2731645" y="65485"/>
                      <a:pt x="2726306" y="65902"/>
                      <a:pt x="2720966" y="65902"/>
                    </a:cubicBezTo>
                    <a:lnTo>
                      <a:pt x="2718296" y="65902"/>
                    </a:lnTo>
                    <a:cubicBezTo>
                      <a:pt x="2710788" y="66319"/>
                      <a:pt x="2701945" y="65902"/>
                      <a:pt x="2694353" y="61064"/>
                    </a:cubicBezTo>
                    <a:cubicBezTo>
                      <a:pt x="2689931" y="58394"/>
                      <a:pt x="2687262" y="54390"/>
                      <a:pt x="2684593" y="50887"/>
                    </a:cubicBezTo>
                    <a:cubicBezTo>
                      <a:pt x="2682340" y="47800"/>
                      <a:pt x="2680170" y="45130"/>
                      <a:pt x="2677501" y="43379"/>
                    </a:cubicBezTo>
                    <a:cubicBezTo>
                      <a:pt x="2673496" y="41126"/>
                      <a:pt x="2668157" y="40709"/>
                      <a:pt x="2662400" y="40709"/>
                    </a:cubicBezTo>
                    <a:cubicBezTo>
                      <a:pt x="2659731" y="40709"/>
                      <a:pt x="2656645" y="40709"/>
                      <a:pt x="2653558" y="40292"/>
                    </a:cubicBezTo>
                    <a:cubicBezTo>
                      <a:pt x="2639375" y="38957"/>
                      <a:pt x="2626110" y="30949"/>
                      <a:pt x="2616766" y="18186"/>
                    </a:cubicBezTo>
                    <a:cubicBezTo>
                      <a:pt x="2612762" y="12430"/>
                      <a:pt x="2609257" y="6674"/>
                      <a:pt x="2606588" y="0"/>
                    </a:cubicBezTo>
                    <a:cubicBezTo>
                      <a:pt x="2603919" y="10594"/>
                      <a:pt x="2602583" y="21272"/>
                      <a:pt x="2602166" y="31032"/>
                    </a:cubicBezTo>
                    <a:cubicBezTo>
                      <a:pt x="2601749" y="59812"/>
                      <a:pt x="2628780" y="67821"/>
                      <a:pt x="2647801" y="81502"/>
                    </a:cubicBezTo>
                    <a:cubicBezTo>
                      <a:pt x="2652639" y="85006"/>
                      <a:pt x="2664153" y="92096"/>
                      <a:pt x="2662400" y="99688"/>
                    </a:cubicBezTo>
                    <a:cubicBezTo>
                      <a:pt x="2659314" y="112951"/>
                      <a:pt x="2639792" y="104109"/>
                      <a:pt x="2633618" y="100605"/>
                    </a:cubicBezTo>
                    <a:cubicBezTo>
                      <a:pt x="2603919" y="83337"/>
                      <a:pt x="2580892" y="58561"/>
                      <a:pt x="2546354" y="83754"/>
                    </a:cubicBezTo>
                    <a:cubicBezTo>
                      <a:pt x="2534841" y="92597"/>
                      <a:pt x="2522911" y="105861"/>
                      <a:pt x="2508728" y="109031"/>
                    </a:cubicBezTo>
                    <a:cubicBezTo>
                      <a:pt x="2491042" y="113035"/>
                      <a:pt x="2488790" y="97519"/>
                      <a:pt x="2479529" y="86424"/>
                    </a:cubicBezTo>
                    <a:cubicBezTo>
                      <a:pt x="2456920" y="58478"/>
                      <a:pt x="2432142" y="37289"/>
                      <a:pt x="2395769" y="30615"/>
                    </a:cubicBezTo>
                    <a:cubicBezTo>
                      <a:pt x="2358560" y="24442"/>
                      <a:pt x="2318682" y="47466"/>
                      <a:pt x="2289483" y="67404"/>
                    </a:cubicBezTo>
                    <a:cubicBezTo>
                      <a:pt x="2258030" y="89093"/>
                      <a:pt x="2231001" y="116121"/>
                      <a:pt x="2209310" y="147571"/>
                    </a:cubicBezTo>
                    <a:cubicBezTo>
                      <a:pt x="2198214" y="163921"/>
                      <a:pt x="2196462" y="182524"/>
                      <a:pt x="2186283" y="199375"/>
                    </a:cubicBezTo>
                    <a:cubicBezTo>
                      <a:pt x="2176940" y="215725"/>
                      <a:pt x="2168598" y="229073"/>
                      <a:pt x="2163258" y="247676"/>
                    </a:cubicBezTo>
                    <a:cubicBezTo>
                      <a:pt x="2158419" y="265861"/>
                      <a:pt x="2156584" y="283129"/>
                      <a:pt x="2146406" y="299480"/>
                    </a:cubicBezTo>
                    <a:cubicBezTo>
                      <a:pt x="2137563" y="314078"/>
                      <a:pt x="2125132" y="326925"/>
                      <a:pt x="2112284" y="338437"/>
                    </a:cubicBezTo>
                    <a:cubicBezTo>
                      <a:pt x="2100771" y="349031"/>
                      <a:pt x="2088341" y="359709"/>
                      <a:pt x="2074658" y="346862"/>
                    </a:cubicBezTo>
                    <a:cubicBezTo>
                      <a:pt x="2067984" y="340189"/>
                      <a:pt x="2069320" y="337519"/>
                      <a:pt x="2058724" y="334933"/>
                    </a:cubicBezTo>
                    <a:cubicBezTo>
                      <a:pt x="2050298" y="332681"/>
                      <a:pt x="2041872" y="332264"/>
                      <a:pt x="2033029" y="329594"/>
                    </a:cubicBezTo>
                    <a:cubicBezTo>
                      <a:pt x="2002494" y="321169"/>
                      <a:pt x="1985225" y="355288"/>
                      <a:pt x="1980303" y="380982"/>
                    </a:cubicBezTo>
                    <a:cubicBezTo>
                      <a:pt x="1972795" y="416852"/>
                      <a:pt x="1956359" y="394746"/>
                      <a:pt x="1937338" y="378312"/>
                    </a:cubicBezTo>
                    <a:cubicBezTo>
                      <a:pt x="1922237" y="365048"/>
                      <a:pt x="1915230" y="366383"/>
                      <a:pt x="1900546" y="379230"/>
                    </a:cubicBezTo>
                    <a:cubicBezTo>
                      <a:pt x="1890369" y="388573"/>
                      <a:pt x="1881525" y="399584"/>
                      <a:pt x="1868678" y="392076"/>
                    </a:cubicBezTo>
                    <a:cubicBezTo>
                      <a:pt x="1842982" y="376977"/>
                      <a:pt x="1889535" y="361545"/>
                      <a:pt x="1895708" y="348197"/>
                    </a:cubicBezTo>
                    <a:cubicBezTo>
                      <a:pt x="1901465" y="335350"/>
                      <a:pt x="1886865" y="323838"/>
                      <a:pt x="1875769" y="319000"/>
                    </a:cubicBezTo>
                    <a:cubicBezTo>
                      <a:pt x="1859834" y="312326"/>
                      <a:pt x="1841230" y="315914"/>
                      <a:pt x="1825296" y="321252"/>
                    </a:cubicBezTo>
                    <a:cubicBezTo>
                      <a:pt x="1793844" y="331847"/>
                      <a:pt x="1760640" y="352285"/>
                      <a:pt x="1739366" y="377978"/>
                    </a:cubicBezTo>
                    <a:cubicBezTo>
                      <a:pt x="1715006" y="408093"/>
                      <a:pt x="1738031" y="443964"/>
                      <a:pt x="1747792" y="475914"/>
                    </a:cubicBezTo>
                    <a:cubicBezTo>
                      <a:pt x="1752214" y="491430"/>
                      <a:pt x="1756218" y="506029"/>
                      <a:pt x="1750879" y="521962"/>
                    </a:cubicBezTo>
                    <a:cubicBezTo>
                      <a:pt x="1747375" y="532139"/>
                      <a:pt x="1736279" y="556915"/>
                      <a:pt x="1723849" y="550742"/>
                    </a:cubicBezTo>
                    <a:cubicBezTo>
                      <a:pt x="1711001" y="544069"/>
                      <a:pt x="1712336" y="526383"/>
                      <a:pt x="1717174" y="516206"/>
                    </a:cubicBezTo>
                    <a:cubicBezTo>
                      <a:pt x="1721179" y="506863"/>
                      <a:pt x="1738448" y="489178"/>
                      <a:pt x="1734861" y="483005"/>
                    </a:cubicBezTo>
                    <a:cubicBezTo>
                      <a:pt x="1730857" y="476832"/>
                      <a:pt x="1729104" y="481670"/>
                      <a:pt x="1722013" y="484757"/>
                    </a:cubicBezTo>
                    <a:cubicBezTo>
                      <a:pt x="1711836" y="488761"/>
                      <a:pt x="1691896" y="479418"/>
                      <a:pt x="1701657" y="468823"/>
                    </a:cubicBezTo>
                    <a:cubicBezTo>
                      <a:pt x="1707830" y="461732"/>
                      <a:pt x="1706996" y="455559"/>
                      <a:pt x="1703910" y="455059"/>
                    </a:cubicBezTo>
                    <a:cubicBezTo>
                      <a:pt x="1689310" y="451972"/>
                      <a:pt x="1672875" y="463067"/>
                      <a:pt x="1665784" y="473662"/>
                    </a:cubicBezTo>
                    <a:cubicBezTo>
                      <a:pt x="1659610" y="482504"/>
                      <a:pt x="1638753" y="538313"/>
                      <a:pt x="1636083" y="501107"/>
                    </a:cubicBezTo>
                    <a:cubicBezTo>
                      <a:pt x="1635166" y="489595"/>
                      <a:pt x="1628992" y="476748"/>
                      <a:pt x="1637002" y="467906"/>
                    </a:cubicBezTo>
                    <a:cubicBezTo>
                      <a:pt x="1645844" y="457728"/>
                      <a:pt x="1666201" y="455059"/>
                      <a:pt x="1677797" y="447968"/>
                    </a:cubicBezTo>
                    <a:cubicBezTo>
                      <a:pt x="1683971" y="443964"/>
                      <a:pt x="1706996" y="425361"/>
                      <a:pt x="1699905" y="415184"/>
                    </a:cubicBezTo>
                    <a:cubicBezTo>
                      <a:pt x="1692396" y="404589"/>
                      <a:pt x="1668871" y="418270"/>
                      <a:pt x="1660945" y="421858"/>
                    </a:cubicBezTo>
                    <a:cubicBezTo>
                      <a:pt x="1624153" y="438208"/>
                      <a:pt x="1584776" y="459480"/>
                      <a:pt x="1553325" y="484757"/>
                    </a:cubicBezTo>
                    <a:cubicBezTo>
                      <a:pt x="1537807" y="497186"/>
                      <a:pt x="1523624" y="510450"/>
                      <a:pt x="1508107" y="522379"/>
                    </a:cubicBezTo>
                    <a:cubicBezTo>
                      <a:pt x="1489503" y="536978"/>
                      <a:pt x="1473568" y="539647"/>
                      <a:pt x="1450960" y="542734"/>
                    </a:cubicBezTo>
                    <a:cubicBezTo>
                      <a:pt x="1440364" y="544069"/>
                      <a:pt x="1420842" y="548073"/>
                      <a:pt x="1427016" y="562671"/>
                    </a:cubicBezTo>
                    <a:cubicBezTo>
                      <a:pt x="1432773" y="576436"/>
                      <a:pt x="1456215" y="571514"/>
                      <a:pt x="1464224" y="584361"/>
                    </a:cubicBezTo>
                    <a:cubicBezTo>
                      <a:pt x="1477990" y="606467"/>
                      <a:pt x="1444286" y="626905"/>
                      <a:pt x="1431855" y="640586"/>
                    </a:cubicBezTo>
                    <a:cubicBezTo>
                      <a:pt x="1423429" y="649929"/>
                      <a:pt x="1417255" y="658772"/>
                      <a:pt x="1419007" y="671619"/>
                    </a:cubicBezTo>
                    <a:cubicBezTo>
                      <a:pt x="1420342" y="682213"/>
                      <a:pt x="1431855" y="705737"/>
                      <a:pt x="1446037" y="701733"/>
                    </a:cubicBezTo>
                    <a:cubicBezTo>
                      <a:pt x="1454464" y="699481"/>
                      <a:pt x="1480576" y="633495"/>
                      <a:pt x="1476572" y="685800"/>
                    </a:cubicBezTo>
                    <a:cubicBezTo>
                      <a:pt x="1473485" y="721671"/>
                      <a:pt x="1512445" y="739857"/>
                      <a:pt x="1538558" y="758459"/>
                    </a:cubicBezTo>
                    <a:cubicBezTo>
                      <a:pt x="1554075" y="769554"/>
                      <a:pt x="1555410" y="772224"/>
                      <a:pt x="1541645" y="781900"/>
                    </a:cubicBezTo>
                    <a:cubicBezTo>
                      <a:pt x="1536805" y="785404"/>
                      <a:pt x="1531049" y="791661"/>
                      <a:pt x="1525710" y="794330"/>
                    </a:cubicBezTo>
                    <a:cubicBezTo>
                      <a:pt x="1514197" y="799669"/>
                      <a:pt x="1511527" y="792995"/>
                      <a:pt x="1500432" y="791661"/>
                    </a:cubicBezTo>
                    <a:cubicBezTo>
                      <a:pt x="1478741" y="788574"/>
                      <a:pt x="1445537" y="822693"/>
                      <a:pt x="1466727" y="840795"/>
                    </a:cubicBezTo>
                    <a:cubicBezTo>
                      <a:pt x="1475153" y="847886"/>
                      <a:pt x="1494675" y="851390"/>
                      <a:pt x="1498596" y="862485"/>
                    </a:cubicBezTo>
                    <a:cubicBezTo>
                      <a:pt x="1506105" y="884174"/>
                      <a:pt x="1485749" y="882005"/>
                      <a:pt x="1474652" y="877083"/>
                    </a:cubicBezTo>
                    <a:cubicBezTo>
                      <a:pt x="1451210" y="866906"/>
                      <a:pt x="1405075" y="869075"/>
                      <a:pt x="1380714" y="877500"/>
                    </a:cubicBezTo>
                    <a:cubicBezTo>
                      <a:pt x="1355936" y="885926"/>
                      <a:pt x="1321314" y="927553"/>
                      <a:pt x="1332410" y="954581"/>
                    </a:cubicBezTo>
                    <a:cubicBezTo>
                      <a:pt x="1338584" y="969680"/>
                      <a:pt x="1339918" y="968345"/>
                      <a:pt x="1322649" y="974936"/>
                    </a:cubicBezTo>
                    <a:cubicBezTo>
                      <a:pt x="1305797" y="981609"/>
                      <a:pt x="1292949" y="986865"/>
                      <a:pt x="1274345" y="985113"/>
                    </a:cubicBezTo>
                    <a:cubicBezTo>
                      <a:pt x="1257994" y="983361"/>
                      <a:pt x="1245146" y="979357"/>
                      <a:pt x="1230963" y="970514"/>
                    </a:cubicBezTo>
                    <a:cubicBezTo>
                      <a:pt x="1223872" y="966093"/>
                      <a:pt x="1207520" y="951911"/>
                      <a:pt x="1197759" y="954164"/>
                    </a:cubicBezTo>
                    <a:cubicBezTo>
                      <a:pt x="1171647" y="959920"/>
                      <a:pt x="1206602" y="1021901"/>
                      <a:pt x="1211942" y="1034748"/>
                    </a:cubicBezTo>
                    <a:cubicBezTo>
                      <a:pt x="1223872" y="1062193"/>
                      <a:pt x="1229628" y="1094143"/>
                      <a:pt x="1235885" y="1123341"/>
                    </a:cubicBezTo>
                    <a:cubicBezTo>
                      <a:pt x="1237637" y="1133518"/>
                      <a:pt x="1242059" y="1152121"/>
                      <a:pt x="1233633" y="1160546"/>
                    </a:cubicBezTo>
                    <a:cubicBezTo>
                      <a:pt x="1219867" y="1174311"/>
                      <a:pt x="1212776" y="1155207"/>
                      <a:pt x="1202181" y="1152538"/>
                    </a:cubicBezTo>
                    <a:cubicBezTo>
                      <a:pt x="1196424" y="1150786"/>
                      <a:pt x="1192837" y="1156959"/>
                      <a:pt x="1187581" y="1157877"/>
                    </a:cubicBezTo>
                    <a:cubicBezTo>
                      <a:pt x="1179572" y="1159211"/>
                      <a:pt x="1172981" y="1156125"/>
                      <a:pt x="1165890" y="1153873"/>
                    </a:cubicBezTo>
                    <a:cubicBezTo>
                      <a:pt x="1156129" y="1151203"/>
                      <a:pt x="1147703" y="1152121"/>
                      <a:pt x="1137942" y="1150369"/>
                    </a:cubicBezTo>
                    <a:cubicBezTo>
                      <a:pt x="1128181" y="1148617"/>
                      <a:pt x="1124177" y="1142861"/>
                      <a:pt x="1116251" y="1137522"/>
                    </a:cubicBezTo>
                    <a:cubicBezTo>
                      <a:pt x="1108743" y="1133101"/>
                      <a:pt x="1100734" y="1130431"/>
                      <a:pt x="1093643" y="1125093"/>
                    </a:cubicBezTo>
                    <a:cubicBezTo>
                      <a:pt x="1087886" y="1120671"/>
                      <a:pt x="1084799" y="1114915"/>
                      <a:pt x="1077291" y="1112246"/>
                    </a:cubicBezTo>
                    <a:cubicBezTo>
                      <a:pt x="1070199" y="1109159"/>
                      <a:pt x="1061774" y="1110911"/>
                      <a:pt x="1054682" y="1107824"/>
                    </a:cubicBezTo>
                    <a:cubicBezTo>
                      <a:pt x="1044087" y="1102986"/>
                      <a:pt x="1044504" y="1097230"/>
                      <a:pt x="1039164" y="1089222"/>
                    </a:cubicBezTo>
                    <a:cubicBezTo>
                      <a:pt x="1030739" y="1077293"/>
                      <a:pt x="985104" y="1069284"/>
                      <a:pt x="979348" y="1051599"/>
                    </a:cubicBezTo>
                    <a:cubicBezTo>
                      <a:pt x="978931" y="1050264"/>
                      <a:pt x="978430" y="1048512"/>
                      <a:pt x="978931" y="1046761"/>
                    </a:cubicBezTo>
                    <a:cubicBezTo>
                      <a:pt x="979348" y="1042756"/>
                      <a:pt x="982434" y="1040587"/>
                      <a:pt x="986022" y="1039253"/>
                    </a:cubicBezTo>
                    <a:cubicBezTo>
                      <a:pt x="992696" y="1036166"/>
                      <a:pt x="1003291" y="1035248"/>
                      <a:pt x="1008130" y="1031244"/>
                    </a:cubicBezTo>
                    <a:cubicBezTo>
                      <a:pt x="1021896" y="1019732"/>
                      <a:pt x="1023647" y="1002047"/>
                      <a:pt x="1011633" y="988283"/>
                    </a:cubicBezTo>
                    <a:cubicBezTo>
                      <a:pt x="1001456" y="976354"/>
                      <a:pt x="989525" y="972349"/>
                      <a:pt x="974843" y="974518"/>
                    </a:cubicBezTo>
                    <a:cubicBezTo>
                      <a:pt x="971338" y="974936"/>
                      <a:pt x="968669" y="976771"/>
                      <a:pt x="966417" y="977605"/>
                    </a:cubicBezTo>
                    <a:cubicBezTo>
                      <a:pt x="966417" y="977605"/>
                      <a:pt x="966417" y="977605"/>
                      <a:pt x="966000" y="977605"/>
                    </a:cubicBezTo>
                    <a:cubicBezTo>
                      <a:pt x="963747" y="978022"/>
                      <a:pt x="961577" y="978022"/>
                      <a:pt x="958491" y="975353"/>
                    </a:cubicBezTo>
                    <a:cubicBezTo>
                      <a:pt x="956239" y="973601"/>
                      <a:pt x="955404" y="970931"/>
                      <a:pt x="954987" y="968262"/>
                    </a:cubicBezTo>
                    <a:cubicBezTo>
                      <a:pt x="954069" y="963424"/>
                      <a:pt x="956322" y="957667"/>
                      <a:pt x="957657" y="953163"/>
                    </a:cubicBezTo>
                    <a:cubicBezTo>
                      <a:pt x="961160" y="941234"/>
                      <a:pt x="967417" y="936812"/>
                      <a:pt x="957657" y="928804"/>
                    </a:cubicBezTo>
                    <a:cubicBezTo>
                      <a:pt x="957240" y="927886"/>
                      <a:pt x="947896" y="925300"/>
                      <a:pt x="946561" y="924383"/>
                    </a:cubicBezTo>
                    <a:cubicBezTo>
                      <a:pt x="942139" y="922130"/>
                      <a:pt x="934631" y="917709"/>
                      <a:pt x="930209" y="914205"/>
                    </a:cubicBezTo>
                    <a:cubicBezTo>
                      <a:pt x="929792" y="914205"/>
                      <a:pt x="929792" y="914205"/>
                      <a:pt x="929292" y="913788"/>
                    </a:cubicBezTo>
                    <a:cubicBezTo>
                      <a:pt x="925287" y="910702"/>
                      <a:pt x="923118" y="906698"/>
                      <a:pt x="920865" y="902276"/>
                    </a:cubicBezTo>
                    <a:cubicBezTo>
                      <a:pt x="917778" y="895185"/>
                      <a:pt x="916027" y="887177"/>
                      <a:pt x="911104" y="880587"/>
                    </a:cubicBezTo>
                    <a:cubicBezTo>
                      <a:pt x="901344" y="866823"/>
                      <a:pt x="890748" y="869075"/>
                      <a:pt x="876149" y="870410"/>
                    </a:cubicBezTo>
                    <a:cubicBezTo>
                      <a:pt x="852205" y="873079"/>
                      <a:pt x="807906" y="837208"/>
                      <a:pt x="790636" y="872662"/>
                    </a:cubicBezTo>
                    <a:cubicBezTo>
                      <a:pt x="787966" y="878001"/>
                      <a:pt x="789301" y="889012"/>
                      <a:pt x="786215" y="895686"/>
                    </a:cubicBezTo>
                    <a:cubicBezTo>
                      <a:pt x="785297" y="898773"/>
                      <a:pt x="783128" y="900524"/>
                      <a:pt x="780041" y="901442"/>
                    </a:cubicBezTo>
                    <a:cubicBezTo>
                      <a:pt x="777371" y="901859"/>
                      <a:pt x="775202" y="901442"/>
                      <a:pt x="772950" y="900524"/>
                    </a:cubicBezTo>
                    <a:cubicBezTo>
                      <a:pt x="766275" y="898272"/>
                      <a:pt x="762771" y="891181"/>
                      <a:pt x="751676" y="897855"/>
                    </a:cubicBezTo>
                    <a:cubicBezTo>
                      <a:pt x="739746" y="904529"/>
                      <a:pt x="742332" y="906698"/>
                      <a:pt x="726398" y="903194"/>
                    </a:cubicBezTo>
                    <a:cubicBezTo>
                      <a:pt x="720641" y="902276"/>
                      <a:pt x="714885" y="901442"/>
                      <a:pt x="709128" y="900107"/>
                    </a:cubicBezTo>
                    <a:cubicBezTo>
                      <a:pt x="706041" y="899190"/>
                      <a:pt x="703371" y="898356"/>
                      <a:pt x="700702" y="897021"/>
                    </a:cubicBezTo>
                    <a:cubicBezTo>
                      <a:pt x="698033" y="895686"/>
                      <a:pt x="695863" y="893934"/>
                      <a:pt x="692693" y="893517"/>
                    </a:cubicBezTo>
                    <a:cubicBezTo>
                      <a:pt x="689189" y="893100"/>
                      <a:pt x="686019" y="898356"/>
                      <a:pt x="682932" y="899273"/>
                    </a:cubicBezTo>
                    <a:cubicBezTo>
                      <a:pt x="680680" y="900191"/>
                      <a:pt x="678510" y="900191"/>
                      <a:pt x="676258" y="898856"/>
                    </a:cubicBezTo>
                    <a:cubicBezTo>
                      <a:pt x="670919" y="895769"/>
                      <a:pt x="668249" y="889513"/>
                      <a:pt x="666080" y="884674"/>
                    </a:cubicBezTo>
                    <a:cubicBezTo>
                      <a:pt x="663828" y="880670"/>
                      <a:pt x="662075" y="876666"/>
                      <a:pt x="659406" y="873580"/>
                    </a:cubicBezTo>
                    <a:cubicBezTo>
                      <a:pt x="658488" y="872245"/>
                      <a:pt x="657153" y="870910"/>
                      <a:pt x="655902" y="870493"/>
                    </a:cubicBezTo>
                    <a:cubicBezTo>
                      <a:pt x="655902" y="870493"/>
                      <a:pt x="652398" y="870076"/>
                      <a:pt x="652398" y="870910"/>
                    </a:cubicBezTo>
                    <a:cubicBezTo>
                      <a:pt x="651981" y="879336"/>
                      <a:pt x="658155" y="885509"/>
                      <a:pt x="656819" y="893934"/>
                    </a:cubicBezTo>
                    <a:cubicBezTo>
                      <a:pt x="655902" y="899690"/>
                      <a:pt x="650646" y="905029"/>
                      <a:pt x="647976" y="910285"/>
                    </a:cubicBezTo>
                    <a:cubicBezTo>
                      <a:pt x="645724" y="913788"/>
                      <a:pt x="643555" y="923548"/>
                      <a:pt x="642220" y="926218"/>
                    </a:cubicBezTo>
                    <a:cubicBezTo>
                      <a:pt x="637798" y="933309"/>
                      <a:pt x="634711" y="929721"/>
                      <a:pt x="629790" y="934226"/>
                    </a:cubicBezTo>
                    <a:cubicBezTo>
                      <a:pt x="609433" y="951494"/>
                      <a:pt x="669250" y="998043"/>
                      <a:pt x="674506" y="1018398"/>
                    </a:cubicBezTo>
                    <a:cubicBezTo>
                      <a:pt x="674923" y="1018815"/>
                      <a:pt x="674923" y="1019315"/>
                      <a:pt x="674923" y="1019732"/>
                    </a:cubicBezTo>
                    <a:lnTo>
                      <a:pt x="674923" y="1020149"/>
                    </a:lnTo>
                    <a:cubicBezTo>
                      <a:pt x="676258" y="1024988"/>
                      <a:pt x="676258" y="1029910"/>
                      <a:pt x="675340" y="1035248"/>
                    </a:cubicBezTo>
                    <a:cubicBezTo>
                      <a:pt x="674006" y="1041922"/>
                      <a:pt x="671336" y="1048095"/>
                      <a:pt x="667332" y="1052934"/>
                    </a:cubicBezTo>
                    <a:cubicBezTo>
                      <a:pt x="663326" y="1057772"/>
                      <a:pt x="659823" y="1058690"/>
                      <a:pt x="654901" y="1061359"/>
                    </a:cubicBezTo>
                    <a:cubicBezTo>
                      <a:pt x="653983" y="1061359"/>
                      <a:pt x="653566" y="1061776"/>
                      <a:pt x="652648" y="1062277"/>
                    </a:cubicBezTo>
                    <a:cubicBezTo>
                      <a:pt x="648227" y="1064029"/>
                      <a:pt x="644639" y="1067616"/>
                      <a:pt x="641135" y="1070702"/>
                    </a:cubicBezTo>
                    <a:cubicBezTo>
                      <a:pt x="638048" y="1073372"/>
                      <a:pt x="634461" y="1076041"/>
                      <a:pt x="630957" y="1076875"/>
                    </a:cubicBezTo>
                    <a:cubicBezTo>
                      <a:pt x="623866" y="1079545"/>
                      <a:pt x="616774" y="1075124"/>
                      <a:pt x="609683" y="1077293"/>
                    </a:cubicBezTo>
                    <a:cubicBezTo>
                      <a:pt x="605679" y="1078627"/>
                      <a:pt x="600840" y="1083048"/>
                      <a:pt x="597253" y="1085718"/>
                    </a:cubicBezTo>
                    <a:cubicBezTo>
                      <a:pt x="584405" y="1094143"/>
                      <a:pt x="568471" y="1106573"/>
                      <a:pt x="552536" y="1107824"/>
                    </a:cubicBezTo>
                    <a:cubicBezTo>
                      <a:pt x="546363" y="1108241"/>
                      <a:pt x="540606" y="1107824"/>
                      <a:pt x="535266" y="1105155"/>
                    </a:cubicBezTo>
                    <a:cubicBezTo>
                      <a:pt x="530428" y="1102903"/>
                      <a:pt x="525506" y="1092308"/>
                      <a:pt x="521084" y="1090973"/>
                    </a:cubicBezTo>
                    <a:cubicBezTo>
                      <a:pt x="508654" y="1086552"/>
                      <a:pt x="506901" y="1110911"/>
                      <a:pt x="494971" y="1115749"/>
                    </a:cubicBezTo>
                    <a:cubicBezTo>
                      <a:pt x="484793" y="1120171"/>
                      <a:pt x="465272" y="1118836"/>
                      <a:pt x="454176" y="1118002"/>
                    </a:cubicBezTo>
                    <a:cubicBezTo>
                      <a:pt x="442662" y="1117084"/>
                      <a:pt x="430733" y="1105155"/>
                      <a:pt x="424977" y="1094060"/>
                    </a:cubicBezTo>
                    <a:cubicBezTo>
                      <a:pt x="421473" y="1087386"/>
                      <a:pt x="420971" y="1083883"/>
                      <a:pt x="423641" y="1076792"/>
                    </a:cubicBezTo>
                    <a:cubicBezTo>
                      <a:pt x="425394" y="1071953"/>
                      <a:pt x="435571" y="1064362"/>
                      <a:pt x="436072" y="1059524"/>
                    </a:cubicBezTo>
                    <a:cubicBezTo>
                      <a:pt x="436489" y="1035582"/>
                      <a:pt x="405037" y="1050681"/>
                      <a:pt x="394859" y="1056020"/>
                    </a:cubicBezTo>
                    <a:cubicBezTo>
                      <a:pt x="381094" y="1063111"/>
                      <a:pt x="364742" y="1071119"/>
                      <a:pt x="349642" y="1075958"/>
                    </a:cubicBezTo>
                    <a:cubicBezTo>
                      <a:pt x="341633" y="1078627"/>
                      <a:pt x="333290" y="1079461"/>
                      <a:pt x="325282" y="1077710"/>
                    </a:cubicBezTo>
                    <a:cubicBezTo>
                      <a:pt x="311099" y="1074623"/>
                      <a:pt x="300003" y="1079044"/>
                      <a:pt x="287155" y="1083048"/>
                    </a:cubicBezTo>
                    <a:cubicBezTo>
                      <a:pt x="272055" y="1087887"/>
                      <a:pt x="260125" y="1090139"/>
                      <a:pt x="247695" y="1100734"/>
                    </a:cubicBezTo>
                    <a:cubicBezTo>
                      <a:pt x="232594" y="1113580"/>
                      <a:pt x="217994" y="1124675"/>
                      <a:pt x="201643" y="1135687"/>
                    </a:cubicBezTo>
                    <a:cubicBezTo>
                      <a:pt x="187460" y="1145447"/>
                      <a:pt x="178617" y="1150786"/>
                      <a:pt x="189212" y="1165384"/>
                    </a:cubicBezTo>
                    <a:cubicBezTo>
                      <a:pt x="191882" y="1168888"/>
                      <a:pt x="202060" y="1175979"/>
                      <a:pt x="201643" y="1181318"/>
                    </a:cubicBezTo>
                    <a:cubicBezTo>
                      <a:pt x="201226" y="1189326"/>
                      <a:pt x="190547" y="1181735"/>
                      <a:pt x="187043" y="1178231"/>
                    </a:cubicBezTo>
                    <a:cubicBezTo>
                      <a:pt x="176448" y="1168054"/>
                      <a:pt x="175530" y="1152538"/>
                      <a:pt x="172443" y="1139274"/>
                    </a:cubicBezTo>
                    <a:cubicBezTo>
                      <a:pt x="168439" y="1123758"/>
                      <a:pt x="159178" y="1108742"/>
                      <a:pt x="147165" y="1098064"/>
                    </a:cubicBezTo>
                    <a:cubicBezTo>
                      <a:pt x="132065" y="1084800"/>
                      <a:pt x="134734" y="1102485"/>
                      <a:pt x="133400" y="1116250"/>
                    </a:cubicBezTo>
                    <a:cubicBezTo>
                      <a:pt x="130730" y="1136604"/>
                      <a:pt x="122303" y="1143278"/>
                      <a:pt x="101030" y="1141943"/>
                    </a:cubicBezTo>
                    <a:cubicBezTo>
                      <a:pt x="94355" y="1141526"/>
                      <a:pt x="86847" y="1140609"/>
                      <a:pt x="79756" y="1138440"/>
                    </a:cubicBezTo>
                    <a:cubicBezTo>
                      <a:pt x="74000" y="1145948"/>
                      <a:pt x="69161" y="1153539"/>
                      <a:pt x="68660" y="1160546"/>
                    </a:cubicBezTo>
                    <a:cubicBezTo>
                      <a:pt x="68243" y="1163633"/>
                      <a:pt x="69578" y="1165885"/>
                      <a:pt x="71747" y="1169389"/>
                    </a:cubicBezTo>
                    <a:cubicBezTo>
                      <a:pt x="73499" y="1172475"/>
                      <a:pt x="75751" y="1176897"/>
                      <a:pt x="76586" y="1182236"/>
                    </a:cubicBezTo>
                    <a:cubicBezTo>
                      <a:pt x="77504" y="1191579"/>
                      <a:pt x="73916" y="1198586"/>
                      <a:pt x="70413" y="1204842"/>
                    </a:cubicBezTo>
                    <a:cubicBezTo>
                      <a:pt x="69077" y="1207095"/>
                      <a:pt x="67743" y="1209264"/>
                      <a:pt x="66908" y="1211933"/>
                    </a:cubicBezTo>
                    <a:cubicBezTo>
                      <a:pt x="58482" y="1232788"/>
                      <a:pt x="64656" y="1242465"/>
                      <a:pt x="81508" y="1256647"/>
                    </a:cubicBezTo>
                    <a:cubicBezTo>
                      <a:pt x="95691" y="1268576"/>
                      <a:pt x="95691" y="1282757"/>
                      <a:pt x="96108" y="1296522"/>
                    </a:cubicBezTo>
                    <a:cubicBezTo>
                      <a:pt x="96108" y="1301860"/>
                      <a:pt x="96108" y="1307116"/>
                      <a:pt x="97025" y="1312455"/>
                    </a:cubicBezTo>
                    <a:cubicBezTo>
                      <a:pt x="99695" y="1329723"/>
                      <a:pt x="106786" y="1336397"/>
                      <a:pt x="119133" y="1347408"/>
                    </a:cubicBezTo>
                    <a:lnTo>
                      <a:pt x="122637" y="1350495"/>
                    </a:lnTo>
                    <a:cubicBezTo>
                      <a:pt x="130146" y="1357168"/>
                      <a:pt x="134567" y="1365093"/>
                      <a:pt x="138572" y="1372601"/>
                    </a:cubicBezTo>
                    <a:cubicBezTo>
                      <a:pt x="143911" y="1381444"/>
                      <a:pt x="147916" y="1388951"/>
                      <a:pt x="156258" y="1394290"/>
                    </a:cubicBezTo>
                    <a:cubicBezTo>
                      <a:pt x="160680" y="1397377"/>
                      <a:pt x="165602" y="1399629"/>
                      <a:pt x="170024" y="1402299"/>
                    </a:cubicBezTo>
                    <a:cubicBezTo>
                      <a:pt x="185542" y="1410307"/>
                      <a:pt x="201476" y="1419150"/>
                      <a:pt x="210319" y="1440839"/>
                    </a:cubicBezTo>
                    <a:cubicBezTo>
                      <a:pt x="215158" y="1452768"/>
                      <a:pt x="216993" y="1464781"/>
                      <a:pt x="218328" y="1476710"/>
                    </a:cubicBezTo>
                    <a:cubicBezTo>
                      <a:pt x="220080" y="1488639"/>
                      <a:pt x="221832" y="1500151"/>
                      <a:pt x="226337" y="1510412"/>
                    </a:cubicBezTo>
                    <a:cubicBezTo>
                      <a:pt x="230341" y="1520172"/>
                      <a:pt x="242272" y="1527680"/>
                      <a:pt x="254285" y="1534771"/>
                    </a:cubicBezTo>
                    <a:cubicBezTo>
                      <a:pt x="268467" y="1544114"/>
                      <a:pt x="282650" y="1552039"/>
                      <a:pt x="283985" y="1566220"/>
                    </a:cubicBezTo>
                    <a:cubicBezTo>
                      <a:pt x="285320" y="1575980"/>
                      <a:pt x="280481" y="1585741"/>
                      <a:pt x="269386" y="1596335"/>
                    </a:cubicBezTo>
                    <a:lnTo>
                      <a:pt x="257455" y="1608264"/>
                    </a:lnTo>
                    <a:cubicBezTo>
                      <a:pt x="242855" y="1622863"/>
                      <a:pt x="227338" y="1637962"/>
                      <a:pt x="211404" y="1652560"/>
                    </a:cubicBezTo>
                    <a:lnTo>
                      <a:pt x="206565" y="1656982"/>
                    </a:lnTo>
                    <a:cubicBezTo>
                      <a:pt x="195052" y="1667159"/>
                      <a:pt x="179952" y="1680423"/>
                      <a:pt x="179118" y="1693269"/>
                    </a:cubicBezTo>
                    <a:cubicBezTo>
                      <a:pt x="179118" y="1696356"/>
                      <a:pt x="180452" y="1700360"/>
                      <a:pt x="182622" y="1704364"/>
                    </a:cubicBezTo>
                    <a:cubicBezTo>
                      <a:pt x="184874" y="1708786"/>
                      <a:pt x="187460" y="1714542"/>
                      <a:pt x="187043" y="1720715"/>
                    </a:cubicBezTo>
                    <a:cubicBezTo>
                      <a:pt x="187043" y="1731810"/>
                      <a:pt x="180369" y="1737566"/>
                      <a:pt x="175113" y="1742821"/>
                    </a:cubicBezTo>
                    <a:lnTo>
                      <a:pt x="172443" y="1745491"/>
                    </a:lnTo>
                    <a:cubicBezTo>
                      <a:pt x="157343" y="1760590"/>
                      <a:pt x="151170" y="1769432"/>
                      <a:pt x="158678" y="1784031"/>
                    </a:cubicBezTo>
                    <a:cubicBezTo>
                      <a:pt x="160430" y="1787118"/>
                      <a:pt x="162682" y="1790705"/>
                      <a:pt x="164851" y="1793791"/>
                    </a:cubicBezTo>
                    <a:cubicBezTo>
                      <a:pt x="173695" y="1807973"/>
                      <a:pt x="185708" y="1826993"/>
                      <a:pt x="169273" y="1845178"/>
                    </a:cubicBezTo>
                    <a:cubicBezTo>
                      <a:pt x="157760" y="1858025"/>
                      <a:pt x="143160" y="1856690"/>
                      <a:pt x="131147" y="1855773"/>
                    </a:cubicBezTo>
                    <a:cubicBezTo>
                      <a:pt x="124056" y="1855356"/>
                      <a:pt x="117382" y="1854438"/>
                      <a:pt x="111625" y="1856690"/>
                    </a:cubicBezTo>
                    <a:cubicBezTo>
                      <a:pt x="104534" y="1859360"/>
                      <a:pt x="104117" y="1862029"/>
                      <a:pt x="101864" y="1868619"/>
                    </a:cubicBezTo>
                    <a:cubicBezTo>
                      <a:pt x="100529" y="1871706"/>
                      <a:pt x="99612" y="1875710"/>
                      <a:pt x="97442" y="1879714"/>
                    </a:cubicBezTo>
                    <a:cubicBezTo>
                      <a:pt x="93021" y="1888140"/>
                      <a:pt x="85513" y="1892978"/>
                      <a:pt x="79255" y="1896565"/>
                    </a:cubicBezTo>
                    <a:cubicBezTo>
                      <a:pt x="77504" y="1897483"/>
                      <a:pt x="75751" y="1898818"/>
                      <a:pt x="73916" y="1900069"/>
                    </a:cubicBezTo>
                    <a:cubicBezTo>
                      <a:pt x="67242" y="1904490"/>
                      <a:pt x="61986" y="1909412"/>
                      <a:pt x="56647" y="1913833"/>
                    </a:cubicBezTo>
                    <a:cubicBezTo>
                      <a:pt x="46886" y="1922676"/>
                      <a:pt x="36708" y="1932019"/>
                      <a:pt x="20356" y="1937274"/>
                    </a:cubicBezTo>
                    <a:cubicBezTo>
                      <a:pt x="12347" y="1939944"/>
                      <a:pt x="6174" y="1944782"/>
                      <a:pt x="0" y="1950121"/>
                    </a:cubicBezTo>
                    <a:cubicBezTo>
                      <a:pt x="4004" y="1953625"/>
                      <a:pt x="7508" y="1956795"/>
                      <a:pt x="11096" y="1959881"/>
                    </a:cubicBezTo>
                    <a:cubicBezTo>
                      <a:pt x="23944" y="1970976"/>
                      <a:pt x="37208" y="1982488"/>
                      <a:pt x="47386" y="1997087"/>
                    </a:cubicBezTo>
                    <a:cubicBezTo>
                      <a:pt x="74417" y="2034710"/>
                      <a:pt x="85930" y="2083928"/>
                      <a:pt x="96525" y="2126889"/>
                    </a:cubicBezTo>
                    <a:lnTo>
                      <a:pt x="98778" y="2135315"/>
                    </a:lnTo>
                    <a:cubicBezTo>
                      <a:pt x="105452" y="2162760"/>
                      <a:pt x="107203" y="2188954"/>
                      <a:pt x="108955" y="2216399"/>
                    </a:cubicBezTo>
                    <a:lnTo>
                      <a:pt x="108955" y="2218151"/>
                    </a:lnTo>
                    <a:cubicBezTo>
                      <a:pt x="109372" y="2225242"/>
                      <a:pt x="112042" y="2234085"/>
                      <a:pt x="114712" y="2243428"/>
                    </a:cubicBezTo>
                    <a:cubicBezTo>
                      <a:pt x="119550" y="2258527"/>
                      <a:pt x="124056" y="2274460"/>
                      <a:pt x="120469" y="2288141"/>
                    </a:cubicBezTo>
                    <a:cubicBezTo>
                      <a:pt x="117799" y="2297901"/>
                      <a:pt x="108038" y="2307662"/>
                      <a:pt x="97025" y="2318673"/>
                    </a:cubicBezTo>
                    <a:cubicBezTo>
                      <a:pt x="85095" y="2330602"/>
                      <a:pt x="70413" y="2345284"/>
                      <a:pt x="71330" y="2355879"/>
                    </a:cubicBezTo>
                    <a:cubicBezTo>
                      <a:pt x="71747" y="2359383"/>
                      <a:pt x="74417" y="2362969"/>
                      <a:pt x="79339" y="2366473"/>
                    </a:cubicBezTo>
                    <a:cubicBezTo>
                      <a:pt x="83761" y="2369560"/>
                      <a:pt x="88683" y="2371812"/>
                      <a:pt x="93521" y="2373981"/>
                    </a:cubicBezTo>
                    <a:cubicBezTo>
                      <a:pt x="102365" y="2377985"/>
                      <a:pt x="112126" y="2382406"/>
                      <a:pt x="118299" y="2392584"/>
                    </a:cubicBezTo>
                    <a:lnTo>
                      <a:pt x="128060" y="2378402"/>
                    </a:lnTo>
                    <a:cubicBezTo>
                      <a:pt x="131564" y="2373063"/>
                      <a:pt x="135569" y="2367307"/>
                      <a:pt x="140491" y="2362469"/>
                    </a:cubicBezTo>
                    <a:cubicBezTo>
                      <a:pt x="150669" y="2351875"/>
                      <a:pt x="164851" y="2344283"/>
                      <a:pt x="182538" y="2339445"/>
                    </a:cubicBezTo>
                    <a:cubicBezTo>
                      <a:pt x="206899" y="2333272"/>
                      <a:pt x="232594" y="2333689"/>
                      <a:pt x="256538" y="2340779"/>
                    </a:cubicBezTo>
                    <a:lnTo>
                      <a:pt x="257455" y="2341197"/>
                    </a:lnTo>
                    <a:cubicBezTo>
                      <a:pt x="262294" y="2342531"/>
                      <a:pt x="267216" y="2344283"/>
                      <a:pt x="271637" y="2343449"/>
                    </a:cubicBezTo>
                    <a:cubicBezTo>
                      <a:pt x="276060" y="2342615"/>
                      <a:pt x="280981" y="2339028"/>
                      <a:pt x="284903" y="2335941"/>
                    </a:cubicBezTo>
                    <a:cubicBezTo>
                      <a:pt x="300003" y="2324846"/>
                      <a:pt x="309263" y="2307161"/>
                      <a:pt x="308846" y="2289392"/>
                    </a:cubicBezTo>
                    <a:cubicBezTo>
                      <a:pt x="308846" y="2286306"/>
                      <a:pt x="308429" y="2276129"/>
                      <a:pt x="316855" y="2273042"/>
                    </a:cubicBezTo>
                    <a:cubicBezTo>
                      <a:pt x="320359" y="2271707"/>
                      <a:pt x="323946" y="2272625"/>
                      <a:pt x="325699" y="2273042"/>
                    </a:cubicBezTo>
                    <a:cubicBezTo>
                      <a:pt x="339881" y="2276129"/>
                      <a:pt x="352729" y="2282802"/>
                      <a:pt x="363824" y="2292062"/>
                    </a:cubicBezTo>
                    <a:cubicBezTo>
                      <a:pt x="364742" y="2292980"/>
                      <a:pt x="365577" y="2293397"/>
                      <a:pt x="366494" y="2294315"/>
                    </a:cubicBezTo>
                    <a:cubicBezTo>
                      <a:pt x="369581" y="2296984"/>
                      <a:pt x="372251" y="2299153"/>
                      <a:pt x="374921" y="2300488"/>
                    </a:cubicBezTo>
                    <a:cubicBezTo>
                      <a:pt x="381094" y="2303574"/>
                      <a:pt x="390438" y="2301822"/>
                      <a:pt x="397946" y="2296483"/>
                    </a:cubicBezTo>
                    <a:cubicBezTo>
                      <a:pt x="405454" y="2291144"/>
                      <a:pt x="411211" y="2282719"/>
                      <a:pt x="416967" y="2274377"/>
                    </a:cubicBezTo>
                    <a:cubicBezTo>
                      <a:pt x="448002" y="2229163"/>
                      <a:pt x="479871" y="2187119"/>
                      <a:pt x="526840" y="2165430"/>
                    </a:cubicBezTo>
                    <a:cubicBezTo>
                      <a:pt x="543192" y="2157922"/>
                      <a:pt x="556957" y="2157922"/>
                      <a:pt x="566301" y="2165430"/>
                    </a:cubicBezTo>
                    <a:cubicBezTo>
                      <a:pt x="572475" y="2170769"/>
                      <a:pt x="575145" y="2178277"/>
                      <a:pt x="576897" y="2183615"/>
                    </a:cubicBezTo>
                    <a:cubicBezTo>
                      <a:pt x="582236" y="2203136"/>
                      <a:pt x="577814" y="2219486"/>
                      <a:pt x="572475" y="2237255"/>
                    </a:cubicBezTo>
                    <a:cubicBezTo>
                      <a:pt x="567637" y="2252771"/>
                      <a:pt x="568054" y="2272208"/>
                      <a:pt x="568471" y="2289059"/>
                    </a:cubicBezTo>
                    <a:cubicBezTo>
                      <a:pt x="568471" y="2293480"/>
                      <a:pt x="568888" y="2298402"/>
                      <a:pt x="570723" y="2302823"/>
                    </a:cubicBezTo>
                    <a:cubicBezTo>
                      <a:pt x="572475" y="2307245"/>
                      <a:pt x="575562" y="2311249"/>
                      <a:pt x="578732" y="2315253"/>
                    </a:cubicBezTo>
                    <a:cubicBezTo>
                      <a:pt x="584071" y="2322343"/>
                      <a:pt x="589828" y="2329434"/>
                      <a:pt x="597336" y="2332938"/>
                    </a:cubicBezTo>
                    <a:cubicBezTo>
                      <a:pt x="602175" y="2335191"/>
                      <a:pt x="608432" y="2336442"/>
                      <a:pt x="614189" y="2337359"/>
                    </a:cubicBezTo>
                    <a:cubicBezTo>
                      <a:pt x="638132" y="2340863"/>
                      <a:pt x="662909" y="2344867"/>
                      <a:pt x="686436" y="2340029"/>
                    </a:cubicBezTo>
                    <a:cubicBezTo>
                      <a:pt x="696197" y="2337776"/>
                      <a:pt x="705457" y="2334273"/>
                      <a:pt x="713466" y="2331186"/>
                    </a:cubicBezTo>
                    <a:cubicBezTo>
                      <a:pt x="722309" y="2327683"/>
                      <a:pt x="732488" y="2322761"/>
                      <a:pt x="739579" y="2315253"/>
                    </a:cubicBezTo>
                    <a:cubicBezTo>
                      <a:pt x="748422" y="2305076"/>
                      <a:pt x="751092" y="2289976"/>
                      <a:pt x="753761" y="2275378"/>
                    </a:cubicBezTo>
                    <a:lnTo>
                      <a:pt x="754179" y="2273626"/>
                    </a:lnTo>
                    <a:cubicBezTo>
                      <a:pt x="757266" y="2256775"/>
                      <a:pt x="761270" y="2238172"/>
                      <a:pt x="775870" y="2225826"/>
                    </a:cubicBezTo>
                    <a:cubicBezTo>
                      <a:pt x="789635" y="2214314"/>
                      <a:pt x="807322" y="2212562"/>
                      <a:pt x="823256" y="2212562"/>
                    </a:cubicBezTo>
                    <a:cubicBezTo>
                      <a:pt x="828596" y="2212562"/>
                      <a:pt x="847200" y="2211645"/>
                      <a:pt x="853791" y="2201467"/>
                    </a:cubicBezTo>
                    <a:cubicBezTo>
                      <a:pt x="856042" y="2198381"/>
                      <a:pt x="856877" y="2193959"/>
                      <a:pt x="857294" y="2189538"/>
                    </a:cubicBezTo>
                    <a:cubicBezTo>
                      <a:pt x="861299" y="2168683"/>
                      <a:pt x="865303" y="2146160"/>
                      <a:pt x="866138" y="2123553"/>
                    </a:cubicBezTo>
                    <a:cubicBezTo>
                      <a:pt x="867055" y="2099611"/>
                      <a:pt x="863885" y="2077921"/>
                      <a:pt x="857294" y="2059736"/>
                    </a:cubicBezTo>
                    <a:cubicBezTo>
                      <a:pt x="856877" y="2058818"/>
                      <a:pt x="856376" y="2057483"/>
                      <a:pt x="855959" y="2056232"/>
                    </a:cubicBezTo>
                    <a:cubicBezTo>
                      <a:pt x="853707" y="2050476"/>
                      <a:pt x="851121" y="2044303"/>
                      <a:pt x="851121" y="2037212"/>
                    </a:cubicBezTo>
                    <a:cubicBezTo>
                      <a:pt x="851121" y="2033708"/>
                      <a:pt x="851538" y="2029704"/>
                      <a:pt x="852038" y="2026118"/>
                    </a:cubicBezTo>
                    <a:cubicBezTo>
                      <a:pt x="852455" y="2023865"/>
                      <a:pt x="852455" y="2021696"/>
                      <a:pt x="852956" y="2019444"/>
                    </a:cubicBezTo>
                    <a:cubicBezTo>
                      <a:pt x="853874" y="2004345"/>
                      <a:pt x="857795" y="1989329"/>
                      <a:pt x="861382" y="1975148"/>
                    </a:cubicBezTo>
                    <a:cubicBezTo>
                      <a:pt x="865804" y="1958797"/>
                      <a:pt x="873312" y="1949871"/>
                      <a:pt x="883990" y="1949037"/>
                    </a:cubicBezTo>
                    <a:cubicBezTo>
                      <a:pt x="892834" y="1948119"/>
                      <a:pt x="899925" y="1953458"/>
                      <a:pt x="905681" y="1958797"/>
                    </a:cubicBezTo>
                    <a:cubicBezTo>
                      <a:pt x="924703" y="1976065"/>
                      <a:pt x="940638" y="1996420"/>
                      <a:pt x="953068" y="2018610"/>
                    </a:cubicBezTo>
                    <a:cubicBezTo>
                      <a:pt x="955320" y="2022113"/>
                      <a:pt x="957073" y="2026118"/>
                      <a:pt x="958824" y="2029704"/>
                    </a:cubicBezTo>
                    <a:cubicBezTo>
                      <a:pt x="968168" y="2047390"/>
                      <a:pt x="977428" y="2064658"/>
                      <a:pt x="992946" y="2073083"/>
                    </a:cubicBezTo>
                    <a:cubicBezTo>
                      <a:pt x="1003542" y="2078839"/>
                      <a:pt x="1015972" y="2079757"/>
                      <a:pt x="1028820" y="2081092"/>
                    </a:cubicBezTo>
                    <a:cubicBezTo>
                      <a:pt x="1036328" y="2082009"/>
                      <a:pt x="1043920" y="2082426"/>
                      <a:pt x="1050928" y="2084178"/>
                    </a:cubicBezTo>
                    <a:cubicBezTo>
                      <a:pt x="1060689" y="2086430"/>
                      <a:pt x="1069949" y="2089934"/>
                      <a:pt x="1078876" y="2094772"/>
                    </a:cubicBezTo>
                    <a:cubicBezTo>
                      <a:pt x="1081546" y="2096107"/>
                      <a:pt x="1083715" y="2097442"/>
                      <a:pt x="1086384" y="2099194"/>
                    </a:cubicBezTo>
                    <a:cubicBezTo>
                      <a:pt x="1090389" y="2101446"/>
                      <a:pt x="1093893" y="2104032"/>
                      <a:pt x="1097897" y="2105867"/>
                    </a:cubicBezTo>
                    <a:cubicBezTo>
                      <a:pt x="1116084" y="2113876"/>
                      <a:pt x="1136858" y="2109371"/>
                      <a:pt x="1151540" y="2104116"/>
                    </a:cubicBezTo>
                    <a:cubicBezTo>
                      <a:pt x="1162136" y="2100111"/>
                      <a:pt x="1172397" y="2094772"/>
                      <a:pt x="1182993" y="2089517"/>
                    </a:cubicBezTo>
                    <a:cubicBezTo>
                      <a:pt x="1190084" y="2086013"/>
                      <a:pt x="1197592" y="2082009"/>
                      <a:pt x="1205101" y="2078422"/>
                    </a:cubicBezTo>
                    <a:cubicBezTo>
                      <a:pt x="1209522" y="2076670"/>
                      <a:pt x="1213526" y="2074919"/>
                      <a:pt x="1217949" y="2073083"/>
                    </a:cubicBezTo>
                    <a:cubicBezTo>
                      <a:pt x="1225457" y="2069996"/>
                      <a:pt x="1232548" y="2067327"/>
                      <a:pt x="1239223" y="2063323"/>
                    </a:cubicBezTo>
                    <a:cubicBezTo>
                      <a:pt x="1257827" y="2053563"/>
                      <a:pt x="1272426" y="2038547"/>
                      <a:pt x="1285775" y="2016774"/>
                    </a:cubicBezTo>
                    <a:cubicBezTo>
                      <a:pt x="1288862" y="2011936"/>
                      <a:pt x="1291531" y="2007014"/>
                      <a:pt x="1294617" y="2002176"/>
                    </a:cubicBezTo>
                    <a:cubicBezTo>
                      <a:pt x="1306130" y="1983573"/>
                      <a:pt x="1317644" y="1964553"/>
                      <a:pt x="1326987" y="1945033"/>
                    </a:cubicBezTo>
                    <a:cubicBezTo>
                      <a:pt x="1336748" y="1924177"/>
                      <a:pt x="1342088" y="1904740"/>
                      <a:pt x="1343339" y="1886555"/>
                    </a:cubicBezTo>
                    <a:cubicBezTo>
                      <a:pt x="1343756" y="1883468"/>
                      <a:pt x="1343756" y="1880382"/>
                      <a:pt x="1343756" y="1876795"/>
                    </a:cubicBezTo>
                    <a:cubicBezTo>
                      <a:pt x="1343756" y="1875043"/>
                      <a:pt x="1343756" y="1872790"/>
                      <a:pt x="1343756" y="1871039"/>
                    </a:cubicBezTo>
                    <a:cubicBezTo>
                      <a:pt x="1343756" y="1867952"/>
                      <a:pt x="1344173" y="1865283"/>
                      <a:pt x="1344674" y="1862613"/>
                    </a:cubicBezTo>
                    <a:cubicBezTo>
                      <a:pt x="1345091" y="1861279"/>
                      <a:pt x="1345091" y="1859527"/>
                      <a:pt x="1345592" y="1858192"/>
                    </a:cubicBezTo>
                    <a:cubicBezTo>
                      <a:pt x="1346009" y="1854688"/>
                      <a:pt x="1346509" y="1850684"/>
                      <a:pt x="1346926" y="1847097"/>
                    </a:cubicBezTo>
                    <a:cubicBezTo>
                      <a:pt x="1347844" y="1840423"/>
                      <a:pt x="1348261" y="1833333"/>
                      <a:pt x="1349179" y="1826242"/>
                    </a:cubicBezTo>
                    <a:cubicBezTo>
                      <a:pt x="1349596" y="1818734"/>
                      <a:pt x="1350096" y="1810726"/>
                      <a:pt x="1346926" y="1804970"/>
                    </a:cubicBezTo>
                    <a:cubicBezTo>
                      <a:pt x="1345592" y="1802717"/>
                      <a:pt x="1343422" y="1800131"/>
                      <a:pt x="1340752" y="1797879"/>
                    </a:cubicBezTo>
                    <a:cubicBezTo>
                      <a:pt x="1336748" y="1794375"/>
                      <a:pt x="1332744" y="1790371"/>
                      <a:pt x="1328322" y="1786784"/>
                    </a:cubicBezTo>
                    <a:lnTo>
                      <a:pt x="1327905" y="1786367"/>
                    </a:lnTo>
                    <a:cubicBezTo>
                      <a:pt x="1324818" y="1783697"/>
                      <a:pt x="1321231" y="1780611"/>
                      <a:pt x="1318561" y="1776607"/>
                    </a:cubicBezTo>
                    <a:cubicBezTo>
                      <a:pt x="1314557" y="1770851"/>
                      <a:pt x="1313723" y="1764177"/>
                      <a:pt x="1315474" y="1758921"/>
                    </a:cubicBezTo>
                    <a:cubicBezTo>
                      <a:pt x="1317727" y="1752248"/>
                      <a:pt x="1323484" y="1748327"/>
                      <a:pt x="1327905" y="1745658"/>
                    </a:cubicBezTo>
                    <a:cubicBezTo>
                      <a:pt x="1330158" y="1744323"/>
                      <a:pt x="1332327" y="1742988"/>
                      <a:pt x="1333661" y="1741236"/>
                    </a:cubicBezTo>
                    <a:cubicBezTo>
                      <a:pt x="1334996" y="1739485"/>
                      <a:pt x="1336331" y="1737232"/>
                      <a:pt x="1337666" y="1734563"/>
                    </a:cubicBezTo>
                    <a:cubicBezTo>
                      <a:pt x="1339418" y="1731059"/>
                      <a:pt x="1341671" y="1727055"/>
                      <a:pt x="1345175" y="1723468"/>
                    </a:cubicBezTo>
                    <a:cubicBezTo>
                      <a:pt x="1347844" y="1721215"/>
                      <a:pt x="1350513" y="1719964"/>
                      <a:pt x="1352683" y="1718629"/>
                    </a:cubicBezTo>
                    <a:cubicBezTo>
                      <a:pt x="1354435" y="1717712"/>
                      <a:pt x="1356186" y="1716878"/>
                      <a:pt x="1357522" y="1715543"/>
                    </a:cubicBezTo>
                    <a:cubicBezTo>
                      <a:pt x="1358439" y="1714625"/>
                      <a:pt x="1359273" y="1713290"/>
                      <a:pt x="1360191" y="1711539"/>
                    </a:cubicBezTo>
                    <a:cubicBezTo>
                      <a:pt x="1361943" y="1708035"/>
                      <a:pt x="1364613" y="1704031"/>
                      <a:pt x="1369034" y="1701361"/>
                    </a:cubicBezTo>
                    <a:cubicBezTo>
                      <a:pt x="1376543" y="1697858"/>
                      <a:pt x="1387221" y="1700444"/>
                      <a:pt x="1389391" y="1701361"/>
                    </a:cubicBezTo>
                    <a:cubicBezTo>
                      <a:pt x="1391643" y="1702279"/>
                      <a:pt x="1393395" y="1702696"/>
                      <a:pt x="1395564" y="1703614"/>
                    </a:cubicBezTo>
                    <a:cubicBezTo>
                      <a:pt x="1398234" y="1704531"/>
                      <a:pt x="1400403" y="1705365"/>
                      <a:pt x="1402655" y="1705866"/>
                    </a:cubicBezTo>
                    <a:cubicBezTo>
                      <a:pt x="1407494" y="1706784"/>
                      <a:pt x="1412833" y="1706283"/>
                      <a:pt x="1418173" y="1705866"/>
                    </a:cubicBezTo>
                    <a:cubicBezTo>
                      <a:pt x="1420842" y="1705866"/>
                      <a:pt x="1423512" y="1705449"/>
                      <a:pt x="1426182" y="1705449"/>
                    </a:cubicBezTo>
                    <a:cubicBezTo>
                      <a:pt x="1439447" y="1705032"/>
                      <a:pt x="1449624" y="1709453"/>
                      <a:pt x="1455381" y="1717378"/>
                    </a:cubicBezTo>
                    <a:cubicBezTo>
                      <a:pt x="1457634" y="1720882"/>
                      <a:pt x="1458885" y="1724469"/>
                      <a:pt x="1459803" y="1727972"/>
                    </a:cubicBezTo>
                    <a:cubicBezTo>
                      <a:pt x="1460721" y="1730642"/>
                      <a:pt x="1461138" y="1732811"/>
                      <a:pt x="1462055" y="1734646"/>
                    </a:cubicBezTo>
                    <a:cubicBezTo>
                      <a:pt x="1466060" y="1741320"/>
                      <a:pt x="1477155" y="1741320"/>
                      <a:pt x="1481995" y="1740819"/>
                    </a:cubicBezTo>
                    <a:lnTo>
                      <a:pt x="1484247" y="1740819"/>
                    </a:lnTo>
                    <a:cubicBezTo>
                      <a:pt x="1490003" y="1740402"/>
                      <a:pt x="1497095" y="1739902"/>
                      <a:pt x="1503769" y="1743071"/>
                    </a:cubicBezTo>
                    <a:cubicBezTo>
                      <a:pt x="1507773" y="1744823"/>
                      <a:pt x="1510860" y="1747910"/>
                      <a:pt x="1513530" y="1750579"/>
                    </a:cubicBezTo>
                    <a:lnTo>
                      <a:pt x="1514447" y="1751497"/>
                    </a:lnTo>
                    <a:cubicBezTo>
                      <a:pt x="1518869" y="1755501"/>
                      <a:pt x="1524625" y="1760840"/>
                      <a:pt x="1530382" y="1763426"/>
                    </a:cubicBezTo>
                    <a:cubicBezTo>
                      <a:pt x="1531300" y="1763843"/>
                      <a:pt x="1532134" y="1764344"/>
                      <a:pt x="1533051" y="1764761"/>
                    </a:cubicBezTo>
                    <a:cubicBezTo>
                      <a:pt x="1534804" y="1765679"/>
                      <a:pt x="1539725" y="1768265"/>
                      <a:pt x="1541478" y="1768265"/>
                    </a:cubicBezTo>
                    <a:lnTo>
                      <a:pt x="1541478" y="1768265"/>
                    </a:lnTo>
                    <a:cubicBezTo>
                      <a:pt x="1541895" y="1768265"/>
                      <a:pt x="1543229" y="1766513"/>
                      <a:pt x="1544148" y="1765595"/>
                    </a:cubicBezTo>
                    <a:cubicBezTo>
                      <a:pt x="1545899" y="1763843"/>
                      <a:pt x="1548152" y="1761174"/>
                      <a:pt x="1551656" y="1759839"/>
                    </a:cubicBezTo>
                    <a:cubicBezTo>
                      <a:pt x="1560499" y="1755835"/>
                      <a:pt x="1570260" y="1760757"/>
                      <a:pt x="1575099" y="1767848"/>
                    </a:cubicBezTo>
                    <a:cubicBezTo>
                      <a:pt x="1577351" y="1770934"/>
                      <a:pt x="1578603" y="1774021"/>
                      <a:pt x="1579937" y="1776690"/>
                    </a:cubicBezTo>
                    <a:cubicBezTo>
                      <a:pt x="1580855" y="1778942"/>
                      <a:pt x="1582190" y="1781111"/>
                      <a:pt x="1583441" y="1782863"/>
                    </a:cubicBezTo>
                    <a:cubicBezTo>
                      <a:pt x="1586528" y="1787701"/>
                      <a:pt x="1592284" y="1791289"/>
                      <a:pt x="1597624" y="1794792"/>
                    </a:cubicBezTo>
                    <a:lnTo>
                      <a:pt x="1611389" y="1803635"/>
                    </a:lnTo>
                    <a:cubicBezTo>
                      <a:pt x="1615394" y="1806304"/>
                      <a:pt x="1619815" y="1808974"/>
                      <a:pt x="1623820" y="1812978"/>
                    </a:cubicBezTo>
                    <a:cubicBezTo>
                      <a:pt x="1625155" y="1814313"/>
                      <a:pt x="1626489" y="1816064"/>
                      <a:pt x="1627825" y="1817399"/>
                    </a:cubicBezTo>
                    <a:cubicBezTo>
                      <a:pt x="1628742" y="1818317"/>
                      <a:pt x="1629576" y="1819652"/>
                      <a:pt x="1630494" y="1820486"/>
                    </a:cubicBezTo>
                    <a:cubicBezTo>
                      <a:pt x="1635833" y="1826242"/>
                      <a:pt x="1643342" y="1830246"/>
                      <a:pt x="1650850" y="1833750"/>
                    </a:cubicBezTo>
                    <a:cubicBezTo>
                      <a:pt x="1665951" y="1840840"/>
                      <a:pt x="1683220" y="1848348"/>
                      <a:pt x="1701323" y="1849266"/>
                    </a:cubicBezTo>
                    <a:cubicBezTo>
                      <a:pt x="1704410" y="1849266"/>
                      <a:pt x="1706162" y="1849266"/>
                      <a:pt x="1707080" y="1848348"/>
                    </a:cubicBezTo>
                    <a:cubicBezTo>
                      <a:pt x="1708415" y="1847431"/>
                      <a:pt x="1708832" y="1843009"/>
                      <a:pt x="1708832" y="1841675"/>
                    </a:cubicBezTo>
                    <a:cubicBezTo>
                      <a:pt x="1709750" y="1829746"/>
                      <a:pt x="1709750" y="1818651"/>
                      <a:pt x="1709249" y="1809307"/>
                    </a:cubicBezTo>
                    <a:cubicBezTo>
                      <a:pt x="1709249" y="1806638"/>
                      <a:pt x="1708331" y="1803968"/>
                      <a:pt x="1707914" y="1801299"/>
                    </a:cubicBezTo>
                    <a:cubicBezTo>
                      <a:pt x="1706579" y="1793291"/>
                      <a:pt x="1704827" y="1784448"/>
                      <a:pt x="1709666" y="1775188"/>
                    </a:cubicBezTo>
                    <a:cubicBezTo>
                      <a:pt x="1713670" y="1767180"/>
                      <a:pt x="1721179" y="1762759"/>
                      <a:pt x="1727353" y="1759255"/>
                    </a:cubicBezTo>
                    <a:cubicBezTo>
                      <a:pt x="1729605" y="1757920"/>
                      <a:pt x="1731774" y="1756586"/>
                      <a:pt x="1733527" y="1755251"/>
                    </a:cubicBezTo>
                    <a:cubicBezTo>
                      <a:pt x="1742870" y="1748577"/>
                      <a:pt x="1749461" y="1737983"/>
                      <a:pt x="1753465" y="1724219"/>
                    </a:cubicBezTo>
                    <a:cubicBezTo>
                      <a:pt x="1756969" y="1711372"/>
                      <a:pt x="1757469" y="1697607"/>
                      <a:pt x="1757469" y="1684344"/>
                    </a:cubicBezTo>
                    <a:lnTo>
                      <a:pt x="1757469" y="1683926"/>
                    </a:lnTo>
                    <a:cubicBezTo>
                      <a:pt x="1757469" y="1674166"/>
                      <a:pt x="1757469" y="1662654"/>
                      <a:pt x="1763226" y="1653394"/>
                    </a:cubicBezTo>
                    <a:cubicBezTo>
                      <a:pt x="1764978" y="1650308"/>
                      <a:pt x="1767231" y="1647639"/>
                      <a:pt x="1769400" y="1645386"/>
                    </a:cubicBezTo>
                    <a:cubicBezTo>
                      <a:pt x="1770735" y="1644051"/>
                      <a:pt x="1771652" y="1642717"/>
                      <a:pt x="1772903" y="1641382"/>
                    </a:cubicBezTo>
                    <a:cubicBezTo>
                      <a:pt x="1777743" y="1634708"/>
                      <a:pt x="1779995" y="1626283"/>
                      <a:pt x="1782664" y="1617440"/>
                    </a:cubicBezTo>
                    <a:cubicBezTo>
                      <a:pt x="1784917" y="1609015"/>
                      <a:pt x="1787503" y="1600589"/>
                      <a:pt x="1792008" y="1592664"/>
                    </a:cubicBezTo>
                    <a:cubicBezTo>
                      <a:pt x="1800017" y="1579818"/>
                      <a:pt x="1812365" y="1571392"/>
                      <a:pt x="1824795" y="1564301"/>
                    </a:cubicBezTo>
                    <a:cubicBezTo>
                      <a:pt x="1848739" y="1550537"/>
                      <a:pt x="1870013" y="1542612"/>
                      <a:pt x="1890369" y="1539525"/>
                    </a:cubicBezTo>
                    <a:cubicBezTo>
                      <a:pt x="1892621" y="1539108"/>
                      <a:pt x="1894790" y="1538608"/>
                      <a:pt x="1897460" y="1538608"/>
                    </a:cubicBezTo>
                    <a:cubicBezTo>
                      <a:pt x="1904134" y="1537690"/>
                      <a:pt x="1909890" y="1536856"/>
                      <a:pt x="1915647" y="1535104"/>
                    </a:cubicBezTo>
                    <a:cubicBezTo>
                      <a:pt x="1919651" y="1533770"/>
                      <a:pt x="1923156" y="1531600"/>
                      <a:pt x="1927160" y="1529348"/>
                    </a:cubicBezTo>
                    <a:cubicBezTo>
                      <a:pt x="1929413" y="1528014"/>
                      <a:pt x="1931581" y="1526679"/>
                      <a:pt x="1934251" y="1525344"/>
                    </a:cubicBezTo>
                    <a:cubicBezTo>
                      <a:pt x="1950185" y="1516919"/>
                      <a:pt x="1970125" y="1512080"/>
                      <a:pt x="1988312" y="1511580"/>
                    </a:cubicBezTo>
                    <a:cubicBezTo>
                      <a:pt x="1989647" y="1511580"/>
                      <a:pt x="1990981" y="1511580"/>
                      <a:pt x="1992316" y="1511580"/>
                    </a:cubicBezTo>
                    <a:cubicBezTo>
                      <a:pt x="1997155" y="1511580"/>
                      <a:pt x="2002077" y="1511580"/>
                      <a:pt x="2005581" y="1509828"/>
                    </a:cubicBezTo>
                    <a:cubicBezTo>
                      <a:pt x="2007834" y="1508910"/>
                      <a:pt x="2010003" y="1507158"/>
                      <a:pt x="2012255" y="1505407"/>
                    </a:cubicBezTo>
                    <a:cubicBezTo>
                      <a:pt x="2015342" y="1502737"/>
                      <a:pt x="2019347" y="1500068"/>
                      <a:pt x="2023768" y="1498316"/>
                    </a:cubicBezTo>
                    <a:cubicBezTo>
                      <a:pt x="2029108" y="1496564"/>
                      <a:pt x="2034363" y="1496981"/>
                      <a:pt x="2039286" y="1496981"/>
                    </a:cubicBezTo>
                    <a:cubicBezTo>
                      <a:pt x="2043290" y="1496981"/>
                      <a:pt x="2047295" y="1497398"/>
                      <a:pt x="2049880" y="1496063"/>
                    </a:cubicBezTo>
                    <a:cubicBezTo>
                      <a:pt x="2050799" y="1495646"/>
                      <a:pt x="2051216" y="1495146"/>
                      <a:pt x="2051216" y="1495146"/>
                    </a:cubicBezTo>
                    <a:cubicBezTo>
                      <a:pt x="2051216" y="1495146"/>
                      <a:pt x="2051216" y="1494228"/>
                      <a:pt x="2050799" y="1492893"/>
                    </a:cubicBezTo>
                    <a:cubicBezTo>
                      <a:pt x="2049046" y="1487138"/>
                      <a:pt x="2043707" y="1483133"/>
                      <a:pt x="2037533" y="1478712"/>
                    </a:cubicBezTo>
                    <a:cubicBezTo>
                      <a:pt x="2032695" y="1475208"/>
                      <a:pt x="2027772" y="1471204"/>
                      <a:pt x="2023768" y="1465865"/>
                    </a:cubicBezTo>
                    <a:cubicBezTo>
                      <a:pt x="2016260" y="1456105"/>
                      <a:pt x="2014424" y="1443258"/>
                      <a:pt x="2012672" y="1433081"/>
                    </a:cubicBezTo>
                    <a:cubicBezTo>
                      <a:pt x="2011338" y="1425073"/>
                      <a:pt x="2010003" y="1414895"/>
                      <a:pt x="2013090" y="1405636"/>
                    </a:cubicBezTo>
                    <a:cubicBezTo>
                      <a:pt x="2015759" y="1396292"/>
                      <a:pt x="2021932" y="1389285"/>
                      <a:pt x="2027689" y="1383529"/>
                    </a:cubicBezTo>
                    <a:cubicBezTo>
                      <a:pt x="2031694" y="1379108"/>
                      <a:pt x="2036532" y="1374186"/>
                      <a:pt x="2042289" y="1371100"/>
                    </a:cubicBezTo>
                    <a:cubicBezTo>
                      <a:pt x="2049380" y="1367095"/>
                      <a:pt x="2056889" y="1366261"/>
                      <a:pt x="2063980" y="1365344"/>
                    </a:cubicBezTo>
                    <a:cubicBezTo>
                      <a:pt x="2068401" y="1364926"/>
                      <a:pt x="2072406" y="1364426"/>
                      <a:pt x="2075910" y="1363091"/>
                    </a:cubicBezTo>
                    <a:cubicBezTo>
                      <a:pt x="2082084" y="1361339"/>
                      <a:pt x="2087840" y="1357752"/>
                      <a:pt x="2093179" y="1351996"/>
                    </a:cubicBezTo>
                    <a:cubicBezTo>
                      <a:pt x="2100271" y="1344488"/>
                      <a:pt x="2110032" y="1343154"/>
                      <a:pt x="2117957" y="1342653"/>
                    </a:cubicBezTo>
                    <a:cubicBezTo>
                      <a:pt x="2124631" y="1342236"/>
                      <a:pt x="2131222" y="1343070"/>
                      <a:pt x="2137896" y="1343988"/>
                    </a:cubicBezTo>
                    <a:cubicBezTo>
                      <a:pt x="2147657" y="1344906"/>
                      <a:pt x="2156918" y="1346240"/>
                      <a:pt x="2165344" y="1343571"/>
                    </a:cubicBezTo>
                    <a:cubicBezTo>
                      <a:pt x="2168013" y="1342653"/>
                      <a:pt x="2170182" y="1341819"/>
                      <a:pt x="2172852" y="1340484"/>
                    </a:cubicBezTo>
                    <a:cubicBezTo>
                      <a:pt x="2175105" y="1339149"/>
                      <a:pt x="2177691" y="1338232"/>
                      <a:pt x="2180360" y="1337398"/>
                    </a:cubicBezTo>
                    <a:cubicBezTo>
                      <a:pt x="2198547" y="1330724"/>
                      <a:pt x="2218487" y="1335646"/>
                      <a:pt x="2234004" y="1339650"/>
                    </a:cubicBezTo>
                    <a:cubicBezTo>
                      <a:pt x="2245516" y="1342737"/>
                      <a:pt x="2258364" y="1345823"/>
                      <a:pt x="2269460" y="1352914"/>
                    </a:cubicBezTo>
                    <a:cubicBezTo>
                      <a:pt x="2272130" y="1354666"/>
                      <a:pt x="2274800" y="1356918"/>
                      <a:pt x="2277470" y="1358670"/>
                    </a:cubicBezTo>
                    <a:cubicBezTo>
                      <a:pt x="2280973" y="1361339"/>
                      <a:pt x="2283643" y="1363508"/>
                      <a:pt x="2287230" y="1365344"/>
                    </a:cubicBezTo>
                    <a:cubicBezTo>
                      <a:pt x="2296991" y="1370682"/>
                      <a:pt x="2310256" y="1370682"/>
                      <a:pt x="2326691" y="1366261"/>
                    </a:cubicBezTo>
                    <a:cubicBezTo>
                      <a:pt x="2332447" y="1364509"/>
                      <a:pt x="2337787" y="1362757"/>
                      <a:pt x="2343960" y="1360505"/>
                    </a:cubicBezTo>
                    <a:cubicBezTo>
                      <a:pt x="2352387" y="1357419"/>
                      <a:pt x="2361647" y="1353832"/>
                      <a:pt x="2370991" y="1352080"/>
                    </a:cubicBezTo>
                    <a:cubicBezTo>
                      <a:pt x="2378082" y="1350745"/>
                      <a:pt x="2385590" y="1349827"/>
                      <a:pt x="2393099" y="1349410"/>
                    </a:cubicBezTo>
                    <a:cubicBezTo>
                      <a:pt x="2404194" y="1348492"/>
                      <a:pt x="2414790" y="1347658"/>
                      <a:pt x="2424551" y="1343654"/>
                    </a:cubicBezTo>
                    <a:cubicBezTo>
                      <a:pt x="2426303" y="1343237"/>
                      <a:pt x="2427638" y="1342319"/>
                      <a:pt x="2428972" y="1341402"/>
                    </a:cubicBezTo>
                    <a:cubicBezTo>
                      <a:pt x="2434312" y="1338732"/>
                      <a:pt x="2440485" y="1336063"/>
                      <a:pt x="2447576" y="1336063"/>
                    </a:cubicBezTo>
                    <a:lnTo>
                      <a:pt x="2447576" y="1336063"/>
                    </a:lnTo>
                    <a:cubicBezTo>
                      <a:pt x="2453750" y="1336063"/>
                      <a:pt x="2459089" y="1338315"/>
                      <a:pt x="2463929" y="1340484"/>
                    </a:cubicBezTo>
                    <a:cubicBezTo>
                      <a:pt x="2467432" y="1341819"/>
                      <a:pt x="2471020" y="1343571"/>
                      <a:pt x="2474106" y="1343571"/>
                    </a:cubicBezTo>
                    <a:cubicBezTo>
                      <a:pt x="2481614" y="1343988"/>
                      <a:pt x="2488706" y="1338232"/>
                      <a:pt x="2492711" y="1331642"/>
                    </a:cubicBezTo>
                    <a:cubicBezTo>
                      <a:pt x="2497132" y="1323633"/>
                      <a:pt x="2498884" y="1313956"/>
                      <a:pt x="2500219" y="1304196"/>
                    </a:cubicBezTo>
                    <a:cubicBezTo>
                      <a:pt x="2503722" y="1279838"/>
                      <a:pt x="2507728" y="1251892"/>
                      <a:pt x="2501137" y="1226699"/>
                    </a:cubicBezTo>
                    <a:cubicBezTo>
                      <a:pt x="2500719" y="1224446"/>
                      <a:pt x="2499802" y="1222277"/>
                      <a:pt x="2499385" y="1219608"/>
                    </a:cubicBezTo>
                    <a:cubicBezTo>
                      <a:pt x="2498050" y="1214770"/>
                      <a:pt x="2496298" y="1209431"/>
                      <a:pt x="2495380" y="1204092"/>
                    </a:cubicBezTo>
                    <a:cubicBezTo>
                      <a:pt x="2494045" y="1196083"/>
                      <a:pt x="2494963" y="1188158"/>
                      <a:pt x="2495380" y="1180650"/>
                    </a:cubicBezTo>
                    <a:cubicBezTo>
                      <a:pt x="2495797" y="1175812"/>
                      <a:pt x="2496298" y="1171307"/>
                      <a:pt x="2495797" y="1166886"/>
                    </a:cubicBezTo>
                    <a:cubicBezTo>
                      <a:pt x="2495797" y="1162465"/>
                      <a:pt x="2494880" y="1146949"/>
                      <a:pt x="2484701" y="1141610"/>
                    </a:cubicBezTo>
                    <a:cubicBezTo>
                      <a:pt x="2481197" y="1139858"/>
                      <a:pt x="2477193" y="1138940"/>
                      <a:pt x="2472771" y="1138523"/>
                    </a:cubicBezTo>
                    <a:cubicBezTo>
                      <a:pt x="2454585" y="1135854"/>
                      <a:pt x="2435981" y="1135437"/>
                      <a:pt x="2417877" y="1136771"/>
                    </a:cubicBezTo>
                    <a:cubicBezTo>
                      <a:pt x="2414790" y="1136771"/>
                      <a:pt x="2411703" y="1137188"/>
                      <a:pt x="2409033" y="1137689"/>
                    </a:cubicBezTo>
                    <a:cubicBezTo>
                      <a:pt x="2392181" y="1139024"/>
                      <a:pt x="2374912" y="1140775"/>
                      <a:pt x="2358060" y="1134602"/>
                    </a:cubicBezTo>
                    <a:cubicBezTo>
                      <a:pt x="2355390" y="1133685"/>
                      <a:pt x="2351886" y="1131933"/>
                      <a:pt x="2349217" y="1128429"/>
                    </a:cubicBezTo>
                    <a:cubicBezTo>
                      <a:pt x="2346964" y="1125343"/>
                      <a:pt x="2346130" y="1120921"/>
                      <a:pt x="2346547" y="1116000"/>
                    </a:cubicBezTo>
                    <a:cubicBezTo>
                      <a:pt x="2347464" y="1107574"/>
                      <a:pt x="2351886" y="1099149"/>
                      <a:pt x="2359394" y="1091641"/>
                    </a:cubicBezTo>
                    <a:lnTo>
                      <a:pt x="2360312" y="1090723"/>
                    </a:lnTo>
                    <a:cubicBezTo>
                      <a:pt x="2366068" y="1084550"/>
                      <a:pt x="2375829" y="1074790"/>
                      <a:pt x="2385590" y="1077876"/>
                    </a:cubicBezTo>
                    <a:cubicBezTo>
                      <a:pt x="2398021" y="1081881"/>
                      <a:pt x="2405113" y="1087637"/>
                      <a:pt x="2413956" y="1096479"/>
                    </a:cubicBezTo>
                    <a:cubicBezTo>
                      <a:pt x="2423717" y="1106239"/>
                      <a:pt x="2435229" y="1107574"/>
                      <a:pt x="2443655" y="1107074"/>
                    </a:cubicBezTo>
                    <a:cubicBezTo>
                      <a:pt x="2447660" y="1106657"/>
                      <a:pt x="2451665" y="1107074"/>
                      <a:pt x="2454752" y="1107074"/>
                    </a:cubicBezTo>
                    <a:cubicBezTo>
                      <a:pt x="2462260" y="1107074"/>
                      <a:pt x="2468016" y="1107074"/>
                      <a:pt x="2474273" y="1103987"/>
                    </a:cubicBezTo>
                    <a:cubicBezTo>
                      <a:pt x="2480447" y="1100483"/>
                      <a:pt x="2486704" y="1100483"/>
                      <a:pt x="2492460" y="1099983"/>
                    </a:cubicBezTo>
                    <a:lnTo>
                      <a:pt x="2493378" y="1099983"/>
                    </a:lnTo>
                    <a:cubicBezTo>
                      <a:pt x="2502722" y="1099566"/>
                      <a:pt x="2510230" y="1103987"/>
                      <a:pt x="2516821" y="1108408"/>
                    </a:cubicBezTo>
                    <a:cubicBezTo>
                      <a:pt x="2517739" y="1109326"/>
                      <a:pt x="2519073" y="1109743"/>
                      <a:pt x="2520325" y="1110661"/>
                    </a:cubicBezTo>
                    <a:cubicBezTo>
                      <a:pt x="2540264" y="1122590"/>
                      <a:pt x="2569964" y="1097397"/>
                      <a:pt x="2584146" y="1078794"/>
                    </a:cubicBezTo>
                    <a:cubicBezTo>
                      <a:pt x="2587233" y="1074790"/>
                      <a:pt x="2589903" y="1070786"/>
                      <a:pt x="2592572" y="1066364"/>
                    </a:cubicBezTo>
                    <a:cubicBezTo>
                      <a:pt x="2598329" y="1057522"/>
                      <a:pt x="2604086" y="1048179"/>
                      <a:pt x="2612929" y="1041088"/>
                    </a:cubicBezTo>
                    <a:cubicBezTo>
                      <a:pt x="2614680" y="1039753"/>
                      <a:pt x="2616433" y="1038001"/>
                      <a:pt x="2617767" y="1036667"/>
                    </a:cubicBezTo>
                    <a:cubicBezTo>
                      <a:pt x="2627945" y="1028241"/>
                      <a:pt x="2634119" y="1022902"/>
                      <a:pt x="2633702" y="1010556"/>
                    </a:cubicBezTo>
                    <a:cubicBezTo>
                      <a:pt x="2633285" y="991536"/>
                      <a:pt x="2635037" y="976437"/>
                      <a:pt x="2639875" y="956917"/>
                    </a:cubicBezTo>
                    <a:cubicBezTo>
                      <a:pt x="2650053" y="916124"/>
                      <a:pt x="2648302" y="871828"/>
                      <a:pt x="2634536" y="832036"/>
                    </a:cubicBezTo>
                    <a:cubicBezTo>
                      <a:pt x="2633201" y="827615"/>
                      <a:pt x="2631449" y="823194"/>
                      <a:pt x="2628363" y="820107"/>
                    </a:cubicBezTo>
                    <a:cubicBezTo>
                      <a:pt x="2625276" y="817021"/>
                      <a:pt x="2620354" y="814768"/>
                      <a:pt x="2615514" y="812599"/>
                    </a:cubicBezTo>
                    <a:cubicBezTo>
                      <a:pt x="2609341" y="809930"/>
                      <a:pt x="2602667" y="806843"/>
                      <a:pt x="2597829" y="801087"/>
                    </a:cubicBezTo>
                    <a:cubicBezTo>
                      <a:pt x="2589819" y="791744"/>
                      <a:pt x="2589819" y="782901"/>
                      <a:pt x="2591655" y="777145"/>
                    </a:cubicBezTo>
                    <a:cubicBezTo>
                      <a:pt x="2595159" y="764299"/>
                      <a:pt x="2608006" y="755039"/>
                      <a:pt x="2619603" y="751035"/>
                    </a:cubicBezTo>
                    <a:cubicBezTo>
                      <a:pt x="2640877" y="743944"/>
                      <a:pt x="2665237" y="751035"/>
                      <a:pt x="2679837" y="759460"/>
                    </a:cubicBezTo>
                    <a:lnTo>
                      <a:pt x="2682507" y="760795"/>
                    </a:lnTo>
                    <a:cubicBezTo>
                      <a:pt x="2687345" y="763465"/>
                      <a:pt x="2692267" y="766551"/>
                      <a:pt x="2695771" y="765633"/>
                    </a:cubicBezTo>
                    <a:cubicBezTo>
                      <a:pt x="2697524" y="765216"/>
                      <a:pt x="2699275" y="763882"/>
                      <a:pt x="2701528" y="762547"/>
                    </a:cubicBezTo>
                    <a:lnTo>
                      <a:pt x="2702863" y="761629"/>
                    </a:lnTo>
                    <a:cubicBezTo>
                      <a:pt x="2724136" y="748365"/>
                      <a:pt x="2752501" y="747031"/>
                      <a:pt x="2775111" y="758126"/>
                    </a:cubicBezTo>
                    <a:lnTo>
                      <a:pt x="2776862" y="759043"/>
                    </a:lnTo>
                    <a:cubicBezTo>
                      <a:pt x="2779532" y="760378"/>
                      <a:pt x="2781701" y="761713"/>
                      <a:pt x="2783954" y="761713"/>
                    </a:cubicBezTo>
                    <a:cubicBezTo>
                      <a:pt x="2787458" y="762130"/>
                      <a:pt x="2791462" y="760378"/>
                      <a:pt x="2795883" y="758209"/>
                    </a:cubicBezTo>
                    <a:cubicBezTo>
                      <a:pt x="2801640" y="755540"/>
                      <a:pt x="2807813" y="752870"/>
                      <a:pt x="2814905" y="753788"/>
                    </a:cubicBezTo>
                    <a:cubicBezTo>
                      <a:pt x="2817574" y="747114"/>
                      <a:pt x="2821996" y="740524"/>
                      <a:pt x="2826835" y="734267"/>
                    </a:cubicBezTo>
                    <a:cubicBezTo>
                      <a:pt x="2840100" y="716999"/>
                      <a:pt x="2859622" y="698397"/>
                      <a:pt x="2880479" y="683297"/>
                    </a:cubicBezTo>
                    <a:cubicBezTo>
                      <a:pt x="2882731" y="681963"/>
                      <a:pt x="2884900" y="680211"/>
                      <a:pt x="2887570" y="678876"/>
                    </a:cubicBezTo>
                    <a:cubicBezTo>
                      <a:pt x="2892408" y="675790"/>
                      <a:pt x="2897331" y="672703"/>
                      <a:pt x="2899500" y="669116"/>
                    </a:cubicBezTo>
                    <a:cubicBezTo>
                      <a:pt x="2900834" y="666446"/>
                      <a:pt x="2900834" y="663777"/>
                      <a:pt x="2900417" y="659356"/>
                    </a:cubicBezTo>
                    <a:cubicBezTo>
                      <a:pt x="2900417" y="654517"/>
                      <a:pt x="2900000" y="648761"/>
                      <a:pt x="2902670" y="643422"/>
                    </a:cubicBezTo>
                    <a:cubicBezTo>
                      <a:pt x="2911096" y="625737"/>
                      <a:pt x="2928365" y="628323"/>
                      <a:pt x="2940296" y="630576"/>
                    </a:cubicBezTo>
                    <a:cubicBezTo>
                      <a:pt x="2950473" y="632327"/>
                      <a:pt x="2955813" y="632828"/>
                      <a:pt x="2958483" y="629241"/>
                    </a:cubicBezTo>
                    <a:cubicBezTo>
                      <a:pt x="2960735" y="625737"/>
                      <a:pt x="2958900" y="619481"/>
                      <a:pt x="2957147" y="613308"/>
                    </a:cubicBezTo>
                    <a:cubicBezTo>
                      <a:pt x="2955813" y="608469"/>
                      <a:pt x="2954478" y="603964"/>
                      <a:pt x="2954478" y="599543"/>
                    </a:cubicBezTo>
                    <a:cubicBezTo>
                      <a:pt x="2954061" y="590701"/>
                      <a:pt x="2956730" y="583610"/>
                      <a:pt x="2959317" y="576936"/>
                    </a:cubicBezTo>
                    <a:cubicBezTo>
                      <a:pt x="2960234" y="574684"/>
                      <a:pt x="2961069" y="572515"/>
                      <a:pt x="2961987" y="569846"/>
                    </a:cubicBezTo>
                    <a:cubicBezTo>
                      <a:pt x="2962404" y="567593"/>
                      <a:pt x="2964239" y="564090"/>
                      <a:pt x="2965991" y="559668"/>
                    </a:cubicBezTo>
                    <a:cubicBezTo>
                      <a:pt x="2968244" y="554830"/>
                      <a:pt x="2972665" y="545070"/>
                      <a:pt x="2972665" y="541983"/>
                    </a:cubicBezTo>
                    <a:cubicBezTo>
                      <a:pt x="2972248" y="538896"/>
                      <a:pt x="2970913" y="537562"/>
                      <a:pt x="2968661" y="535810"/>
                    </a:cubicBezTo>
                    <a:cubicBezTo>
                      <a:pt x="2960651" y="531806"/>
                      <a:pt x="2954061" y="526967"/>
                      <a:pt x="2947387" y="522045"/>
                    </a:cubicBezTo>
                    <a:cubicBezTo>
                      <a:pt x="2937959" y="514538"/>
                      <a:pt x="2928699" y="507864"/>
                      <a:pt x="2921108" y="49902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9579009" name="Полилиния 514"/>
              <p:cNvSpPr/>
              <p:nvPr/>
            </p:nvSpPr>
            <p:spPr bwMode="auto">
              <a:xfrm>
                <a:off x="9221632" y="375825"/>
                <a:ext cx="1396987" cy="1779918"/>
              </a:xfrm>
              <a:custGeom>
                <a:avLst/>
                <a:gdLst>
                  <a:gd name="connsiteX0" fmla="*/ 1549403 w 1568863"/>
                  <a:gd name="connsiteY0" fmla="*/ 908541 h 1998907"/>
                  <a:gd name="connsiteX1" fmla="*/ 1537891 w 1568863"/>
                  <a:gd name="connsiteY1" fmla="*/ 888186 h 1998907"/>
                  <a:gd name="connsiteX2" fmla="*/ 1519703 w 1568863"/>
                  <a:gd name="connsiteY2" fmla="*/ 869583 h 1998907"/>
                  <a:gd name="connsiteX3" fmla="*/ 1477656 w 1568863"/>
                  <a:gd name="connsiteY3" fmla="*/ 879761 h 1998907"/>
                  <a:gd name="connsiteX4" fmla="*/ 1461304 w 1568863"/>
                  <a:gd name="connsiteY4" fmla="*/ 869166 h 1998907"/>
                  <a:gd name="connsiteX5" fmla="*/ 1430270 w 1568863"/>
                  <a:gd name="connsiteY5" fmla="*/ 869166 h 1998907"/>
                  <a:gd name="connsiteX6" fmla="*/ 1381548 w 1568863"/>
                  <a:gd name="connsiteY6" fmla="*/ 897529 h 1998907"/>
                  <a:gd name="connsiteX7" fmla="*/ 1363862 w 1568863"/>
                  <a:gd name="connsiteY7" fmla="*/ 889521 h 1998907"/>
                  <a:gd name="connsiteX8" fmla="*/ 1356770 w 1568863"/>
                  <a:gd name="connsiteY8" fmla="*/ 907707 h 1998907"/>
                  <a:gd name="connsiteX9" fmla="*/ 1329324 w 1568863"/>
                  <a:gd name="connsiteY9" fmla="*/ 878009 h 1998907"/>
                  <a:gd name="connsiteX10" fmla="*/ 1279685 w 1568863"/>
                  <a:gd name="connsiteY10" fmla="*/ 880678 h 1998907"/>
                  <a:gd name="connsiteX11" fmla="*/ 1235802 w 1568863"/>
                  <a:gd name="connsiteY11" fmla="*/ 889104 h 1998907"/>
                  <a:gd name="connsiteX12" fmla="*/ 1238889 w 1568863"/>
                  <a:gd name="connsiteY12" fmla="*/ 908624 h 1998907"/>
                  <a:gd name="connsiteX13" fmla="*/ 1218949 w 1568863"/>
                  <a:gd name="connsiteY13" fmla="*/ 924975 h 1998907"/>
                  <a:gd name="connsiteX14" fmla="*/ 1168893 w 1568863"/>
                  <a:gd name="connsiteY14" fmla="*/ 939573 h 1998907"/>
                  <a:gd name="connsiteX15" fmla="*/ 1135189 w 1568863"/>
                  <a:gd name="connsiteY15" fmla="*/ 988291 h 1998907"/>
                  <a:gd name="connsiteX16" fmla="*/ 1123259 w 1568863"/>
                  <a:gd name="connsiteY16" fmla="*/ 995381 h 1998907"/>
                  <a:gd name="connsiteX17" fmla="*/ 1112664 w 1568863"/>
                  <a:gd name="connsiteY17" fmla="*/ 993129 h 1998907"/>
                  <a:gd name="connsiteX18" fmla="*/ 1097146 w 1568863"/>
                  <a:gd name="connsiteY18" fmla="*/ 999803 h 1998907"/>
                  <a:gd name="connsiteX19" fmla="*/ 1101568 w 1568863"/>
                  <a:gd name="connsiteY19" fmla="*/ 983870 h 1998907"/>
                  <a:gd name="connsiteX20" fmla="*/ 1117920 w 1568863"/>
                  <a:gd name="connsiteY20" fmla="*/ 960428 h 1998907"/>
                  <a:gd name="connsiteX21" fmla="*/ 1131685 w 1568863"/>
                  <a:gd name="connsiteY21" fmla="*/ 935152 h 1998907"/>
                  <a:gd name="connsiteX22" fmla="*/ 1075872 w 1568863"/>
                  <a:gd name="connsiteY22" fmla="*/ 968353 h 1998907"/>
                  <a:gd name="connsiteX23" fmla="*/ 1076289 w 1568863"/>
                  <a:gd name="connsiteY23" fmla="*/ 958593 h 1998907"/>
                  <a:gd name="connsiteX24" fmla="*/ 1084716 w 1568863"/>
                  <a:gd name="connsiteY24" fmla="*/ 947999 h 1998907"/>
                  <a:gd name="connsiteX25" fmla="*/ 1088220 w 1568863"/>
                  <a:gd name="connsiteY25" fmla="*/ 935569 h 1998907"/>
                  <a:gd name="connsiteX26" fmla="*/ 1137859 w 1568863"/>
                  <a:gd name="connsiteY26" fmla="*/ 906372 h 1998907"/>
                  <a:gd name="connsiteX27" fmla="*/ 1172397 w 1568863"/>
                  <a:gd name="connsiteY27" fmla="*/ 869583 h 1998907"/>
                  <a:gd name="connsiteX28" fmla="*/ 1195841 w 1568863"/>
                  <a:gd name="connsiteY28" fmla="*/ 830125 h 1998907"/>
                  <a:gd name="connsiteX29" fmla="*/ 1182075 w 1568863"/>
                  <a:gd name="connsiteY29" fmla="*/ 799093 h 1998907"/>
                  <a:gd name="connsiteX30" fmla="*/ 1181157 w 1568863"/>
                  <a:gd name="connsiteY30" fmla="*/ 769395 h 1998907"/>
                  <a:gd name="connsiteX31" fmla="*/ 1163470 w 1568863"/>
                  <a:gd name="connsiteY31" fmla="*/ 752127 h 1998907"/>
                  <a:gd name="connsiteX32" fmla="*/ 1152375 w 1568863"/>
                  <a:gd name="connsiteY32" fmla="*/ 719343 h 1998907"/>
                  <a:gd name="connsiteX33" fmla="*/ 1118671 w 1568863"/>
                  <a:gd name="connsiteY33" fmla="*/ 684807 h 1998907"/>
                  <a:gd name="connsiteX34" fmla="*/ 1109827 w 1568863"/>
                  <a:gd name="connsiteY34" fmla="*/ 691481 h 1998907"/>
                  <a:gd name="connsiteX35" fmla="*/ 1099232 w 1568863"/>
                  <a:gd name="connsiteY35" fmla="*/ 704327 h 1998907"/>
                  <a:gd name="connsiteX36" fmla="*/ 1097897 w 1568863"/>
                  <a:gd name="connsiteY36" fmla="*/ 672878 h 1998907"/>
                  <a:gd name="connsiteX37" fmla="*/ 1077958 w 1568863"/>
                  <a:gd name="connsiteY37" fmla="*/ 655610 h 1998907"/>
                  <a:gd name="connsiteX38" fmla="*/ 1017724 w 1568863"/>
                  <a:gd name="connsiteY38" fmla="*/ 679969 h 1998907"/>
                  <a:gd name="connsiteX39" fmla="*/ 988942 w 1568863"/>
                  <a:gd name="connsiteY39" fmla="*/ 648936 h 1998907"/>
                  <a:gd name="connsiteX40" fmla="*/ 984103 w 1568863"/>
                  <a:gd name="connsiteY40" fmla="*/ 628999 h 1998907"/>
                  <a:gd name="connsiteX41" fmla="*/ 982768 w 1568863"/>
                  <a:gd name="connsiteY41" fmla="*/ 611314 h 1998907"/>
                  <a:gd name="connsiteX42" fmla="*/ 988108 w 1568863"/>
                  <a:gd name="connsiteY42" fmla="*/ 585620 h 1998907"/>
                  <a:gd name="connsiteX43" fmla="*/ 980098 w 1568863"/>
                  <a:gd name="connsiteY43" fmla="*/ 566100 h 1998907"/>
                  <a:gd name="connsiteX44" fmla="*/ 1001789 w 1568863"/>
                  <a:gd name="connsiteY44" fmla="*/ 580698 h 1998907"/>
                  <a:gd name="connsiteX45" fmla="*/ 1026567 w 1568863"/>
                  <a:gd name="connsiteY45" fmla="*/ 606809 h 1998907"/>
                  <a:gd name="connsiteX46" fmla="*/ 1065111 w 1568863"/>
                  <a:gd name="connsiteY46" fmla="*/ 600636 h 1998907"/>
                  <a:gd name="connsiteX47" fmla="*/ 1082380 w 1568863"/>
                  <a:gd name="connsiteY47" fmla="*/ 596214 h 1998907"/>
                  <a:gd name="connsiteX48" fmla="*/ 1099649 w 1568863"/>
                  <a:gd name="connsiteY48" fmla="*/ 614400 h 1998907"/>
                  <a:gd name="connsiteX49" fmla="*/ 1130684 w 1568863"/>
                  <a:gd name="connsiteY49" fmla="*/ 558175 h 1998907"/>
                  <a:gd name="connsiteX50" fmla="*/ 1130684 w 1568863"/>
                  <a:gd name="connsiteY50" fmla="*/ 489520 h 1998907"/>
                  <a:gd name="connsiteX51" fmla="*/ 1173231 w 1568863"/>
                  <a:gd name="connsiteY51" fmla="*/ 442554 h 1998907"/>
                  <a:gd name="connsiteX52" fmla="*/ 1249400 w 1568863"/>
                  <a:gd name="connsiteY52" fmla="*/ 443471 h 1998907"/>
                  <a:gd name="connsiteX53" fmla="*/ 1280435 w 1568863"/>
                  <a:gd name="connsiteY53" fmla="*/ 422199 h 1998907"/>
                  <a:gd name="connsiteX54" fmla="*/ 1287109 w 1568863"/>
                  <a:gd name="connsiteY54" fmla="*/ 392502 h 1998907"/>
                  <a:gd name="connsiteX55" fmla="*/ 1307466 w 1568863"/>
                  <a:gd name="connsiteY55" fmla="*/ 376568 h 1998907"/>
                  <a:gd name="connsiteX56" fmla="*/ 1340669 w 1568863"/>
                  <a:gd name="connsiteY56" fmla="*/ 346036 h 1998907"/>
                  <a:gd name="connsiteX57" fmla="*/ 1368617 w 1568863"/>
                  <a:gd name="connsiteY57" fmla="*/ 333607 h 1998907"/>
                  <a:gd name="connsiteX58" fmla="*/ 1379213 w 1568863"/>
                  <a:gd name="connsiteY58" fmla="*/ 304827 h 1998907"/>
                  <a:gd name="connsiteX59" fmla="*/ 1403991 w 1568863"/>
                  <a:gd name="connsiteY59" fmla="*/ 283137 h 1998907"/>
                  <a:gd name="connsiteX60" fmla="*/ 1386304 w 1568863"/>
                  <a:gd name="connsiteY60" fmla="*/ 267204 h 1998907"/>
                  <a:gd name="connsiteX61" fmla="*/ 1375709 w 1568863"/>
                  <a:gd name="connsiteY61" fmla="*/ 224242 h 1998907"/>
                  <a:gd name="connsiteX62" fmla="*/ 1334078 w 1568863"/>
                  <a:gd name="connsiteY62" fmla="*/ 256109 h 1998907"/>
                  <a:gd name="connsiteX63" fmla="*/ 1297788 w 1568863"/>
                  <a:gd name="connsiteY63" fmla="*/ 210895 h 1998907"/>
                  <a:gd name="connsiteX64" fmla="*/ 1265919 w 1568863"/>
                  <a:gd name="connsiteY64" fmla="*/ 193627 h 1998907"/>
                  <a:gd name="connsiteX65" fmla="*/ 1250401 w 1568863"/>
                  <a:gd name="connsiteY65" fmla="*/ 213982 h 1998907"/>
                  <a:gd name="connsiteX66" fmla="*/ 1238889 w 1568863"/>
                  <a:gd name="connsiteY66" fmla="*/ 192709 h 1998907"/>
                  <a:gd name="connsiteX67" fmla="*/ 1208355 w 1568863"/>
                  <a:gd name="connsiteY67" fmla="*/ 194962 h 1998907"/>
                  <a:gd name="connsiteX68" fmla="*/ 1183076 w 1568863"/>
                  <a:gd name="connsiteY68" fmla="*/ 192709 h 1998907"/>
                  <a:gd name="connsiteX69" fmla="*/ 1216780 w 1568863"/>
                  <a:gd name="connsiteY69" fmla="*/ 128058 h 1998907"/>
                  <a:gd name="connsiteX70" fmla="*/ 1176903 w 1568863"/>
                  <a:gd name="connsiteY70" fmla="*/ 125806 h 1998907"/>
                  <a:gd name="connsiteX71" fmla="*/ 1200345 w 1568863"/>
                  <a:gd name="connsiteY71" fmla="*/ 98778 h 1998907"/>
                  <a:gd name="connsiteX72" fmla="*/ 1177737 w 1568863"/>
                  <a:gd name="connsiteY72" fmla="*/ 54899 h 1998907"/>
                  <a:gd name="connsiteX73" fmla="*/ 1152459 w 1568863"/>
                  <a:gd name="connsiteY73" fmla="*/ 25702 h 1998907"/>
                  <a:gd name="connsiteX74" fmla="*/ 1136941 w 1568863"/>
                  <a:gd name="connsiteY74" fmla="*/ 425 h 1998907"/>
                  <a:gd name="connsiteX75" fmla="*/ 1124094 w 1568863"/>
                  <a:gd name="connsiteY75" fmla="*/ 16358 h 1998907"/>
                  <a:gd name="connsiteX76" fmla="*/ 1111663 w 1568863"/>
                  <a:gd name="connsiteY76" fmla="*/ 29205 h 1998907"/>
                  <a:gd name="connsiteX77" fmla="*/ 1103654 w 1568863"/>
                  <a:gd name="connsiteY77" fmla="*/ 55316 h 1998907"/>
                  <a:gd name="connsiteX78" fmla="*/ 1089889 w 1568863"/>
                  <a:gd name="connsiteY78" fmla="*/ 47307 h 1998907"/>
                  <a:gd name="connsiteX79" fmla="*/ 1071701 w 1568863"/>
                  <a:gd name="connsiteY79" fmla="*/ 54815 h 1998907"/>
                  <a:gd name="connsiteX80" fmla="*/ 1030488 w 1568863"/>
                  <a:gd name="connsiteY80" fmla="*/ 92021 h 1998907"/>
                  <a:gd name="connsiteX81" fmla="*/ 983519 w 1568863"/>
                  <a:gd name="connsiteY81" fmla="*/ 111958 h 1998907"/>
                  <a:gd name="connsiteX82" fmla="*/ 968920 w 1568863"/>
                  <a:gd name="connsiteY82" fmla="*/ 138069 h 1998907"/>
                  <a:gd name="connsiteX83" fmla="*/ 954737 w 1568863"/>
                  <a:gd name="connsiteY83" fmla="*/ 173022 h 1998907"/>
                  <a:gd name="connsiteX84" fmla="*/ 956989 w 1568863"/>
                  <a:gd name="connsiteY84" fmla="*/ 205806 h 1998907"/>
                  <a:gd name="connsiteX85" fmla="*/ 922451 w 1568863"/>
                  <a:gd name="connsiteY85" fmla="*/ 259446 h 1998907"/>
                  <a:gd name="connsiteX86" fmla="*/ 944142 w 1568863"/>
                  <a:gd name="connsiteY86" fmla="*/ 259863 h 1998907"/>
                  <a:gd name="connsiteX87" fmla="*/ 987524 w 1568863"/>
                  <a:gd name="connsiteY87" fmla="*/ 268705 h 1998907"/>
                  <a:gd name="connsiteX88" fmla="*/ 1026067 w 1568863"/>
                  <a:gd name="connsiteY88" fmla="*/ 268288 h 1998907"/>
                  <a:gd name="connsiteX89" fmla="*/ 1056184 w 1568863"/>
                  <a:gd name="connsiteY89" fmla="*/ 281135 h 1998907"/>
                  <a:gd name="connsiteX90" fmla="*/ 1037580 w 1568863"/>
                  <a:gd name="connsiteY90" fmla="*/ 292230 h 1998907"/>
                  <a:gd name="connsiteX91" fmla="*/ 1039331 w 1568863"/>
                  <a:gd name="connsiteY91" fmla="*/ 305077 h 1998907"/>
                  <a:gd name="connsiteX92" fmla="*/ 1021144 w 1568863"/>
                  <a:gd name="connsiteY92" fmla="*/ 304159 h 1998907"/>
                  <a:gd name="connsiteX93" fmla="*/ 985688 w 1568863"/>
                  <a:gd name="connsiteY93" fmla="*/ 319675 h 1998907"/>
                  <a:gd name="connsiteX94" fmla="*/ 959576 w 1568863"/>
                  <a:gd name="connsiteY94" fmla="*/ 302407 h 1998907"/>
                  <a:gd name="connsiteX95" fmla="*/ 909520 w 1568863"/>
                  <a:gd name="connsiteY95" fmla="*/ 308580 h 1998907"/>
                  <a:gd name="connsiteX96" fmla="*/ 866972 w 1568863"/>
                  <a:gd name="connsiteY96" fmla="*/ 293481 h 1998907"/>
                  <a:gd name="connsiteX97" fmla="*/ 860298 w 1568863"/>
                  <a:gd name="connsiteY97" fmla="*/ 315588 h 1998907"/>
                  <a:gd name="connsiteX98" fmla="*/ 824424 w 1568863"/>
                  <a:gd name="connsiteY98" fmla="*/ 316005 h 1998907"/>
                  <a:gd name="connsiteX99" fmla="*/ 777038 w 1568863"/>
                  <a:gd name="connsiteY99" fmla="*/ 343450 h 1998907"/>
                  <a:gd name="connsiteX100" fmla="*/ 726565 w 1568863"/>
                  <a:gd name="connsiteY100" fmla="*/ 386412 h 1998907"/>
                  <a:gd name="connsiteX101" fmla="*/ 684934 w 1568863"/>
                  <a:gd name="connsiteY101" fmla="*/ 425870 h 1998907"/>
                  <a:gd name="connsiteX102" fmla="*/ 656986 w 1568863"/>
                  <a:gd name="connsiteY102" fmla="*/ 440969 h 1998907"/>
                  <a:gd name="connsiteX103" fmla="*/ 631291 w 1568863"/>
                  <a:gd name="connsiteY103" fmla="*/ 466245 h 1998907"/>
                  <a:gd name="connsiteX104" fmla="*/ 600756 w 1568863"/>
                  <a:gd name="connsiteY104" fmla="*/ 476423 h 1998907"/>
                  <a:gd name="connsiteX105" fmla="*/ 527258 w 1568863"/>
                  <a:gd name="connsiteY105" fmla="*/ 537069 h 1998907"/>
                  <a:gd name="connsiteX106" fmla="*/ 487797 w 1568863"/>
                  <a:gd name="connsiteY106" fmla="*/ 556590 h 1998907"/>
                  <a:gd name="connsiteX107" fmla="*/ 447919 w 1568863"/>
                  <a:gd name="connsiteY107" fmla="*/ 582283 h 1998907"/>
                  <a:gd name="connsiteX108" fmla="*/ 433319 w 1568863"/>
                  <a:gd name="connsiteY108" fmla="*/ 599551 h 1998907"/>
                  <a:gd name="connsiteX109" fmla="*/ 417801 w 1568863"/>
                  <a:gd name="connsiteY109" fmla="*/ 610646 h 1998907"/>
                  <a:gd name="connsiteX110" fmla="*/ 410710 w 1568863"/>
                  <a:gd name="connsiteY110" fmla="*/ 628331 h 1998907"/>
                  <a:gd name="connsiteX111" fmla="*/ 390354 w 1568863"/>
                  <a:gd name="connsiteY111" fmla="*/ 647852 h 1998907"/>
                  <a:gd name="connsiteX112" fmla="*/ 323446 w 1568863"/>
                  <a:gd name="connsiteY112" fmla="*/ 706747 h 1998907"/>
                  <a:gd name="connsiteX113" fmla="*/ 292911 w 1568863"/>
                  <a:gd name="connsiteY113" fmla="*/ 732857 h 1998907"/>
                  <a:gd name="connsiteX114" fmla="*/ 284903 w 1568863"/>
                  <a:gd name="connsiteY114" fmla="*/ 779406 h 1998907"/>
                  <a:gd name="connsiteX115" fmla="*/ 263629 w 1568863"/>
                  <a:gd name="connsiteY115" fmla="*/ 822784 h 1998907"/>
                  <a:gd name="connsiteX116" fmla="*/ 251198 w 1568863"/>
                  <a:gd name="connsiteY116" fmla="*/ 848478 h 1998907"/>
                  <a:gd name="connsiteX117" fmla="*/ 245859 w 1568863"/>
                  <a:gd name="connsiteY117" fmla="*/ 856486 h 1998907"/>
                  <a:gd name="connsiteX118" fmla="*/ 248529 w 1568863"/>
                  <a:gd name="connsiteY118" fmla="*/ 867081 h 1998907"/>
                  <a:gd name="connsiteX119" fmla="*/ 249863 w 1568863"/>
                  <a:gd name="connsiteY119" fmla="*/ 877675 h 1998907"/>
                  <a:gd name="connsiteX120" fmla="*/ 232594 w 1568863"/>
                  <a:gd name="connsiteY120" fmla="*/ 883848 h 1998907"/>
                  <a:gd name="connsiteX121" fmla="*/ 210403 w 1568863"/>
                  <a:gd name="connsiteY121" fmla="*/ 909959 h 1998907"/>
                  <a:gd name="connsiteX122" fmla="*/ 182955 w 1568863"/>
                  <a:gd name="connsiteY122" fmla="*/ 948082 h 1998907"/>
                  <a:gd name="connsiteX123" fmla="*/ 153755 w 1568863"/>
                  <a:gd name="connsiteY123" fmla="*/ 990627 h 1998907"/>
                  <a:gd name="connsiteX124" fmla="*/ 182538 w 1568863"/>
                  <a:gd name="connsiteY124" fmla="*/ 1021158 h 1998907"/>
                  <a:gd name="connsiteX125" fmla="*/ 202477 w 1568863"/>
                  <a:gd name="connsiteY125" fmla="*/ 1049521 h 1998907"/>
                  <a:gd name="connsiteX126" fmla="*/ 239268 w 1568863"/>
                  <a:gd name="connsiteY126" fmla="*/ 1038009 h 1998907"/>
                  <a:gd name="connsiteX127" fmla="*/ 268467 w 1568863"/>
                  <a:gd name="connsiteY127" fmla="*/ 1040679 h 1998907"/>
                  <a:gd name="connsiteX128" fmla="*/ 300837 w 1568863"/>
                  <a:gd name="connsiteY128" fmla="*/ 1042931 h 1998907"/>
                  <a:gd name="connsiteX129" fmla="*/ 334542 w 1568863"/>
                  <a:gd name="connsiteY129" fmla="*/ 1074798 h 1998907"/>
                  <a:gd name="connsiteX130" fmla="*/ 345637 w 1568863"/>
                  <a:gd name="connsiteY130" fmla="*/ 1100074 h 1998907"/>
                  <a:gd name="connsiteX131" fmla="*/ 331872 w 1568863"/>
                  <a:gd name="connsiteY131" fmla="*/ 1140867 h 1998907"/>
                  <a:gd name="connsiteX132" fmla="*/ 290242 w 1568863"/>
                  <a:gd name="connsiteY132" fmla="*/ 1137363 h 1998907"/>
                  <a:gd name="connsiteX133" fmla="*/ 215825 w 1568863"/>
                  <a:gd name="connsiteY133" fmla="*/ 1180325 h 1998907"/>
                  <a:gd name="connsiteX134" fmla="*/ 182622 w 1568863"/>
                  <a:gd name="connsiteY134" fmla="*/ 1162640 h 1998907"/>
                  <a:gd name="connsiteX135" fmla="*/ 143160 w 1568863"/>
                  <a:gd name="connsiteY135" fmla="*/ 1162640 h 1998907"/>
                  <a:gd name="connsiteX136" fmla="*/ 140074 w 1568863"/>
                  <a:gd name="connsiteY136" fmla="*/ 1247729 h 1998907"/>
                  <a:gd name="connsiteX137" fmla="*/ 104618 w 1568863"/>
                  <a:gd name="connsiteY137" fmla="*/ 1290273 h 1998907"/>
                  <a:gd name="connsiteX138" fmla="*/ 71830 w 1568863"/>
                  <a:gd name="connsiteY138" fmla="*/ 1345664 h 1998907"/>
                  <a:gd name="connsiteX139" fmla="*/ 56730 w 1568863"/>
                  <a:gd name="connsiteY139" fmla="*/ 1360763 h 1998907"/>
                  <a:gd name="connsiteX140" fmla="*/ 33288 w 1568863"/>
                  <a:gd name="connsiteY140" fmla="*/ 1366102 h 1998907"/>
                  <a:gd name="connsiteX141" fmla="*/ 21357 w 1568863"/>
                  <a:gd name="connsiteY141" fmla="*/ 1398469 h 1998907"/>
                  <a:gd name="connsiteX142" fmla="*/ 4088 w 1568863"/>
                  <a:gd name="connsiteY142" fmla="*/ 1428584 h 1998907"/>
                  <a:gd name="connsiteX143" fmla="*/ 4088 w 1568863"/>
                  <a:gd name="connsiteY143" fmla="*/ 1428584 h 1998907"/>
                  <a:gd name="connsiteX144" fmla="*/ 4088 w 1568863"/>
                  <a:gd name="connsiteY144" fmla="*/ 1428584 h 1998907"/>
                  <a:gd name="connsiteX145" fmla="*/ 1836 w 1568863"/>
                  <a:gd name="connsiteY145" fmla="*/ 1434757 h 1998907"/>
                  <a:gd name="connsiteX146" fmla="*/ 2253 w 1568863"/>
                  <a:gd name="connsiteY146" fmla="*/ 1436092 h 1998907"/>
                  <a:gd name="connsiteX147" fmla="*/ 0 w 1568863"/>
                  <a:gd name="connsiteY147" fmla="*/ 1444518 h 1998907"/>
                  <a:gd name="connsiteX148" fmla="*/ 15517 w 1568863"/>
                  <a:gd name="connsiteY148" fmla="*/ 1476885 h 1998907"/>
                  <a:gd name="connsiteX149" fmla="*/ 42965 w 1568863"/>
                  <a:gd name="connsiteY149" fmla="*/ 1493736 h 1998907"/>
                  <a:gd name="connsiteX150" fmla="*/ 50473 w 1568863"/>
                  <a:gd name="connsiteY150" fmla="*/ 1494153 h 1998907"/>
                  <a:gd name="connsiteX151" fmla="*/ 72581 w 1568863"/>
                  <a:gd name="connsiteY151" fmla="*/ 1498574 h 1998907"/>
                  <a:gd name="connsiteX152" fmla="*/ 83177 w 1568863"/>
                  <a:gd name="connsiteY152" fmla="*/ 1509168 h 1998907"/>
                  <a:gd name="connsiteX153" fmla="*/ 89851 w 1568863"/>
                  <a:gd name="connsiteY153" fmla="*/ 1516259 h 1998907"/>
                  <a:gd name="connsiteX154" fmla="*/ 105785 w 1568863"/>
                  <a:gd name="connsiteY154" fmla="*/ 1518929 h 1998907"/>
                  <a:gd name="connsiteX155" fmla="*/ 108455 w 1568863"/>
                  <a:gd name="connsiteY155" fmla="*/ 1518929 h 1998907"/>
                  <a:gd name="connsiteX156" fmla="*/ 128394 w 1568863"/>
                  <a:gd name="connsiteY156" fmla="*/ 1520263 h 1998907"/>
                  <a:gd name="connsiteX157" fmla="*/ 145246 w 1568863"/>
                  <a:gd name="connsiteY157" fmla="*/ 1537531 h 1998907"/>
                  <a:gd name="connsiteX158" fmla="*/ 150085 w 1568863"/>
                  <a:gd name="connsiteY158" fmla="*/ 1545540 h 1998907"/>
                  <a:gd name="connsiteX159" fmla="*/ 164685 w 1568863"/>
                  <a:gd name="connsiteY159" fmla="*/ 1553548 h 1998907"/>
                  <a:gd name="connsiteX160" fmla="*/ 176615 w 1568863"/>
                  <a:gd name="connsiteY160" fmla="*/ 1558887 h 1998907"/>
                  <a:gd name="connsiteX161" fmla="*/ 196970 w 1568863"/>
                  <a:gd name="connsiteY161" fmla="*/ 1589419 h 1998907"/>
                  <a:gd name="connsiteX162" fmla="*/ 185458 w 1568863"/>
                  <a:gd name="connsiteY162" fmla="*/ 1624372 h 1998907"/>
                  <a:gd name="connsiteX163" fmla="*/ 172193 w 1568863"/>
                  <a:gd name="connsiteY163" fmla="*/ 1634550 h 1998907"/>
                  <a:gd name="connsiteX164" fmla="*/ 158428 w 1568863"/>
                  <a:gd name="connsiteY164" fmla="*/ 1646479 h 1998907"/>
                  <a:gd name="connsiteX165" fmla="*/ 154924 w 1568863"/>
                  <a:gd name="connsiteY165" fmla="*/ 1669920 h 1998907"/>
                  <a:gd name="connsiteX166" fmla="*/ 154507 w 1568863"/>
                  <a:gd name="connsiteY166" fmla="*/ 1683684 h 1998907"/>
                  <a:gd name="connsiteX167" fmla="*/ 133650 w 1568863"/>
                  <a:gd name="connsiteY167" fmla="*/ 1738158 h 1998907"/>
                  <a:gd name="connsiteX168" fmla="*/ 115046 w 1568863"/>
                  <a:gd name="connsiteY168" fmla="*/ 1776698 h 1998907"/>
                  <a:gd name="connsiteX169" fmla="*/ 105285 w 1568863"/>
                  <a:gd name="connsiteY169" fmla="*/ 1799722 h 1998907"/>
                  <a:gd name="connsiteX170" fmla="*/ 104367 w 1568863"/>
                  <a:gd name="connsiteY170" fmla="*/ 1801975 h 1998907"/>
                  <a:gd name="connsiteX171" fmla="*/ 97692 w 1568863"/>
                  <a:gd name="connsiteY171" fmla="*/ 1818825 h 1998907"/>
                  <a:gd name="connsiteX172" fmla="*/ 106536 w 1568863"/>
                  <a:gd name="connsiteY172" fmla="*/ 1845437 h 1998907"/>
                  <a:gd name="connsiteX173" fmla="*/ 117632 w 1568863"/>
                  <a:gd name="connsiteY173" fmla="*/ 1849441 h 1998907"/>
                  <a:gd name="connsiteX174" fmla="*/ 122470 w 1568863"/>
                  <a:gd name="connsiteY174" fmla="*/ 1850776 h 1998907"/>
                  <a:gd name="connsiteX175" fmla="*/ 141492 w 1568863"/>
                  <a:gd name="connsiteY175" fmla="*/ 1865875 h 1998907"/>
                  <a:gd name="connsiteX176" fmla="*/ 141074 w 1568863"/>
                  <a:gd name="connsiteY176" fmla="*/ 1884060 h 1998907"/>
                  <a:gd name="connsiteX177" fmla="*/ 139740 w 1568863"/>
                  <a:gd name="connsiteY177" fmla="*/ 1891151 h 1998907"/>
                  <a:gd name="connsiteX178" fmla="*/ 155257 w 1568863"/>
                  <a:gd name="connsiteY178" fmla="*/ 1913758 h 1998907"/>
                  <a:gd name="connsiteX179" fmla="*/ 188462 w 1568863"/>
                  <a:gd name="connsiteY179" fmla="*/ 1919097 h 1998907"/>
                  <a:gd name="connsiteX180" fmla="*/ 188462 w 1568863"/>
                  <a:gd name="connsiteY180" fmla="*/ 1919097 h 1998907"/>
                  <a:gd name="connsiteX181" fmla="*/ 216827 w 1568863"/>
                  <a:gd name="connsiteY181" fmla="*/ 1912924 h 1998907"/>
                  <a:gd name="connsiteX182" fmla="*/ 241187 w 1568863"/>
                  <a:gd name="connsiteY182" fmla="*/ 1906250 h 1998907"/>
                  <a:gd name="connsiteX183" fmla="*/ 280648 w 1568863"/>
                  <a:gd name="connsiteY183" fmla="*/ 1912423 h 1998907"/>
                  <a:gd name="connsiteX184" fmla="*/ 307261 w 1568863"/>
                  <a:gd name="connsiteY184" fmla="*/ 1941203 h 1998907"/>
                  <a:gd name="connsiteX185" fmla="*/ 318774 w 1568863"/>
                  <a:gd name="connsiteY185" fmla="*/ 1957137 h 1998907"/>
                  <a:gd name="connsiteX186" fmla="*/ 333373 w 1568863"/>
                  <a:gd name="connsiteY186" fmla="*/ 1970400 h 1998907"/>
                  <a:gd name="connsiteX187" fmla="*/ 370165 w 1568863"/>
                  <a:gd name="connsiteY187" fmla="*/ 1958471 h 1998907"/>
                  <a:gd name="connsiteX188" fmla="*/ 416217 w 1568863"/>
                  <a:gd name="connsiteY188" fmla="*/ 1970400 h 1998907"/>
                  <a:gd name="connsiteX189" fmla="*/ 427730 w 1568863"/>
                  <a:gd name="connsiteY189" fmla="*/ 1983664 h 1998907"/>
                  <a:gd name="connsiteX190" fmla="*/ 445416 w 1568863"/>
                  <a:gd name="connsiteY190" fmla="*/ 1998763 h 1998907"/>
                  <a:gd name="connsiteX191" fmla="*/ 466273 w 1568863"/>
                  <a:gd name="connsiteY191" fmla="*/ 1991673 h 1998907"/>
                  <a:gd name="connsiteX192" fmla="*/ 495973 w 1568863"/>
                  <a:gd name="connsiteY192" fmla="*/ 1973988 h 1998907"/>
                  <a:gd name="connsiteX193" fmla="*/ 514159 w 1568863"/>
                  <a:gd name="connsiteY193" fmla="*/ 1965145 h 1998907"/>
                  <a:gd name="connsiteX194" fmla="*/ 545194 w 1568863"/>
                  <a:gd name="connsiteY194" fmla="*/ 1963393 h 1998907"/>
                  <a:gd name="connsiteX195" fmla="*/ 549199 w 1568863"/>
                  <a:gd name="connsiteY195" fmla="*/ 1963810 h 1998907"/>
                  <a:gd name="connsiteX196" fmla="*/ 588659 w 1568863"/>
                  <a:gd name="connsiteY196" fmla="*/ 1952298 h 1998907"/>
                  <a:gd name="connsiteX197" fmla="*/ 592665 w 1568863"/>
                  <a:gd name="connsiteY197" fmla="*/ 1946125 h 1998907"/>
                  <a:gd name="connsiteX198" fmla="*/ 598003 w 1568863"/>
                  <a:gd name="connsiteY198" fmla="*/ 1937700 h 1998907"/>
                  <a:gd name="connsiteX199" fmla="*/ 618360 w 1568863"/>
                  <a:gd name="connsiteY199" fmla="*/ 1923518 h 1998907"/>
                  <a:gd name="connsiteX200" fmla="*/ 658655 w 1568863"/>
                  <a:gd name="connsiteY200" fmla="*/ 1913341 h 1998907"/>
                  <a:gd name="connsiteX201" fmla="*/ 667081 w 1568863"/>
                  <a:gd name="connsiteY201" fmla="*/ 1912924 h 1998907"/>
                  <a:gd name="connsiteX202" fmla="*/ 690107 w 1568863"/>
                  <a:gd name="connsiteY202" fmla="*/ 1909420 h 1998907"/>
                  <a:gd name="connsiteX203" fmla="*/ 709128 w 1568863"/>
                  <a:gd name="connsiteY203" fmla="*/ 1896573 h 1998907"/>
                  <a:gd name="connsiteX204" fmla="*/ 740163 w 1568863"/>
                  <a:gd name="connsiteY204" fmla="*/ 1863789 h 1998907"/>
                  <a:gd name="connsiteX205" fmla="*/ 730402 w 1568863"/>
                  <a:gd name="connsiteY205" fmla="*/ 1849190 h 1998907"/>
                  <a:gd name="connsiteX206" fmla="*/ 740163 w 1568863"/>
                  <a:gd name="connsiteY206" fmla="*/ 1803142 h 1998907"/>
                  <a:gd name="connsiteX207" fmla="*/ 746336 w 1568863"/>
                  <a:gd name="connsiteY207" fmla="*/ 1795134 h 1998907"/>
                  <a:gd name="connsiteX208" fmla="*/ 751176 w 1568863"/>
                  <a:gd name="connsiteY208" fmla="*/ 1787126 h 1998907"/>
                  <a:gd name="connsiteX209" fmla="*/ 763105 w 1568863"/>
                  <a:gd name="connsiteY209" fmla="*/ 1770275 h 1998907"/>
                  <a:gd name="connsiteX210" fmla="*/ 779040 w 1568863"/>
                  <a:gd name="connsiteY210" fmla="*/ 1761432 h 1998907"/>
                  <a:gd name="connsiteX211" fmla="*/ 787883 w 1568863"/>
                  <a:gd name="connsiteY211" fmla="*/ 1757428 h 1998907"/>
                  <a:gd name="connsiteX212" fmla="*/ 791387 w 1568863"/>
                  <a:gd name="connsiteY212" fmla="*/ 1746333 h 1998907"/>
                  <a:gd name="connsiteX213" fmla="*/ 789135 w 1568863"/>
                  <a:gd name="connsiteY213" fmla="*/ 1731234 h 1998907"/>
                  <a:gd name="connsiteX214" fmla="*/ 831181 w 1568863"/>
                  <a:gd name="connsiteY214" fmla="*/ 1698450 h 1998907"/>
                  <a:gd name="connsiteX215" fmla="*/ 860882 w 1568863"/>
                  <a:gd name="connsiteY215" fmla="*/ 1685186 h 1998907"/>
                  <a:gd name="connsiteX216" fmla="*/ 863551 w 1568863"/>
                  <a:gd name="connsiteY216" fmla="*/ 1677177 h 1998907"/>
                  <a:gd name="connsiteX217" fmla="*/ 868390 w 1568863"/>
                  <a:gd name="connsiteY217" fmla="*/ 1663413 h 1998907"/>
                  <a:gd name="connsiteX218" fmla="*/ 878151 w 1568863"/>
                  <a:gd name="connsiteY218" fmla="*/ 1654570 h 1998907"/>
                  <a:gd name="connsiteX219" fmla="*/ 883490 w 1568863"/>
                  <a:gd name="connsiteY219" fmla="*/ 1649732 h 1998907"/>
                  <a:gd name="connsiteX220" fmla="*/ 892333 w 1568863"/>
                  <a:gd name="connsiteY220" fmla="*/ 1630212 h 1998907"/>
                  <a:gd name="connsiteX221" fmla="*/ 897173 w 1568863"/>
                  <a:gd name="connsiteY221" fmla="*/ 1615613 h 1998907"/>
                  <a:gd name="connsiteX222" fmla="*/ 928207 w 1568863"/>
                  <a:gd name="connsiteY222" fmla="*/ 1599263 h 1998907"/>
                  <a:gd name="connsiteX223" fmla="*/ 944142 w 1568863"/>
                  <a:gd name="connsiteY223" fmla="*/ 1596176 h 1998907"/>
                  <a:gd name="connsiteX224" fmla="*/ 959659 w 1568863"/>
                  <a:gd name="connsiteY224" fmla="*/ 1577156 h 1998907"/>
                  <a:gd name="connsiteX225" fmla="*/ 970754 w 1568863"/>
                  <a:gd name="connsiteY225" fmla="*/ 1558971 h 1998907"/>
                  <a:gd name="connsiteX226" fmla="*/ 1013302 w 1568863"/>
                  <a:gd name="connsiteY226" fmla="*/ 1544789 h 1998907"/>
                  <a:gd name="connsiteX227" fmla="*/ 1025233 w 1568863"/>
                  <a:gd name="connsiteY227" fmla="*/ 1544789 h 1998907"/>
                  <a:gd name="connsiteX228" fmla="*/ 1046924 w 1568863"/>
                  <a:gd name="connsiteY228" fmla="*/ 1533694 h 1998907"/>
                  <a:gd name="connsiteX229" fmla="*/ 1059354 w 1568863"/>
                  <a:gd name="connsiteY229" fmla="*/ 1523517 h 1998907"/>
                  <a:gd name="connsiteX230" fmla="*/ 1115584 w 1568863"/>
                  <a:gd name="connsiteY230" fmla="*/ 1520430 h 1998907"/>
                  <a:gd name="connsiteX231" fmla="*/ 1133771 w 1568863"/>
                  <a:gd name="connsiteY231" fmla="*/ 1550962 h 1998907"/>
                  <a:gd name="connsiteX232" fmla="*/ 1138192 w 1568863"/>
                  <a:gd name="connsiteY232" fmla="*/ 1563809 h 1998907"/>
                  <a:gd name="connsiteX233" fmla="*/ 1149705 w 1568863"/>
                  <a:gd name="connsiteY233" fmla="*/ 1584164 h 1998907"/>
                  <a:gd name="connsiteX234" fmla="*/ 1163470 w 1568863"/>
                  <a:gd name="connsiteY234" fmla="*/ 1609440 h 1998907"/>
                  <a:gd name="connsiteX235" fmla="*/ 1166557 w 1568863"/>
                  <a:gd name="connsiteY235" fmla="*/ 1617865 h 1998907"/>
                  <a:gd name="connsiteX236" fmla="*/ 1181658 w 1568863"/>
                  <a:gd name="connsiteY236" fmla="*/ 1633799 h 1998907"/>
                  <a:gd name="connsiteX237" fmla="*/ 1201597 w 1568863"/>
                  <a:gd name="connsiteY237" fmla="*/ 1616948 h 1998907"/>
                  <a:gd name="connsiteX238" fmla="*/ 1217949 w 1568863"/>
                  <a:gd name="connsiteY238" fmla="*/ 1599680 h 1998907"/>
                  <a:gd name="connsiteX239" fmla="*/ 1243644 w 1568863"/>
                  <a:gd name="connsiteY239" fmla="*/ 1589085 h 1998907"/>
                  <a:gd name="connsiteX240" fmla="*/ 1265752 w 1568863"/>
                  <a:gd name="connsiteY240" fmla="*/ 1580243 h 1998907"/>
                  <a:gd name="connsiteX241" fmla="*/ 1308717 w 1568863"/>
                  <a:gd name="connsiteY241" fmla="*/ 1574904 h 1998907"/>
                  <a:gd name="connsiteX242" fmla="*/ 1321147 w 1568863"/>
                  <a:gd name="connsiteY242" fmla="*/ 1577573 h 1998907"/>
                  <a:gd name="connsiteX243" fmla="*/ 1347260 w 1568863"/>
                  <a:gd name="connsiteY243" fmla="*/ 1559388 h 1998907"/>
                  <a:gd name="connsiteX244" fmla="*/ 1372037 w 1568863"/>
                  <a:gd name="connsiteY244" fmla="*/ 1456614 h 1998907"/>
                  <a:gd name="connsiteX245" fmla="*/ 1387555 w 1568863"/>
                  <a:gd name="connsiteY245" fmla="*/ 1416321 h 1998907"/>
                  <a:gd name="connsiteX246" fmla="*/ 1395064 w 1568863"/>
                  <a:gd name="connsiteY246" fmla="*/ 1405227 h 1998907"/>
                  <a:gd name="connsiteX247" fmla="*/ 1403490 w 1568863"/>
                  <a:gd name="connsiteY247" fmla="*/ 1368438 h 1998907"/>
                  <a:gd name="connsiteX248" fmla="*/ 1403907 w 1568863"/>
                  <a:gd name="connsiteY248" fmla="*/ 1357343 h 1998907"/>
                  <a:gd name="connsiteX249" fmla="*/ 1423846 w 1568863"/>
                  <a:gd name="connsiteY249" fmla="*/ 1305539 h 1998907"/>
                  <a:gd name="connsiteX250" fmla="*/ 1466394 w 1568863"/>
                  <a:gd name="connsiteY250" fmla="*/ 1305122 h 1998907"/>
                  <a:gd name="connsiteX251" fmla="*/ 1472567 w 1568863"/>
                  <a:gd name="connsiteY251" fmla="*/ 1307374 h 1998907"/>
                  <a:gd name="connsiteX252" fmla="*/ 1493841 w 1568863"/>
                  <a:gd name="connsiteY252" fmla="*/ 1308709 h 1998907"/>
                  <a:gd name="connsiteX253" fmla="*/ 1500015 w 1568863"/>
                  <a:gd name="connsiteY253" fmla="*/ 1303871 h 1998907"/>
                  <a:gd name="connsiteX254" fmla="*/ 1516867 w 1568863"/>
                  <a:gd name="connsiteY254" fmla="*/ 1295028 h 1998907"/>
                  <a:gd name="connsiteX255" fmla="*/ 1531049 w 1568863"/>
                  <a:gd name="connsiteY255" fmla="*/ 1297280 h 1998907"/>
                  <a:gd name="connsiteX256" fmla="*/ 1532384 w 1568863"/>
                  <a:gd name="connsiteY256" fmla="*/ 1290190 h 1998907"/>
                  <a:gd name="connsiteX257" fmla="*/ 1520871 w 1568863"/>
                  <a:gd name="connsiteY257" fmla="*/ 1260992 h 1998907"/>
                  <a:gd name="connsiteX258" fmla="*/ 1519537 w 1568863"/>
                  <a:gd name="connsiteY258" fmla="*/ 1233547 h 1998907"/>
                  <a:gd name="connsiteX259" fmla="*/ 1511527 w 1568863"/>
                  <a:gd name="connsiteY259" fmla="*/ 1194089 h 1998907"/>
                  <a:gd name="connsiteX260" fmla="*/ 1498680 w 1568863"/>
                  <a:gd name="connsiteY260" fmla="*/ 1111670 h 1998907"/>
                  <a:gd name="connsiteX261" fmla="*/ 1475654 w 1568863"/>
                  <a:gd name="connsiteY261" fmla="*/ 1062035 h 1998907"/>
                  <a:gd name="connsiteX262" fmla="*/ 1449958 w 1568863"/>
                  <a:gd name="connsiteY262" fmla="*/ 1043849 h 1998907"/>
                  <a:gd name="connsiteX263" fmla="*/ 1457467 w 1568863"/>
                  <a:gd name="connsiteY263" fmla="*/ 1031002 h 1998907"/>
                  <a:gd name="connsiteX264" fmla="*/ 1469397 w 1568863"/>
                  <a:gd name="connsiteY264" fmla="*/ 1034089 h 1998907"/>
                  <a:gd name="connsiteX265" fmla="*/ 1503936 w 1568863"/>
                  <a:gd name="connsiteY265" fmla="*/ 1004891 h 1998907"/>
                  <a:gd name="connsiteX266" fmla="*/ 1551322 w 1568863"/>
                  <a:gd name="connsiteY266" fmla="*/ 949083 h 1998907"/>
                  <a:gd name="connsiteX267" fmla="*/ 1568592 w 1568863"/>
                  <a:gd name="connsiteY267" fmla="*/ 932232 h 1998907"/>
                  <a:gd name="connsiteX268" fmla="*/ 1549403 w 1568863"/>
                  <a:gd name="connsiteY268" fmla="*/ 908541 h 1998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568863" h="1998907" extrusionOk="0">
                    <a:moveTo>
                      <a:pt x="1549403" y="908541"/>
                    </a:moveTo>
                    <a:cubicBezTo>
                      <a:pt x="1544565" y="900532"/>
                      <a:pt x="1544982" y="895277"/>
                      <a:pt x="1537891" y="888186"/>
                    </a:cubicBezTo>
                    <a:cubicBezTo>
                      <a:pt x="1532551" y="883348"/>
                      <a:pt x="1525460" y="874422"/>
                      <a:pt x="1519703" y="869583"/>
                    </a:cubicBezTo>
                    <a:cubicBezTo>
                      <a:pt x="1498429" y="851898"/>
                      <a:pt x="1494926" y="878426"/>
                      <a:pt x="1477656" y="879761"/>
                    </a:cubicBezTo>
                    <a:cubicBezTo>
                      <a:pt x="1469647" y="879761"/>
                      <a:pt x="1467061" y="872670"/>
                      <a:pt x="1461304" y="869166"/>
                    </a:cubicBezTo>
                    <a:cubicBezTo>
                      <a:pt x="1450710" y="862993"/>
                      <a:pt x="1440948" y="862993"/>
                      <a:pt x="1430270" y="869166"/>
                    </a:cubicBezTo>
                    <a:cubicBezTo>
                      <a:pt x="1417422" y="877175"/>
                      <a:pt x="1397483" y="900199"/>
                      <a:pt x="1381548" y="897529"/>
                    </a:cubicBezTo>
                    <a:cubicBezTo>
                      <a:pt x="1375375" y="896195"/>
                      <a:pt x="1371370" y="886434"/>
                      <a:pt x="1363862" y="889521"/>
                    </a:cubicBezTo>
                    <a:cubicBezTo>
                      <a:pt x="1354518" y="893525"/>
                      <a:pt x="1362110" y="901450"/>
                      <a:pt x="1356770" y="907707"/>
                    </a:cubicBezTo>
                    <a:cubicBezTo>
                      <a:pt x="1347928" y="917467"/>
                      <a:pt x="1339501" y="883348"/>
                      <a:pt x="1329324" y="878009"/>
                    </a:cubicBezTo>
                    <a:cubicBezTo>
                      <a:pt x="1312054" y="869583"/>
                      <a:pt x="1297454" y="885517"/>
                      <a:pt x="1279685" y="880678"/>
                    </a:cubicBezTo>
                    <a:cubicBezTo>
                      <a:pt x="1265919" y="876674"/>
                      <a:pt x="1239389" y="867832"/>
                      <a:pt x="1235802" y="889104"/>
                    </a:cubicBezTo>
                    <a:cubicBezTo>
                      <a:pt x="1234467" y="894860"/>
                      <a:pt x="1241975" y="900616"/>
                      <a:pt x="1238889" y="908624"/>
                    </a:cubicBezTo>
                    <a:cubicBezTo>
                      <a:pt x="1236219" y="916633"/>
                      <a:pt x="1226040" y="921888"/>
                      <a:pt x="1218949" y="924975"/>
                    </a:cubicBezTo>
                    <a:cubicBezTo>
                      <a:pt x="1202598" y="932483"/>
                      <a:pt x="1184411" y="929396"/>
                      <a:pt x="1168893" y="939573"/>
                    </a:cubicBezTo>
                    <a:cubicBezTo>
                      <a:pt x="1150289" y="952003"/>
                      <a:pt x="1147619" y="971940"/>
                      <a:pt x="1135189" y="988291"/>
                    </a:cubicBezTo>
                    <a:cubicBezTo>
                      <a:pt x="1130768" y="994464"/>
                      <a:pt x="1129432" y="994464"/>
                      <a:pt x="1123259" y="995381"/>
                    </a:cubicBezTo>
                    <a:cubicBezTo>
                      <a:pt x="1120172" y="995799"/>
                      <a:pt x="1116168" y="992712"/>
                      <a:pt x="1112664" y="993129"/>
                    </a:cubicBezTo>
                    <a:cubicBezTo>
                      <a:pt x="1105990" y="993546"/>
                      <a:pt x="1102486" y="998885"/>
                      <a:pt x="1097146" y="999803"/>
                    </a:cubicBezTo>
                    <a:cubicBezTo>
                      <a:pt x="1073703" y="1003807"/>
                      <a:pt x="1095394" y="990043"/>
                      <a:pt x="1101568" y="983870"/>
                    </a:cubicBezTo>
                    <a:cubicBezTo>
                      <a:pt x="1109077" y="977196"/>
                      <a:pt x="1112163" y="967936"/>
                      <a:pt x="1117920" y="960428"/>
                    </a:cubicBezTo>
                    <a:cubicBezTo>
                      <a:pt x="1124594" y="951586"/>
                      <a:pt x="1135606" y="947165"/>
                      <a:pt x="1131685" y="935152"/>
                    </a:cubicBezTo>
                    <a:cubicBezTo>
                      <a:pt x="1118837" y="897029"/>
                      <a:pt x="1084299" y="967519"/>
                      <a:pt x="1075872" y="968353"/>
                    </a:cubicBezTo>
                    <a:cubicBezTo>
                      <a:pt x="1066529" y="969271"/>
                      <a:pt x="1074955" y="960845"/>
                      <a:pt x="1076289" y="958593"/>
                    </a:cubicBezTo>
                    <a:cubicBezTo>
                      <a:pt x="1078042" y="955089"/>
                      <a:pt x="1082463" y="952420"/>
                      <a:pt x="1084716" y="947999"/>
                    </a:cubicBezTo>
                    <a:cubicBezTo>
                      <a:pt x="1086468" y="944495"/>
                      <a:pt x="1086050" y="939156"/>
                      <a:pt x="1088220" y="935569"/>
                    </a:cubicBezTo>
                    <a:cubicBezTo>
                      <a:pt x="1097563" y="916049"/>
                      <a:pt x="1120589" y="914714"/>
                      <a:pt x="1137859" y="906372"/>
                    </a:cubicBezTo>
                    <a:cubicBezTo>
                      <a:pt x="1155545" y="897529"/>
                      <a:pt x="1160467" y="884265"/>
                      <a:pt x="1172397" y="869583"/>
                    </a:cubicBezTo>
                    <a:cubicBezTo>
                      <a:pt x="1182575" y="857154"/>
                      <a:pt x="1199011" y="848311"/>
                      <a:pt x="1195841" y="830125"/>
                    </a:cubicBezTo>
                    <a:cubicBezTo>
                      <a:pt x="1193588" y="818613"/>
                      <a:pt x="1183410" y="811106"/>
                      <a:pt x="1182075" y="799093"/>
                    </a:cubicBezTo>
                    <a:cubicBezTo>
                      <a:pt x="1180740" y="788916"/>
                      <a:pt x="1187831" y="779156"/>
                      <a:pt x="1181157" y="769395"/>
                    </a:cubicBezTo>
                    <a:cubicBezTo>
                      <a:pt x="1176318" y="762305"/>
                      <a:pt x="1168310" y="760052"/>
                      <a:pt x="1163470" y="752127"/>
                    </a:cubicBezTo>
                    <a:cubicBezTo>
                      <a:pt x="1157714" y="742367"/>
                      <a:pt x="1158132" y="729520"/>
                      <a:pt x="1152375" y="719343"/>
                    </a:cubicBezTo>
                    <a:cubicBezTo>
                      <a:pt x="1145701" y="707831"/>
                      <a:pt x="1136858" y="682138"/>
                      <a:pt x="1118671" y="684807"/>
                    </a:cubicBezTo>
                    <a:cubicBezTo>
                      <a:pt x="1109827" y="686142"/>
                      <a:pt x="1114666" y="686142"/>
                      <a:pt x="1109827" y="691481"/>
                    </a:cubicBezTo>
                    <a:cubicBezTo>
                      <a:pt x="1108910" y="692815"/>
                      <a:pt x="1103654" y="707831"/>
                      <a:pt x="1099232" y="704327"/>
                    </a:cubicBezTo>
                    <a:cubicBezTo>
                      <a:pt x="1093476" y="699906"/>
                      <a:pt x="1100150" y="679551"/>
                      <a:pt x="1097897" y="672878"/>
                    </a:cubicBezTo>
                    <a:cubicBezTo>
                      <a:pt x="1095227" y="663535"/>
                      <a:pt x="1088553" y="656027"/>
                      <a:pt x="1077958" y="655610"/>
                    </a:cubicBezTo>
                    <a:cubicBezTo>
                      <a:pt x="1054515" y="654275"/>
                      <a:pt x="1043837" y="687476"/>
                      <a:pt x="1017724" y="679969"/>
                    </a:cubicBezTo>
                    <a:cubicBezTo>
                      <a:pt x="1000038" y="675130"/>
                      <a:pt x="988024" y="665787"/>
                      <a:pt x="988942" y="648936"/>
                    </a:cubicBezTo>
                    <a:cubicBezTo>
                      <a:pt x="989359" y="637841"/>
                      <a:pt x="990277" y="637424"/>
                      <a:pt x="984103" y="628999"/>
                    </a:cubicBezTo>
                    <a:cubicBezTo>
                      <a:pt x="976594" y="617904"/>
                      <a:pt x="977428" y="621908"/>
                      <a:pt x="982768" y="611314"/>
                    </a:cubicBezTo>
                    <a:cubicBezTo>
                      <a:pt x="987190" y="601970"/>
                      <a:pt x="993363" y="598467"/>
                      <a:pt x="988108" y="585620"/>
                    </a:cubicBezTo>
                    <a:cubicBezTo>
                      <a:pt x="986355" y="582116"/>
                      <a:pt x="973508" y="569687"/>
                      <a:pt x="980098" y="566100"/>
                    </a:cubicBezTo>
                    <a:cubicBezTo>
                      <a:pt x="983185" y="564765"/>
                      <a:pt x="999119" y="579363"/>
                      <a:pt x="1001789" y="580698"/>
                    </a:cubicBezTo>
                    <a:cubicBezTo>
                      <a:pt x="1015555" y="588707"/>
                      <a:pt x="1018141" y="593962"/>
                      <a:pt x="1026567" y="606809"/>
                    </a:cubicBezTo>
                    <a:cubicBezTo>
                      <a:pt x="1040333" y="627163"/>
                      <a:pt x="1050928" y="609895"/>
                      <a:pt x="1065111" y="600636"/>
                    </a:cubicBezTo>
                    <a:cubicBezTo>
                      <a:pt x="1070449" y="597132"/>
                      <a:pt x="1075289" y="593545"/>
                      <a:pt x="1082380" y="596214"/>
                    </a:cubicBezTo>
                    <a:cubicBezTo>
                      <a:pt x="1090806" y="598884"/>
                      <a:pt x="1091223" y="613065"/>
                      <a:pt x="1099649" y="614400"/>
                    </a:cubicBezTo>
                    <a:cubicBezTo>
                      <a:pt x="1112080" y="616652"/>
                      <a:pt x="1128014" y="566600"/>
                      <a:pt x="1130684" y="558175"/>
                    </a:cubicBezTo>
                    <a:cubicBezTo>
                      <a:pt x="1138192" y="533399"/>
                      <a:pt x="1116501" y="512961"/>
                      <a:pt x="1130684" y="489520"/>
                    </a:cubicBezTo>
                    <a:cubicBezTo>
                      <a:pt x="1139528" y="474921"/>
                      <a:pt x="1156796" y="449645"/>
                      <a:pt x="1173231" y="442554"/>
                    </a:cubicBezTo>
                    <a:cubicBezTo>
                      <a:pt x="1197592" y="431042"/>
                      <a:pt x="1224623" y="447392"/>
                      <a:pt x="1249400" y="443471"/>
                    </a:cubicBezTo>
                    <a:cubicBezTo>
                      <a:pt x="1262248" y="441720"/>
                      <a:pt x="1275513" y="434629"/>
                      <a:pt x="1280435" y="422199"/>
                    </a:cubicBezTo>
                    <a:cubicBezTo>
                      <a:pt x="1284439" y="412439"/>
                      <a:pt x="1281353" y="401845"/>
                      <a:pt x="1287109" y="392502"/>
                    </a:cubicBezTo>
                    <a:cubicBezTo>
                      <a:pt x="1291948" y="385411"/>
                      <a:pt x="1300875" y="382324"/>
                      <a:pt x="1307466" y="376568"/>
                    </a:cubicBezTo>
                    <a:cubicBezTo>
                      <a:pt x="1319395" y="365473"/>
                      <a:pt x="1324318" y="350875"/>
                      <a:pt x="1340669" y="346036"/>
                    </a:cubicBezTo>
                    <a:cubicBezTo>
                      <a:pt x="1350848" y="342950"/>
                      <a:pt x="1362360" y="344702"/>
                      <a:pt x="1368617" y="333607"/>
                    </a:cubicBezTo>
                    <a:cubicBezTo>
                      <a:pt x="1374374" y="323429"/>
                      <a:pt x="1369034" y="313252"/>
                      <a:pt x="1379213" y="304827"/>
                    </a:cubicBezTo>
                    <a:cubicBezTo>
                      <a:pt x="1386304" y="298653"/>
                      <a:pt x="1405325" y="296818"/>
                      <a:pt x="1403991" y="283137"/>
                    </a:cubicBezTo>
                    <a:cubicBezTo>
                      <a:pt x="1403573" y="273794"/>
                      <a:pt x="1391560" y="272960"/>
                      <a:pt x="1386304" y="267204"/>
                    </a:cubicBezTo>
                    <a:cubicBezTo>
                      <a:pt x="1374791" y="254357"/>
                      <a:pt x="1396065" y="221990"/>
                      <a:pt x="1375709" y="224242"/>
                    </a:cubicBezTo>
                    <a:cubicBezTo>
                      <a:pt x="1359357" y="225577"/>
                      <a:pt x="1351348" y="253440"/>
                      <a:pt x="1334078" y="256109"/>
                    </a:cubicBezTo>
                    <a:cubicBezTo>
                      <a:pt x="1303044" y="260947"/>
                      <a:pt x="1306130" y="227746"/>
                      <a:pt x="1297788" y="210895"/>
                    </a:cubicBezTo>
                    <a:cubicBezTo>
                      <a:pt x="1292032" y="199800"/>
                      <a:pt x="1278766" y="186953"/>
                      <a:pt x="1265919" y="193627"/>
                    </a:cubicBezTo>
                    <a:cubicBezTo>
                      <a:pt x="1262415" y="195379"/>
                      <a:pt x="1253071" y="215316"/>
                      <a:pt x="1250401" y="213982"/>
                    </a:cubicBezTo>
                    <a:cubicBezTo>
                      <a:pt x="1245062" y="212230"/>
                      <a:pt x="1243727" y="197131"/>
                      <a:pt x="1238889" y="192709"/>
                    </a:cubicBezTo>
                    <a:cubicBezTo>
                      <a:pt x="1228710" y="184284"/>
                      <a:pt x="1219366" y="191375"/>
                      <a:pt x="1208355" y="194962"/>
                    </a:cubicBezTo>
                    <a:cubicBezTo>
                      <a:pt x="1197258" y="198048"/>
                      <a:pt x="1162303" y="214899"/>
                      <a:pt x="1183076" y="192709"/>
                    </a:cubicBezTo>
                    <a:cubicBezTo>
                      <a:pt x="1199428" y="174524"/>
                      <a:pt x="1219867" y="155921"/>
                      <a:pt x="1216780" y="128058"/>
                    </a:cubicBezTo>
                    <a:cubicBezTo>
                      <a:pt x="1212776" y="88601"/>
                      <a:pt x="1192837" y="127641"/>
                      <a:pt x="1176903" y="125806"/>
                    </a:cubicBezTo>
                    <a:cubicBezTo>
                      <a:pt x="1157881" y="123554"/>
                      <a:pt x="1197759" y="103700"/>
                      <a:pt x="1200345" y="98778"/>
                    </a:cubicBezTo>
                    <a:cubicBezTo>
                      <a:pt x="1215446" y="73084"/>
                      <a:pt x="1199011" y="63825"/>
                      <a:pt x="1177737" y="54899"/>
                    </a:cubicBezTo>
                    <a:cubicBezTo>
                      <a:pt x="1163137" y="48726"/>
                      <a:pt x="1155128" y="41635"/>
                      <a:pt x="1152459" y="25702"/>
                    </a:cubicBezTo>
                    <a:cubicBezTo>
                      <a:pt x="1150706" y="15941"/>
                      <a:pt x="1152042" y="-3079"/>
                      <a:pt x="1136941" y="425"/>
                    </a:cubicBezTo>
                    <a:cubicBezTo>
                      <a:pt x="1128515" y="2177"/>
                      <a:pt x="1127597" y="11020"/>
                      <a:pt x="1124094" y="16358"/>
                    </a:cubicBezTo>
                    <a:cubicBezTo>
                      <a:pt x="1120088" y="22114"/>
                      <a:pt x="1116585" y="24367"/>
                      <a:pt x="1111663" y="29205"/>
                    </a:cubicBezTo>
                    <a:cubicBezTo>
                      <a:pt x="1098815" y="42052"/>
                      <a:pt x="1106824" y="39800"/>
                      <a:pt x="1103654" y="55316"/>
                    </a:cubicBezTo>
                    <a:cubicBezTo>
                      <a:pt x="1100567" y="57568"/>
                      <a:pt x="1093893" y="48225"/>
                      <a:pt x="1089889" y="47307"/>
                    </a:cubicBezTo>
                    <a:cubicBezTo>
                      <a:pt x="1083214" y="45973"/>
                      <a:pt x="1077040" y="51312"/>
                      <a:pt x="1071701" y="54815"/>
                    </a:cubicBezTo>
                    <a:cubicBezTo>
                      <a:pt x="1056601" y="65910"/>
                      <a:pt x="1046423" y="82261"/>
                      <a:pt x="1030488" y="92021"/>
                    </a:cubicBezTo>
                    <a:cubicBezTo>
                      <a:pt x="1015889" y="100863"/>
                      <a:pt x="997702" y="102615"/>
                      <a:pt x="983519" y="111958"/>
                    </a:cubicBezTo>
                    <a:cubicBezTo>
                      <a:pt x="972423" y="119466"/>
                      <a:pt x="972006" y="125222"/>
                      <a:pt x="968920" y="138069"/>
                    </a:cubicBezTo>
                    <a:cubicBezTo>
                      <a:pt x="965833" y="148246"/>
                      <a:pt x="953819" y="162845"/>
                      <a:pt x="954737" y="173022"/>
                    </a:cubicBezTo>
                    <a:cubicBezTo>
                      <a:pt x="956489" y="188121"/>
                      <a:pt x="972924" y="189373"/>
                      <a:pt x="956989" y="205806"/>
                    </a:cubicBezTo>
                    <a:cubicBezTo>
                      <a:pt x="941889" y="220906"/>
                      <a:pt x="916194" y="231500"/>
                      <a:pt x="922451" y="259446"/>
                    </a:cubicBezTo>
                    <a:cubicBezTo>
                      <a:pt x="926455" y="276297"/>
                      <a:pt x="932212" y="263450"/>
                      <a:pt x="944142" y="259863"/>
                    </a:cubicBezTo>
                    <a:cubicBezTo>
                      <a:pt x="958741" y="255442"/>
                      <a:pt x="974676" y="263367"/>
                      <a:pt x="987524" y="268705"/>
                    </a:cubicBezTo>
                    <a:cubicBezTo>
                      <a:pt x="1003041" y="275379"/>
                      <a:pt x="1010132" y="270457"/>
                      <a:pt x="1026067" y="268288"/>
                    </a:cubicBezTo>
                    <a:cubicBezTo>
                      <a:pt x="1030071" y="267371"/>
                      <a:pt x="1060605" y="269623"/>
                      <a:pt x="1056184" y="281135"/>
                    </a:cubicBezTo>
                    <a:cubicBezTo>
                      <a:pt x="1053514" y="289144"/>
                      <a:pt x="1040250" y="278049"/>
                      <a:pt x="1037580" y="292230"/>
                    </a:cubicBezTo>
                    <a:cubicBezTo>
                      <a:pt x="1036662" y="296651"/>
                      <a:pt x="1042418" y="300656"/>
                      <a:pt x="1039331" y="305077"/>
                    </a:cubicBezTo>
                    <a:cubicBezTo>
                      <a:pt x="1034493" y="311750"/>
                      <a:pt x="1026484" y="304159"/>
                      <a:pt x="1021144" y="304159"/>
                    </a:cubicBezTo>
                    <a:cubicBezTo>
                      <a:pt x="1007379" y="303742"/>
                      <a:pt x="999871" y="321844"/>
                      <a:pt x="985688" y="319675"/>
                    </a:cubicBezTo>
                    <a:cubicBezTo>
                      <a:pt x="975093" y="317924"/>
                      <a:pt x="970171" y="305077"/>
                      <a:pt x="959576" y="302407"/>
                    </a:cubicBezTo>
                    <a:cubicBezTo>
                      <a:pt x="943223" y="298403"/>
                      <a:pt x="926372" y="311250"/>
                      <a:pt x="909520" y="308580"/>
                    </a:cubicBezTo>
                    <a:cubicBezTo>
                      <a:pt x="895754" y="306328"/>
                      <a:pt x="881572" y="290895"/>
                      <a:pt x="866972" y="293481"/>
                    </a:cubicBezTo>
                    <a:cubicBezTo>
                      <a:pt x="847951" y="296985"/>
                      <a:pt x="862550" y="305911"/>
                      <a:pt x="860298" y="315588"/>
                    </a:cubicBezTo>
                    <a:cubicBezTo>
                      <a:pt x="858045" y="325348"/>
                      <a:pt x="832350" y="315171"/>
                      <a:pt x="824424" y="316005"/>
                    </a:cubicBezTo>
                    <a:cubicBezTo>
                      <a:pt x="805403" y="317340"/>
                      <a:pt x="790719" y="331521"/>
                      <a:pt x="777038" y="343450"/>
                    </a:cubicBezTo>
                    <a:cubicBezTo>
                      <a:pt x="760185" y="357632"/>
                      <a:pt x="743333" y="371813"/>
                      <a:pt x="726565" y="386412"/>
                    </a:cubicBezTo>
                    <a:cubicBezTo>
                      <a:pt x="711965" y="398841"/>
                      <a:pt x="699117" y="413440"/>
                      <a:pt x="684934" y="425870"/>
                    </a:cubicBezTo>
                    <a:cubicBezTo>
                      <a:pt x="676509" y="432960"/>
                      <a:pt x="665913" y="434295"/>
                      <a:pt x="656986" y="440969"/>
                    </a:cubicBezTo>
                    <a:cubicBezTo>
                      <a:pt x="648561" y="447642"/>
                      <a:pt x="639300" y="458237"/>
                      <a:pt x="631291" y="466245"/>
                    </a:cubicBezTo>
                    <a:cubicBezTo>
                      <a:pt x="618026" y="479509"/>
                      <a:pt x="617108" y="475588"/>
                      <a:pt x="600756" y="476423"/>
                    </a:cubicBezTo>
                    <a:cubicBezTo>
                      <a:pt x="571974" y="477757"/>
                      <a:pt x="544944" y="517215"/>
                      <a:pt x="527258" y="537069"/>
                    </a:cubicBezTo>
                    <a:cubicBezTo>
                      <a:pt x="515328" y="550333"/>
                      <a:pt x="504232" y="551668"/>
                      <a:pt x="487797" y="556590"/>
                    </a:cubicBezTo>
                    <a:cubicBezTo>
                      <a:pt x="474031" y="560594"/>
                      <a:pt x="458597" y="572523"/>
                      <a:pt x="447919" y="582283"/>
                    </a:cubicBezTo>
                    <a:cubicBezTo>
                      <a:pt x="441745" y="587622"/>
                      <a:pt x="438575" y="594212"/>
                      <a:pt x="433319" y="599551"/>
                    </a:cubicBezTo>
                    <a:cubicBezTo>
                      <a:pt x="428480" y="603973"/>
                      <a:pt x="421806" y="605724"/>
                      <a:pt x="417801" y="610646"/>
                    </a:cubicBezTo>
                    <a:cubicBezTo>
                      <a:pt x="413797" y="615985"/>
                      <a:pt x="413380" y="623076"/>
                      <a:pt x="410710" y="628331"/>
                    </a:cubicBezTo>
                    <a:cubicBezTo>
                      <a:pt x="405872" y="637174"/>
                      <a:pt x="398280" y="641595"/>
                      <a:pt x="390354" y="647852"/>
                    </a:cubicBezTo>
                    <a:cubicBezTo>
                      <a:pt x="366411" y="665537"/>
                      <a:pt x="349141" y="690813"/>
                      <a:pt x="323446" y="706747"/>
                    </a:cubicBezTo>
                    <a:cubicBezTo>
                      <a:pt x="309263" y="715589"/>
                      <a:pt x="300003" y="715172"/>
                      <a:pt x="292911" y="732857"/>
                    </a:cubicBezTo>
                    <a:cubicBezTo>
                      <a:pt x="287155" y="747956"/>
                      <a:pt x="288490" y="763890"/>
                      <a:pt x="284903" y="779406"/>
                    </a:cubicBezTo>
                    <a:cubicBezTo>
                      <a:pt x="280898" y="795339"/>
                      <a:pt x="269803" y="807769"/>
                      <a:pt x="263629" y="822784"/>
                    </a:cubicBezTo>
                    <a:cubicBezTo>
                      <a:pt x="260125" y="832128"/>
                      <a:pt x="256120" y="839635"/>
                      <a:pt x="251198" y="848478"/>
                    </a:cubicBezTo>
                    <a:cubicBezTo>
                      <a:pt x="249863" y="850730"/>
                      <a:pt x="246359" y="853817"/>
                      <a:pt x="245859" y="856486"/>
                    </a:cubicBezTo>
                    <a:cubicBezTo>
                      <a:pt x="244107" y="868416"/>
                      <a:pt x="248112" y="861325"/>
                      <a:pt x="248529" y="867081"/>
                    </a:cubicBezTo>
                    <a:cubicBezTo>
                      <a:pt x="248946" y="870584"/>
                      <a:pt x="254285" y="871502"/>
                      <a:pt x="249863" y="877675"/>
                    </a:cubicBezTo>
                    <a:cubicBezTo>
                      <a:pt x="246776" y="881679"/>
                      <a:pt x="236098" y="883014"/>
                      <a:pt x="232594" y="883848"/>
                    </a:cubicBezTo>
                    <a:cubicBezTo>
                      <a:pt x="214907" y="889604"/>
                      <a:pt x="217494" y="894443"/>
                      <a:pt x="210403" y="909959"/>
                    </a:cubicBezTo>
                    <a:cubicBezTo>
                      <a:pt x="204646" y="921888"/>
                      <a:pt x="191381" y="937404"/>
                      <a:pt x="182955" y="948082"/>
                    </a:cubicBezTo>
                    <a:cubicBezTo>
                      <a:pt x="174112" y="959177"/>
                      <a:pt x="152421" y="974693"/>
                      <a:pt x="153755" y="990627"/>
                    </a:cubicBezTo>
                    <a:cubicBezTo>
                      <a:pt x="155091" y="1004808"/>
                      <a:pt x="174112" y="1010981"/>
                      <a:pt x="182538" y="1021158"/>
                    </a:cubicBezTo>
                    <a:cubicBezTo>
                      <a:pt x="189629" y="1029167"/>
                      <a:pt x="191882" y="1045517"/>
                      <a:pt x="202477" y="1049521"/>
                    </a:cubicBezTo>
                    <a:cubicBezTo>
                      <a:pt x="214907" y="1054360"/>
                      <a:pt x="226838" y="1038927"/>
                      <a:pt x="239268" y="1038009"/>
                    </a:cubicBezTo>
                    <a:cubicBezTo>
                      <a:pt x="248612" y="1037092"/>
                      <a:pt x="258790" y="1040262"/>
                      <a:pt x="268467" y="1040679"/>
                    </a:cubicBezTo>
                    <a:cubicBezTo>
                      <a:pt x="279063" y="1041596"/>
                      <a:pt x="290158" y="1040262"/>
                      <a:pt x="300837" y="1042931"/>
                    </a:cubicBezTo>
                    <a:cubicBezTo>
                      <a:pt x="320776" y="1048270"/>
                      <a:pt x="322528" y="1061117"/>
                      <a:pt x="334542" y="1074798"/>
                    </a:cubicBezTo>
                    <a:cubicBezTo>
                      <a:pt x="344303" y="1085392"/>
                      <a:pt x="348307" y="1084558"/>
                      <a:pt x="345637" y="1100074"/>
                    </a:cubicBezTo>
                    <a:cubicBezTo>
                      <a:pt x="342967" y="1112003"/>
                      <a:pt x="340298" y="1131107"/>
                      <a:pt x="331872" y="1140867"/>
                    </a:cubicBezTo>
                    <a:cubicBezTo>
                      <a:pt x="316355" y="1158135"/>
                      <a:pt x="306176" y="1139532"/>
                      <a:pt x="290242" y="1137363"/>
                    </a:cubicBezTo>
                    <a:cubicBezTo>
                      <a:pt x="260125" y="1133359"/>
                      <a:pt x="244608" y="1181242"/>
                      <a:pt x="215825" y="1180325"/>
                    </a:cubicBezTo>
                    <a:cubicBezTo>
                      <a:pt x="202560" y="1180325"/>
                      <a:pt x="194552" y="1167478"/>
                      <a:pt x="182622" y="1162640"/>
                    </a:cubicBezTo>
                    <a:cubicBezTo>
                      <a:pt x="171525" y="1158218"/>
                      <a:pt x="154257" y="1157801"/>
                      <a:pt x="143160" y="1162640"/>
                    </a:cubicBezTo>
                    <a:cubicBezTo>
                      <a:pt x="113460" y="1175069"/>
                      <a:pt x="150669" y="1222452"/>
                      <a:pt x="140074" y="1247729"/>
                    </a:cubicBezTo>
                    <a:cubicBezTo>
                      <a:pt x="132566" y="1264997"/>
                      <a:pt x="115713" y="1275674"/>
                      <a:pt x="104618" y="1290273"/>
                    </a:cubicBezTo>
                    <a:cubicBezTo>
                      <a:pt x="91352" y="1307541"/>
                      <a:pt x="84261" y="1327896"/>
                      <a:pt x="71830" y="1345664"/>
                    </a:cubicBezTo>
                    <a:cubicBezTo>
                      <a:pt x="67826" y="1351420"/>
                      <a:pt x="63404" y="1357593"/>
                      <a:pt x="56730" y="1360763"/>
                    </a:cubicBezTo>
                    <a:cubicBezTo>
                      <a:pt x="49639" y="1364267"/>
                      <a:pt x="40379" y="1361681"/>
                      <a:pt x="33288" y="1366102"/>
                    </a:cubicBezTo>
                    <a:cubicBezTo>
                      <a:pt x="21774" y="1373193"/>
                      <a:pt x="26613" y="1387375"/>
                      <a:pt x="21357" y="1398469"/>
                    </a:cubicBezTo>
                    <a:cubicBezTo>
                      <a:pt x="16018" y="1409064"/>
                      <a:pt x="8927" y="1417990"/>
                      <a:pt x="4088" y="1428584"/>
                    </a:cubicBezTo>
                    <a:lnTo>
                      <a:pt x="4088" y="1428584"/>
                    </a:lnTo>
                    <a:lnTo>
                      <a:pt x="4088" y="1428584"/>
                    </a:lnTo>
                    <a:cubicBezTo>
                      <a:pt x="3170" y="1430336"/>
                      <a:pt x="2336" y="1432588"/>
                      <a:pt x="1836" y="1434757"/>
                    </a:cubicBezTo>
                    <a:cubicBezTo>
                      <a:pt x="1836" y="1435175"/>
                      <a:pt x="2253" y="1435675"/>
                      <a:pt x="2253" y="1436092"/>
                    </a:cubicBezTo>
                    <a:cubicBezTo>
                      <a:pt x="1836" y="1438762"/>
                      <a:pt x="917" y="1441431"/>
                      <a:pt x="0" y="1444518"/>
                    </a:cubicBezTo>
                    <a:cubicBezTo>
                      <a:pt x="4004" y="1456030"/>
                      <a:pt x="8426" y="1467542"/>
                      <a:pt x="15517" y="1476885"/>
                    </a:cubicBezTo>
                    <a:cubicBezTo>
                      <a:pt x="22608" y="1486645"/>
                      <a:pt x="32787" y="1492818"/>
                      <a:pt x="42965" y="1493736"/>
                    </a:cubicBezTo>
                    <a:cubicBezTo>
                      <a:pt x="45218" y="1493736"/>
                      <a:pt x="47803" y="1494153"/>
                      <a:pt x="50473" y="1494153"/>
                    </a:cubicBezTo>
                    <a:cubicBezTo>
                      <a:pt x="57565" y="1494153"/>
                      <a:pt x="65573" y="1494153"/>
                      <a:pt x="72581" y="1498574"/>
                    </a:cubicBezTo>
                    <a:cubicBezTo>
                      <a:pt x="77003" y="1501244"/>
                      <a:pt x="80590" y="1505665"/>
                      <a:pt x="83177" y="1509168"/>
                    </a:cubicBezTo>
                    <a:cubicBezTo>
                      <a:pt x="85429" y="1512255"/>
                      <a:pt x="87598" y="1514924"/>
                      <a:pt x="89851" y="1516259"/>
                    </a:cubicBezTo>
                    <a:cubicBezTo>
                      <a:pt x="93855" y="1518929"/>
                      <a:pt x="100029" y="1519346"/>
                      <a:pt x="105785" y="1518929"/>
                    </a:cubicBezTo>
                    <a:lnTo>
                      <a:pt x="108455" y="1518929"/>
                    </a:lnTo>
                    <a:cubicBezTo>
                      <a:pt x="114629" y="1518512"/>
                      <a:pt x="121303" y="1518011"/>
                      <a:pt x="128394" y="1520263"/>
                    </a:cubicBezTo>
                    <a:cubicBezTo>
                      <a:pt x="138155" y="1523350"/>
                      <a:pt x="142160" y="1531358"/>
                      <a:pt x="145246" y="1537531"/>
                    </a:cubicBezTo>
                    <a:cubicBezTo>
                      <a:pt x="146581" y="1540618"/>
                      <a:pt x="148333" y="1543287"/>
                      <a:pt x="150085" y="1545540"/>
                    </a:cubicBezTo>
                    <a:cubicBezTo>
                      <a:pt x="153171" y="1549544"/>
                      <a:pt x="158928" y="1551296"/>
                      <a:pt x="164685" y="1553548"/>
                    </a:cubicBezTo>
                    <a:cubicBezTo>
                      <a:pt x="168689" y="1554883"/>
                      <a:pt x="172694" y="1556635"/>
                      <a:pt x="176615" y="1558887"/>
                    </a:cubicBezTo>
                    <a:cubicBezTo>
                      <a:pt x="187710" y="1565561"/>
                      <a:pt x="195219" y="1576572"/>
                      <a:pt x="196970" y="1589419"/>
                    </a:cubicBezTo>
                    <a:cubicBezTo>
                      <a:pt x="198723" y="1602266"/>
                      <a:pt x="194301" y="1615113"/>
                      <a:pt x="185458" y="1624372"/>
                    </a:cubicBezTo>
                    <a:cubicBezTo>
                      <a:pt x="181453" y="1628793"/>
                      <a:pt x="176615" y="1631880"/>
                      <a:pt x="172193" y="1634550"/>
                    </a:cubicBezTo>
                    <a:cubicBezTo>
                      <a:pt x="166437" y="1638053"/>
                      <a:pt x="161598" y="1641640"/>
                      <a:pt x="158428" y="1646479"/>
                    </a:cubicBezTo>
                    <a:cubicBezTo>
                      <a:pt x="154423" y="1653152"/>
                      <a:pt x="154423" y="1661077"/>
                      <a:pt x="154924" y="1669920"/>
                    </a:cubicBezTo>
                    <a:cubicBezTo>
                      <a:pt x="154924" y="1674341"/>
                      <a:pt x="155341" y="1679263"/>
                      <a:pt x="154507" y="1683684"/>
                    </a:cubicBezTo>
                    <a:cubicBezTo>
                      <a:pt x="152254" y="1706708"/>
                      <a:pt x="142994" y="1723559"/>
                      <a:pt x="133650" y="1738158"/>
                    </a:cubicBezTo>
                    <a:cubicBezTo>
                      <a:pt x="126142" y="1750087"/>
                      <a:pt x="120802" y="1762934"/>
                      <a:pt x="115046" y="1776698"/>
                    </a:cubicBezTo>
                    <a:cubicBezTo>
                      <a:pt x="111959" y="1784206"/>
                      <a:pt x="108872" y="1792214"/>
                      <a:pt x="105285" y="1799722"/>
                    </a:cubicBezTo>
                    <a:lnTo>
                      <a:pt x="104367" y="1801975"/>
                    </a:lnTo>
                    <a:cubicBezTo>
                      <a:pt x="101698" y="1807730"/>
                      <a:pt x="99028" y="1813069"/>
                      <a:pt x="97692" y="1818825"/>
                    </a:cubicBezTo>
                    <a:cubicBezTo>
                      <a:pt x="95941" y="1827251"/>
                      <a:pt x="99028" y="1840098"/>
                      <a:pt x="106536" y="1845437"/>
                    </a:cubicBezTo>
                    <a:cubicBezTo>
                      <a:pt x="109623" y="1847689"/>
                      <a:pt x="113628" y="1848523"/>
                      <a:pt x="117632" y="1849441"/>
                    </a:cubicBezTo>
                    <a:cubicBezTo>
                      <a:pt x="119383" y="1849858"/>
                      <a:pt x="120719" y="1850358"/>
                      <a:pt x="122470" y="1850776"/>
                    </a:cubicBezTo>
                    <a:cubicBezTo>
                      <a:pt x="132232" y="1853862"/>
                      <a:pt x="138823" y="1859201"/>
                      <a:pt x="141492" y="1865875"/>
                    </a:cubicBezTo>
                    <a:cubicBezTo>
                      <a:pt x="144161" y="1872548"/>
                      <a:pt x="142410" y="1878721"/>
                      <a:pt x="141074" y="1884060"/>
                    </a:cubicBezTo>
                    <a:cubicBezTo>
                      <a:pt x="140657" y="1886730"/>
                      <a:pt x="139740" y="1888899"/>
                      <a:pt x="139740" y="1891151"/>
                    </a:cubicBezTo>
                    <a:cubicBezTo>
                      <a:pt x="138823" y="1900911"/>
                      <a:pt x="147248" y="1909754"/>
                      <a:pt x="155257" y="1913758"/>
                    </a:cubicBezTo>
                    <a:cubicBezTo>
                      <a:pt x="165435" y="1918596"/>
                      <a:pt x="176948" y="1919097"/>
                      <a:pt x="188462" y="1919097"/>
                    </a:cubicBezTo>
                    <a:lnTo>
                      <a:pt x="188462" y="1919097"/>
                    </a:lnTo>
                    <a:cubicBezTo>
                      <a:pt x="198222" y="1919097"/>
                      <a:pt x="207066" y="1916010"/>
                      <a:pt x="216827" y="1912924"/>
                    </a:cubicBezTo>
                    <a:cubicBezTo>
                      <a:pt x="224335" y="1910254"/>
                      <a:pt x="232344" y="1907585"/>
                      <a:pt x="241187" y="1906250"/>
                    </a:cubicBezTo>
                    <a:cubicBezTo>
                      <a:pt x="251782" y="1904915"/>
                      <a:pt x="266883" y="1904498"/>
                      <a:pt x="280648" y="1912423"/>
                    </a:cubicBezTo>
                    <a:cubicBezTo>
                      <a:pt x="292578" y="1919514"/>
                      <a:pt x="300170" y="1930609"/>
                      <a:pt x="307261" y="1941203"/>
                    </a:cubicBezTo>
                    <a:cubicBezTo>
                      <a:pt x="311265" y="1946959"/>
                      <a:pt x="314769" y="1952298"/>
                      <a:pt x="318774" y="1957137"/>
                    </a:cubicBezTo>
                    <a:cubicBezTo>
                      <a:pt x="323196" y="1961975"/>
                      <a:pt x="328118" y="1966480"/>
                      <a:pt x="333373" y="1970400"/>
                    </a:cubicBezTo>
                    <a:cubicBezTo>
                      <a:pt x="344887" y="1965062"/>
                      <a:pt x="356817" y="1960223"/>
                      <a:pt x="370165" y="1958471"/>
                    </a:cubicBezTo>
                    <a:cubicBezTo>
                      <a:pt x="388352" y="1955802"/>
                      <a:pt x="405120" y="1960223"/>
                      <a:pt x="416217" y="1970400"/>
                    </a:cubicBezTo>
                    <a:cubicBezTo>
                      <a:pt x="420638" y="1974405"/>
                      <a:pt x="424225" y="1978826"/>
                      <a:pt x="427730" y="1983664"/>
                    </a:cubicBezTo>
                    <a:cubicBezTo>
                      <a:pt x="433486" y="1991172"/>
                      <a:pt x="438325" y="1997846"/>
                      <a:pt x="445416" y="1998763"/>
                    </a:cubicBezTo>
                    <a:cubicBezTo>
                      <a:pt x="451589" y="1999681"/>
                      <a:pt x="459182" y="1996094"/>
                      <a:pt x="466273" y="1991673"/>
                    </a:cubicBezTo>
                    <a:lnTo>
                      <a:pt x="495973" y="1973988"/>
                    </a:lnTo>
                    <a:cubicBezTo>
                      <a:pt x="501729" y="1970484"/>
                      <a:pt x="507485" y="1967314"/>
                      <a:pt x="514159" y="1965145"/>
                    </a:cubicBezTo>
                    <a:cubicBezTo>
                      <a:pt x="524338" y="1962058"/>
                      <a:pt x="535016" y="1962476"/>
                      <a:pt x="545194" y="1963393"/>
                    </a:cubicBezTo>
                    <a:lnTo>
                      <a:pt x="549199" y="1963810"/>
                    </a:lnTo>
                    <a:cubicBezTo>
                      <a:pt x="569138" y="1965145"/>
                      <a:pt x="581985" y="1961141"/>
                      <a:pt x="588659" y="1952298"/>
                    </a:cubicBezTo>
                    <a:cubicBezTo>
                      <a:pt x="589995" y="1950546"/>
                      <a:pt x="591329" y="1948294"/>
                      <a:pt x="592665" y="1946125"/>
                    </a:cubicBezTo>
                    <a:cubicBezTo>
                      <a:pt x="593999" y="1943456"/>
                      <a:pt x="595751" y="1940369"/>
                      <a:pt x="598003" y="1937700"/>
                    </a:cubicBezTo>
                    <a:cubicBezTo>
                      <a:pt x="603760" y="1930609"/>
                      <a:pt x="611769" y="1926188"/>
                      <a:pt x="618360" y="1923518"/>
                    </a:cubicBezTo>
                    <a:cubicBezTo>
                      <a:pt x="631207" y="1917762"/>
                      <a:pt x="644472" y="1914676"/>
                      <a:pt x="658655" y="1913341"/>
                    </a:cubicBezTo>
                    <a:cubicBezTo>
                      <a:pt x="661325" y="1913341"/>
                      <a:pt x="664412" y="1912924"/>
                      <a:pt x="667081" y="1912924"/>
                    </a:cubicBezTo>
                    <a:cubicBezTo>
                      <a:pt x="675507" y="1912507"/>
                      <a:pt x="683016" y="1912006"/>
                      <a:pt x="690107" y="1909420"/>
                    </a:cubicBezTo>
                    <a:cubicBezTo>
                      <a:pt x="696781" y="1906751"/>
                      <a:pt x="702954" y="1901412"/>
                      <a:pt x="709128" y="1896573"/>
                    </a:cubicBezTo>
                    <a:cubicBezTo>
                      <a:pt x="721559" y="1885979"/>
                      <a:pt x="733072" y="1875718"/>
                      <a:pt x="740163" y="1863789"/>
                    </a:cubicBezTo>
                    <a:cubicBezTo>
                      <a:pt x="736659" y="1859785"/>
                      <a:pt x="733072" y="1855364"/>
                      <a:pt x="730402" y="1849190"/>
                    </a:cubicBezTo>
                    <a:cubicBezTo>
                      <a:pt x="720641" y="1828335"/>
                      <a:pt x="731319" y="1815072"/>
                      <a:pt x="740163" y="1803142"/>
                    </a:cubicBezTo>
                    <a:cubicBezTo>
                      <a:pt x="742416" y="1800473"/>
                      <a:pt x="744167" y="1797804"/>
                      <a:pt x="746336" y="1795134"/>
                    </a:cubicBezTo>
                    <a:cubicBezTo>
                      <a:pt x="748089" y="1792464"/>
                      <a:pt x="749840" y="1789795"/>
                      <a:pt x="751176" y="1787126"/>
                    </a:cubicBezTo>
                    <a:cubicBezTo>
                      <a:pt x="754679" y="1781370"/>
                      <a:pt x="758267" y="1775196"/>
                      <a:pt x="763105" y="1770275"/>
                    </a:cubicBezTo>
                    <a:cubicBezTo>
                      <a:pt x="768444" y="1765436"/>
                      <a:pt x="774201" y="1763601"/>
                      <a:pt x="779040" y="1761432"/>
                    </a:cubicBezTo>
                    <a:cubicBezTo>
                      <a:pt x="782127" y="1760097"/>
                      <a:pt x="785214" y="1759180"/>
                      <a:pt x="787883" y="1757428"/>
                    </a:cubicBezTo>
                    <a:cubicBezTo>
                      <a:pt x="793639" y="1753924"/>
                      <a:pt x="793222" y="1753007"/>
                      <a:pt x="791387" y="1746333"/>
                    </a:cubicBezTo>
                    <a:cubicBezTo>
                      <a:pt x="790052" y="1742329"/>
                      <a:pt x="788718" y="1737490"/>
                      <a:pt x="789135" y="1731234"/>
                    </a:cubicBezTo>
                    <a:cubicBezTo>
                      <a:pt x="790886" y="1707793"/>
                      <a:pt x="813078" y="1702871"/>
                      <a:pt x="831181" y="1698450"/>
                    </a:cubicBezTo>
                    <a:cubicBezTo>
                      <a:pt x="843111" y="1695363"/>
                      <a:pt x="855959" y="1692694"/>
                      <a:pt x="860882" y="1685186"/>
                    </a:cubicBezTo>
                    <a:cubicBezTo>
                      <a:pt x="862216" y="1683434"/>
                      <a:pt x="862633" y="1680347"/>
                      <a:pt x="863551" y="1677177"/>
                    </a:cubicBezTo>
                    <a:cubicBezTo>
                      <a:pt x="864469" y="1673173"/>
                      <a:pt x="865303" y="1667834"/>
                      <a:pt x="868390" y="1663413"/>
                    </a:cubicBezTo>
                    <a:cubicBezTo>
                      <a:pt x="871476" y="1659409"/>
                      <a:pt x="875064" y="1656739"/>
                      <a:pt x="878151" y="1654570"/>
                    </a:cubicBezTo>
                    <a:cubicBezTo>
                      <a:pt x="879903" y="1652819"/>
                      <a:pt x="882156" y="1651484"/>
                      <a:pt x="883490" y="1649732"/>
                    </a:cubicBezTo>
                    <a:cubicBezTo>
                      <a:pt x="888329" y="1643976"/>
                      <a:pt x="890164" y="1637302"/>
                      <a:pt x="892333" y="1630212"/>
                    </a:cubicBezTo>
                    <a:cubicBezTo>
                      <a:pt x="893668" y="1625373"/>
                      <a:pt x="895003" y="1620451"/>
                      <a:pt x="897173" y="1615613"/>
                    </a:cubicBezTo>
                    <a:cubicBezTo>
                      <a:pt x="903847" y="1601849"/>
                      <a:pt x="917111" y="1600514"/>
                      <a:pt x="928207" y="1599263"/>
                    </a:cubicBezTo>
                    <a:cubicBezTo>
                      <a:pt x="933963" y="1598846"/>
                      <a:pt x="939720" y="1598345"/>
                      <a:pt x="944142" y="1596176"/>
                    </a:cubicBezTo>
                    <a:cubicBezTo>
                      <a:pt x="952567" y="1591755"/>
                      <a:pt x="956072" y="1585582"/>
                      <a:pt x="959659" y="1577156"/>
                    </a:cubicBezTo>
                    <a:cubicBezTo>
                      <a:pt x="962329" y="1571400"/>
                      <a:pt x="965416" y="1565227"/>
                      <a:pt x="970754" y="1558971"/>
                    </a:cubicBezTo>
                    <a:cubicBezTo>
                      <a:pt x="984020" y="1543871"/>
                      <a:pt x="999119" y="1544372"/>
                      <a:pt x="1013302" y="1544789"/>
                    </a:cubicBezTo>
                    <a:lnTo>
                      <a:pt x="1025233" y="1544789"/>
                    </a:lnTo>
                    <a:cubicBezTo>
                      <a:pt x="1035410" y="1544372"/>
                      <a:pt x="1040333" y="1539951"/>
                      <a:pt x="1046924" y="1533694"/>
                    </a:cubicBezTo>
                    <a:cubicBezTo>
                      <a:pt x="1050427" y="1530608"/>
                      <a:pt x="1054432" y="1526603"/>
                      <a:pt x="1059354" y="1523517"/>
                    </a:cubicBezTo>
                    <a:cubicBezTo>
                      <a:pt x="1077040" y="1512005"/>
                      <a:pt x="1099649" y="1510670"/>
                      <a:pt x="1115584" y="1520430"/>
                    </a:cubicBezTo>
                    <a:cubicBezTo>
                      <a:pt x="1127097" y="1527521"/>
                      <a:pt x="1130684" y="1539951"/>
                      <a:pt x="1133771" y="1550962"/>
                    </a:cubicBezTo>
                    <a:cubicBezTo>
                      <a:pt x="1135105" y="1555383"/>
                      <a:pt x="1136441" y="1559805"/>
                      <a:pt x="1138192" y="1563809"/>
                    </a:cubicBezTo>
                    <a:cubicBezTo>
                      <a:pt x="1141279" y="1570483"/>
                      <a:pt x="1145283" y="1577073"/>
                      <a:pt x="1149705" y="1584164"/>
                    </a:cubicBezTo>
                    <a:cubicBezTo>
                      <a:pt x="1154544" y="1592172"/>
                      <a:pt x="1159883" y="1600514"/>
                      <a:pt x="1163470" y="1609440"/>
                    </a:cubicBezTo>
                    <a:cubicBezTo>
                      <a:pt x="1164389" y="1612109"/>
                      <a:pt x="1165723" y="1614779"/>
                      <a:pt x="1166557" y="1617865"/>
                    </a:cubicBezTo>
                    <a:cubicBezTo>
                      <a:pt x="1171396" y="1631630"/>
                      <a:pt x="1173649" y="1635133"/>
                      <a:pt x="1181658" y="1633799"/>
                    </a:cubicBezTo>
                    <a:cubicBezTo>
                      <a:pt x="1189667" y="1632464"/>
                      <a:pt x="1195423" y="1624956"/>
                      <a:pt x="1201597" y="1616948"/>
                    </a:cubicBezTo>
                    <a:cubicBezTo>
                      <a:pt x="1206018" y="1610274"/>
                      <a:pt x="1211358" y="1604101"/>
                      <a:pt x="1217949" y="1599680"/>
                    </a:cubicBezTo>
                    <a:cubicBezTo>
                      <a:pt x="1226375" y="1594341"/>
                      <a:pt x="1235217" y="1591671"/>
                      <a:pt x="1243644" y="1589085"/>
                    </a:cubicBezTo>
                    <a:cubicBezTo>
                      <a:pt x="1251653" y="1586833"/>
                      <a:pt x="1259161" y="1584664"/>
                      <a:pt x="1265752" y="1580243"/>
                    </a:cubicBezTo>
                    <a:cubicBezTo>
                      <a:pt x="1283939" y="1568731"/>
                      <a:pt x="1294534" y="1571400"/>
                      <a:pt x="1308717" y="1574904"/>
                    </a:cubicBezTo>
                    <a:cubicBezTo>
                      <a:pt x="1312221" y="1575821"/>
                      <a:pt x="1316225" y="1576656"/>
                      <a:pt x="1321147" y="1577573"/>
                    </a:cubicBezTo>
                    <a:cubicBezTo>
                      <a:pt x="1335747" y="1580660"/>
                      <a:pt x="1340669" y="1575321"/>
                      <a:pt x="1347260" y="1559388"/>
                    </a:cubicBezTo>
                    <a:cubicBezTo>
                      <a:pt x="1362360" y="1523517"/>
                      <a:pt x="1371620" y="1487145"/>
                      <a:pt x="1372037" y="1456614"/>
                    </a:cubicBezTo>
                    <a:cubicBezTo>
                      <a:pt x="1372455" y="1437594"/>
                      <a:pt x="1379546" y="1427416"/>
                      <a:pt x="1387555" y="1416321"/>
                    </a:cubicBezTo>
                    <a:cubicBezTo>
                      <a:pt x="1389808" y="1413235"/>
                      <a:pt x="1392394" y="1409648"/>
                      <a:pt x="1395064" y="1405227"/>
                    </a:cubicBezTo>
                    <a:cubicBezTo>
                      <a:pt x="1403072" y="1392380"/>
                      <a:pt x="1403072" y="1382202"/>
                      <a:pt x="1403490" y="1368438"/>
                    </a:cubicBezTo>
                    <a:cubicBezTo>
                      <a:pt x="1403490" y="1364934"/>
                      <a:pt x="1403490" y="1360930"/>
                      <a:pt x="1403907" y="1357343"/>
                    </a:cubicBezTo>
                    <a:cubicBezTo>
                      <a:pt x="1404825" y="1341827"/>
                      <a:pt x="1406159" y="1317885"/>
                      <a:pt x="1423846" y="1305539"/>
                    </a:cubicBezTo>
                    <a:cubicBezTo>
                      <a:pt x="1439363" y="1294945"/>
                      <a:pt x="1453546" y="1300200"/>
                      <a:pt x="1466394" y="1305122"/>
                    </a:cubicBezTo>
                    <a:cubicBezTo>
                      <a:pt x="1468145" y="1306040"/>
                      <a:pt x="1470398" y="1306457"/>
                      <a:pt x="1472567" y="1307374"/>
                    </a:cubicBezTo>
                    <a:cubicBezTo>
                      <a:pt x="1481411" y="1310044"/>
                      <a:pt x="1486749" y="1311796"/>
                      <a:pt x="1493841" y="1308709"/>
                    </a:cubicBezTo>
                    <a:cubicBezTo>
                      <a:pt x="1496093" y="1307791"/>
                      <a:pt x="1497846" y="1306040"/>
                      <a:pt x="1500015" y="1303871"/>
                    </a:cubicBezTo>
                    <a:cubicBezTo>
                      <a:pt x="1504019" y="1300367"/>
                      <a:pt x="1508857" y="1295862"/>
                      <a:pt x="1516867" y="1295028"/>
                    </a:cubicBezTo>
                    <a:cubicBezTo>
                      <a:pt x="1522206" y="1294611"/>
                      <a:pt x="1526628" y="1295946"/>
                      <a:pt x="1531049" y="1297280"/>
                    </a:cubicBezTo>
                    <a:cubicBezTo>
                      <a:pt x="1531467" y="1295028"/>
                      <a:pt x="1531967" y="1292859"/>
                      <a:pt x="1532384" y="1290190"/>
                    </a:cubicBezTo>
                    <a:cubicBezTo>
                      <a:pt x="1533719" y="1276926"/>
                      <a:pt x="1524876" y="1272004"/>
                      <a:pt x="1520871" y="1260992"/>
                    </a:cubicBezTo>
                    <a:cubicBezTo>
                      <a:pt x="1517784" y="1252567"/>
                      <a:pt x="1520454" y="1242390"/>
                      <a:pt x="1519537" y="1233547"/>
                    </a:cubicBezTo>
                    <a:cubicBezTo>
                      <a:pt x="1517784" y="1220283"/>
                      <a:pt x="1512863" y="1207437"/>
                      <a:pt x="1511527" y="1194089"/>
                    </a:cubicBezTo>
                    <a:cubicBezTo>
                      <a:pt x="1508857" y="1167061"/>
                      <a:pt x="1508440" y="1137864"/>
                      <a:pt x="1498680" y="1111670"/>
                    </a:cubicBezTo>
                    <a:cubicBezTo>
                      <a:pt x="1492923" y="1096571"/>
                      <a:pt x="1491589" y="1068291"/>
                      <a:pt x="1475654" y="1062035"/>
                    </a:cubicBezTo>
                    <a:cubicBezTo>
                      <a:pt x="1464141" y="1056696"/>
                      <a:pt x="1446871" y="1061117"/>
                      <a:pt x="1449958" y="1043849"/>
                    </a:cubicBezTo>
                    <a:cubicBezTo>
                      <a:pt x="1450376" y="1041596"/>
                      <a:pt x="1455298" y="1032337"/>
                      <a:pt x="1457467" y="1031002"/>
                    </a:cubicBezTo>
                    <a:cubicBezTo>
                      <a:pt x="1464141" y="1026581"/>
                      <a:pt x="1460554" y="1032754"/>
                      <a:pt x="1469397" y="1034089"/>
                    </a:cubicBezTo>
                    <a:cubicBezTo>
                      <a:pt x="1490253" y="1037592"/>
                      <a:pt x="1494675" y="1019490"/>
                      <a:pt x="1503936" y="1004891"/>
                    </a:cubicBezTo>
                    <a:cubicBezTo>
                      <a:pt x="1516366" y="984954"/>
                      <a:pt x="1533635" y="965017"/>
                      <a:pt x="1551322" y="949083"/>
                    </a:cubicBezTo>
                    <a:cubicBezTo>
                      <a:pt x="1556161" y="944662"/>
                      <a:pt x="1567256" y="939323"/>
                      <a:pt x="1568592" y="932232"/>
                    </a:cubicBezTo>
                    <a:cubicBezTo>
                      <a:pt x="1571094" y="916466"/>
                      <a:pt x="1555660" y="918218"/>
                      <a:pt x="1549403" y="908541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</p:grpSp>
      <p:sp>
        <p:nvSpPr>
          <p:cNvPr id="1895471895" name="Прямоугольник 48"/>
          <p:cNvSpPr/>
          <p:nvPr/>
        </p:nvSpPr>
        <p:spPr bwMode="auto">
          <a:xfrm>
            <a:off x="10140760" y="3122191"/>
            <a:ext cx="563595" cy="145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Чукотский АО</a:t>
            </a:r>
            <a:endParaRPr lang="ru-RU" sz="600">
              <a:solidFill>
                <a:schemeClr val="bg1"/>
              </a:solidFill>
            </a:endParaRPr>
          </a:p>
        </p:txBody>
      </p:sp>
      <p:grpSp>
        <p:nvGrpSpPr>
          <p:cNvPr id="1500553987" name="Group 199"/>
          <p:cNvGrpSpPr/>
          <p:nvPr/>
        </p:nvGrpSpPr>
        <p:grpSpPr bwMode="auto">
          <a:xfrm>
            <a:off x="10266842" y="2753982"/>
            <a:ext cx="317091" cy="317091"/>
            <a:chOff x="0" y="0"/>
            <a:chExt cx="317091" cy="317091"/>
          </a:xfrm>
        </p:grpSpPr>
        <p:grpSp>
          <p:nvGrpSpPr>
            <p:cNvPr id="1180863546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16735052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901179399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192874399" name="TextBox 688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8</a:t>
              </a:r>
              <a:endParaRPr sz="1000" b="1">
                <a:latin typeface="Arial"/>
              </a:endParaRPr>
            </a:p>
          </p:txBody>
        </p:sp>
      </p:grpSp>
      <p:sp>
        <p:nvSpPr>
          <p:cNvPr id="1734103024" name="Прямоугольник 48"/>
          <p:cNvSpPr/>
          <p:nvPr/>
        </p:nvSpPr>
        <p:spPr bwMode="auto">
          <a:xfrm>
            <a:off x="10508056" y="4187120"/>
            <a:ext cx="689841" cy="145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Камчатский край</a:t>
            </a:r>
            <a:endParaRPr/>
          </a:p>
        </p:txBody>
      </p:sp>
      <p:grpSp>
        <p:nvGrpSpPr>
          <p:cNvPr id="842832450" name="Group 201"/>
          <p:cNvGrpSpPr/>
          <p:nvPr/>
        </p:nvGrpSpPr>
        <p:grpSpPr bwMode="auto">
          <a:xfrm>
            <a:off x="10715074" y="3816715"/>
            <a:ext cx="317091" cy="317091"/>
            <a:chOff x="0" y="0"/>
            <a:chExt cx="317091" cy="317091"/>
          </a:xfrm>
        </p:grpSpPr>
        <p:grpSp>
          <p:nvGrpSpPr>
            <p:cNvPr id="876878087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716615845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533409086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776824621" name="TextBox 694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9</a:t>
              </a:r>
              <a:endParaRPr sz="1000" b="1">
                <a:latin typeface="Arial"/>
              </a:endParaRPr>
            </a:p>
          </p:txBody>
        </p:sp>
      </p:grpSp>
      <p:sp>
        <p:nvSpPr>
          <p:cNvPr id="573977921" name="Прямоугольник 48"/>
          <p:cNvSpPr/>
          <p:nvPr/>
        </p:nvSpPr>
        <p:spPr bwMode="auto">
          <a:xfrm>
            <a:off x="10429278" y="5134489"/>
            <a:ext cx="531988" cy="2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Сахалинская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область</a:t>
            </a:r>
            <a:endParaRPr/>
          </a:p>
        </p:txBody>
      </p:sp>
      <p:grpSp>
        <p:nvGrpSpPr>
          <p:cNvPr id="2081009610" name="Group 207"/>
          <p:cNvGrpSpPr/>
          <p:nvPr/>
        </p:nvGrpSpPr>
        <p:grpSpPr bwMode="auto">
          <a:xfrm>
            <a:off x="10519875" y="4778238"/>
            <a:ext cx="317091" cy="317091"/>
            <a:chOff x="0" y="0"/>
            <a:chExt cx="317091" cy="317091"/>
          </a:xfrm>
        </p:grpSpPr>
        <p:grpSp>
          <p:nvGrpSpPr>
            <p:cNvPr id="176672426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501069543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596697812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92234155" name="TextBox 700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8</a:t>
              </a:r>
              <a:endParaRPr sz="1000" b="1">
                <a:latin typeface="Arial"/>
              </a:endParaRPr>
            </a:p>
          </p:txBody>
        </p:sp>
      </p:grpSp>
      <p:sp>
        <p:nvSpPr>
          <p:cNvPr id="436444564" name="Прямоугольник 48"/>
          <p:cNvSpPr/>
          <p:nvPr/>
        </p:nvSpPr>
        <p:spPr bwMode="auto">
          <a:xfrm>
            <a:off x="8998981" y="4610560"/>
            <a:ext cx="577614" cy="255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Республика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Саха (Якутия)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138934198" name="Group 213"/>
          <p:cNvGrpSpPr/>
          <p:nvPr/>
        </p:nvGrpSpPr>
        <p:grpSpPr bwMode="auto">
          <a:xfrm>
            <a:off x="9118193" y="4185711"/>
            <a:ext cx="317091" cy="317091"/>
            <a:chOff x="0" y="0"/>
            <a:chExt cx="317091" cy="317091"/>
          </a:xfrm>
        </p:grpSpPr>
        <p:grpSp>
          <p:nvGrpSpPr>
            <p:cNvPr id="227709676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246452761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496548616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335458555" name="TextBox 706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7</a:t>
              </a:r>
              <a:endParaRPr sz="1000" b="1">
                <a:latin typeface="Arial"/>
              </a:endParaRPr>
            </a:p>
          </p:txBody>
        </p:sp>
      </p:grpSp>
      <p:sp>
        <p:nvSpPr>
          <p:cNvPr id="1600618938" name="Прямоугольник 48"/>
          <p:cNvSpPr/>
          <p:nvPr/>
        </p:nvSpPr>
        <p:spPr bwMode="auto">
          <a:xfrm>
            <a:off x="9782872" y="5116216"/>
            <a:ext cx="530944" cy="2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Хабаровский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край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1171013875" name="Group 219"/>
          <p:cNvGrpSpPr/>
          <p:nvPr/>
        </p:nvGrpSpPr>
        <p:grpSpPr bwMode="auto">
          <a:xfrm>
            <a:off x="9873675" y="4708290"/>
            <a:ext cx="317091" cy="317091"/>
            <a:chOff x="0" y="0"/>
            <a:chExt cx="317091" cy="317091"/>
          </a:xfrm>
        </p:grpSpPr>
        <p:grpSp>
          <p:nvGrpSpPr>
            <p:cNvPr id="894509426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667744441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1737080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740236341" name="TextBox 712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11</a:t>
              </a:r>
              <a:endParaRPr sz="1000" b="1">
                <a:latin typeface="Arial"/>
              </a:endParaRPr>
            </a:p>
          </p:txBody>
        </p:sp>
      </p:grpSp>
      <p:sp>
        <p:nvSpPr>
          <p:cNvPr id="889479122" name="Прямоугольник 48"/>
          <p:cNvSpPr/>
          <p:nvPr/>
        </p:nvSpPr>
        <p:spPr bwMode="auto">
          <a:xfrm>
            <a:off x="10039842" y="5633813"/>
            <a:ext cx="581235" cy="2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Еврейская АО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306497570" name="Group 225"/>
          <p:cNvGrpSpPr/>
          <p:nvPr/>
        </p:nvGrpSpPr>
        <p:grpSpPr bwMode="auto">
          <a:xfrm>
            <a:off x="10131675" y="5267639"/>
            <a:ext cx="317091" cy="317091"/>
            <a:chOff x="0" y="0"/>
            <a:chExt cx="317091" cy="317091"/>
          </a:xfrm>
        </p:grpSpPr>
        <p:grpSp>
          <p:nvGrpSpPr>
            <p:cNvPr id="1976301460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544215991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26126756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154514063" name="TextBox 718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1</a:t>
              </a:r>
              <a:endParaRPr sz="1000" b="1">
                <a:latin typeface="Arial"/>
              </a:endParaRPr>
            </a:p>
          </p:txBody>
        </p:sp>
      </p:grpSp>
      <p:sp>
        <p:nvSpPr>
          <p:cNvPr id="1467340572" name="Прямоугольник 48"/>
          <p:cNvSpPr/>
          <p:nvPr/>
        </p:nvSpPr>
        <p:spPr bwMode="auto">
          <a:xfrm>
            <a:off x="10198093" y="6172515"/>
            <a:ext cx="496987" cy="2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Приморский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 край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207459546" name="Group 231"/>
          <p:cNvGrpSpPr/>
          <p:nvPr/>
        </p:nvGrpSpPr>
        <p:grpSpPr bwMode="auto">
          <a:xfrm>
            <a:off x="10324092" y="5753634"/>
            <a:ext cx="317091" cy="317091"/>
            <a:chOff x="0" y="0"/>
            <a:chExt cx="317091" cy="317091"/>
          </a:xfrm>
        </p:grpSpPr>
        <p:grpSp>
          <p:nvGrpSpPr>
            <p:cNvPr id="1299837972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064445578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8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888976755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5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056785937" name="TextBox 724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91</a:t>
              </a:r>
              <a:endParaRPr sz="1000" b="1">
                <a:latin typeface="Arial"/>
              </a:endParaRPr>
            </a:p>
          </p:txBody>
        </p:sp>
      </p:grpSp>
      <p:sp>
        <p:nvSpPr>
          <p:cNvPr id="1438362246" name="Прямоугольник 48"/>
          <p:cNvSpPr/>
          <p:nvPr/>
        </p:nvSpPr>
        <p:spPr bwMode="auto">
          <a:xfrm>
            <a:off x="8580928" y="6043987"/>
            <a:ext cx="480615" cy="255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Республика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Бурятия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1208418243" name="Group 237"/>
          <p:cNvGrpSpPr/>
          <p:nvPr/>
        </p:nvGrpSpPr>
        <p:grpSpPr bwMode="auto">
          <a:xfrm>
            <a:off x="8662674" y="5638275"/>
            <a:ext cx="317091" cy="317091"/>
            <a:chOff x="0" y="0"/>
            <a:chExt cx="317091" cy="317091"/>
          </a:xfrm>
        </p:grpSpPr>
        <p:grpSp>
          <p:nvGrpSpPr>
            <p:cNvPr id="655639010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1313805911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893058268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896631483" name="TextBox 730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4</a:t>
              </a:r>
              <a:endParaRPr sz="1000" b="1">
                <a:latin typeface="Arial"/>
              </a:endParaRPr>
            </a:p>
          </p:txBody>
        </p:sp>
      </p:grpSp>
      <p:sp>
        <p:nvSpPr>
          <p:cNvPr id="1249860213" name="Прямоугольник 48"/>
          <p:cNvSpPr/>
          <p:nvPr/>
        </p:nvSpPr>
        <p:spPr bwMode="auto">
          <a:xfrm>
            <a:off x="8993328" y="5923663"/>
            <a:ext cx="616046" cy="255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Забайкальский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край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1269665906" name="Group 243"/>
          <p:cNvGrpSpPr/>
          <p:nvPr/>
        </p:nvGrpSpPr>
        <p:grpSpPr bwMode="auto">
          <a:xfrm>
            <a:off x="9140257" y="5517015"/>
            <a:ext cx="317091" cy="317091"/>
            <a:chOff x="0" y="0"/>
            <a:chExt cx="317091" cy="317091"/>
          </a:xfrm>
        </p:grpSpPr>
        <p:grpSp>
          <p:nvGrpSpPr>
            <p:cNvPr id="825391165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947989155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198536128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279554826" name="TextBox 736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7</a:t>
              </a:r>
              <a:endParaRPr sz="1000" b="1">
                <a:latin typeface="Arial"/>
              </a:endParaRPr>
            </a:p>
          </p:txBody>
        </p:sp>
      </p:grpSp>
      <p:sp>
        <p:nvSpPr>
          <p:cNvPr id="719699815" name="Прямоугольник 48"/>
          <p:cNvSpPr/>
          <p:nvPr/>
        </p:nvSpPr>
        <p:spPr bwMode="auto">
          <a:xfrm>
            <a:off x="9472352" y="5543755"/>
            <a:ext cx="389635" cy="255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r>
              <a:rPr lang="ru-RU" sz="600" spc="49">
                <a:solidFill>
                  <a:schemeClr val="bg1"/>
                </a:solidFill>
              </a:rPr>
              <a:t>Амурская </a:t>
            </a:r>
            <a:br>
              <a:rPr lang="ru-RU" sz="600" spc="49">
                <a:solidFill>
                  <a:schemeClr val="bg1"/>
                </a:solidFill>
              </a:rPr>
            </a:br>
            <a:r>
              <a:rPr lang="ru-RU" sz="600" spc="49">
                <a:solidFill>
                  <a:schemeClr val="bg1"/>
                </a:solidFill>
              </a:rPr>
              <a:t>область</a:t>
            </a:r>
            <a:endParaRPr/>
          </a:p>
          <a:p>
            <a:pPr algn="ctr">
              <a:defRPr/>
            </a:pPr>
            <a:endParaRPr lang="ru-RU" sz="600" spc="49">
              <a:solidFill>
                <a:schemeClr val="bg1"/>
              </a:solidFill>
            </a:endParaRPr>
          </a:p>
        </p:txBody>
      </p:sp>
      <p:grpSp>
        <p:nvGrpSpPr>
          <p:cNvPr id="384982179" name="Group 249"/>
          <p:cNvGrpSpPr/>
          <p:nvPr/>
        </p:nvGrpSpPr>
        <p:grpSpPr bwMode="auto">
          <a:xfrm>
            <a:off x="9499073" y="5147093"/>
            <a:ext cx="317091" cy="317091"/>
            <a:chOff x="0" y="0"/>
            <a:chExt cx="317091" cy="317091"/>
          </a:xfrm>
        </p:grpSpPr>
        <p:grpSp>
          <p:nvGrpSpPr>
            <p:cNvPr id="1677878170" name="Группа 6"/>
            <p:cNvGrpSpPr/>
            <p:nvPr/>
          </p:nvGrpSpPr>
          <p:grpSpPr bwMode="auto">
            <a:xfrm>
              <a:off x="0" y="0"/>
              <a:ext cx="317091" cy="317091"/>
              <a:chOff x="0" y="0"/>
              <a:chExt cx="317091" cy="317091"/>
            </a:xfrm>
            <a:solidFill>
              <a:srgbClr val="00D4E0"/>
            </a:solidFill>
          </p:grpSpPr>
          <p:sp>
            <p:nvSpPr>
              <p:cNvPr id="303614823" name="Капля 5"/>
              <p:cNvSpPr/>
              <p:nvPr/>
            </p:nvSpPr>
            <p:spPr bwMode="auto">
              <a:xfrm rot="8099984">
                <a:off x="0" y="0"/>
                <a:ext cx="317091" cy="317091"/>
              </a:xfrm>
              <a:prstGeom prst="teardrop">
                <a:avLst>
                  <a:gd name="adj" fmla="val 100000"/>
                </a:avLst>
              </a:prstGeom>
              <a:solidFill>
                <a:srgbClr val="1AAB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FFFFFF"/>
                  </a:solidFill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787570065" name="Блок-схема: узел 7"/>
              <p:cNvSpPr/>
              <p:nvPr/>
            </p:nvSpPr>
            <p:spPr bwMode="auto">
              <a:xfrm>
                <a:off x="158498" y="52517"/>
                <a:ext cx="128" cy="212093"/>
              </a:xfrm>
              <a:prstGeom prst="flowChartConnector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/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000" b="0" i="0" u="none" strike="noStrike" cap="none" spc="0">
                  <a:ln>
                    <a:noFill/>
                  </a:ln>
                  <a:solidFill>
                    <a:srgbClr val="19223F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946939080" name="TextBox 742"/>
            <p:cNvSpPr txBox="1"/>
            <p:nvPr/>
          </p:nvSpPr>
          <p:spPr bwMode="auto">
            <a:xfrm>
              <a:off x="52515" y="52517"/>
              <a:ext cx="212057" cy="21205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599"/>
                </a:spcAft>
                <a:defRPr/>
              </a:pPr>
              <a:r>
                <a:rPr lang="ru-RU" sz="1000" b="1">
                  <a:latin typeface="Arial"/>
                </a:rPr>
                <a:t>5</a:t>
              </a:r>
              <a:endParaRPr sz="1000" b="1">
                <a:latin typeface="Arial"/>
              </a:endParaRPr>
            </a:p>
          </p:txBody>
        </p:sp>
      </p:grpSp>
      <p:sp>
        <p:nvSpPr>
          <p:cNvPr id="1281556200" name="Прямоугольник 44"/>
          <p:cNvSpPr/>
          <p:nvPr/>
        </p:nvSpPr>
        <p:spPr bwMode="auto">
          <a:xfrm>
            <a:off x="5459607" y="2742883"/>
            <a:ext cx="3784038" cy="552282"/>
          </a:xfrm>
          <a:prstGeom prst="rect">
            <a:avLst/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51664220" name="Прямоугольник 747"/>
          <p:cNvSpPr/>
          <p:nvPr/>
        </p:nvSpPr>
        <p:spPr bwMode="auto">
          <a:xfrm>
            <a:off x="5695310" y="2851921"/>
            <a:ext cx="3650103" cy="411515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lvl="0">
              <a:defRPr/>
            </a:pPr>
            <a:r>
              <a:rPr lang="ru-RU" sz="1200" b="1"/>
              <a:t>Количество резидентов ДФО, использующих товарный знак по регионам</a:t>
            </a:r>
            <a:endParaRPr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030774" y="3179713"/>
            <a:ext cx="1615718" cy="143085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627930" y="4610966"/>
            <a:ext cx="1279090" cy="155488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907019" y="4610969"/>
            <a:ext cx="1266589" cy="155527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3173607" y="4610967"/>
            <a:ext cx="1646927" cy="155488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627930" y="3180104"/>
            <a:ext cx="1709286" cy="143046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297363" y="3179713"/>
            <a:ext cx="1523172" cy="14308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 dirty="0"/>
              <a:t>Ссылки на новые цифровые сервисы</a:t>
            </a:r>
            <a:br>
              <a:rPr lang="ru-RU" dirty="0"/>
            </a:br>
            <a:br>
              <a:rPr lang="ru-RU" dirty="0"/>
            </a:br>
            <a:endParaRPr dirty="0"/>
          </a:p>
        </p:txBody>
      </p:sp>
      <p:grpSp>
        <p:nvGrpSpPr>
          <p:cNvPr id="333885510" name="Группа 3"/>
          <p:cNvGrpSpPr/>
          <p:nvPr/>
        </p:nvGrpSpPr>
        <p:grpSpPr bwMode="auto">
          <a:xfrm>
            <a:off x="5199903" y="1772816"/>
            <a:ext cx="6656737" cy="3763735"/>
            <a:chOff x="695999" y="375825"/>
            <a:chExt cx="10800000" cy="6106345"/>
          </a:xfrm>
        </p:grpSpPr>
        <p:grpSp>
          <p:nvGrpSpPr>
            <p:cNvPr id="562751731" name="Группа 171"/>
            <p:cNvGrpSpPr/>
            <p:nvPr/>
          </p:nvGrpSpPr>
          <p:grpSpPr bwMode="auto">
            <a:xfrm>
              <a:off x="695999" y="2962980"/>
              <a:ext cx="7505372" cy="3519191"/>
              <a:chOff x="695999" y="2962980"/>
              <a:chExt cx="7505372" cy="3519191"/>
            </a:xfrm>
          </p:grpSpPr>
          <p:sp>
            <p:nvSpPr>
              <p:cNvPr id="512602011" name="Полилиния 172"/>
              <p:cNvSpPr/>
              <p:nvPr/>
            </p:nvSpPr>
            <p:spPr bwMode="auto">
              <a:xfrm>
                <a:off x="695999" y="4713235"/>
                <a:ext cx="318691" cy="341473"/>
              </a:xfrm>
              <a:custGeom>
                <a:avLst/>
                <a:gdLst>
                  <a:gd name="connsiteX0" fmla="*/ 357901 w 357901"/>
                  <a:gd name="connsiteY0" fmla="*/ 354999 h 383486"/>
                  <a:gd name="connsiteX1" fmla="*/ 340215 w 357901"/>
                  <a:gd name="connsiteY1" fmla="*/ 322632 h 383486"/>
                  <a:gd name="connsiteX2" fmla="*/ 303007 w 357901"/>
                  <a:gd name="connsiteY2" fmla="*/ 293434 h 383486"/>
                  <a:gd name="connsiteX3" fmla="*/ 260042 w 357901"/>
                  <a:gd name="connsiteY3" fmla="*/ 276167 h 383486"/>
                  <a:gd name="connsiteX4" fmla="*/ 242355 w 357901"/>
                  <a:gd name="connsiteY4" fmla="*/ 253142 h 383486"/>
                  <a:gd name="connsiteX5" fmla="*/ 231259 w 357901"/>
                  <a:gd name="connsiteY5" fmla="*/ 226531 h 383486"/>
                  <a:gd name="connsiteX6" fmla="*/ 252533 w 357901"/>
                  <a:gd name="connsiteY6" fmla="*/ 194164 h 383486"/>
                  <a:gd name="connsiteX7" fmla="*/ 255203 w 357901"/>
                  <a:gd name="connsiteY7" fmla="*/ 154289 h 383486"/>
                  <a:gd name="connsiteX8" fmla="*/ 229925 w 357901"/>
                  <a:gd name="connsiteY8" fmla="*/ 74122 h 383486"/>
                  <a:gd name="connsiteX9" fmla="*/ 157677 w 357901"/>
                  <a:gd name="connsiteY9" fmla="*/ 32495 h 383486"/>
                  <a:gd name="connsiteX10" fmla="*/ 61069 w 357901"/>
                  <a:gd name="connsiteY10" fmla="*/ 1046 h 383486"/>
                  <a:gd name="connsiteX11" fmla="*/ 20774 w 357901"/>
                  <a:gd name="connsiteY11" fmla="*/ 29826 h 383486"/>
                  <a:gd name="connsiteX12" fmla="*/ 62404 w 357901"/>
                  <a:gd name="connsiteY12" fmla="*/ 83465 h 383486"/>
                  <a:gd name="connsiteX13" fmla="*/ 37125 w 357901"/>
                  <a:gd name="connsiteY13" fmla="*/ 152537 h 383486"/>
                  <a:gd name="connsiteX14" fmla="*/ 5673 w 357901"/>
                  <a:gd name="connsiteY14" fmla="*/ 202172 h 383486"/>
                  <a:gd name="connsiteX15" fmla="*/ 3421 w 357901"/>
                  <a:gd name="connsiteY15" fmla="*/ 228283 h 383486"/>
                  <a:gd name="connsiteX16" fmla="*/ 39294 w 357901"/>
                  <a:gd name="connsiteY16" fmla="*/ 270827 h 383486"/>
                  <a:gd name="connsiteX17" fmla="*/ 118133 w 357901"/>
                  <a:gd name="connsiteY17" fmla="*/ 281422 h 383486"/>
                  <a:gd name="connsiteX18" fmla="*/ 219997 w 357901"/>
                  <a:gd name="connsiteY18" fmla="*/ 326135 h 383486"/>
                  <a:gd name="connsiteX19" fmla="*/ 313935 w 357901"/>
                  <a:gd name="connsiteY19" fmla="*/ 383278 h 383486"/>
                  <a:gd name="connsiteX20" fmla="*/ 321444 w 357901"/>
                  <a:gd name="connsiteY20" fmla="*/ 372183 h 383486"/>
                  <a:gd name="connsiteX21" fmla="*/ 357901 w 357901"/>
                  <a:gd name="connsiteY21" fmla="*/ 354999 h 383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7901" h="383486" extrusionOk="0">
                    <a:moveTo>
                      <a:pt x="357901" y="354999"/>
                    </a:moveTo>
                    <a:cubicBezTo>
                      <a:pt x="357901" y="351495"/>
                      <a:pt x="340215" y="322632"/>
                      <a:pt x="340215" y="322632"/>
                    </a:cubicBezTo>
                    <a:lnTo>
                      <a:pt x="303007" y="293434"/>
                    </a:lnTo>
                    <a:lnTo>
                      <a:pt x="260042" y="276167"/>
                    </a:lnTo>
                    <a:lnTo>
                      <a:pt x="242355" y="253142"/>
                    </a:lnTo>
                    <a:cubicBezTo>
                      <a:pt x="242355" y="253142"/>
                      <a:pt x="223751" y="243382"/>
                      <a:pt x="231259" y="226531"/>
                    </a:cubicBezTo>
                    <a:cubicBezTo>
                      <a:pt x="238768" y="209263"/>
                      <a:pt x="252533" y="194164"/>
                      <a:pt x="252533" y="194164"/>
                    </a:cubicBezTo>
                    <a:cubicBezTo>
                      <a:pt x="252533" y="194164"/>
                      <a:pt x="266299" y="194164"/>
                      <a:pt x="255203" y="154289"/>
                    </a:cubicBezTo>
                    <a:cubicBezTo>
                      <a:pt x="244107" y="113997"/>
                      <a:pt x="247695" y="99815"/>
                      <a:pt x="229925" y="74122"/>
                    </a:cubicBezTo>
                    <a:cubicBezTo>
                      <a:pt x="212238" y="48012"/>
                      <a:pt x="189129" y="43590"/>
                      <a:pt x="157677" y="32495"/>
                    </a:cubicBezTo>
                    <a:cubicBezTo>
                      <a:pt x="126225" y="21400"/>
                      <a:pt x="97443" y="-5628"/>
                      <a:pt x="61069" y="1046"/>
                    </a:cubicBezTo>
                    <a:cubicBezTo>
                      <a:pt x="24778" y="7719"/>
                      <a:pt x="-19104" y="-11801"/>
                      <a:pt x="20774" y="29826"/>
                    </a:cubicBezTo>
                    <a:cubicBezTo>
                      <a:pt x="60652" y="71452"/>
                      <a:pt x="76586" y="38668"/>
                      <a:pt x="62404" y="83465"/>
                    </a:cubicBezTo>
                    <a:cubicBezTo>
                      <a:pt x="48221" y="128178"/>
                      <a:pt x="47303" y="132600"/>
                      <a:pt x="37125" y="152537"/>
                    </a:cubicBezTo>
                    <a:cubicBezTo>
                      <a:pt x="26530" y="172475"/>
                      <a:pt x="5673" y="202172"/>
                      <a:pt x="5673" y="202172"/>
                    </a:cubicBezTo>
                    <a:cubicBezTo>
                      <a:pt x="5673" y="202172"/>
                      <a:pt x="-5422" y="208846"/>
                      <a:pt x="3421" y="228283"/>
                    </a:cubicBezTo>
                    <a:cubicBezTo>
                      <a:pt x="12264" y="247804"/>
                      <a:pt x="-3253" y="262402"/>
                      <a:pt x="39294" y="270827"/>
                    </a:cubicBezTo>
                    <a:cubicBezTo>
                      <a:pt x="81842" y="279253"/>
                      <a:pt x="60985" y="261067"/>
                      <a:pt x="118133" y="281422"/>
                    </a:cubicBezTo>
                    <a:cubicBezTo>
                      <a:pt x="175280" y="301359"/>
                      <a:pt x="192549" y="297772"/>
                      <a:pt x="219997" y="326135"/>
                    </a:cubicBezTo>
                    <a:cubicBezTo>
                      <a:pt x="247444" y="354498"/>
                      <a:pt x="313018" y="386365"/>
                      <a:pt x="313935" y="383278"/>
                    </a:cubicBezTo>
                    <a:cubicBezTo>
                      <a:pt x="314853" y="380192"/>
                      <a:pt x="304175" y="376605"/>
                      <a:pt x="321444" y="372183"/>
                    </a:cubicBezTo>
                    <a:cubicBezTo>
                      <a:pt x="337545" y="367429"/>
                      <a:pt x="357901" y="354999"/>
                      <a:pt x="357901" y="35499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46842137" name="Полилиния 173"/>
              <p:cNvSpPr/>
              <p:nvPr/>
            </p:nvSpPr>
            <p:spPr bwMode="auto">
              <a:xfrm>
                <a:off x="1161408" y="5481362"/>
                <a:ext cx="200499" cy="190143"/>
              </a:xfrm>
              <a:custGeom>
                <a:avLst/>
                <a:gdLst>
                  <a:gd name="connsiteX0" fmla="*/ 129395 w 225168"/>
                  <a:gd name="connsiteY0" fmla="*/ 198021 h 213537"/>
                  <a:gd name="connsiteX1" fmla="*/ 113878 w 225168"/>
                  <a:gd name="connsiteY1" fmla="*/ 213538 h 213537"/>
                  <a:gd name="connsiteX2" fmla="*/ 104117 w 225168"/>
                  <a:gd name="connsiteY2" fmla="*/ 205529 h 213537"/>
                  <a:gd name="connsiteX3" fmla="*/ 85095 w 225168"/>
                  <a:gd name="connsiteY3" fmla="*/ 189596 h 213537"/>
                  <a:gd name="connsiteX4" fmla="*/ 53226 w 225168"/>
                  <a:gd name="connsiteY4" fmla="*/ 140878 h 213537"/>
                  <a:gd name="connsiteX5" fmla="*/ 40796 w 225168"/>
                  <a:gd name="connsiteY5" fmla="*/ 116519 h 213537"/>
                  <a:gd name="connsiteX6" fmla="*/ 0 w 225168"/>
                  <a:gd name="connsiteY6" fmla="*/ 48782 h 213537"/>
                  <a:gd name="connsiteX7" fmla="*/ 4004 w 225168"/>
                  <a:gd name="connsiteY7" fmla="*/ 44361 h 213537"/>
                  <a:gd name="connsiteX8" fmla="*/ 31952 w 225168"/>
                  <a:gd name="connsiteY8" fmla="*/ 20919 h 213537"/>
                  <a:gd name="connsiteX9" fmla="*/ 43048 w 225168"/>
                  <a:gd name="connsiteY9" fmla="*/ 17833 h 213537"/>
                  <a:gd name="connsiteX10" fmla="*/ 66074 w 225168"/>
                  <a:gd name="connsiteY10" fmla="*/ 8073 h 213537"/>
                  <a:gd name="connsiteX11" fmla="*/ 68327 w 225168"/>
                  <a:gd name="connsiteY11" fmla="*/ 5821 h 213537"/>
                  <a:gd name="connsiteX12" fmla="*/ 78087 w 225168"/>
                  <a:gd name="connsiteY12" fmla="*/ 481 h 213537"/>
                  <a:gd name="connsiteX13" fmla="*/ 78505 w 225168"/>
                  <a:gd name="connsiteY13" fmla="*/ 2734 h 213537"/>
                  <a:gd name="connsiteX14" fmla="*/ 82509 w 225168"/>
                  <a:gd name="connsiteY14" fmla="*/ 13829 h 213537"/>
                  <a:gd name="connsiteX15" fmla="*/ 89600 w 225168"/>
                  <a:gd name="connsiteY15" fmla="*/ 20919 h 213537"/>
                  <a:gd name="connsiteX16" fmla="*/ 94022 w 225168"/>
                  <a:gd name="connsiteY16" fmla="*/ 24924 h 213537"/>
                  <a:gd name="connsiteX17" fmla="*/ 98861 w 225168"/>
                  <a:gd name="connsiteY17" fmla="*/ 35518 h 213537"/>
                  <a:gd name="connsiteX18" fmla="*/ 111291 w 225168"/>
                  <a:gd name="connsiteY18" fmla="*/ 54121 h 213537"/>
                  <a:gd name="connsiteX19" fmla="*/ 150752 w 225168"/>
                  <a:gd name="connsiteY19" fmla="*/ 47447 h 213537"/>
                  <a:gd name="connsiteX20" fmla="*/ 166687 w 225168"/>
                  <a:gd name="connsiteY20" fmla="*/ 29762 h 213537"/>
                  <a:gd name="connsiteX21" fmla="*/ 172860 w 225168"/>
                  <a:gd name="connsiteY21" fmla="*/ 20002 h 213537"/>
                  <a:gd name="connsiteX22" fmla="*/ 181704 w 225168"/>
                  <a:gd name="connsiteY22" fmla="*/ 16915 h 213537"/>
                  <a:gd name="connsiteX23" fmla="*/ 193634 w 225168"/>
                  <a:gd name="connsiteY23" fmla="*/ 19168 h 213537"/>
                  <a:gd name="connsiteX24" fmla="*/ 195386 w 225168"/>
                  <a:gd name="connsiteY24" fmla="*/ 23589 h 213537"/>
                  <a:gd name="connsiteX25" fmla="*/ 195386 w 225168"/>
                  <a:gd name="connsiteY25" fmla="*/ 24006 h 213537"/>
                  <a:gd name="connsiteX26" fmla="*/ 195386 w 225168"/>
                  <a:gd name="connsiteY26" fmla="*/ 28844 h 213537"/>
                  <a:gd name="connsiteX27" fmla="*/ 196720 w 225168"/>
                  <a:gd name="connsiteY27" fmla="*/ 42609 h 213537"/>
                  <a:gd name="connsiteX28" fmla="*/ 209151 w 225168"/>
                  <a:gd name="connsiteY28" fmla="*/ 58542 h 213537"/>
                  <a:gd name="connsiteX29" fmla="*/ 217160 w 225168"/>
                  <a:gd name="connsiteY29" fmla="*/ 67885 h 213537"/>
                  <a:gd name="connsiteX30" fmla="*/ 218078 w 225168"/>
                  <a:gd name="connsiteY30" fmla="*/ 74559 h 213537"/>
                  <a:gd name="connsiteX31" fmla="*/ 219413 w 225168"/>
                  <a:gd name="connsiteY31" fmla="*/ 84319 h 213537"/>
                  <a:gd name="connsiteX32" fmla="*/ 222916 w 225168"/>
                  <a:gd name="connsiteY32" fmla="*/ 90492 h 213537"/>
                  <a:gd name="connsiteX33" fmla="*/ 225169 w 225168"/>
                  <a:gd name="connsiteY33" fmla="*/ 92244 h 213537"/>
                  <a:gd name="connsiteX34" fmla="*/ 220747 w 225168"/>
                  <a:gd name="connsiteY34" fmla="*/ 91827 h 213537"/>
                  <a:gd name="connsiteX35" fmla="*/ 203478 w 225168"/>
                  <a:gd name="connsiteY35" fmla="*/ 94079 h 213537"/>
                  <a:gd name="connsiteX36" fmla="*/ 191965 w 225168"/>
                  <a:gd name="connsiteY36" fmla="*/ 109596 h 213537"/>
                  <a:gd name="connsiteX37" fmla="*/ 196387 w 225168"/>
                  <a:gd name="connsiteY37" fmla="*/ 131285 h 213537"/>
                  <a:gd name="connsiteX38" fmla="*/ 203478 w 225168"/>
                  <a:gd name="connsiteY38" fmla="*/ 139710 h 213537"/>
                  <a:gd name="connsiteX39" fmla="*/ 207900 w 225168"/>
                  <a:gd name="connsiteY39" fmla="*/ 153475 h 213537"/>
                  <a:gd name="connsiteX40" fmla="*/ 206565 w 225168"/>
                  <a:gd name="connsiteY40" fmla="*/ 163652 h 213537"/>
                  <a:gd name="connsiteX41" fmla="*/ 205647 w 225168"/>
                  <a:gd name="connsiteY41" fmla="*/ 171660 h 213537"/>
                  <a:gd name="connsiteX42" fmla="*/ 196804 w 225168"/>
                  <a:gd name="connsiteY42" fmla="*/ 172077 h 213537"/>
                  <a:gd name="connsiteX43" fmla="*/ 164017 w 225168"/>
                  <a:gd name="connsiteY43" fmla="*/ 177416 h 213537"/>
                  <a:gd name="connsiteX44" fmla="*/ 129395 w 225168"/>
                  <a:gd name="connsiteY44" fmla="*/ 198021 h 213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25168" h="213537" extrusionOk="0">
                    <a:moveTo>
                      <a:pt x="129395" y="198021"/>
                    </a:moveTo>
                    <a:cubicBezTo>
                      <a:pt x="124056" y="202860"/>
                      <a:pt x="118800" y="208198"/>
                      <a:pt x="113878" y="213538"/>
                    </a:cubicBezTo>
                    <a:cubicBezTo>
                      <a:pt x="110791" y="210868"/>
                      <a:pt x="107203" y="208198"/>
                      <a:pt x="104117" y="205529"/>
                    </a:cubicBezTo>
                    <a:cubicBezTo>
                      <a:pt x="97943" y="200690"/>
                      <a:pt x="91686" y="195352"/>
                      <a:pt x="85095" y="189596"/>
                    </a:cubicBezTo>
                    <a:cubicBezTo>
                      <a:pt x="69995" y="176332"/>
                      <a:pt x="61652" y="159064"/>
                      <a:pt x="53226" y="140878"/>
                    </a:cubicBezTo>
                    <a:cubicBezTo>
                      <a:pt x="49222" y="132453"/>
                      <a:pt x="45217" y="124528"/>
                      <a:pt x="40796" y="116519"/>
                    </a:cubicBezTo>
                    <a:cubicBezTo>
                      <a:pt x="27030" y="93078"/>
                      <a:pt x="14183" y="70471"/>
                      <a:pt x="0" y="48782"/>
                    </a:cubicBezTo>
                    <a:cubicBezTo>
                      <a:pt x="1335" y="47447"/>
                      <a:pt x="2670" y="45695"/>
                      <a:pt x="4004" y="44361"/>
                    </a:cubicBezTo>
                    <a:cubicBezTo>
                      <a:pt x="12431" y="34601"/>
                      <a:pt x="20857" y="25758"/>
                      <a:pt x="31952" y="20919"/>
                    </a:cubicBezTo>
                    <a:cubicBezTo>
                      <a:pt x="35456" y="19585"/>
                      <a:pt x="39044" y="18667"/>
                      <a:pt x="43048" y="17833"/>
                    </a:cubicBezTo>
                    <a:cubicBezTo>
                      <a:pt x="50557" y="16498"/>
                      <a:pt x="58983" y="14746"/>
                      <a:pt x="66074" y="8073"/>
                    </a:cubicBezTo>
                    <a:lnTo>
                      <a:pt x="68327" y="5821"/>
                    </a:lnTo>
                    <a:cubicBezTo>
                      <a:pt x="73165" y="481"/>
                      <a:pt x="75001" y="-853"/>
                      <a:pt x="78087" y="481"/>
                    </a:cubicBezTo>
                    <a:cubicBezTo>
                      <a:pt x="78087" y="1399"/>
                      <a:pt x="78505" y="2233"/>
                      <a:pt x="78505" y="2734"/>
                    </a:cubicBezTo>
                    <a:cubicBezTo>
                      <a:pt x="78922" y="6238"/>
                      <a:pt x="79839" y="10742"/>
                      <a:pt x="82509" y="13829"/>
                    </a:cubicBezTo>
                    <a:cubicBezTo>
                      <a:pt x="84762" y="16498"/>
                      <a:pt x="86931" y="18667"/>
                      <a:pt x="89600" y="20919"/>
                    </a:cubicBezTo>
                    <a:cubicBezTo>
                      <a:pt x="90935" y="22254"/>
                      <a:pt x="92687" y="23589"/>
                      <a:pt x="94022" y="24924"/>
                    </a:cubicBezTo>
                    <a:cubicBezTo>
                      <a:pt x="96275" y="27176"/>
                      <a:pt x="97526" y="31597"/>
                      <a:pt x="98861" y="35518"/>
                    </a:cubicBezTo>
                    <a:cubicBezTo>
                      <a:pt x="101530" y="42192"/>
                      <a:pt x="104200" y="50116"/>
                      <a:pt x="111291" y="54121"/>
                    </a:cubicBezTo>
                    <a:cubicBezTo>
                      <a:pt x="119718" y="58542"/>
                      <a:pt x="132982" y="56790"/>
                      <a:pt x="150752" y="47447"/>
                    </a:cubicBezTo>
                    <a:cubicBezTo>
                      <a:pt x="161347" y="42108"/>
                      <a:pt x="164518" y="35018"/>
                      <a:pt x="166687" y="29762"/>
                    </a:cubicBezTo>
                    <a:cubicBezTo>
                      <a:pt x="168022" y="26259"/>
                      <a:pt x="169356" y="23088"/>
                      <a:pt x="172860" y="20002"/>
                    </a:cubicBezTo>
                    <a:cubicBezTo>
                      <a:pt x="174612" y="18250"/>
                      <a:pt x="178200" y="16915"/>
                      <a:pt x="181704" y="16915"/>
                    </a:cubicBezTo>
                    <a:cubicBezTo>
                      <a:pt x="186542" y="15998"/>
                      <a:pt x="191465" y="16915"/>
                      <a:pt x="193634" y="19168"/>
                    </a:cubicBezTo>
                    <a:cubicBezTo>
                      <a:pt x="194968" y="20502"/>
                      <a:pt x="194968" y="21837"/>
                      <a:pt x="195386" y="23589"/>
                    </a:cubicBezTo>
                    <a:cubicBezTo>
                      <a:pt x="195386" y="24006"/>
                      <a:pt x="195386" y="24006"/>
                      <a:pt x="195386" y="24006"/>
                    </a:cubicBezTo>
                    <a:cubicBezTo>
                      <a:pt x="195803" y="25341"/>
                      <a:pt x="195386" y="27093"/>
                      <a:pt x="195386" y="28844"/>
                    </a:cubicBezTo>
                    <a:cubicBezTo>
                      <a:pt x="194968" y="33266"/>
                      <a:pt x="194968" y="37687"/>
                      <a:pt x="196720" y="42609"/>
                    </a:cubicBezTo>
                    <a:cubicBezTo>
                      <a:pt x="199390" y="50617"/>
                      <a:pt x="204729" y="55039"/>
                      <a:pt x="209151" y="58542"/>
                    </a:cubicBezTo>
                    <a:cubicBezTo>
                      <a:pt x="212655" y="61629"/>
                      <a:pt x="215825" y="63881"/>
                      <a:pt x="217160" y="67885"/>
                    </a:cubicBezTo>
                    <a:cubicBezTo>
                      <a:pt x="218078" y="69637"/>
                      <a:pt x="218078" y="71889"/>
                      <a:pt x="218078" y="74559"/>
                    </a:cubicBezTo>
                    <a:cubicBezTo>
                      <a:pt x="218078" y="77228"/>
                      <a:pt x="218495" y="80732"/>
                      <a:pt x="219413" y="84319"/>
                    </a:cubicBezTo>
                    <a:cubicBezTo>
                      <a:pt x="220330" y="86989"/>
                      <a:pt x="221665" y="88740"/>
                      <a:pt x="222916" y="90492"/>
                    </a:cubicBezTo>
                    <a:cubicBezTo>
                      <a:pt x="223334" y="91410"/>
                      <a:pt x="224251" y="91827"/>
                      <a:pt x="225169" y="92244"/>
                    </a:cubicBezTo>
                    <a:cubicBezTo>
                      <a:pt x="224251" y="92661"/>
                      <a:pt x="222082" y="92244"/>
                      <a:pt x="220747" y="91827"/>
                    </a:cubicBezTo>
                    <a:cubicBezTo>
                      <a:pt x="215909" y="91410"/>
                      <a:pt x="209652" y="90492"/>
                      <a:pt x="203478" y="94079"/>
                    </a:cubicBezTo>
                    <a:cubicBezTo>
                      <a:pt x="197304" y="97583"/>
                      <a:pt x="193300" y="102922"/>
                      <a:pt x="191965" y="109596"/>
                    </a:cubicBezTo>
                    <a:cubicBezTo>
                      <a:pt x="190213" y="116686"/>
                      <a:pt x="191965" y="124695"/>
                      <a:pt x="196387" y="131285"/>
                    </a:cubicBezTo>
                    <a:cubicBezTo>
                      <a:pt x="199056" y="134788"/>
                      <a:pt x="201225" y="137458"/>
                      <a:pt x="203478" y="139710"/>
                    </a:cubicBezTo>
                    <a:cubicBezTo>
                      <a:pt x="207483" y="144132"/>
                      <a:pt x="208817" y="145049"/>
                      <a:pt x="207900" y="153475"/>
                    </a:cubicBezTo>
                    <a:lnTo>
                      <a:pt x="206565" y="163652"/>
                    </a:lnTo>
                    <a:cubicBezTo>
                      <a:pt x="206148" y="166321"/>
                      <a:pt x="205647" y="168991"/>
                      <a:pt x="205647" y="171660"/>
                    </a:cubicBezTo>
                    <a:cubicBezTo>
                      <a:pt x="202560" y="171660"/>
                      <a:pt x="199474" y="172077"/>
                      <a:pt x="196804" y="172077"/>
                    </a:cubicBezTo>
                    <a:cubicBezTo>
                      <a:pt x="186626" y="172995"/>
                      <a:pt x="175113" y="173829"/>
                      <a:pt x="164017" y="177416"/>
                    </a:cubicBezTo>
                    <a:cubicBezTo>
                      <a:pt x="149334" y="181170"/>
                      <a:pt x="136903" y="190931"/>
                      <a:pt x="129395" y="19802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5999636" name="Полилиния 174"/>
              <p:cNvSpPr/>
              <p:nvPr/>
            </p:nvSpPr>
            <p:spPr bwMode="auto">
              <a:xfrm>
                <a:off x="1125824" y="5230909"/>
                <a:ext cx="140789" cy="230643"/>
              </a:xfrm>
              <a:custGeom>
                <a:avLst/>
                <a:gdLst>
                  <a:gd name="connsiteX0" fmla="*/ 145413 w 158112"/>
                  <a:gd name="connsiteY0" fmla="*/ 91632 h 259021"/>
                  <a:gd name="connsiteX1" fmla="*/ 156926 w 158112"/>
                  <a:gd name="connsiteY1" fmla="*/ 138598 h 259021"/>
                  <a:gd name="connsiteX2" fmla="*/ 156008 w 158112"/>
                  <a:gd name="connsiteY2" fmla="*/ 152363 h 259021"/>
                  <a:gd name="connsiteX3" fmla="*/ 149334 w 158112"/>
                  <a:gd name="connsiteY3" fmla="*/ 195741 h 259021"/>
                  <a:gd name="connsiteX4" fmla="*/ 139156 w 158112"/>
                  <a:gd name="connsiteY4" fmla="*/ 211257 h 259021"/>
                  <a:gd name="connsiteX5" fmla="*/ 138238 w 158112"/>
                  <a:gd name="connsiteY5" fmla="*/ 204167 h 259021"/>
                  <a:gd name="connsiteX6" fmla="*/ 143077 w 158112"/>
                  <a:gd name="connsiteY6" fmla="*/ 190402 h 259021"/>
                  <a:gd name="connsiteX7" fmla="*/ 146164 w 158112"/>
                  <a:gd name="connsiteY7" fmla="*/ 159370 h 259021"/>
                  <a:gd name="connsiteX8" fmla="*/ 128894 w 158112"/>
                  <a:gd name="connsiteY8" fmla="*/ 149192 h 259021"/>
                  <a:gd name="connsiteX9" fmla="*/ 104117 w 158112"/>
                  <a:gd name="connsiteY9" fmla="*/ 175303 h 259021"/>
                  <a:gd name="connsiteX10" fmla="*/ 102782 w 158112"/>
                  <a:gd name="connsiteY10" fmla="*/ 177973 h 259021"/>
                  <a:gd name="connsiteX11" fmla="*/ 71330 w 158112"/>
                  <a:gd name="connsiteY11" fmla="*/ 213426 h 259021"/>
                  <a:gd name="connsiteX12" fmla="*/ 64656 w 158112"/>
                  <a:gd name="connsiteY12" fmla="*/ 217848 h 259021"/>
                  <a:gd name="connsiteX13" fmla="*/ 51808 w 158112"/>
                  <a:gd name="connsiteY13" fmla="*/ 228943 h 259021"/>
                  <a:gd name="connsiteX14" fmla="*/ 47386 w 158112"/>
                  <a:gd name="connsiteY14" fmla="*/ 241372 h 259021"/>
                  <a:gd name="connsiteX15" fmla="*/ 45134 w 158112"/>
                  <a:gd name="connsiteY15" fmla="*/ 248463 h 259021"/>
                  <a:gd name="connsiteX16" fmla="*/ 29199 w 158112"/>
                  <a:gd name="connsiteY16" fmla="*/ 258223 h 259021"/>
                  <a:gd name="connsiteX17" fmla="*/ 20356 w 158112"/>
                  <a:gd name="connsiteY17" fmla="*/ 255554 h 259021"/>
                  <a:gd name="connsiteX18" fmla="*/ 0 w 158112"/>
                  <a:gd name="connsiteY18" fmla="*/ 211257 h 259021"/>
                  <a:gd name="connsiteX19" fmla="*/ 4422 w 158112"/>
                  <a:gd name="connsiteY19" fmla="*/ 202832 h 259021"/>
                  <a:gd name="connsiteX20" fmla="*/ 7508 w 158112"/>
                  <a:gd name="connsiteY20" fmla="*/ 202415 h 259021"/>
                  <a:gd name="connsiteX21" fmla="*/ 18104 w 158112"/>
                  <a:gd name="connsiteY21" fmla="*/ 207253 h 259021"/>
                  <a:gd name="connsiteX22" fmla="*/ 49138 w 158112"/>
                  <a:gd name="connsiteY22" fmla="*/ 211674 h 259021"/>
                  <a:gd name="connsiteX23" fmla="*/ 73499 w 158112"/>
                  <a:gd name="connsiteY23" fmla="*/ 192154 h 259021"/>
                  <a:gd name="connsiteX24" fmla="*/ 66408 w 158112"/>
                  <a:gd name="connsiteY24" fmla="*/ 170048 h 259021"/>
                  <a:gd name="connsiteX25" fmla="*/ 61986 w 158112"/>
                  <a:gd name="connsiteY25" fmla="*/ 162957 h 259021"/>
                  <a:gd name="connsiteX26" fmla="*/ 67325 w 158112"/>
                  <a:gd name="connsiteY26" fmla="*/ 143437 h 259021"/>
                  <a:gd name="connsiteX27" fmla="*/ 89016 w 158112"/>
                  <a:gd name="connsiteY27" fmla="*/ 128337 h 259021"/>
                  <a:gd name="connsiteX28" fmla="*/ 111125 w 158112"/>
                  <a:gd name="connsiteY28" fmla="*/ 114573 h 259021"/>
                  <a:gd name="connsiteX29" fmla="*/ 119551 w 158112"/>
                  <a:gd name="connsiteY29" fmla="*/ 81789 h 259021"/>
                  <a:gd name="connsiteX30" fmla="*/ 95607 w 158112"/>
                  <a:gd name="connsiteY30" fmla="*/ 69359 h 259021"/>
                  <a:gd name="connsiteX31" fmla="*/ 87598 w 158112"/>
                  <a:gd name="connsiteY31" fmla="*/ 70277 h 259021"/>
                  <a:gd name="connsiteX32" fmla="*/ 63238 w 158112"/>
                  <a:gd name="connsiteY32" fmla="*/ 66773 h 259021"/>
                  <a:gd name="connsiteX33" fmla="*/ 56146 w 158112"/>
                  <a:gd name="connsiteY33" fmla="*/ 59682 h 259021"/>
                  <a:gd name="connsiteX34" fmla="*/ 48137 w 158112"/>
                  <a:gd name="connsiteY34" fmla="*/ 51257 h 259021"/>
                  <a:gd name="connsiteX35" fmla="*/ 43299 w 158112"/>
                  <a:gd name="connsiteY35" fmla="*/ 47253 h 259021"/>
                  <a:gd name="connsiteX36" fmla="*/ 16685 w 158112"/>
                  <a:gd name="connsiteY36" fmla="*/ 10965 h 259021"/>
                  <a:gd name="connsiteX37" fmla="*/ 19355 w 158112"/>
                  <a:gd name="connsiteY37" fmla="*/ 370 h 259021"/>
                  <a:gd name="connsiteX38" fmla="*/ 31786 w 158112"/>
                  <a:gd name="connsiteY38" fmla="*/ 7461 h 259021"/>
                  <a:gd name="connsiteX39" fmla="*/ 37542 w 158112"/>
                  <a:gd name="connsiteY39" fmla="*/ 18556 h 259021"/>
                  <a:gd name="connsiteX40" fmla="*/ 62820 w 158112"/>
                  <a:gd name="connsiteY40" fmla="*/ 40662 h 259021"/>
                  <a:gd name="connsiteX41" fmla="*/ 82759 w 158112"/>
                  <a:gd name="connsiteY41" fmla="*/ 39745 h 259021"/>
                  <a:gd name="connsiteX42" fmla="*/ 114211 w 158112"/>
                  <a:gd name="connsiteY42" fmla="*/ 47253 h 259021"/>
                  <a:gd name="connsiteX43" fmla="*/ 116881 w 158112"/>
                  <a:gd name="connsiteY43" fmla="*/ 56095 h 259021"/>
                  <a:gd name="connsiteX44" fmla="*/ 122220 w 158112"/>
                  <a:gd name="connsiteY44" fmla="*/ 71611 h 259021"/>
                  <a:gd name="connsiteX45" fmla="*/ 136820 w 158112"/>
                  <a:gd name="connsiteY45" fmla="*/ 84458 h 259021"/>
                  <a:gd name="connsiteX46" fmla="*/ 145413 w 158112"/>
                  <a:gd name="connsiteY46" fmla="*/ 91632 h 259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58112" h="259021" extrusionOk="0">
                    <a:moveTo>
                      <a:pt x="145413" y="91632"/>
                    </a:moveTo>
                    <a:cubicBezTo>
                      <a:pt x="159596" y="104479"/>
                      <a:pt x="159178" y="116909"/>
                      <a:pt x="156926" y="138598"/>
                    </a:cubicBezTo>
                    <a:cubicBezTo>
                      <a:pt x="156509" y="143437"/>
                      <a:pt x="156008" y="147941"/>
                      <a:pt x="156008" y="152363"/>
                    </a:cubicBezTo>
                    <a:cubicBezTo>
                      <a:pt x="155091" y="166961"/>
                      <a:pt x="153756" y="181143"/>
                      <a:pt x="149334" y="195741"/>
                    </a:cubicBezTo>
                    <a:cubicBezTo>
                      <a:pt x="147082" y="202832"/>
                      <a:pt x="142243" y="209506"/>
                      <a:pt x="139156" y="211257"/>
                    </a:cubicBezTo>
                    <a:cubicBezTo>
                      <a:pt x="138739" y="209923"/>
                      <a:pt x="138238" y="208171"/>
                      <a:pt x="138238" y="204167"/>
                    </a:cubicBezTo>
                    <a:cubicBezTo>
                      <a:pt x="137821" y="200663"/>
                      <a:pt x="140491" y="195324"/>
                      <a:pt x="143077" y="190402"/>
                    </a:cubicBezTo>
                    <a:cubicBezTo>
                      <a:pt x="147499" y="181059"/>
                      <a:pt x="152838" y="170048"/>
                      <a:pt x="146164" y="159370"/>
                    </a:cubicBezTo>
                    <a:cubicBezTo>
                      <a:pt x="141325" y="152279"/>
                      <a:pt x="135569" y="149192"/>
                      <a:pt x="128894" y="149192"/>
                    </a:cubicBezTo>
                    <a:cubicBezTo>
                      <a:pt x="116464" y="150110"/>
                      <a:pt x="108538" y="166044"/>
                      <a:pt x="104117" y="175303"/>
                    </a:cubicBezTo>
                    <a:lnTo>
                      <a:pt x="102782" y="177973"/>
                    </a:lnTo>
                    <a:cubicBezTo>
                      <a:pt x="96108" y="190402"/>
                      <a:pt x="80173" y="205418"/>
                      <a:pt x="71330" y="213426"/>
                    </a:cubicBezTo>
                    <a:cubicBezTo>
                      <a:pt x="69077" y="215178"/>
                      <a:pt x="66908" y="216513"/>
                      <a:pt x="64656" y="217848"/>
                    </a:cubicBezTo>
                    <a:cubicBezTo>
                      <a:pt x="60234" y="220934"/>
                      <a:pt x="54895" y="224021"/>
                      <a:pt x="51808" y="228943"/>
                    </a:cubicBezTo>
                    <a:cubicBezTo>
                      <a:pt x="49138" y="233364"/>
                      <a:pt x="48304" y="237368"/>
                      <a:pt x="47386" y="241372"/>
                    </a:cubicBezTo>
                    <a:cubicBezTo>
                      <a:pt x="46469" y="244459"/>
                      <a:pt x="46052" y="247545"/>
                      <a:pt x="45134" y="248463"/>
                    </a:cubicBezTo>
                    <a:cubicBezTo>
                      <a:pt x="42881" y="249798"/>
                      <a:pt x="30951" y="257306"/>
                      <a:pt x="29199" y="258223"/>
                    </a:cubicBezTo>
                    <a:cubicBezTo>
                      <a:pt x="23860" y="259558"/>
                      <a:pt x="23860" y="259558"/>
                      <a:pt x="20356" y="255554"/>
                    </a:cubicBezTo>
                    <a:cubicBezTo>
                      <a:pt x="12347" y="247128"/>
                      <a:pt x="0" y="220601"/>
                      <a:pt x="0" y="211257"/>
                    </a:cubicBezTo>
                    <a:cubicBezTo>
                      <a:pt x="0" y="208171"/>
                      <a:pt x="918" y="204167"/>
                      <a:pt x="4422" y="202832"/>
                    </a:cubicBezTo>
                    <a:cubicBezTo>
                      <a:pt x="5339" y="202415"/>
                      <a:pt x="6674" y="202415"/>
                      <a:pt x="7508" y="202415"/>
                    </a:cubicBezTo>
                    <a:cubicBezTo>
                      <a:pt x="10595" y="202415"/>
                      <a:pt x="14600" y="203749"/>
                      <a:pt x="18104" y="207253"/>
                    </a:cubicBezTo>
                    <a:cubicBezTo>
                      <a:pt x="25612" y="214344"/>
                      <a:pt x="39377" y="214344"/>
                      <a:pt x="49138" y="211674"/>
                    </a:cubicBezTo>
                    <a:cubicBezTo>
                      <a:pt x="61986" y="208171"/>
                      <a:pt x="71247" y="201080"/>
                      <a:pt x="73499" y="192154"/>
                    </a:cubicBezTo>
                    <a:cubicBezTo>
                      <a:pt x="76169" y="182394"/>
                      <a:pt x="70412" y="175303"/>
                      <a:pt x="66408" y="170048"/>
                    </a:cubicBezTo>
                    <a:cubicBezTo>
                      <a:pt x="64155" y="167378"/>
                      <a:pt x="62403" y="164709"/>
                      <a:pt x="61986" y="162957"/>
                    </a:cubicBezTo>
                    <a:cubicBezTo>
                      <a:pt x="61569" y="159871"/>
                      <a:pt x="65073" y="147441"/>
                      <a:pt x="67325" y="143437"/>
                    </a:cubicBezTo>
                    <a:cubicBezTo>
                      <a:pt x="71747" y="136346"/>
                      <a:pt x="80173" y="132342"/>
                      <a:pt x="89016" y="128337"/>
                    </a:cubicBezTo>
                    <a:cubicBezTo>
                      <a:pt x="97025" y="124834"/>
                      <a:pt x="104951" y="120830"/>
                      <a:pt x="111125" y="114573"/>
                    </a:cubicBezTo>
                    <a:cubicBezTo>
                      <a:pt x="120886" y="105230"/>
                      <a:pt x="123972" y="92884"/>
                      <a:pt x="119551" y="81789"/>
                    </a:cubicBezTo>
                    <a:cubicBezTo>
                      <a:pt x="113794" y="67607"/>
                      <a:pt x="103616" y="68525"/>
                      <a:pt x="95607" y="69359"/>
                    </a:cubicBezTo>
                    <a:lnTo>
                      <a:pt x="87598" y="70277"/>
                    </a:lnTo>
                    <a:cubicBezTo>
                      <a:pt x="77837" y="71194"/>
                      <a:pt x="70329" y="72029"/>
                      <a:pt x="63238" y="66773"/>
                    </a:cubicBezTo>
                    <a:cubicBezTo>
                      <a:pt x="60568" y="65021"/>
                      <a:pt x="58399" y="62352"/>
                      <a:pt x="56146" y="59682"/>
                    </a:cubicBezTo>
                    <a:cubicBezTo>
                      <a:pt x="53477" y="56596"/>
                      <a:pt x="51308" y="53509"/>
                      <a:pt x="48137" y="51257"/>
                    </a:cubicBezTo>
                    <a:lnTo>
                      <a:pt x="43299" y="47253"/>
                    </a:lnTo>
                    <a:cubicBezTo>
                      <a:pt x="30451" y="36658"/>
                      <a:pt x="19355" y="27315"/>
                      <a:pt x="16685" y="10965"/>
                    </a:cubicBezTo>
                    <a:cubicBezTo>
                      <a:pt x="15768" y="5626"/>
                      <a:pt x="16685" y="1205"/>
                      <a:pt x="19355" y="370"/>
                    </a:cubicBezTo>
                    <a:cubicBezTo>
                      <a:pt x="22025" y="-964"/>
                      <a:pt x="27781" y="1288"/>
                      <a:pt x="31786" y="7461"/>
                    </a:cubicBezTo>
                    <a:cubicBezTo>
                      <a:pt x="34455" y="10965"/>
                      <a:pt x="36207" y="14552"/>
                      <a:pt x="37542" y="18556"/>
                    </a:cubicBezTo>
                    <a:cubicBezTo>
                      <a:pt x="41046" y="27899"/>
                      <a:pt x="45968" y="38494"/>
                      <a:pt x="62820" y="40662"/>
                    </a:cubicBezTo>
                    <a:cubicBezTo>
                      <a:pt x="68994" y="41580"/>
                      <a:pt x="76085" y="40662"/>
                      <a:pt x="82759" y="39745"/>
                    </a:cubicBezTo>
                    <a:cubicBezTo>
                      <a:pt x="98694" y="38410"/>
                      <a:pt x="108872" y="37493"/>
                      <a:pt x="114211" y="47253"/>
                    </a:cubicBezTo>
                    <a:cubicBezTo>
                      <a:pt x="115546" y="49922"/>
                      <a:pt x="116464" y="52592"/>
                      <a:pt x="116881" y="56095"/>
                    </a:cubicBezTo>
                    <a:cubicBezTo>
                      <a:pt x="117799" y="60934"/>
                      <a:pt x="119134" y="66273"/>
                      <a:pt x="122220" y="71611"/>
                    </a:cubicBezTo>
                    <a:cubicBezTo>
                      <a:pt x="125724" y="76950"/>
                      <a:pt x="131981" y="81372"/>
                      <a:pt x="136820" y="84458"/>
                    </a:cubicBezTo>
                    <a:cubicBezTo>
                      <a:pt x="140574" y="87712"/>
                      <a:pt x="143244" y="89463"/>
                      <a:pt x="145413" y="9163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53914041" name="Полилиния 175"/>
              <p:cNvSpPr/>
              <p:nvPr/>
            </p:nvSpPr>
            <p:spPr bwMode="auto">
              <a:xfrm>
                <a:off x="985938" y="4983993"/>
                <a:ext cx="440181" cy="533634"/>
              </a:xfrm>
              <a:custGeom>
                <a:avLst/>
                <a:gdLst>
                  <a:gd name="connsiteX0" fmla="*/ 493472 w 494338"/>
                  <a:gd name="connsiteY0" fmla="*/ 282170 h 599290"/>
                  <a:gd name="connsiteX1" fmla="*/ 488634 w 494338"/>
                  <a:gd name="connsiteY1" fmla="*/ 278667 h 599290"/>
                  <a:gd name="connsiteX2" fmla="*/ 480208 w 494338"/>
                  <a:gd name="connsiteY2" fmla="*/ 271993 h 599290"/>
                  <a:gd name="connsiteX3" fmla="*/ 473116 w 494338"/>
                  <a:gd name="connsiteY3" fmla="*/ 263985 h 599290"/>
                  <a:gd name="connsiteX4" fmla="*/ 447421 w 494338"/>
                  <a:gd name="connsiteY4" fmla="*/ 212598 h 599290"/>
                  <a:gd name="connsiteX5" fmla="*/ 450925 w 494338"/>
                  <a:gd name="connsiteY5" fmla="*/ 201086 h 599290"/>
                  <a:gd name="connsiteX6" fmla="*/ 454429 w 494338"/>
                  <a:gd name="connsiteY6" fmla="*/ 189156 h 599290"/>
                  <a:gd name="connsiteX7" fmla="*/ 465024 w 494338"/>
                  <a:gd name="connsiteY7" fmla="*/ 162545 h 599290"/>
                  <a:gd name="connsiteX8" fmla="*/ 472532 w 494338"/>
                  <a:gd name="connsiteY8" fmla="*/ 147947 h 599290"/>
                  <a:gd name="connsiteX9" fmla="*/ 454846 w 494338"/>
                  <a:gd name="connsiteY9" fmla="*/ 129344 h 599290"/>
                  <a:gd name="connsiteX10" fmla="*/ 442415 w 494338"/>
                  <a:gd name="connsiteY10" fmla="*/ 117415 h 599290"/>
                  <a:gd name="connsiteX11" fmla="*/ 412715 w 494338"/>
                  <a:gd name="connsiteY11" fmla="*/ 101064 h 599290"/>
                  <a:gd name="connsiteX12" fmla="*/ 406041 w 494338"/>
                  <a:gd name="connsiteY12" fmla="*/ 103734 h 599290"/>
                  <a:gd name="connsiteX13" fmla="*/ 384350 w 494338"/>
                  <a:gd name="connsiteY13" fmla="*/ 104151 h 599290"/>
                  <a:gd name="connsiteX14" fmla="*/ 360907 w 494338"/>
                  <a:gd name="connsiteY14" fmla="*/ 73619 h 599290"/>
                  <a:gd name="connsiteX15" fmla="*/ 367998 w 494338"/>
                  <a:gd name="connsiteY15" fmla="*/ 59437 h 599290"/>
                  <a:gd name="connsiteX16" fmla="*/ 372420 w 494338"/>
                  <a:gd name="connsiteY16" fmla="*/ 51930 h 599290"/>
                  <a:gd name="connsiteX17" fmla="*/ 369750 w 494338"/>
                  <a:gd name="connsiteY17" fmla="*/ 31992 h 599290"/>
                  <a:gd name="connsiteX18" fmla="*/ 369750 w 494338"/>
                  <a:gd name="connsiteY18" fmla="*/ 31575 h 599290"/>
                  <a:gd name="connsiteX19" fmla="*/ 360907 w 494338"/>
                  <a:gd name="connsiteY19" fmla="*/ 25819 h 599290"/>
                  <a:gd name="connsiteX20" fmla="*/ 357820 w 494338"/>
                  <a:gd name="connsiteY20" fmla="*/ 24901 h 599290"/>
                  <a:gd name="connsiteX21" fmla="*/ 354317 w 494338"/>
                  <a:gd name="connsiteY21" fmla="*/ 24484 h 599290"/>
                  <a:gd name="connsiteX22" fmla="*/ 343721 w 494338"/>
                  <a:gd name="connsiteY22" fmla="*/ 47926 h 599290"/>
                  <a:gd name="connsiteX23" fmla="*/ 311852 w 494338"/>
                  <a:gd name="connsiteY23" fmla="*/ 19146 h 599290"/>
                  <a:gd name="connsiteX24" fmla="*/ 301257 w 494338"/>
                  <a:gd name="connsiteY24" fmla="*/ 15141 h 599290"/>
                  <a:gd name="connsiteX25" fmla="*/ 288826 w 494338"/>
                  <a:gd name="connsiteY25" fmla="*/ 7133 h 599290"/>
                  <a:gd name="connsiteX26" fmla="*/ 263131 w 494338"/>
                  <a:gd name="connsiteY26" fmla="*/ 6215 h 599290"/>
                  <a:gd name="connsiteX27" fmla="*/ 271557 w 494338"/>
                  <a:gd name="connsiteY27" fmla="*/ 68697 h 599290"/>
                  <a:gd name="connsiteX28" fmla="*/ 272475 w 494338"/>
                  <a:gd name="connsiteY28" fmla="*/ 101481 h 599290"/>
                  <a:gd name="connsiteX29" fmla="*/ 264966 w 494338"/>
                  <a:gd name="connsiteY29" fmla="*/ 112076 h 599290"/>
                  <a:gd name="connsiteX30" fmla="*/ 253036 w 494338"/>
                  <a:gd name="connsiteY30" fmla="*/ 95725 h 599290"/>
                  <a:gd name="connsiteX31" fmla="*/ 233097 w 494338"/>
                  <a:gd name="connsiteY31" fmla="*/ 97978 h 599290"/>
                  <a:gd name="connsiteX32" fmla="*/ 213158 w 494338"/>
                  <a:gd name="connsiteY32" fmla="*/ 82462 h 599290"/>
                  <a:gd name="connsiteX33" fmla="*/ 192302 w 494338"/>
                  <a:gd name="connsiteY33" fmla="*/ 99313 h 599290"/>
                  <a:gd name="connsiteX34" fmla="*/ 146250 w 494338"/>
                  <a:gd name="connsiteY34" fmla="*/ 102816 h 599290"/>
                  <a:gd name="connsiteX35" fmla="*/ 125393 w 494338"/>
                  <a:gd name="connsiteY35" fmla="*/ 152451 h 599290"/>
                  <a:gd name="connsiteX36" fmla="*/ 86850 w 494338"/>
                  <a:gd name="connsiteY36" fmla="*/ 121419 h 599290"/>
                  <a:gd name="connsiteX37" fmla="*/ 72250 w 494338"/>
                  <a:gd name="connsiteY37" fmla="*/ 99730 h 599290"/>
                  <a:gd name="connsiteX38" fmla="*/ 64742 w 494338"/>
                  <a:gd name="connsiteY38" fmla="*/ 72701 h 599290"/>
                  <a:gd name="connsiteX39" fmla="*/ 62990 w 494338"/>
                  <a:gd name="connsiteY39" fmla="*/ 70449 h 599290"/>
                  <a:gd name="connsiteX40" fmla="*/ 60737 w 494338"/>
                  <a:gd name="connsiteY40" fmla="*/ 68197 h 599290"/>
                  <a:gd name="connsiteX41" fmla="*/ 36377 w 494338"/>
                  <a:gd name="connsiteY41" fmla="*/ 63358 h 599290"/>
                  <a:gd name="connsiteX42" fmla="*/ 31038 w 494338"/>
                  <a:gd name="connsiteY42" fmla="*/ 70449 h 599290"/>
                  <a:gd name="connsiteX43" fmla="*/ 26199 w 494338"/>
                  <a:gd name="connsiteY43" fmla="*/ 76205 h 599290"/>
                  <a:gd name="connsiteX44" fmla="*/ 2255 w 494338"/>
                  <a:gd name="connsiteY44" fmla="*/ 78875 h 599290"/>
                  <a:gd name="connsiteX45" fmla="*/ 31455 w 494338"/>
                  <a:gd name="connsiteY45" fmla="*/ 132013 h 599290"/>
                  <a:gd name="connsiteX46" fmla="*/ 34541 w 494338"/>
                  <a:gd name="connsiteY46" fmla="*/ 136435 h 599290"/>
                  <a:gd name="connsiteX47" fmla="*/ 21694 w 494338"/>
                  <a:gd name="connsiteY47" fmla="*/ 203755 h 599290"/>
                  <a:gd name="connsiteX48" fmla="*/ 41633 w 494338"/>
                  <a:gd name="connsiteY48" fmla="*/ 228531 h 599290"/>
                  <a:gd name="connsiteX49" fmla="*/ 57150 w 494338"/>
                  <a:gd name="connsiteY49" fmla="*/ 262233 h 599290"/>
                  <a:gd name="connsiteX50" fmla="*/ 56232 w 494338"/>
                  <a:gd name="connsiteY50" fmla="*/ 302525 h 599290"/>
                  <a:gd name="connsiteX51" fmla="*/ 77923 w 494338"/>
                  <a:gd name="connsiteY51" fmla="*/ 335309 h 599290"/>
                  <a:gd name="connsiteX52" fmla="*/ 101366 w 494338"/>
                  <a:gd name="connsiteY52" fmla="*/ 414142 h 599290"/>
                  <a:gd name="connsiteX53" fmla="*/ 100949 w 494338"/>
                  <a:gd name="connsiteY53" fmla="*/ 439418 h 599290"/>
                  <a:gd name="connsiteX54" fmla="*/ 101867 w 494338"/>
                  <a:gd name="connsiteY54" fmla="*/ 483714 h 599290"/>
                  <a:gd name="connsiteX55" fmla="*/ 99614 w 494338"/>
                  <a:gd name="connsiteY55" fmla="*/ 558126 h 599290"/>
                  <a:gd name="connsiteX56" fmla="*/ 106706 w 494338"/>
                  <a:gd name="connsiteY56" fmla="*/ 574476 h 599290"/>
                  <a:gd name="connsiteX57" fmla="*/ 112879 w 494338"/>
                  <a:gd name="connsiteY57" fmla="*/ 569137 h 599290"/>
                  <a:gd name="connsiteX58" fmla="*/ 131483 w 494338"/>
                  <a:gd name="connsiteY58" fmla="*/ 556290 h 599290"/>
                  <a:gd name="connsiteX59" fmla="*/ 187296 w 494338"/>
                  <a:gd name="connsiteY59" fmla="*/ 590409 h 599290"/>
                  <a:gd name="connsiteX60" fmla="*/ 188631 w 494338"/>
                  <a:gd name="connsiteY60" fmla="*/ 592662 h 599290"/>
                  <a:gd name="connsiteX61" fmla="*/ 189549 w 494338"/>
                  <a:gd name="connsiteY61" fmla="*/ 593996 h 599290"/>
                  <a:gd name="connsiteX62" fmla="*/ 190883 w 494338"/>
                  <a:gd name="connsiteY62" fmla="*/ 592662 h 599290"/>
                  <a:gd name="connsiteX63" fmla="*/ 223670 w 494338"/>
                  <a:gd name="connsiteY63" fmla="*/ 565633 h 599290"/>
                  <a:gd name="connsiteX64" fmla="*/ 238270 w 494338"/>
                  <a:gd name="connsiteY64" fmla="*/ 561629 h 599290"/>
                  <a:gd name="connsiteX65" fmla="*/ 253787 w 494338"/>
                  <a:gd name="connsiteY65" fmla="*/ 555873 h 599290"/>
                  <a:gd name="connsiteX66" fmla="*/ 256040 w 494338"/>
                  <a:gd name="connsiteY66" fmla="*/ 553620 h 599290"/>
                  <a:gd name="connsiteX67" fmla="*/ 283070 w 494338"/>
                  <a:gd name="connsiteY67" fmla="*/ 545612 h 599290"/>
                  <a:gd name="connsiteX68" fmla="*/ 290161 w 494338"/>
                  <a:gd name="connsiteY68" fmla="*/ 557541 h 599290"/>
                  <a:gd name="connsiteX69" fmla="*/ 291496 w 494338"/>
                  <a:gd name="connsiteY69" fmla="*/ 562380 h 599290"/>
                  <a:gd name="connsiteX70" fmla="*/ 296835 w 494338"/>
                  <a:gd name="connsiteY70" fmla="*/ 567218 h 599290"/>
                  <a:gd name="connsiteX71" fmla="*/ 302592 w 494338"/>
                  <a:gd name="connsiteY71" fmla="*/ 572557 h 599290"/>
                  <a:gd name="connsiteX72" fmla="*/ 310601 w 494338"/>
                  <a:gd name="connsiteY72" fmla="*/ 588073 h 599290"/>
                  <a:gd name="connsiteX73" fmla="*/ 315940 w 494338"/>
                  <a:gd name="connsiteY73" fmla="*/ 598668 h 599290"/>
                  <a:gd name="connsiteX74" fmla="*/ 342553 w 494338"/>
                  <a:gd name="connsiteY74" fmla="*/ 591577 h 599290"/>
                  <a:gd name="connsiteX75" fmla="*/ 351397 w 494338"/>
                  <a:gd name="connsiteY75" fmla="*/ 580983 h 599290"/>
                  <a:gd name="connsiteX76" fmla="*/ 360240 w 494338"/>
                  <a:gd name="connsiteY76" fmla="*/ 566801 h 599290"/>
                  <a:gd name="connsiteX77" fmla="*/ 377092 w 494338"/>
                  <a:gd name="connsiteY77" fmla="*/ 559710 h 599290"/>
                  <a:gd name="connsiteX78" fmla="*/ 375757 w 494338"/>
                  <a:gd name="connsiteY78" fmla="*/ 553037 h 599290"/>
                  <a:gd name="connsiteX79" fmla="*/ 376174 w 494338"/>
                  <a:gd name="connsiteY79" fmla="*/ 537520 h 599290"/>
                  <a:gd name="connsiteX80" fmla="*/ 379261 w 494338"/>
                  <a:gd name="connsiteY80" fmla="*/ 521170 h 599290"/>
                  <a:gd name="connsiteX81" fmla="*/ 395613 w 494338"/>
                  <a:gd name="connsiteY81" fmla="*/ 506071 h 599290"/>
                  <a:gd name="connsiteX82" fmla="*/ 411130 w 494338"/>
                  <a:gd name="connsiteY82" fmla="*/ 500732 h 599290"/>
                  <a:gd name="connsiteX83" fmla="*/ 413800 w 494338"/>
                  <a:gd name="connsiteY83" fmla="*/ 499814 h 599290"/>
                  <a:gd name="connsiteX84" fmla="*/ 421809 w 494338"/>
                  <a:gd name="connsiteY84" fmla="*/ 496728 h 599290"/>
                  <a:gd name="connsiteX85" fmla="*/ 424061 w 494338"/>
                  <a:gd name="connsiteY85" fmla="*/ 493641 h 599290"/>
                  <a:gd name="connsiteX86" fmla="*/ 421809 w 494338"/>
                  <a:gd name="connsiteY86" fmla="*/ 490555 h 599290"/>
                  <a:gd name="connsiteX87" fmla="*/ 419139 w 494338"/>
                  <a:gd name="connsiteY87" fmla="*/ 487885 h 599290"/>
                  <a:gd name="connsiteX88" fmla="*/ 412465 w 494338"/>
                  <a:gd name="connsiteY88" fmla="*/ 479043 h 599290"/>
                  <a:gd name="connsiteX89" fmla="*/ 410713 w 494338"/>
                  <a:gd name="connsiteY89" fmla="*/ 459522 h 599290"/>
                  <a:gd name="connsiteX90" fmla="*/ 416052 w 494338"/>
                  <a:gd name="connsiteY90" fmla="*/ 451514 h 599290"/>
                  <a:gd name="connsiteX91" fmla="*/ 418722 w 494338"/>
                  <a:gd name="connsiteY91" fmla="*/ 448010 h 599290"/>
                  <a:gd name="connsiteX92" fmla="*/ 417804 w 494338"/>
                  <a:gd name="connsiteY92" fmla="*/ 440002 h 599290"/>
                  <a:gd name="connsiteX93" fmla="*/ 412048 w 494338"/>
                  <a:gd name="connsiteY93" fmla="*/ 436498 h 599290"/>
                  <a:gd name="connsiteX94" fmla="*/ 403205 w 494338"/>
                  <a:gd name="connsiteY94" fmla="*/ 430325 h 599290"/>
                  <a:gd name="connsiteX95" fmla="*/ 397865 w 494338"/>
                  <a:gd name="connsiteY95" fmla="*/ 409053 h 599290"/>
                  <a:gd name="connsiteX96" fmla="*/ 404957 w 494338"/>
                  <a:gd name="connsiteY96" fmla="*/ 396623 h 599290"/>
                  <a:gd name="connsiteX97" fmla="*/ 407209 w 494338"/>
                  <a:gd name="connsiteY97" fmla="*/ 393954 h 599290"/>
                  <a:gd name="connsiteX98" fmla="*/ 410296 w 494338"/>
                  <a:gd name="connsiteY98" fmla="*/ 386863 h 599290"/>
                  <a:gd name="connsiteX99" fmla="*/ 413383 w 494338"/>
                  <a:gd name="connsiteY99" fmla="*/ 358083 h 599290"/>
                  <a:gd name="connsiteX100" fmla="*/ 440830 w 494338"/>
                  <a:gd name="connsiteY100" fmla="*/ 341232 h 599290"/>
                  <a:gd name="connsiteX101" fmla="*/ 455430 w 494338"/>
                  <a:gd name="connsiteY101" fmla="*/ 352327 h 599290"/>
                  <a:gd name="connsiteX102" fmla="*/ 461603 w 494338"/>
                  <a:gd name="connsiteY102" fmla="*/ 359001 h 599290"/>
                  <a:gd name="connsiteX103" fmla="*/ 472699 w 494338"/>
                  <a:gd name="connsiteY103" fmla="*/ 357666 h 599290"/>
                  <a:gd name="connsiteX104" fmla="*/ 484212 w 494338"/>
                  <a:gd name="connsiteY104" fmla="*/ 346154 h 599290"/>
                  <a:gd name="connsiteX105" fmla="*/ 491720 w 494338"/>
                  <a:gd name="connsiteY105" fmla="*/ 339063 h 599290"/>
                  <a:gd name="connsiteX106" fmla="*/ 493055 w 494338"/>
                  <a:gd name="connsiteY106" fmla="*/ 320877 h 599290"/>
                  <a:gd name="connsiteX107" fmla="*/ 493472 w 494338"/>
                  <a:gd name="connsiteY107" fmla="*/ 302275 h 599290"/>
                  <a:gd name="connsiteX108" fmla="*/ 493890 w 494338"/>
                  <a:gd name="connsiteY108" fmla="*/ 293849 h 599290"/>
                  <a:gd name="connsiteX109" fmla="*/ 493472 w 494338"/>
                  <a:gd name="connsiteY109" fmla="*/ 282170 h 599290"/>
                  <a:gd name="connsiteX110" fmla="*/ 328204 w 494338"/>
                  <a:gd name="connsiteY110" fmla="*/ 417228 h 599290"/>
                  <a:gd name="connsiteX111" fmla="*/ 327286 w 494338"/>
                  <a:gd name="connsiteY111" fmla="*/ 430992 h 599290"/>
                  <a:gd name="connsiteX112" fmla="*/ 320195 w 494338"/>
                  <a:gd name="connsiteY112" fmla="*/ 477541 h 599290"/>
                  <a:gd name="connsiteX113" fmla="*/ 294082 w 494338"/>
                  <a:gd name="connsiteY113" fmla="*/ 503652 h 599290"/>
                  <a:gd name="connsiteX114" fmla="*/ 281235 w 494338"/>
                  <a:gd name="connsiteY114" fmla="*/ 482379 h 599290"/>
                  <a:gd name="connsiteX115" fmla="*/ 287408 w 494338"/>
                  <a:gd name="connsiteY115" fmla="*/ 462025 h 599290"/>
                  <a:gd name="connsiteX116" fmla="*/ 291413 w 494338"/>
                  <a:gd name="connsiteY116" fmla="*/ 445174 h 599290"/>
                  <a:gd name="connsiteX117" fmla="*/ 286991 w 494338"/>
                  <a:gd name="connsiteY117" fmla="*/ 441670 h 599290"/>
                  <a:gd name="connsiteX118" fmla="*/ 273726 w 494338"/>
                  <a:gd name="connsiteY118" fmla="*/ 459856 h 599290"/>
                  <a:gd name="connsiteX119" fmla="*/ 272391 w 494338"/>
                  <a:gd name="connsiteY119" fmla="*/ 462526 h 599290"/>
                  <a:gd name="connsiteX120" fmla="*/ 237853 w 494338"/>
                  <a:gd name="connsiteY120" fmla="*/ 501983 h 599290"/>
                  <a:gd name="connsiteX121" fmla="*/ 229844 w 494338"/>
                  <a:gd name="connsiteY121" fmla="*/ 508156 h 599290"/>
                  <a:gd name="connsiteX122" fmla="*/ 221000 w 494338"/>
                  <a:gd name="connsiteY122" fmla="*/ 515247 h 599290"/>
                  <a:gd name="connsiteX123" fmla="*/ 218748 w 494338"/>
                  <a:gd name="connsiteY123" fmla="*/ 522338 h 599290"/>
                  <a:gd name="connsiteX124" fmla="*/ 212574 w 494338"/>
                  <a:gd name="connsiteY124" fmla="*/ 536936 h 599290"/>
                  <a:gd name="connsiteX125" fmla="*/ 191300 w 494338"/>
                  <a:gd name="connsiteY125" fmla="*/ 549783 h 599290"/>
                  <a:gd name="connsiteX126" fmla="*/ 181540 w 494338"/>
                  <a:gd name="connsiteY126" fmla="*/ 551118 h 599290"/>
                  <a:gd name="connsiteX127" fmla="*/ 166940 w 494338"/>
                  <a:gd name="connsiteY127" fmla="*/ 543110 h 599290"/>
                  <a:gd name="connsiteX128" fmla="*/ 142996 w 494338"/>
                  <a:gd name="connsiteY128" fmla="*/ 489053 h 599290"/>
                  <a:gd name="connsiteX129" fmla="*/ 156261 w 494338"/>
                  <a:gd name="connsiteY129" fmla="*/ 467364 h 599290"/>
                  <a:gd name="connsiteX130" fmla="*/ 185461 w 494338"/>
                  <a:gd name="connsiteY130" fmla="*/ 475372 h 599290"/>
                  <a:gd name="connsiteX131" fmla="*/ 193470 w 494338"/>
                  <a:gd name="connsiteY131" fmla="*/ 477625 h 599290"/>
                  <a:gd name="connsiteX132" fmla="*/ 202313 w 494338"/>
                  <a:gd name="connsiteY132" fmla="*/ 476290 h 599290"/>
                  <a:gd name="connsiteX133" fmla="*/ 216495 w 494338"/>
                  <a:gd name="connsiteY133" fmla="*/ 466947 h 599290"/>
                  <a:gd name="connsiteX134" fmla="*/ 212074 w 494338"/>
                  <a:gd name="connsiteY134" fmla="*/ 457187 h 599290"/>
                  <a:gd name="connsiteX135" fmla="*/ 204982 w 494338"/>
                  <a:gd name="connsiteY135" fmla="*/ 443422 h 599290"/>
                  <a:gd name="connsiteX136" fmla="*/ 212491 w 494338"/>
                  <a:gd name="connsiteY136" fmla="*/ 414225 h 599290"/>
                  <a:gd name="connsiteX137" fmla="*/ 240439 w 494338"/>
                  <a:gd name="connsiteY137" fmla="*/ 393870 h 599290"/>
                  <a:gd name="connsiteX138" fmla="*/ 258626 w 494338"/>
                  <a:gd name="connsiteY138" fmla="*/ 383276 h 599290"/>
                  <a:gd name="connsiteX139" fmla="*/ 263465 w 494338"/>
                  <a:gd name="connsiteY139" fmla="*/ 366008 h 599290"/>
                  <a:gd name="connsiteX140" fmla="*/ 254121 w 494338"/>
                  <a:gd name="connsiteY140" fmla="*/ 362504 h 599290"/>
                  <a:gd name="connsiteX141" fmla="*/ 246112 w 494338"/>
                  <a:gd name="connsiteY141" fmla="*/ 363422 h 599290"/>
                  <a:gd name="connsiteX142" fmla="*/ 211573 w 494338"/>
                  <a:gd name="connsiteY142" fmla="*/ 357249 h 599290"/>
                  <a:gd name="connsiteX143" fmla="*/ 201812 w 494338"/>
                  <a:gd name="connsiteY143" fmla="*/ 347489 h 599290"/>
                  <a:gd name="connsiteX144" fmla="*/ 195639 w 494338"/>
                  <a:gd name="connsiteY144" fmla="*/ 340815 h 599290"/>
                  <a:gd name="connsiteX145" fmla="*/ 190800 w 494338"/>
                  <a:gd name="connsiteY145" fmla="*/ 336811 h 599290"/>
                  <a:gd name="connsiteX146" fmla="*/ 159348 w 494338"/>
                  <a:gd name="connsiteY146" fmla="*/ 292097 h 599290"/>
                  <a:gd name="connsiteX147" fmla="*/ 170444 w 494338"/>
                  <a:gd name="connsiteY147" fmla="*/ 265486 h 599290"/>
                  <a:gd name="connsiteX148" fmla="*/ 200144 w 494338"/>
                  <a:gd name="connsiteY148" fmla="*/ 277916 h 599290"/>
                  <a:gd name="connsiteX149" fmla="*/ 207235 w 494338"/>
                  <a:gd name="connsiteY149" fmla="*/ 291680 h 599290"/>
                  <a:gd name="connsiteX150" fmla="*/ 221418 w 494338"/>
                  <a:gd name="connsiteY150" fmla="*/ 304944 h 599290"/>
                  <a:gd name="connsiteX151" fmla="*/ 238270 w 494338"/>
                  <a:gd name="connsiteY151" fmla="*/ 304527 h 599290"/>
                  <a:gd name="connsiteX152" fmla="*/ 283487 w 494338"/>
                  <a:gd name="connsiteY152" fmla="*/ 318709 h 599290"/>
                  <a:gd name="connsiteX153" fmla="*/ 287909 w 494338"/>
                  <a:gd name="connsiteY153" fmla="*/ 332473 h 599290"/>
                  <a:gd name="connsiteX154" fmla="*/ 291413 w 494338"/>
                  <a:gd name="connsiteY154" fmla="*/ 342650 h 599290"/>
                  <a:gd name="connsiteX155" fmla="*/ 302008 w 494338"/>
                  <a:gd name="connsiteY155" fmla="*/ 351993 h 599290"/>
                  <a:gd name="connsiteX156" fmla="*/ 311352 w 494338"/>
                  <a:gd name="connsiteY156" fmla="*/ 359084 h 599290"/>
                  <a:gd name="connsiteX157" fmla="*/ 328204 w 494338"/>
                  <a:gd name="connsiteY157" fmla="*/ 417228 h 599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494338" h="599290" extrusionOk="0">
                    <a:moveTo>
                      <a:pt x="493472" y="282170"/>
                    </a:moveTo>
                    <a:cubicBezTo>
                      <a:pt x="493055" y="281253"/>
                      <a:pt x="490386" y="279501"/>
                      <a:pt x="488634" y="278667"/>
                    </a:cubicBezTo>
                    <a:cubicBezTo>
                      <a:pt x="485547" y="276414"/>
                      <a:pt x="482460" y="274662"/>
                      <a:pt x="480208" y="271993"/>
                    </a:cubicBezTo>
                    <a:cubicBezTo>
                      <a:pt x="477955" y="269741"/>
                      <a:pt x="475786" y="267155"/>
                      <a:pt x="473116" y="263985"/>
                    </a:cubicBezTo>
                    <a:cubicBezTo>
                      <a:pt x="460686" y="250220"/>
                      <a:pt x="443416" y="231200"/>
                      <a:pt x="447421" y="212598"/>
                    </a:cubicBezTo>
                    <a:cubicBezTo>
                      <a:pt x="448339" y="208594"/>
                      <a:pt x="449673" y="204589"/>
                      <a:pt x="450925" y="201086"/>
                    </a:cubicBezTo>
                    <a:cubicBezTo>
                      <a:pt x="452260" y="196664"/>
                      <a:pt x="454012" y="193077"/>
                      <a:pt x="454429" y="189156"/>
                    </a:cubicBezTo>
                    <a:cubicBezTo>
                      <a:pt x="456181" y="179396"/>
                      <a:pt x="457933" y="170971"/>
                      <a:pt x="465024" y="162545"/>
                    </a:cubicBezTo>
                    <a:cubicBezTo>
                      <a:pt x="470363" y="155872"/>
                      <a:pt x="473033" y="151451"/>
                      <a:pt x="472532" y="147947"/>
                    </a:cubicBezTo>
                    <a:cubicBezTo>
                      <a:pt x="472115" y="143108"/>
                      <a:pt x="464523" y="137352"/>
                      <a:pt x="454846" y="129344"/>
                    </a:cubicBezTo>
                    <a:cubicBezTo>
                      <a:pt x="450424" y="125840"/>
                      <a:pt x="446420" y="121336"/>
                      <a:pt x="442415" y="117415"/>
                    </a:cubicBezTo>
                    <a:cubicBezTo>
                      <a:pt x="431319" y="105486"/>
                      <a:pt x="423811" y="98812"/>
                      <a:pt x="412715" y="101064"/>
                    </a:cubicBezTo>
                    <a:cubicBezTo>
                      <a:pt x="410046" y="101982"/>
                      <a:pt x="407877" y="102816"/>
                      <a:pt x="406041" y="103734"/>
                    </a:cubicBezTo>
                    <a:cubicBezTo>
                      <a:pt x="399868" y="106821"/>
                      <a:pt x="394528" y="108572"/>
                      <a:pt x="384350" y="104151"/>
                    </a:cubicBezTo>
                    <a:cubicBezTo>
                      <a:pt x="367998" y="97477"/>
                      <a:pt x="359072" y="85965"/>
                      <a:pt x="360907" y="73619"/>
                    </a:cubicBezTo>
                    <a:cubicBezTo>
                      <a:pt x="361825" y="67446"/>
                      <a:pt x="365329" y="63025"/>
                      <a:pt x="367998" y="59437"/>
                    </a:cubicBezTo>
                    <a:cubicBezTo>
                      <a:pt x="370668" y="56351"/>
                      <a:pt x="372003" y="54599"/>
                      <a:pt x="372420" y="51930"/>
                    </a:cubicBezTo>
                    <a:cubicBezTo>
                      <a:pt x="373338" y="47091"/>
                      <a:pt x="371502" y="39083"/>
                      <a:pt x="369750" y="31992"/>
                    </a:cubicBezTo>
                    <a:lnTo>
                      <a:pt x="369750" y="31575"/>
                    </a:lnTo>
                    <a:cubicBezTo>
                      <a:pt x="366664" y="29323"/>
                      <a:pt x="363577" y="27154"/>
                      <a:pt x="360907" y="25819"/>
                    </a:cubicBezTo>
                    <a:cubicBezTo>
                      <a:pt x="359990" y="25402"/>
                      <a:pt x="358655" y="24901"/>
                      <a:pt x="357820" y="24901"/>
                    </a:cubicBezTo>
                    <a:cubicBezTo>
                      <a:pt x="356486" y="24484"/>
                      <a:pt x="355151" y="23984"/>
                      <a:pt x="354317" y="24484"/>
                    </a:cubicBezTo>
                    <a:cubicBezTo>
                      <a:pt x="337965" y="25819"/>
                      <a:pt x="348977" y="41753"/>
                      <a:pt x="343721" y="47926"/>
                    </a:cubicBezTo>
                    <a:cubicBezTo>
                      <a:pt x="332208" y="60772"/>
                      <a:pt x="321113" y="25819"/>
                      <a:pt x="311852" y="19146"/>
                    </a:cubicBezTo>
                    <a:cubicBezTo>
                      <a:pt x="307431" y="16059"/>
                      <a:pt x="305178" y="17394"/>
                      <a:pt x="301257" y="15141"/>
                    </a:cubicBezTo>
                    <a:cubicBezTo>
                      <a:pt x="296835" y="12889"/>
                      <a:pt x="292831" y="9802"/>
                      <a:pt x="288826" y="7133"/>
                    </a:cubicBezTo>
                    <a:cubicBezTo>
                      <a:pt x="277731" y="960"/>
                      <a:pt x="272892" y="-4796"/>
                      <a:pt x="263131" y="6215"/>
                    </a:cubicBezTo>
                    <a:cubicBezTo>
                      <a:pt x="246779" y="25736"/>
                      <a:pt x="270222" y="48760"/>
                      <a:pt x="271557" y="68697"/>
                    </a:cubicBezTo>
                    <a:cubicBezTo>
                      <a:pt x="271974" y="79792"/>
                      <a:pt x="271140" y="90387"/>
                      <a:pt x="272475" y="101481"/>
                    </a:cubicBezTo>
                    <a:cubicBezTo>
                      <a:pt x="273392" y="110324"/>
                      <a:pt x="276896" y="121836"/>
                      <a:pt x="264966" y="112076"/>
                    </a:cubicBezTo>
                    <a:cubicBezTo>
                      <a:pt x="259627" y="107238"/>
                      <a:pt x="261880" y="98311"/>
                      <a:pt x="253036" y="95725"/>
                    </a:cubicBezTo>
                    <a:cubicBezTo>
                      <a:pt x="247280" y="93473"/>
                      <a:pt x="238854" y="99730"/>
                      <a:pt x="233097" y="97978"/>
                    </a:cubicBezTo>
                    <a:cubicBezTo>
                      <a:pt x="224671" y="95308"/>
                      <a:pt x="223336" y="82044"/>
                      <a:pt x="213158" y="82462"/>
                    </a:cubicBezTo>
                    <a:cubicBezTo>
                      <a:pt x="204732" y="82879"/>
                      <a:pt x="199393" y="95308"/>
                      <a:pt x="192302" y="99313"/>
                    </a:cubicBezTo>
                    <a:cubicBezTo>
                      <a:pt x="177702" y="106403"/>
                      <a:pt x="159515" y="94474"/>
                      <a:pt x="146250" y="102816"/>
                    </a:cubicBezTo>
                    <a:cubicBezTo>
                      <a:pt x="129898" y="113411"/>
                      <a:pt x="140076" y="142691"/>
                      <a:pt x="125393" y="152451"/>
                    </a:cubicBezTo>
                    <a:cubicBezTo>
                      <a:pt x="111211" y="161294"/>
                      <a:pt x="95693" y="130762"/>
                      <a:pt x="86850" y="121419"/>
                    </a:cubicBezTo>
                    <a:cubicBezTo>
                      <a:pt x="80176" y="114745"/>
                      <a:pt x="75337" y="108572"/>
                      <a:pt x="72250" y="99730"/>
                    </a:cubicBezTo>
                    <a:cubicBezTo>
                      <a:pt x="69164" y="91304"/>
                      <a:pt x="69998" y="79792"/>
                      <a:pt x="64742" y="72701"/>
                    </a:cubicBezTo>
                    <a:cubicBezTo>
                      <a:pt x="64325" y="71784"/>
                      <a:pt x="63824" y="71367"/>
                      <a:pt x="62990" y="70449"/>
                    </a:cubicBezTo>
                    <a:lnTo>
                      <a:pt x="60737" y="68197"/>
                    </a:lnTo>
                    <a:cubicBezTo>
                      <a:pt x="53646" y="61523"/>
                      <a:pt x="41216" y="55350"/>
                      <a:pt x="36377" y="63358"/>
                    </a:cubicBezTo>
                    <a:cubicBezTo>
                      <a:pt x="32372" y="68697"/>
                      <a:pt x="33707" y="65610"/>
                      <a:pt x="31038" y="70449"/>
                    </a:cubicBezTo>
                    <a:cubicBezTo>
                      <a:pt x="30120" y="72201"/>
                      <a:pt x="31038" y="73535"/>
                      <a:pt x="26199" y="76205"/>
                    </a:cubicBezTo>
                    <a:cubicBezTo>
                      <a:pt x="19525" y="79709"/>
                      <a:pt x="10264" y="70866"/>
                      <a:pt x="2255" y="78875"/>
                    </a:cubicBezTo>
                    <a:cubicBezTo>
                      <a:pt x="-8340" y="89969"/>
                      <a:pt x="21277" y="119167"/>
                      <a:pt x="31455" y="132013"/>
                    </a:cubicBezTo>
                    <a:cubicBezTo>
                      <a:pt x="33207" y="133765"/>
                      <a:pt x="34124" y="135517"/>
                      <a:pt x="34541" y="136435"/>
                    </a:cubicBezTo>
                    <a:cubicBezTo>
                      <a:pt x="46471" y="162128"/>
                      <a:pt x="18190" y="179813"/>
                      <a:pt x="21694" y="203755"/>
                    </a:cubicBezTo>
                    <a:cubicBezTo>
                      <a:pt x="23446" y="215267"/>
                      <a:pt x="34959" y="220105"/>
                      <a:pt x="41633" y="228531"/>
                    </a:cubicBezTo>
                    <a:cubicBezTo>
                      <a:pt x="50059" y="238291"/>
                      <a:pt x="55398" y="249803"/>
                      <a:pt x="57150" y="262233"/>
                    </a:cubicBezTo>
                    <a:cubicBezTo>
                      <a:pt x="58485" y="275497"/>
                      <a:pt x="53146" y="289261"/>
                      <a:pt x="56232" y="302525"/>
                    </a:cubicBezTo>
                    <a:cubicBezTo>
                      <a:pt x="59319" y="316289"/>
                      <a:pt x="71750" y="322880"/>
                      <a:pt x="77923" y="335309"/>
                    </a:cubicBezTo>
                    <a:cubicBezTo>
                      <a:pt x="89436" y="355664"/>
                      <a:pt x="106288" y="390200"/>
                      <a:pt x="101366" y="414142"/>
                    </a:cubicBezTo>
                    <a:cubicBezTo>
                      <a:pt x="98697" y="427405"/>
                      <a:pt x="96528" y="425653"/>
                      <a:pt x="100949" y="439418"/>
                    </a:cubicBezTo>
                    <a:cubicBezTo>
                      <a:pt x="106288" y="454934"/>
                      <a:pt x="102284" y="467364"/>
                      <a:pt x="101867" y="483714"/>
                    </a:cubicBezTo>
                    <a:cubicBezTo>
                      <a:pt x="101450" y="507656"/>
                      <a:pt x="98363" y="533767"/>
                      <a:pt x="99614" y="558126"/>
                    </a:cubicBezTo>
                    <a:cubicBezTo>
                      <a:pt x="100032" y="565216"/>
                      <a:pt x="103118" y="570054"/>
                      <a:pt x="106706" y="574476"/>
                    </a:cubicBezTo>
                    <a:cubicBezTo>
                      <a:pt x="108958" y="573141"/>
                      <a:pt x="110710" y="570972"/>
                      <a:pt x="112879" y="569137"/>
                    </a:cubicBezTo>
                    <a:cubicBezTo>
                      <a:pt x="117718" y="564299"/>
                      <a:pt x="123474" y="558960"/>
                      <a:pt x="131483" y="556290"/>
                    </a:cubicBezTo>
                    <a:cubicBezTo>
                      <a:pt x="158514" y="546530"/>
                      <a:pt x="176701" y="573975"/>
                      <a:pt x="187296" y="590409"/>
                    </a:cubicBezTo>
                    <a:lnTo>
                      <a:pt x="188631" y="592662"/>
                    </a:lnTo>
                    <a:cubicBezTo>
                      <a:pt x="189048" y="593079"/>
                      <a:pt x="189048" y="593579"/>
                      <a:pt x="189549" y="593996"/>
                    </a:cubicBezTo>
                    <a:lnTo>
                      <a:pt x="190883" y="592662"/>
                    </a:lnTo>
                    <a:cubicBezTo>
                      <a:pt x="200227" y="582484"/>
                      <a:pt x="209488" y="571806"/>
                      <a:pt x="223670" y="565633"/>
                    </a:cubicBezTo>
                    <a:cubicBezTo>
                      <a:pt x="228509" y="563381"/>
                      <a:pt x="233431" y="562547"/>
                      <a:pt x="238270" y="561629"/>
                    </a:cubicBezTo>
                    <a:cubicBezTo>
                      <a:pt x="244443" y="560711"/>
                      <a:pt x="249783" y="559377"/>
                      <a:pt x="253787" y="555873"/>
                    </a:cubicBezTo>
                    <a:lnTo>
                      <a:pt x="256040" y="553620"/>
                    </a:lnTo>
                    <a:cubicBezTo>
                      <a:pt x="261796" y="547865"/>
                      <a:pt x="269805" y="539856"/>
                      <a:pt x="283070" y="545612"/>
                    </a:cubicBezTo>
                    <a:cubicBezTo>
                      <a:pt x="287909" y="547865"/>
                      <a:pt x="289244" y="553120"/>
                      <a:pt x="290161" y="557541"/>
                    </a:cubicBezTo>
                    <a:cubicBezTo>
                      <a:pt x="290578" y="559293"/>
                      <a:pt x="291079" y="561963"/>
                      <a:pt x="291496" y="562380"/>
                    </a:cubicBezTo>
                    <a:cubicBezTo>
                      <a:pt x="292831" y="564632"/>
                      <a:pt x="295000" y="565883"/>
                      <a:pt x="296835" y="567218"/>
                    </a:cubicBezTo>
                    <a:cubicBezTo>
                      <a:pt x="299088" y="568970"/>
                      <a:pt x="300840" y="570305"/>
                      <a:pt x="302592" y="572557"/>
                    </a:cubicBezTo>
                    <a:cubicBezTo>
                      <a:pt x="306596" y="576978"/>
                      <a:pt x="308765" y="582735"/>
                      <a:pt x="310601" y="588073"/>
                    </a:cubicBezTo>
                    <a:cubicBezTo>
                      <a:pt x="311936" y="592495"/>
                      <a:pt x="313688" y="597833"/>
                      <a:pt x="315940" y="598668"/>
                    </a:cubicBezTo>
                    <a:cubicBezTo>
                      <a:pt x="316858" y="599085"/>
                      <a:pt x="322614" y="601754"/>
                      <a:pt x="342553" y="591577"/>
                    </a:cubicBezTo>
                    <a:cubicBezTo>
                      <a:pt x="348310" y="588908"/>
                      <a:pt x="349645" y="585821"/>
                      <a:pt x="351397" y="580983"/>
                    </a:cubicBezTo>
                    <a:cubicBezTo>
                      <a:pt x="353149" y="576978"/>
                      <a:pt x="355401" y="572140"/>
                      <a:pt x="360240" y="566801"/>
                    </a:cubicBezTo>
                    <a:cubicBezTo>
                      <a:pt x="364244" y="563297"/>
                      <a:pt x="370418" y="560128"/>
                      <a:pt x="377092" y="559710"/>
                    </a:cubicBezTo>
                    <a:cubicBezTo>
                      <a:pt x="376675" y="557458"/>
                      <a:pt x="376174" y="555289"/>
                      <a:pt x="375757" y="553037"/>
                    </a:cubicBezTo>
                    <a:cubicBezTo>
                      <a:pt x="375340" y="547698"/>
                      <a:pt x="375340" y="542859"/>
                      <a:pt x="376174" y="537520"/>
                    </a:cubicBezTo>
                    <a:cubicBezTo>
                      <a:pt x="376591" y="532682"/>
                      <a:pt x="377092" y="526926"/>
                      <a:pt x="379261" y="521170"/>
                    </a:cubicBezTo>
                    <a:cubicBezTo>
                      <a:pt x="382348" y="514997"/>
                      <a:pt x="387687" y="509658"/>
                      <a:pt x="395613" y="506071"/>
                    </a:cubicBezTo>
                    <a:cubicBezTo>
                      <a:pt x="400452" y="503402"/>
                      <a:pt x="405791" y="502567"/>
                      <a:pt x="411130" y="500732"/>
                    </a:cubicBezTo>
                    <a:lnTo>
                      <a:pt x="413800" y="499814"/>
                    </a:lnTo>
                    <a:cubicBezTo>
                      <a:pt x="416887" y="498897"/>
                      <a:pt x="419973" y="498063"/>
                      <a:pt x="421809" y="496728"/>
                    </a:cubicBezTo>
                    <a:cubicBezTo>
                      <a:pt x="423144" y="495810"/>
                      <a:pt x="424061" y="494058"/>
                      <a:pt x="424061" y="493641"/>
                    </a:cubicBezTo>
                    <a:cubicBezTo>
                      <a:pt x="423644" y="492724"/>
                      <a:pt x="422727" y="490972"/>
                      <a:pt x="421809" y="490555"/>
                    </a:cubicBezTo>
                    <a:lnTo>
                      <a:pt x="419139" y="487885"/>
                    </a:lnTo>
                    <a:cubicBezTo>
                      <a:pt x="416887" y="484799"/>
                      <a:pt x="414300" y="482129"/>
                      <a:pt x="412465" y="479043"/>
                    </a:cubicBezTo>
                    <a:cubicBezTo>
                      <a:pt x="408961" y="472369"/>
                      <a:pt x="408043" y="465278"/>
                      <a:pt x="410713" y="459522"/>
                    </a:cubicBezTo>
                    <a:cubicBezTo>
                      <a:pt x="412048" y="456018"/>
                      <a:pt x="414217" y="453349"/>
                      <a:pt x="416052" y="451514"/>
                    </a:cubicBezTo>
                    <a:cubicBezTo>
                      <a:pt x="417387" y="450179"/>
                      <a:pt x="418305" y="449262"/>
                      <a:pt x="418722" y="448010"/>
                    </a:cubicBezTo>
                    <a:cubicBezTo>
                      <a:pt x="420057" y="445758"/>
                      <a:pt x="420057" y="442254"/>
                      <a:pt x="417804" y="440002"/>
                    </a:cubicBezTo>
                    <a:cubicBezTo>
                      <a:pt x="416470" y="438667"/>
                      <a:pt x="414718" y="437332"/>
                      <a:pt x="412048" y="436498"/>
                    </a:cubicBezTo>
                    <a:cubicBezTo>
                      <a:pt x="409378" y="435163"/>
                      <a:pt x="405874" y="433412"/>
                      <a:pt x="403205" y="430325"/>
                    </a:cubicBezTo>
                    <a:cubicBezTo>
                      <a:pt x="397865" y="424986"/>
                      <a:pt x="395696" y="416561"/>
                      <a:pt x="397865" y="409053"/>
                    </a:cubicBezTo>
                    <a:cubicBezTo>
                      <a:pt x="399200" y="403714"/>
                      <a:pt x="402287" y="400210"/>
                      <a:pt x="404957" y="396623"/>
                    </a:cubicBezTo>
                    <a:lnTo>
                      <a:pt x="407209" y="393954"/>
                    </a:lnTo>
                    <a:cubicBezTo>
                      <a:pt x="409462" y="390867"/>
                      <a:pt x="410713" y="388198"/>
                      <a:pt x="410296" y="386863"/>
                    </a:cubicBezTo>
                    <a:cubicBezTo>
                      <a:pt x="406792" y="375768"/>
                      <a:pt x="410296" y="365174"/>
                      <a:pt x="413383" y="358083"/>
                    </a:cubicBezTo>
                    <a:cubicBezTo>
                      <a:pt x="418221" y="347906"/>
                      <a:pt x="428900" y="338145"/>
                      <a:pt x="440830" y="341232"/>
                    </a:cubicBezTo>
                    <a:cubicBezTo>
                      <a:pt x="447921" y="342984"/>
                      <a:pt x="451926" y="348323"/>
                      <a:pt x="455430" y="352327"/>
                    </a:cubicBezTo>
                    <a:cubicBezTo>
                      <a:pt x="457682" y="354997"/>
                      <a:pt x="459851" y="357666"/>
                      <a:pt x="461603" y="359001"/>
                    </a:cubicBezTo>
                    <a:cubicBezTo>
                      <a:pt x="464690" y="360335"/>
                      <a:pt x="468695" y="359918"/>
                      <a:pt x="472699" y="357666"/>
                    </a:cubicBezTo>
                    <a:cubicBezTo>
                      <a:pt x="477121" y="354997"/>
                      <a:pt x="480708" y="350992"/>
                      <a:pt x="484212" y="346154"/>
                    </a:cubicBezTo>
                    <a:cubicBezTo>
                      <a:pt x="485964" y="343484"/>
                      <a:pt x="488217" y="340815"/>
                      <a:pt x="491720" y="339063"/>
                    </a:cubicBezTo>
                    <a:cubicBezTo>
                      <a:pt x="492138" y="339063"/>
                      <a:pt x="493055" y="327134"/>
                      <a:pt x="493055" y="320877"/>
                    </a:cubicBezTo>
                    <a:cubicBezTo>
                      <a:pt x="493055" y="314621"/>
                      <a:pt x="493472" y="308448"/>
                      <a:pt x="493472" y="302275"/>
                    </a:cubicBezTo>
                    <a:cubicBezTo>
                      <a:pt x="493472" y="299605"/>
                      <a:pt x="493472" y="296936"/>
                      <a:pt x="493890" y="293849"/>
                    </a:cubicBezTo>
                    <a:cubicBezTo>
                      <a:pt x="494307" y="289678"/>
                      <a:pt x="494807" y="284840"/>
                      <a:pt x="493472" y="282170"/>
                    </a:cubicBezTo>
                    <a:close/>
                    <a:moveTo>
                      <a:pt x="328204" y="417228"/>
                    </a:moveTo>
                    <a:cubicBezTo>
                      <a:pt x="327787" y="422067"/>
                      <a:pt x="327286" y="426571"/>
                      <a:pt x="327286" y="430992"/>
                    </a:cubicBezTo>
                    <a:cubicBezTo>
                      <a:pt x="325951" y="446509"/>
                      <a:pt x="325034" y="461107"/>
                      <a:pt x="320195" y="477541"/>
                    </a:cubicBezTo>
                    <a:cubicBezTo>
                      <a:pt x="316691" y="489470"/>
                      <a:pt x="305095" y="505487"/>
                      <a:pt x="294082" y="503652"/>
                    </a:cubicBezTo>
                    <a:cubicBezTo>
                      <a:pt x="288743" y="502734"/>
                      <a:pt x="282152" y="498813"/>
                      <a:pt x="281235" y="482379"/>
                    </a:cubicBezTo>
                    <a:cubicBezTo>
                      <a:pt x="280817" y="475289"/>
                      <a:pt x="284321" y="468198"/>
                      <a:pt x="287408" y="462025"/>
                    </a:cubicBezTo>
                    <a:cubicBezTo>
                      <a:pt x="290495" y="455351"/>
                      <a:pt x="293582" y="448761"/>
                      <a:pt x="291413" y="445174"/>
                    </a:cubicBezTo>
                    <a:cubicBezTo>
                      <a:pt x="289160" y="442087"/>
                      <a:pt x="287408" y="441670"/>
                      <a:pt x="286991" y="441670"/>
                    </a:cubicBezTo>
                    <a:cubicBezTo>
                      <a:pt x="285656" y="441670"/>
                      <a:pt x="281652" y="444340"/>
                      <a:pt x="273726" y="459856"/>
                    </a:cubicBezTo>
                    <a:lnTo>
                      <a:pt x="272391" y="462526"/>
                    </a:lnTo>
                    <a:cubicBezTo>
                      <a:pt x="265300" y="476290"/>
                      <a:pt x="249366" y="491723"/>
                      <a:pt x="237853" y="501983"/>
                    </a:cubicBezTo>
                    <a:cubicBezTo>
                      <a:pt x="235600" y="504236"/>
                      <a:pt x="232513" y="506405"/>
                      <a:pt x="229844" y="508156"/>
                    </a:cubicBezTo>
                    <a:cubicBezTo>
                      <a:pt x="226340" y="510409"/>
                      <a:pt x="222752" y="512578"/>
                      <a:pt x="221000" y="515247"/>
                    </a:cubicBezTo>
                    <a:cubicBezTo>
                      <a:pt x="220083" y="516999"/>
                      <a:pt x="219248" y="519669"/>
                      <a:pt x="218748" y="522338"/>
                    </a:cubicBezTo>
                    <a:cubicBezTo>
                      <a:pt x="217830" y="526759"/>
                      <a:pt x="216495" y="532515"/>
                      <a:pt x="212574" y="536936"/>
                    </a:cubicBezTo>
                    <a:cubicBezTo>
                      <a:pt x="210822" y="538688"/>
                      <a:pt x="193970" y="549366"/>
                      <a:pt x="191300" y="549783"/>
                    </a:cubicBezTo>
                    <a:cubicBezTo>
                      <a:pt x="187797" y="550701"/>
                      <a:pt x="184626" y="551118"/>
                      <a:pt x="181540" y="551118"/>
                    </a:cubicBezTo>
                    <a:cubicBezTo>
                      <a:pt x="176701" y="551118"/>
                      <a:pt x="172696" y="549366"/>
                      <a:pt x="166940" y="543110"/>
                    </a:cubicBezTo>
                    <a:cubicBezTo>
                      <a:pt x="158931" y="533767"/>
                      <a:pt x="142996" y="503652"/>
                      <a:pt x="142996" y="489053"/>
                    </a:cubicBezTo>
                    <a:cubicBezTo>
                      <a:pt x="143413" y="478876"/>
                      <a:pt x="147835" y="470868"/>
                      <a:pt x="156261" y="467364"/>
                    </a:cubicBezTo>
                    <a:cubicBezTo>
                      <a:pt x="165605" y="463860"/>
                      <a:pt x="177118" y="466947"/>
                      <a:pt x="185461" y="475372"/>
                    </a:cubicBezTo>
                    <a:cubicBezTo>
                      <a:pt x="186795" y="476707"/>
                      <a:pt x="189882" y="477625"/>
                      <a:pt x="193470" y="477625"/>
                    </a:cubicBezTo>
                    <a:cubicBezTo>
                      <a:pt x="196139" y="477625"/>
                      <a:pt x="199226" y="477208"/>
                      <a:pt x="202313" y="476290"/>
                    </a:cubicBezTo>
                    <a:cubicBezTo>
                      <a:pt x="210739" y="474037"/>
                      <a:pt x="216078" y="469616"/>
                      <a:pt x="216495" y="466947"/>
                    </a:cubicBezTo>
                    <a:cubicBezTo>
                      <a:pt x="217413" y="464277"/>
                      <a:pt x="215578" y="462108"/>
                      <a:pt x="212074" y="457187"/>
                    </a:cubicBezTo>
                    <a:cubicBezTo>
                      <a:pt x="208987" y="453683"/>
                      <a:pt x="205400" y="449178"/>
                      <a:pt x="204982" y="443422"/>
                    </a:cubicBezTo>
                    <a:cubicBezTo>
                      <a:pt x="203648" y="435414"/>
                      <a:pt x="209404" y="419480"/>
                      <a:pt x="212491" y="414225"/>
                    </a:cubicBezTo>
                    <a:cubicBezTo>
                      <a:pt x="219165" y="403631"/>
                      <a:pt x="230177" y="398292"/>
                      <a:pt x="240439" y="393870"/>
                    </a:cubicBezTo>
                    <a:cubicBezTo>
                      <a:pt x="247530" y="390784"/>
                      <a:pt x="254204" y="387697"/>
                      <a:pt x="258626" y="383276"/>
                    </a:cubicBezTo>
                    <a:cubicBezTo>
                      <a:pt x="263048" y="379272"/>
                      <a:pt x="266134" y="372681"/>
                      <a:pt x="263465" y="366008"/>
                    </a:cubicBezTo>
                    <a:cubicBezTo>
                      <a:pt x="261713" y="361587"/>
                      <a:pt x="261713" y="361587"/>
                      <a:pt x="254121" y="362504"/>
                    </a:cubicBezTo>
                    <a:lnTo>
                      <a:pt x="246112" y="363422"/>
                    </a:lnTo>
                    <a:cubicBezTo>
                      <a:pt x="235517" y="364339"/>
                      <a:pt x="223086" y="365674"/>
                      <a:pt x="211573" y="357249"/>
                    </a:cubicBezTo>
                    <a:cubicBezTo>
                      <a:pt x="207569" y="354579"/>
                      <a:pt x="204899" y="350575"/>
                      <a:pt x="201812" y="347489"/>
                    </a:cubicBezTo>
                    <a:cubicBezTo>
                      <a:pt x="199560" y="344819"/>
                      <a:pt x="198308" y="342650"/>
                      <a:pt x="195639" y="340815"/>
                    </a:cubicBezTo>
                    <a:lnTo>
                      <a:pt x="190800" y="336811"/>
                    </a:lnTo>
                    <a:cubicBezTo>
                      <a:pt x="177034" y="325299"/>
                      <a:pt x="162852" y="313369"/>
                      <a:pt x="159348" y="292097"/>
                    </a:cubicBezTo>
                    <a:cubicBezTo>
                      <a:pt x="156678" y="276998"/>
                      <a:pt x="163770" y="268656"/>
                      <a:pt x="170444" y="265486"/>
                    </a:cubicBezTo>
                    <a:cubicBezTo>
                      <a:pt x="180622" y="261983"/>
                      <a:pt x="192552" y="266821"/>
                      <a:pt x="200144" y="277916"/>
                    </a:cubicBezTo>
                    <a:cubicBezTo>
                      <a:pt x="203230" y="282754"/>
                      <a:pt x="205483" y="287676"/>
                      <a:pt x="207235" y="291680"/>
                    </a:cubicBezTo>
                    <a:cubicBezTo>
                      <a:pt x="210739" y="300106"/>
                      <a:pt x="212074" y="304110"/>
                      <a:pt x="221418" y="304944"/>
                    </a:cubicBezTo>
                    <a:cubicBezTo>
                      <a:pt x="226256" y="305361"/>
                      <a:pt x="232013" y="304944"/>
                      <a:pt x="238270" y="304527"/>
                    </a:cubicBezTo>
                    <a:cubicBezTo>
                      <a:pt x="253787" y="303192"/>
                      <a:pt x="272808" y="301023"/>
                      <a:pt x="283487" y="318709"/>
                    </a:cubicBezTo>
                    <a:cubicBezTo>
                      <a:pt x="286157" y="323547"/>
                      <a:pt x="286991" y="328469"/>
                      <a:pt x="287909" y="332473"/>
                    </a:cubicBezTo>
                    <a:cubicBezTo>
                      <a:pt x="288826" y="336477"/>
                      <a:pt x="289244" y="339981"/>
                      <a:pt x="291413" y="342650"/>
                    </a:cubicBezTo>
                    <a:cubicBezTo>
                      <a:pt x="293665" y="346154"/>
                      <a:pt x="298087" y="348823"/>
                      <a:pt x="302008" y="351993"/>
                    </a:cubicBezTo>
                    <a:cubicBezTo>
                      <a:pt x="305095" y="354245"/>
                      <a:pt x="308682" y="356414"/>
                      <a:pt x="311352" y="359084"/>
                    </a:cubicBezTo>
                    <a:cubicBezTo>
                      <a:pt x="332208" y="376519"/>
                      <a:pt x="330456" y="395539"/>
                      <a:pt x="328204" y="41722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383190" name="Полилиния 176"/>
              <p:cNvSpPr/>
              <p:nvPr/>
            </p:nvSpPr>
            <p:spPr bwMode="auto">
              <a:xfrm>
                <a:off x="1272244" y="5644764"/>
                <a:ext cx="214384" cy="137568"/>
              </a:xfrm>
              <a:custGeom>
                <a:avLst/>
                <a:gdLst>
                  <a:gd name="connsiteX0" fmla="*/ 87765 w 240761"/>
                  <a:gd name="connsiteY0" fmla="*/ 149156 h 154494"/>
                  <a:gd name="connsiteX1" fmla="*/ 66491 w 240761"/>
                  <a:gd name="connsiteY1" fmla="*/ 154495 h 154494"/>
                  <a:gd name="connsiteX2" fmla="*/ 52309 w 240761"/>
                  <a:gd name="connsiteY2" fmla="*/ 127466 h 154494"/>
                  <a:gd name="connsiteX3" fmla="*/ 20857 w 240761"/>
                  <a:gd name="connsiteY3" fmla="*/ 60146 h 154494"/>
                  <a:gd name="connsiteX4" fmla="*/ 0 w 240761"/>
                  <a:gd name="connsiteY4" fmla="*/ 38457 h 154494"/>
                  <a:gd name="connsiteX5" fmla="*/ 13765 w 240761"/>
                  <a:gd name="connsiteY5" fmla="*/ 24275 h 154494"/>
                  <a:gd name="connsiteX6" fmla="*/ 43465 w 240761"/>
                  <a:gd name="connsiteY6" fmla="*/ 5672 h 154494"/>
                  <a:gd name="connsiteX7" fmla="*/ 72665 w 240761"/>
                  <a:gd name="connsiteY7" fmla="*/ 834 h 154494"/>
                  <a:gd name="connsiteX8" fmla="*/ 78838 w 240761"/>
                  <a:gd name="connsiteY8" fmla="*/ 417 h 154494"/>
                  <a:gd name="connsiteX9" fmla="*/ 93021 w 240761"/>
                  <a:gd name="connsiteY9" fmla="*/ 0 h 154494"/>
                  <a:gd name="connsiteX10" fmla="*/ 93438 w 240761"/>
                  <a:gd name="connsiteY10" fmla="*/ 0 h 154494"/>
                  <a:gd name="connsiteX11" fmla="*/ 131064 w 240761"/>
                  <a:gd name="connsiteY11" fmla="*/ 8842 h 154494"/>
                  <a:gd name="connsiteX12" fmla="*/ 134568 w 240761"/>
                  <a:gd name="connsiteY12" fmla="*/ 10594 h 154494"/>
                  <a:gd name="connsiteX13" fmla="*/ 136820 w 240761"/>
                  <a:gd name="connsiteY13" fmla="*/ 18603 h 154494"/>
                  <a:gd name="connsiteX14" fmla="*/ 143494 w 240761"/>
                  <a:gd name="connsiteY14" fmla="*/ 35454 h 154494"/>
                  <a:gd name="connsiteX15" fmla="*/ 155925 w 240761"/>
                  <a:gd name="connsiteY15" fmla="*/ 40793 h 154494"/>
                  <a:gd name="connsiteX16" fmla="*/ 160764 w 240761"/>
                  <a:gd name="connsiteY16" fmla="*/ 42127 h 154494"/>
                  <a:gd name="connsiteX17" fmla="*/ 169190 w 240761"/>
                  <a:gd name="connsiteY17" fmla="*/ 49635 h 154494"/>
                  <a:gd name="connsiteX18" fmla="*/ 187794 w 240761"/>
                  <a:gd name="connsiteY18" fmla="*/ 62065 h 154494"/>
                  <a:gd name="connsiteX19" fmla="*/ 204145 w 240761"/>
                  <a:gd name="connsiteY19" fmla="*/ 58561 h 154494"/>
                  <a:gd name="connsiteX20" fmla="*/ 213906 w 240761"/>
                  <a:gd name="connsiteY20" fmla="*/ 56309 h 154494"/>
                  <a:gd name="connsiteX21" fmla="*/ 218328 w 240761"/>
                  <a:gd name="connsiteY21" fmla="*/ 62482 h 154494"/>
                  <a:gd name="connsiteX22" fmla="*/ 220581 w 240761"/>
                  <a:gd name="connsiteY22" fmla="*/ 65985 h 154494"/>
                  <a:gd name="connsiteX23" fmla="*/ 233845 w 240761"/>
                  <a:gd name="connsiteY23" fmla="*/ 78415 h 154494"/>
                  <a:gd name="connsiteX24" fmla="*/ 236098 w 240761"/>
                  <a:gd name="connsiteY24" fmla="*/ 79750 h 154494"/>
                  <a:gd name="connsiteX25" fmla="*/ 240520 w 240761"/>
                  <a:gd name="connsiteY25" fmla="*/ 82419 h 154494"/>
                  <a:gd name="connsiteX26" fmla="*/ 237433 w 240761"/>
                  <a:gd name="connsiteY26" fmla="*/ 89927 h 154494"/>
                  <a:gd name="connsiteX27" fmla="*/ 237433 w 240761"/>
                  <a:gd name="connsiteY27" fmla="*/ 90344 h 154494"/>
                  <a:gd name="connsiteX28" fmla="*/ 236098 w 240761"/>
                  <a:gd name="connsiteY28" fmla="*/ 91262 h 154494"/>
                  <a:gd name="connsiteX29" fmla="*/ 233845 w 240761"/>
                  <a:gd name="connsiteY29" fmla="*/ 93014 h 154494"/>
                  <a:gd name="connsiteX30" fmla="*/ 225837 w 240761"/>
                  <a:gd name="connsiteY30" fmla="*/ 99688 h 154494"/>
                  <a:gd name="connsiteX31" fmla="*/ 219162 w 240761"/>
                  <a:gd name="connsiteY31" fmla="*/ 108530 h 154494"/>
                  <a:gd name="connsiteX32" fmla="*/ 210736 w 240761"/>
                  <a:gd name="connsiteY32" fmla="*/ 141314 h 154494"/>
                  <a:gd name="connsiteX33" fmla="*/ 180619 w 240761"/>
                  <a:gd name="connsiteY33" fmla="*/ 143066 h 154494"/>
                  <a:gd name="connsiteX34" fmla="*/ 174446 w 240761"/>
                  <a:gd name="connsiteY34" fmla="*/ 144401 h 154494"/>
                  <a:gd name="connsiteX35" fmla="*/ 145246 w 240761"/>
                  <a:gd name="connsiteY35" fmla="*/ 139062 h 154494"/>
                  <a:gd name="connsiteX36" fmla="*/ 99612 w 240761"/>
                  <a:gd name="connsiteY36" fmla="*/ 142566 h 154494"/>
                  <a:gd name="connsiteX37" fmla="*/ 87765 w 240761"/>
                  <a:gd name="connsiteY37" fmla="*/ 149156 h 154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0761" h="154494" extrusionOk="0">
                    <a:moveTo>
                      <a:pt x="87765" y="149156"/>
                    </a:moveTo>
                    <a:cubicBezTo>
                      <a:pt x="81091" y="151825"/>
                      <a:pt x="74000" y="153577"/>
                      <a:pt x="66491" y="154495"/>
                    </a:cubicBezTo>
                    <a:cubicBezTo>
                      <a:pt x="60318" y="145652"/>
                      <a:pt x="54978" y="137227"/>
                      <a:pt x="52309" y="127466"/>
                    </a:cubicBezTo>
                    <a:cubicBezTo>
                      <a:pt x="45634" y="102190"/>
                      <a:pt x="39878" y="83587"/>
                      <a:pt x="20857" y="60146"/>
                    </a:cubicBezTo>
                    <a:cubicBezTo>
                      <a:pt x="14183" y="51721"/>
                      <a:pt x="7091" y="44630"/>
                      <a:pt x="0" y="38457"/>
                    </a:cubicBezTo>
                    <a:cubicBezTo>
                      <a:pt x="4422" y="33618"/>
                      <a:pt x="8843" y="28697"/>
                      <a:pt x="13765" y="24275"/>
                    </a:cubicBezTo>
                    <a:cubicBezTo>
                      <a:pt x="24861" y="14515"/>
                      <a:pt x="34122" y="8342"/>
                      <a:pt x="43465" y="5672"/>
                    </a:cubicBezTo>
                    <a:cubicBezTo>
                      <a:pt x="52309" y="2586"/>
                      <a:pt x="62987" y="1668"/>
                      <a:pt x="72665" y="834"/>
                    </a:cubicBezTo>
                    <a:cubicBezTo>
                      <a:pt x="74917" y="417"/>
                      <a:pt x="76669" y="417"/>
                      <a:pt x="78838" y="417"/>
                    </a:cubicBezTo>
                    <a:cubicBezTo>
                      <a:pt x="83677" y="0"/>
                      <a:pt x="88599" y="0"/>
                      <a:pt x="93021" y="0"/>
                    </a:cubicBezTo>
                    <a:lnTo>
                      <a:pt x="93438" y="0"/>
                    </a:lnTo>
                    <a:cubicBezTo>
                      <a:pt x="106286" y="917"/>
                      <a:pt x="119134" y="4838"/>
                      <a:pt x="131064" y="8842"/>
                    </a:cubicBezTo>
                    <a:cubicBezTo>
                      <a:pt x="132398" y="9259"/>
                      <a:pt x="134150" y="10177"/>
                      <a:pt x="134568" y="10594"/>
                    </a:cubicBezTo>
                    <a:cubicBezTo>
                      <a:pt x="135902" y="11929"/>
                      <a:pt x="136319" y="15016"/>
                      <a:pt x="136820" y="18603"/>
                    </a:cubicBezTo>
                    <a:cubicBezTo>
                      <a:pt x="137738" y="23941"/>
                      <a:pt x="138155" y="30532"/>
                      <a:pt x="143494" y="35454"/>
                    </a:cubicBezTo>
                    <a:cubicBezTo>
                      <a:pt x="146998" y="38957"/>
                      <a:pt x="152337" y="39875"/>
                      <a:pt x="155925" y="40793"/>
                    </a:cubicBezTo>
                    <a:cubicBezTo>
                      <a:pt x="157677" y="41210"/>
                      <a:pt x="159012" y="41210"/>
                      <a:pt x="160764" y="42127"/>
                    </a:cubicBezTo>
                    <a:cubicBezTo>
                      <a:pt x="163850" y="43462"/>
                      <a:pt x="166520" y="46548"/>
                      <a:pt x="169190" y="49635"/>
                    </a:cubicBezTo>
                    <a:cubicBezTo>
                      <a:pt x="174028" y="54974"/>
                      <a:pt x="179368" y="61147"/>
                      <a:pt x="187794" y="62065"/>
                    </a:cubicBezTo>
                    <a:cubicBezTo>
                      <a:pt x="193967" y="62982"/>
                      <a:pt x="199724" y="60730"/>
                      <a:pt x="204145" y="58561"/>
                    </a:cubicBezTo>
                    <a:cubicBezTo>
                      <a:pt x="208984" y="56309"/>
                      <a:pt x="212154" y="55475"/>
                      <a:pt x="213906" y="56309"/>
                    </a:cubicBezTo>
                    <a:cubicBezTo>
                      <a:pt x="215241" y="57226"/>
                      <a:pt x="216993" y="59395"/>
                      <a:pt x="218328" y="62482"/>
                    </a:cubicBezTo>
                    <a:cubicBezTo>
                      <a:pt x="219246" y="63817"/>
                      <a:pt x="219663" y="65151"/>
                      <a:pt x="220581" y="65985"/>
                    </a:cubicBezTo>
                    <a:cubicBezTo>
                      <a:pt x="224084" y="71325"/>
                      <a:pt x="228590" y="75746"/>
                      <a:pt x="233845" y="78415"/>
                    </a:cubicBezTo>
                    <a:lnTo>
                      <a:pt x="236098" y="79750"/>
                    </a:lnTo>
                    <a:cubicBezTo>
                      <a:pt x="237850" y="80667"/>
                      <a:pt x="239602" y="81502"/>
                      <a:pt x="240520" y="82419"/>
                    </a:cubicBezTo>
                    <a:cubicBezTo>
                      <a:pt x="241437" y="83754"/>
                      <a:pt x="239602" y="87258"/>
                      <a:pt x="237433" y="89927"/>
                    </a:cubicBezTo>
                    <a:cubicBezTo>
                      <a:pt x="237433" y="89927"/>
                      <a:pt x="237433" y="89927"/>
                      <a:pt x="237433" y="90344"/>
                    </a:cubicBezTo>
                    <a:cubicBezTo>
                      <a:pt x="237016" y="90761"/>
                      <a:pt x="236515" y="91262"/>
                      <a:pt x="236098" y="91262"/>
                    </a:cubicBezTo>
                    <a:lnTo>
                      <a:pt x="233845" y="93014"/>
                    </a:lnTo>
                    <a:cubicBezTo>
                      <a:pt x="231176" y="95266"/>
                      <a:pt x="228506" y="97435"/>
                      <a:pt x="225837" y="99688"/>
                    </a:cubicBezTo>
                    <a:cubicBezTo>
                      <a:pt x="223584" y="102357"/>
                      <a:pt x="221415" y="105026"/>
                      <a:pt x="219162" y="108530"/>
                    </a:cubicBezTo>
                    <a:cubicBezTo>
                      <a:pt x="212989" y="119625"/>
                      <a:pt x="211654" y="130219"/>
                      <a:pt x="210736" y="141314"/>
                    </a:cubicBezTo>
                    <a:cubicBezTo>
                      <a:pt x="200975" y="140397"/>
                      <a:pt x="191214" y="140897"/>
                      <a:pt x="180619" y="143066"/>
                    </a:cubicBezTo>
                    <a:lnTo>
                      <a:pt x="174446" y="144401"/>
                    </a:lnTo>
                    <a:cubicBezTo>
                      <a:pt x="158928" y="147487"/>
                      <a:pt x="157176" y="147904"/>
                      <a:pt x="145246" y="139062"/>
                    </a:cubicBezTo>
                    <a:cubicBezTo>
                      <a:pt x="128894" y="127133"/>
                      <a:pt x="112459" y="135558"/>
                      <a:pt x="99612" y="142566"/>
                    </a:cubicBezTo>
                    <a:cubicBezTo>
                      <a:pt x="96608" y="145569"/>
                      <a:pt x="92187" y="147821"/>
                      <a:pt x="87765" y="14915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73538757" name="Полилиния 346"/>
              <p:cNvSpPr/>
              <p:nvPr/>
            </p:nvSpPr>
            <p:spPr bwMode="auto">
              <a:xfrm>
                <a:off x="1473859" y="5744450"/>
                <a:ext cx="35880" cy="38550"/>
              </a:xfrm>
              <a:custGeom>
                <a:avLst/>
                <a:gdLst>
                  <a:gd name="connsiteX0" fmla="*/ 38960 w 40295"/>
                  <a:gd name="connsiteY0" fmla="*/ 19437 h 43295"/>
                  <a:gd name="connsiteX1" fmla="*/ 39878 w 40295"/>
                  <a:gd name="connsiteY1" fmla="*/ 24275 h 43295"/>
                  <a:gd name="connsiteX2" fmla="*/ 40295 w 40295"/>
                  <a:gd name="connsiteY2" fmla="*/ 43295 h 43295"/>
                  <a:gd name="connsiteX3" fmla="*/ 16352 w 40295"/>
                  <a:gd name="connsiteY3" fmla="*/ 37122 h 43295"/>
                  <a:gd name="connsiteX4" fmla="*/ 0 w 40295"/>
                  <a:gd name="connsiteY4" fmla="*/ 32284 h 43295"/>
                  <a:gd name="connsiteX5" fmla="*/ 7091 w 40295"/>
                  <a:gd name="connsiteY5" fmla="*/ 4839 h 43295"/>
                  <a:gd name="connsiteX6" fmla="*/ 10178 w 40295"/>
                  <a:gd name="connsiteY6" fmla="*/ 0 h 43295"/>
                  <a:gd name="connsiteX7" fmla="*/ 15517 w 40295"/>
                  <a:gd name="connsiteY7" fmla="*/ 4004 h 43295"/>
                  <a:gd name="connsiteX8" fmla="*/ 35874 w 40295"/>
                  <a:gd name="connsiteY8" fmla="*/ 16851 h 43295"/>
                  <a:gd name="connsiteX9" fmla="*/ 38960 w 40295"/>
                  <a:gd name="connsiteY9" fmla="*/ 19437 h 43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295" h="43295" extrusionOk="0">
                    <a:moveTo>
                      <a:pt x="38960" y="19437"/>
                    </a:moveTo>
                    <a:cubicBezTo>
                      <a:pt x="39878" y="20355"/>
                      <a:pt x="39878" y="22941"/>
                      <a:pt x="39878" y="24275"/>
                    </a:cubicBezTo>
                    <a:cubicBezTo>
                      <a:pt x="40295" y="30448"/>
                      <a:pt x="40295" y="37122"/>
                      <a:pt x="40295" y="43295"/>
                    </a:cubicBezTo>
                    <a:cubicBezTo>
                      <a:pt x="32286" y="42378"/>
                      <a:pt x="24778" y="40209"/>
                      <a:pt x="16352" y="37122"/>
                    </a:cubicBezTo>
                    <a:cubicBezTo>
                      <a:pt x="11012" y="34870"/>
                      <a:pt x="5256" y="33619"/>
                      <a:pt x="0" y="32284"/>
                    </a:cubicBezTo>
                    <a:cubicBezTo>
                      <a:pt x="918" y="22106"/>
                      <a:pt x="2252" y="13681"/>
                      <a:pt x="7091" y="4839"/>
                    </a:cubicBezTo>
                    <a:cubicBezTo>
                      <a:pt x="8009" y="3087"/>
                      <a:pt x="9344" y="1752"/>
                      <a:pt x="10178" y="0"/>
                    </a:cubicBezTo>
                    <a:cubicBezTo>
                      <a:pt x="11930" y="1335"/>
                      <a:pt x="13682" y="2670"/>
                      <a:pt x="15517" y="4004"/>
                    </a:cubicBezTo>
                    <a:lnTo>
                      <a:pt x="35874" y="16851"/>
                    </a:lnTo>
                    <a:cubicBezTo>
                      <a:pt x="36291" y="17685"/>
                      <a:pt x="38126" y="18603"/>
                      <a:pt x="38960" y="194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32234946" name="Полилиния 347"/>
              <p:cNvSpPr/>
              <p:nvPr/>
            </p:nvSpPr>
            <p:spPr bwMode="auto">
              <a:xfrm>
                <a:off x="1471556" y="5280937"/>
                <a:ext cx="139212" cy="114093"/>
              </a:xfrm>
              <a:custGeom>
                <a:avLst/>
                <a:gdLst>
                  <a:gd name="connsiteX0" fmla="*/ 155424 w 156341"/>
                  <a:gd name="connsiteY0" fmla="*/ 115701 h 128130"/>
                  <a:gd name="connsiteX1" fmla="*/ 156342 w 156341"/>
                  <a:gd name="connsiteY1" fmla="*/ 128130 h 128130"/>
                  <a:gd name="connsiteX2" fmla="*/ 151920 w 156341"/>
                  <a:gd name="connsiteY2" fmla="*/ 128130 h 128130"/>
                  <a:gd name="connsiteX3" fmla="*/ 145747 w 156341"/>
                  <a:gd name="connsiteY3" fmla="*/ 113532 h 128130"/>
                  <a:gd name="connsiteX4" fmla="*/ 128477 w 156341"/>
                  <a:gd name="connsiteY4" fmla="*/ 92259 h 128130"/>
                  <a:gd name="connsiteX5" fmla="*/ 113878 w 156341"/>
                  <a:gd name="connsiteY5" fmla="*/ 89590 h 128130"/>
                  <a:gd name="connsiteX6" fmla="*/ 81091 w 156341"/>
                  <a:gd name="connsiteY6" fmla="*/ 88672 h 128130"/>
                  <a:gd name="connsiteX7" fmla="*/ 68660 w 156341"/>
                  <a:gd name="connsiteY7" fmla="*/ 86003 h 128130"/>
                  <a:gd name="connsiteX8" fmla="*/ 65156 w 156341"/>
                  <a:gd name="connsiteY8" fmla="*/ 77577 h 128130"/>
                  <a:gd name="connsiteX9" fmla="*/ 63822 w 156341"/>
                  <a:gd name="connsiteY9" fmla="*/ 73156 h 128130"/>
                  <a:gd name="connsiteX10" fmla="*/ 43882 w 156341"/>
                  <a:gd name="connsiteY10" fmla="*/ 58057 h 128130"/>
                  <a:gd name="connsiteX11" fmla="*/ 37208 w 156341"/>
                  <a:gd name="connsiteY11" fmla="*/ 60727 h 128130"/>
                  <a:gd name="connsiteX12" fmla="*/ 35456 w 156341"/>
                  <a:gd name="connsiteY12" fmla="*/ 61644 h 128130"/>
                  <a:gd name="connsiteX13" fmla="*/ 21691 w 156341"/>
                  <a:gd name="connsiteY13" fmla="*/ 58140 h 128130"/>
                  <a:gd name="connsiteX14" fmla="*/ 7508 w 156341"/>
                  <a:gd name="connsiteY14" fmla="*/ 42624 h 128130"/>
                  <a:gd name="connsiteX15" fmla="*/ 417 w 156341"/>
                  <a:gd name="connsiteY15" fmla="*/ 33281 h 128130"/>
                  <a:gd name="connsiteX16" fmla="*/ 0 w 156341"/>
                  <a:gd name="connsiteY16" fmla="*/ 32864 h 128130"/>
                  <a:gd name="connsiteX17" fmla="*/ 9344 w 156341"/>
                  <a:gd name="connsiteY17" fmla="*/ 24439 h 128130"/>
                  <a:gd name="connsiteX18" fmla="*/ 14183 w 156341"/>
                  <a:gd name="connsiteY18" fmla="*/ 21352 h 128130"/>
                  <a:gd name="connsiteX19" fmla="*/ 15517 w 156341"/>
                  <a:gd name="connsiteY19" fmla="*/ 22687 h 128130"/>
                  <a:gd name="connsiteX20" fmla="*/ 27447 w 156341"/>
                  <a:gd name="connsiteY20" fmla="*/ 32030 h 128130"/>
                  <a:gd name="connsiteX21" fmla="*/ 78421 w 156341"/>
                  <a:gd name="connsiteY21" fmla="*/ 12092 h 128130"/>
                  <a:gd name="connsiteX22" fmla="*/ 87264 w 156341"/>
                  <a:gd name="connsiteY22" fmla="*/ 163 h 128130"/>
                  <a:gd name="connsiteX23" fmla="*/ 97025 w 156341"/>
                  <a:gd name="connsiteY23" fmla="*/ 5001 h 128130"/>
                  <a:gd name="connsiteX24" fmla="*/ 112543 w 156341"/>
                  <a:gd name="connsiteY24" fmla="*/ 33364 h 128130"/>
                  <a:gd name="connsiteX25" fmla="*/ 138655 w 156341"/>
                  <a:gd name="connsiteY25" fmla="*/ 72823 h 128130"/>
                  <a:gd name="connsiteX26" fmla="*/ 154173 w 156341"/>
                  <a:gd name="connsiteY26" fmla="*/ 94095 h 128130"/>
                  <a:gd name="connsiteX27" fmla="*/ 155424 w 156341"/>
                  <a:gd name="connsiteY27" fmla="*/ 115701 h 12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56341" h="128130" extrusionOk="0">
                    <a:moveTo>
                      <a:pt x="155424" y="115701"/>
                    </a:moveTo>
                    <a:cubicBezTo>
                      <a:pt x="155841" y="119705"/>
                      <a:pt x="155841" y="124126"/>
                      <a:pt x="156342" y="128130"/>
                    </a:cubicBezTo>
                    <a:lnTo>
                      <a:pt x="151920" y="128130"/>
                    </a:lnTo>
                    <a:cubicBezTo>
                      <a:pt x="150168" y="123292"/>
                      <a:pt x="147916" y="117953"/>
                      <a:pt x="145747" y="113532"/>
                    </a:cubicBezTo>
                    <a:cubicBezTo>
                      <a:pt x="142243" y="105106"/>
                      <a:pt x="137738" y="96263"/>
                      <a:pt x="128477" y="92259"/>
                    </a:cubicBezTo>
                    <a:cubicBezTo>
                      <a:pt x="123639" y="90007"/>
                      <a:pt x="117882" y="89590"/>
                      <a:pt x="113878" y="89590"/>
                    </a:cubicBezTo>
                    <a:lnTo>
                      <a:pt x="81091" y="88672"/>
                    </a:lnTo>
                    <a:cubicBezTo>
                      <a:pt x="76252" y="88672"/>
                      <a:pt x="71330" y="88255"/>
                      <a:pt x="68660" y="86003"/>
                    </a:cubicBezTo>
                    <a:cubicBezTo>
                      <a:pt x="66908" y="84251"/>
                      <a:pt x="65991" y="81165"/>
                      <a:pt x="65156" y="77577"/>
                    </a:cubicBezTo>
                    <a:cubicBezTo>
                      <a:pt x="64739" y="76242"/>
                      <a:pt x="64239" y="74491"/>
                      <a:pt x="63822" y="73156"/>
                    </a:cubicBezTo>
                    <a:cubicBezTo>
                      <a:pt x="61152" y="64731"/>
                      <a:pt x="53643" y="56806"/>
                      <a:pt x="43882" y="58057"/>
                    </a:cubicBezTo>
                    <a:cubicBezTo>
                      <a:pt x="41213" y="58474"/>
                      <a:pt x="39044" y="59809"/>
                      <a:pt x="37208" y="60727"/>
                    </a:cubicBezTo>
                    <a:lnTo>
                      <a:pt x="35456" y="61644"/>
                    </a:lnTo>
                    <a:cubicBezTo>
                      <a:pt x="31035" y="63896"/>
                      <a:pt x="25278" y="61227"/>
                      <a:pt x="21691" y="58140"/>
                    </a:cubicBezTo>
                    <a:cubicBezTo>
                      <a:pt x="16352" y="54136"/>
                      <a:pt x="11930" y="48380"/>
                      <a:pt x="7508" y="42624"/>
                    </a:cubicBezTo>
                    <a:cubicBezTo>
                      <a:pt x="4839" y="39537"/>
                      <a:pt x="2670" y="36451"/>
                      <a:pt x="417" y="33281"/>
                    </a:cubicBezTo>
                    <a:cubicBezTo>
                      <a:pt x="0" y="32864"/>
                      <a:pt x="0" y="32864"/>
                      <a:pt x="0" y="32864"/>
                    </a:cubicBezTo>
                    <a:cubicBezTo>
                      <a:pt x="3087" y="29777"/>
                      <a:pt x="6174" y="26691"/>
                      <a:pt x="9344" y="24439"/>
                    </a:cubicBezTo>
                    <a:cubicBezTo>
                      <a:pt x="12514" y="22186"/>
                      <a:pt x="14183" y="21352"/>
                      <a:pt x="14183" y="21352"/>
                    </a:cubicBezTo>
                    <a:cubicBezTo>
                      <a:pt x="14600" y="21769"/>
                      <a:pt x="15100" y="22270"/>
                      <a:pt x="15517" y="22687"/>
                    </a:cubicBezTo>
                    <a:cubicBezTo>
                      <a:pt x="17770" y="25356"/>
                      <a:pt x="20857" y="29360"/>
                      <a:pt x="27447" y="32030"/>
                    </a:cubicBezTo>
                    <a:cubicBezTo>
                      <a:pt x="46969" y="40038"/>
                      <a:pt x="69494" y="28026"/>
                      <a:pt x="78421" y="12092"/>
                    </a:cubicBezTo>
                    <a:cubicBezTo>
                      <a:pt x="81508" y="6753"/>
                      <a:pt x="85095" y="580"/>
                      <a:pt x="87264" y="163"/>
                    </a:cubicBezTo>
                    <a:cubicBezTo>
                      <a:pt x="88182" y="-254"/>
                      <a:pt x="90351" y="-254"/>
                      <a:pt x="97025" y="5001"/>
                    </a:cubicBezTo>
                    <a:cubicBezTo>
                      <a:pt x="106786" y="12092"/>
                      <a:pt x="109456" y="22270"/>
                      <a:pt x="112543" y="33364"/>
                    </a:cubicBezTo>
                    <a:cubicBezTo>
                      <a:pt x="116047" y="47129"/>
                      <a:pt x="120552" y="62562"/>
                      <a:pt x="138655" y="72823"/>
                    </a:cubicBezTo>
                    <a:cubicBezTo>
                      <a:pt x="150168" y="79496"/>
                      <a:pt x="152421" y="80330"/>
                      <a:pt x="154173" y="94095"/>
                    </a:cubicBezTo>
                    <a:cubicBezTo>
                      <a:pt x="154506" y="101019"/>
                      <a:pt x="155007" y="108610"/>
                      <a:pt x="155424" y="11570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96811295" name="Полилиния 348"/>
              <p:cNvSpPr/>
              <p:nvPr/>
            </p:nvSpPr>
            <p:spPr bwMode="auto">
              <a:xfrm>
                <a:off x="1338954" y="5776920"/>
                <a:ext cx="121086" cy="101235"/>
              </a:xfrm>
              <a:custGeom>
                <a:avLst/>
                <a:gdLst>
                  <a:gd name="connsiteX0" fmla="*/ 96608 w 135985"/>
                  <a:gd name="connsiteY0" fmla="*/ 113275 h 113691"/>
                  <a:gd name="connsiteX1" fmla="*/ 79756 w 135985"/>
                  <a:gd name="connsiteY1" fmla="*/ 113692 h 113691"/>
                  <a:gd name="connsiteX2" fmla="*/ 40796 w 135985"/>
                  <a:gd name="connsiteY2" fmla="*/ 99928 h 113691"/>
                  <a:gd name="connsiteX3" fmla="*/ 21274 w 135985"/>
                  <a:gd name="connsiteY3" fmla="*/ 97258 h 113691"/>
                  <a:gd name="connsiteX4" fmla="*/ 9761 w 135985"/>
                  <a:gd name="connsiteY4" fmla="*/ 71565 h 113691"/>
                  <a:gd name="connsiteX5" fmla="*/ 11513 w 135985"/>
                  <a:gd name="connsiteY5" fmla="*/ 51210 h 113691"/>
                  <a:gd name="connsiteX6" fmla="*/ 0 w 135985"/>
                  <a:gd name="connsiteY6" fmla="*/ 19760 h 113691"/>
                  <a:gd name="connsiteX7" fmla="*/ 17686 w 135985"/>
                  <a:gd name="connsiteY7" fmla="*/ 14922 h 113691"/>
                  <a:gd name="connsiteX8" fmla="*/ 33204 w 135985"/>
                  <a:gd name="connsiteY8" fmla="*/ 7831 h 113691"/>
                  <a:gd name="connsiteX9" fmla="*/ 63738 w 135985"/>
                  <a:gd name="connsiteY9" fmla="*/ 3410 h 113691"/>
                  <a:gd name="connsiteX10" fmla="*/ 104534 w 135985"/>
                  <a:gd name="connsiteY10" fmla="*/ 11418 h 113691"/>
                  <a:gd name="connsiteX11" fmla="*/ 109873 w 135985"/>
                  <a:gd name="connsiteY11" fmla="*/ 10501 h 113691"/>
                  <a:gd name="connsiteX12" fmla="*/ 135986 w 135985"/>
                  <a:gd name="connsiteY12" fmla="*/ 9166 h 113691"/>
                  <a:gd name="connsiteX13" fmla="*/ 132899 w 135985"/>
                  <a:gd name="connsiteY13" fmla="*/ 19343 h 113691"/>
                  <a:gd name="connsiteX14" fmla="*/ 131564 w 135985"/>
                  <a:gd name="connsiteY14" fmla="*/ 23765 h 113691"/>
                  <a:gd name="connsiteX15" fmla="*/ 128477 w 135985"/>
                  <a:gd name="connsiteY15" fmla="*/ 37529 h 113691"/>
                  <a:gd name="connsiteX16" fmla="*/ 128894 w 135985"/>
                  <a:gd name="connsiteY16" fmla="*/ 67227 h 113691"/>
                  <a:gd name="connsiteX17" fmla="*/ 129312 w 135985"/>
                  <a:gd name="connsiteY17" fmla="*/ 92920 h 113691"/>
                  <a:gd name="connsiteX18" fmla="*/ 96608 w 135985"/>
                  <a:gd name="connsiteY18" fmla="*/ 113275 h 113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35985" h="113691" extrusionOk="0">
                    <a:moveTo>
                      <a:pt x="96608" y="113275"/>
                    </a:moveTo>
                    <a:cubicBezTo>
                      <a:pt x="91269" y="113275"/>
                      <a:pt x="85513" y="112858"/>
                      <a:pt x="79756" y="113692"/>
                    </a:cubicBezTo>
                    <a:cubicBezTo>
                      <a:pt x="66491" y="101763"/>
                      <a:pt x="53143" y="100845"/>
                      <a:pt x="40796" y="99928"/>
                    </a:cubicBezTo>
                    <a:cubicBezTo>
                      <a:pt x="34622" y="99510"/>
                      <a:pt x="27948" y="99010"/>
                      <a:pt x="21274" y="97258"/>
                    </a:cubicBezTo>
                    <a:cubicBezTo>
                      <a:pt x="7091" y="92837"/>
                      <a:pt x="7091" y="87498"/>
                      <a:pt x="9761" y="71565"/>
                    </a:cubicBezTo>
                    <a:cubicBezTo>
                      <a:pt x="11096" y="65392"/>
                      <a:pt x="12013" y="58301"/>
                      <a:pt x="11513" y="51210"/>
                    </a:cubicBezTo>
                    <a:cubicBezTo>
                      <a:pt x="10595" y="38781"/>
                      <a:pt x="5756" y="29104"/>
                      <a:pt x="0" y="19760"/>
                    </a:cubicBezTo>
                    <a:cubicBezTo>
                      <a:pt x="6174" y="18426"/>
                      <a:pt x="11930" y="17091"/>
                      <a:pt x="17686" y="14922"/>
                    </a:cubicBezTo>
                    <a:cubicBezTo>
                      <a:pt x="23026" y="13170"/>
                      <a:pt x="27865" y="10501"/>
                      <a:pt x="33204" y="7831"/>
                    </a:cubicBezTo>
                    <a:cubicBezTo>
                      <a:pt x="46052" y="741"/>
                      <a:pt x="54895" y="-3263"/>
                      <a:pt x="63738" y="3410"/>
                    </a:cubicBezTo>
                    <a:cubicBezTo>
                      <a:pt x="80090" y="15339"/>
                      <a:pt x="86347" y="14922"/>
                      <a:pt x="104534" y="11418"/>
                    </a:cubicBezTo>
                    <a:lnTo>
                      <a:pt x="109873" y="10501"/>
                    </a:lnTo>
                    <a:cubicBezTo>
                      <a:pt x="119217" y="8749"/>
                      <a:pt x="127560" y="7831"/>
                      <a:pt x="135986" y="9166"/>
                    </a:cubicBezTo>
                    <a:cubicBezTo>
                      <a:pt x="135068" y="11835"/>
                      <a:pt x="133733" y="15339"/>
                      <a:pt x="132899" y="19343"/>
                    </a:cubicBezTo>
                    <a:cubicBezTo>
                      <a:pt x="132482" y="20678"/>
                      <a:pt x="131981" y="22430"/>
                      <a:pt x="131564" y="23765"/>
                    </a:cubicBezTo>
                    <a:cubicBezTo>
                      <a:pt x="130229" y="27268"/>
                      <a:pt x="128894" y="31773"/>
                      <a:pt x="128477" y="37529"/>
                    </a:cubicBezTo>
                    <a:cubicBezTo>
                      <a:pt x="127560" y="47706"/>
                      <a:pt x="128060" y="57467"/>
                      <a:pt x="128894" y="67227"/>
                    </a:cubicBezTo>
                    <a:cubicBezTo>
                      <a:pt x="129312" y="76069"/>
                      <a:pt x="129812" y="84495"/>
                      <a:pt x="129312" y="92920"/>
                    </a:cubicBezTo>
                    <a:cubicBezTo>
                      <a:pt x="127142" y="112774"/>
                      <a:pt x="118299" y="113275"/>
                      <a:pt x="96608" y="1132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595192093" name="Полилиния 349"/>
              <p:cNvSpPr/>
              <p:nvPr/>
            </p:nvSpPr>
            <p:spPr bwMode="auto">
              <a:xfrm>
                <a:off x="1423494" y="5781982"/>
                <a:ext cx="250392" cy="197679"/>
              </a:xfrm>
              <a:custGeom>
                <a:avLst/>
                <a:gdLst>
                  <a:gd name="connsiteX0" fmla="*/ 281148 w 281199"/>
                  <a:gd name="connsiteY0" fmla="*/ 98247 h 222001"/>
                  <a:gd name="connsiteX1" fmla="*/ 274474 w 281199"/>
                  <a:gd name="connsiteY1" fmla="*/ 112846 h 222001"/>
                  <a:gd name="connsiteX2" fmla="*/ 266048 w 281199"/>
                  <a:gd name="connsiteY2" fmla="*/ 114180 h 222001"/>
                  <a:gd name="connsiteX3" fmla="*/ 252783 w 281199"/>
                  <a:gd name="connsiteY3" fmla="*/ 117267 h 222001"/>
                  <a:gd name="connsiteX4" fmla="*/ 232427 w 281199"/>
                  <a:gd name="connsiteY4" fmla="*/ 131031 h 222001"/>
                  <a:gd name="connsiteX5" fmla="*/ 230675 w 281199"/>
                  <a:gd name="connsiteY5" fmla="*/ 132366 h 222001"/>
                  <a:gd name="connsiteX6" fmla="*/ 216910 w 281199"/>
                  <a:gd name="connsiteY6" fmla="*/ 154056 h 222001"/>
                  <a:gd name="connsiteX7" fmla="*/ 210736 w 281199"/>
                  <a:gd name="connsiteY7" fmla="*/ 167319 h 222001"/>
                  <a:gd name="connsiteX8" fmla="*/ 207232 w 281199"/>
                  <a:gd name="connsiteY8" fmla="*/ 172658 h 222001"/>
                  <a:gd name="connsiteX9" fmla="*/ 198389 w 281199"/>
                  <a:gd name="connsiteY9" fmla="*/ 186423 h 222001"/>
                  <a:gd name="connsiteX10" fmla="*/ 193967 w 281199"/>
                  <a:gd name="connsiteY10" fmla="*/ 201021 h 222001"/>
                  <a:gd name="connsiteX11" fmla="*/ 189546 w 281199"/>
                  <a:gd name="connsiteY11" fmla="*/ 214786 h 222001"/>
                  <a:gd name="connsiteX12" fmla="*/ 173611 w 281199"/>
                  <a:gd name="connsiteY12" fmla="*/ 215703 h 222001"/>
                  <a:gd name="connsiteX13" fmla="*/ 163850 w 281199"/>
                  <a:gd name="connsiteY13" fmla="*/ 210865 h 222001"/>
                  <a:gd name="connsiteX14" fmla="*/ 137237 w 281199"/>
                  <a:gd name="connsiteY14" fmla="*/ 215703 h 222001"/>
                  <a:gd name="connsiteX15" fmla="*/ 127476 w 281199"/>
                  <a:gd name="connsiteY15" fmla="*/ 220542 h 222001"/>
                  <a:gd name="connsiteX16" fmla="*/ 94272 w 281199"/>
                  <a:gd name="connsiteY16" fmla="*/ 221459 h 222001"/>
                  <a:gd name="connsiteX17" fmla="*/ 77003 w 281199"/>
                  <a:gd name="connsiteY17" fmla="*/ 220542 h 222001"/>
                  <a:gd name="connsiteX18" fmla="*/ 75251 w 281199"/>
                  <a:gd name="connsiteY18" fmla="*/ 220542 h 222001"/>
                  <a:gd name="connsiteX19" fmla="*/ 62820 w 281199"/>
                  <a:gd name="connsiteY19" fmla="*/ 199269 h 222001"/>
                  <a:gd name="connsiteX20" fmla="*/ 53977 w 281199"/>
                  <a:gd name="connsiteY20" fmla="*/ 185505 h 222001"/>
                  <a:gd name="connsiteX21" fmla="*/ 49556 w 281199"/>
                  <a:gd name="connsiteY21" fmla="*/ 170406 h 222001"/>
                  <a:gd name="connsiteX22" fmla="*/ 29199 w 281199"/>
                  <a:gd name="connsiteY22" fmla="*/ 141209 h 222001"/>
                  <a:gd name="connsiteX23" fmla="*/ 0 w 281199"/>
                  <a:gd name="connsiteY23" fmla="*/ 120354 h 222001"/>
                  <a:gd name="connsiteX24" fmla="*/ 1752 w 281199"/>
                  <a:gd name="connsiteY24" fmla="*/ 120354 h 222001"/>
                  <a:gd name="connsiteX25" fmla="*/ 47804 w 281199"/>
                  <a:gd name="connsiteY25" fmla="*/ 85817 h 222001"/>
                  <a:gd name="connsiteX26" fmla="*/ 47386 w 281199"/>
                  <a:gd name="connsiteY26" fmla="*/ 58372 h 222001"/>
                  <a:gd name="connsiteX27" fmla="*/ 46969 w 281199"/>
                  <a:gd name="connsiteY27" fmla="*/ 30426 h 222001"/>
                  <a:gd name="connsiteX28" fmla="*/ 49639 w 281199"/>
                  <a:gd name="connsiteY28" fmla="*/ 20249 h 222001"/>
                  <a:gd name="connsiteX29" fmla="*/ 50974 w 281199"/>
                  <a:gd name="connsiteY29" fmla="*/ 15411 h 222001"/>
                  <a:gd name="connsiteX30" fmla="*/ 55395 w 281199"/>
                  <a:gd name="connsiteY30" fmla="*/ 2981 h 222001"/>
                  <a:gd name="connsiteX31" fmla="*/ 67826 w 281199"/>
                  <a:gd name="connsiteY31" fmla="*/ 6485 h 222001"/>
                  <a:gd name="connsiteX32" fmla="*/ 96191 w 281199"/>
                  <a:gd name="connsiteY32" fmla="*/ 13576 h 222001"/>
                  <a:gd name="connsiteX33" fmla="*/ 110374 w 281199"/>
                  <a:gd name="connsiteY33" fmla="*/ 13576 h 222001"/>
                  <a:gd name="connsiteX34" fmla="*/ 118800 w 281199"/>
                  <a:gd name="connsiteY34" fmla="*/ 12241 h 222001"/>
                  <a:gd name="connsiteX35" fmla="*/ 134734 w 281199"/>
                  <a:gd name="connsiteY35" fmla="*/ 5150 h 222001"/>
                  <a:gd name="connsiteX36" fmla="*/ 154256 w 281199"/>
                  <a:gd name="connsiteY36" fmla="*/ 2063 h 222001"/>
                  <a:gd name="connsiteX37" fmla="*/ 162682 w 281199"/>
                  <a:gd name="connsiteY37" fmla="*/ 8737 h 222001"/>
                  <a:gd name="connsiteX38" fmla="*/ 187043 w 281199"/>
                  <a:gd name="connsiteY38" fmla="*/ 17162 h 222001"/>
                  <a:gd name="connsiteX39" fmla="*/ 196804 w 281199"/>
                  <a:gd name="connsiteY39" fmla="*/ 17580 h 222001"/>
                  <a:gd name="connsiteX40" fmla="*/ 210069 w 281199"/>
                  <a:gd name="connsiteY40" fmla="*/ 26005 h 222001"/>
                  <a:gd name="connsiteX41" fmla="*/ 210069 w 281199"/>
                  <a:gd name="connsiteY41" fmla="*/ 26422 h 222001"/>
                  <a:gd name="connsiteX42" fmla="*/ 218912 w 281199"/>
                  <a:gd name="connsiteY42" fmla="*/ 35265 h 222001"/>
                  <a:gd name="connsiteX43" fmla="*/ 226420 w 281199"/>
                  <a:gd name="connsiteY43" fmla="*/ 41021 h 222001"/>
                  <a:gd name="connsiteX44" fmla="*/ 234429 w 281199"/>
                  <a:gd name="connsiteY44" fmla="*/ 48112 h 222001"/>
                  <a:gd name="connsiteX45" fmla="*/ 234846 w 281199"/>
                  <a:gd name="connsiteY45" fmla="*/ 55202 h 222001"/>
                  <a:gd name="connsiteX46" fmla="*/ 236181 w 281199"/>
                  <a:gd name="connsiteY46" fmla="*/ 67632 h 222001"/>
                  <a:gd name="connsiteX47" fmla="*/ 263212 w 281199"/>
                  <a:gd name="connsiteY47" fmla="*/ 81396 h 222001"/>
                  <a:gd name="connsiteX48" fmla="*/ 276059 w 281199"/>
                  <a:gd name="connsiteY48" fmla="*/ 82731 h 222001"/>
                  <a:gd name="connsiteX49" fmla="*/ 281148 w 281199"/>
                  <a:gd name="connsiteY49" fmla="*/ 98247 h 222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81199" h="222001" extrusionOk="0">
                    <a:moveTo>
                      <a:pt x="281148" y="98247"/>
                    </a:moveTo>
                    <a:cubicBezTo>
                      <a:pt x="281148" y="105338"/>
                      <a:pt x="278479" y="110677"/>
                      <a:pt x="274474" y="112846"/>
                    </a:cubicBezTo>
                    <a:cubicBezTo>
                      <a:pt x="272222" y="113763"/>
                      <a:pt x="269135" y="114180"/>
                      <a:pt x="266048" y="114180"/>
                    </a:cubicBezTo>
                    <a:cubicBezTo>
                      <a:pt x="262044" y="114597"/>
                      <a:pt x="257205" y="115098"/>
                      <a:pt x="252783" y="117267"/>
                    </a:cubicBezTo>
                    <a:cubicBezTo>
                      <a:pt x="246109" y="120354"/>
                      <a:pt x="238184" y="126610"/>
                      <a:pt x="232427" y="131031"/>
                    </a:cubicBezTo>
                    <a:lnTo>
                      <a:pt x="230675" y="132366"/>
                    </a:lnTo>
                    <a:cubicBezTo>
                      <a:pt x="222249" y="139040"/>
                      <a:pt x="219579" y="146965"/>
                      <a:pt x="216910" y="154056"/>
                    </a:cubicBezTo>
                    <a:cubicBezTo>
                      <a:pt x="215575" y="158477"/>
                      <a:pt x="213823" y="162898"/>
                      <a:pt x="210736" y="167319"/>
                    </a:cubicBezTo>
                    <a:cubicBezTo>
                      <a:pt x="209401" y="169071"/>
                      <a:pt x="208066" y="170823"/>
                      <a:pt x="207232" y="172658"/>
                    </a:cubicBezTo>
                    <a:cubicBezTo>
                      <a:pt x="204145" y="177080"/>
                      <a:pt x="201059" y="181084"/>
                      <a:pt x="198389" y="186423"/>
                    </a:cubicBezTo>
                    <a:cubicBezTo>
                      <a:pt x="196137" y="190844"/>
                      <a:pt x="195302" y="196183"/>
                      <a:pt x="193967" y="201021"/>
                    </a:cubicBezTo>
                    <a:cubicBezTo>
                      <a:pt x="192633" y="206360"/>
                      <a:pt x="191298" y="212116"/>
                      <a:pt x="189546" y="214786"/>
                    </a:cubicBezTo>
                    <a:cubicBezTo>
                      <a:pt x="184707" y="221459"/>
                      <a:pt x="182872" y="220542"/>
                      <a:pt x="173611" y="215703"/>
                    </a:cubicBezTo>
                    <a:cubicBezTo>
                      <a:pt x="170524" y="213951"/>
                      <a:pt x="167438" y="212199"/>
                      <a:pt x="163850" y="210865"/>
                    </a:cubicBezTo>
                    <a:cubicBezTo>
                      <a:pt x="151003" y="206026"/>
                      <a:pt x="143494" y="211282"/>
                      <a:pt x="137237" y="215703"/>
                    </a:cubicBezTo>
                    <a:cubicBezTo>
                      <a:pt x="134150" y="217956"/>
                      <a:pt x="131481" y="220124"/>
                      <a:pt x="127476" y="220542"/>
                    </a:cubicBezTo>
                    <a:cubicBezTo>
                      <a:pt x="118132" y="222794"/>
                      <a:pt x="106202" y="221876"/>
                      <a:pt x="94272" y="221459"/>
                    </a:cubicBezTo>
                    <a:cubicBezTo>
                      <a:pt x="88099" y="221042"/>
                      <a:pt x="82342" y="220542"/>
                      <a:pt x="77003" y="220542"/>
                    </a:cubicBezTo>
                    <a:lnTo>
                      <a:pt x="75251" y="220542"/>
                    </a:lnTo>
                    <a:cubicBezTo>
                      <a:pt x="72998" y="212116"/>
                      <a:pt x="67743" y="205443"/>
                      <a:pt x="62820" y="199269"/>
                    </a:cubicBezTo>
                    <a:cubicBezTo>
                      <a:pt x="59317" y="194431"/>
                      <a:pt x="55729" y="190427"/>
                      <a:pt x="53977" y="185505"/>
                    </a:cubicBezTo>
                    <a:cubicBezTo>
                      <a:pt x="51307" y="180166"/>
                      <a:pt x="50890" y="175328"/>
                      <a:pt x="49556" y="170406"/>
                    </a:cubicBezTo>
                    <a:cubicBezTo>
                      <a:pt x="47303" y="160229"/>
                      <a:pt x="45551" y="149551"/>
                      <a:pt x="29199" y="141209"/>
                    </a:cubicBezTo>
                    <a:cubicBezTo>
                      <a:pt x="17269" y="135035"/>
                      <a:pt x="8843" y="128362"/>
                      <a:pt x="0" y="120354"/>
                    </a:cubicBezTo>
                    <a:lnTo>
                      <a:pt x="1752" y="120354"/>
                    </a:lnTo>
                    <a:cubicBezTo>
                      <a:pt x="21691" y="120771"/>
                      <a:pt x="46052" y="120771"/>
                      <a:pt x="47804" y="85817"/>
                    </a:cubicBezTo>
                    <a:cubicBezTo>
                      <a:pt x="48221" y="76475"/>
                      <a:pt x="48221" y="67215"/>
                      <a:pt x="47386" y="58372"/>
                    </a:cubicBezTo>
                    <a:cubicBezTo>
                      <a:pt x="46969" y="48612"/>
                      <a:pt x="46469" y="39769"/>
                      <a:pt x="46969" y="30426"/>
                    </a:cubicBezTo>
                    <a:cubicBezTo>
                      <a:pt x="47386" y="26422"/>
                      <a:pt x="48304" y="23753"/>
                      <a:pt x="49639" y="20249"/>
                    </a:cubicBezTo>
                    <a:cubicBezTo>
                      <a:pt x="50056" y="18914"/>
                      <a:pt x="50557" y="17162"/>
                      <a:pt x="50974" y="15411"/>
                    </a:cubicBezTo>
                    <a:cubicBezTo>
                      <a:pt x="52309" y="11407"/>
                      <a:pt x="54061" y="6568"/>
                      <a:pt x="55395" y="2981"/>
                    </a:cubicBezTo>
                    <a:cubicBezTo>
                      <a:pt x="59400" y="3899"/>
                      <a:pt x="63404" y="5233"/>
                      <a:pt x="67826" y="6485"/>
                    </a:cubicBezTo>
                    <a:cubicBezTo>
                      <a:pt x="78004" y="9988"/>
                      <a:pt x="86847" y="13158"/>
                      <a:pt x="96191" y="13576"/>
                    </a:cubicBezTo>
                    <a:cubicBezTo>
                      <a:pt x="101030" y="14493"/>
                      <a:pt x="105952" y="14493"/>
                      <a:pt x="110374" y="13576"/>
                    </a:cubicBezTo>
                    <a:cubicBezTo>
                      <a:pt x="113043" y="13158"/>
                      <a:pt x="116130" y="12658"/>
                      <a:pt x="118800" y="12241"/>
                    </a:cubicBezTo>
                    <a:cubicBezTo>
                      <a:pt x="124973" y="10906"/>
                      <a:pt x="130313" y="7819"/>
                      <a:pt x="134734" y="5150"/>
                    </a:cubicBezTo>
                    <a:cubicBezTo>
                      <a:pt x="143578" y="311"/>
                      <a:pt x="148500" y="-1941"/>
                      <a:pt x="154256" y="2063"/>
                    </a:cubicBezTo>
                    <a:cubicBezTo>
                      <a:pt x="158261" y="4316"/>
                      <a:pt x="160930" y="6485"/>
                      <a:pt x="162682" y="8737"/>
                    </a:cubicBezTo>
                    <a:cubicBezTo>
                      <a:pt x="168022" y="13576"/>
                      <a:pt x="173278" y="17580"/>
                      <a:pt x="187043" y="17162"/>
                    </a:cubicBezTo>
                    <a:cubicBezTo>
                      <a:pt x="191047" y="16745"/>
                      <a:pt x="194134" y="16745"/>
                      <a:pt x="196804" y="17580"/>
                    </a:cubicBezTo>
                    <a:cubicBezTo>
                      <a:pt x="202143" y="17997"/>
                      <a:pt x="204813" y="20666"/>
                      <a:pt x="210069" y="26005"/>
                    </a:cubicBezTo>
                    <a:lnTo>
                      <a:pt x="210069" y="26422"/>
                    </a:lnTo>
                    <a:lnTo>
                      <a:pt x="218912" y="35265"/>
                    </a:lnTo>
                    <a:cubicBezTo>
                      <a:pt x="221165" y="37517"/>
                      <a:pt x="223751" y="39269"/>
                      <a:pt x="226420" y="41021"/>
                    </a:cubicBezTo>
                    <a:cubicBezTo>
                      <a:pt x="229507" y="43273"/>
                      <a:pt x="233095" y="45859"/>
                      <a:pt x="234429" y="48112"/>
                    </a:cubicBezTo>
                    <a:cubicBezTo>
                      <a:pt x="235347" y="49446"/>
                      <a:pt x="235347" y="51615"/>
                      <a:pt x="234846" y="55202"/>
                    </a:cubicBezTo>
                    <a:cubicBezTo>
                      <a:pt x="234429" y="58706"/>
                      <a:pt x="234429" y="63211"/>
                      <a:pt x="236181" y="67632"/>
                    </a:cubicBezTo>
                    <a:cubicBezTo>
                      <a:pt x="242355" y="82230"/>
                      <a:pt x="254786" y="81813"/>
                      <a:pt x="263212" y="81396"/>
                    </a:cubicBezTo>
                    <a:cubicBezTo>
                      <a:pt x="268050" y="80979"/>
                      <a:pt x="272555" y="80979"/>
                      <a:pt x="276059" y="82731"/>
                    </a:cubicBezTo>
                    <a:cubicBezTo>
                      <a:pt x="279396" y="86318"/>
                      <a:pt x="281566" y="92074"/>
                      <a:pt x="281148" y="9824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40022213" name="Полилиния 350"/>
              <p:cNvSpPr/>
              <p:nvPr/>
            </p:nvSpPr>
            <p:spPr bwMode="auto">
              <a:xfrm>
                <a:off x="1330578" y="5298633"/>
                <a:ext cx="368518" cy="488752"/>
              </a:xfrm>
              <a:custGeom>
                <a:avLst/>
                <a:gdLst>
                  <a:gd name="connsiteX0" fmla="*/ 338108 w 413859"/>
                  <a:gd name="connsiteY0" fmla="*/ 223796 h 548885"/>
                  <a:gd name="connsiteX1" fmla="*/ 343447 w 413859"/>
                  <a:gd name="connsiteY1" fmla="*/ 263253 h 548885"/>
                  <a:gd name="connsiteX2" fmla="*/ 346117 w 413859"/>
                  <a:gd name="connsiteY2" fmla="*/ 267675 h 548885"/>
                  <a:gd name="connsiteX3" fmla="*/ 349621 w 413859"/>
                  <a:gd name="connsiteY3" fmla="*/ 275683 h 548885"/>
                  <a:gd name="connsiteX4" fmla="*/ 351874 w 413859"/>
                  <a:gd name="connsiteY4" fmla="*/ 281022 h 548885"/>
                  <a:gd name="connsiteX5" fmla="*/ 358047 w 413859"/>
                  <a:gd name="connsiteY5" fmla="*/ 288113 h 548885"/>
                  <a:gd name="connsiteX6" fmla="*/ 387247 w 413859"/>
                  <a:gd name="connsiteY6" fmla="*/ 332826 h 548885"/>
                  <a:gd name="connsiteX7" fmla="*/ 404099 w 413859"/>
                  <a:gd name="connsiteY7" fmla="*/ 373619 h 548885"/>
                  <a:gd name="connsiteX8" fmla="*/ 406351 w 413859"/>
                  <a:gd name="connsiteY8" fmla="*/ 377122 h 548885"/>
                  <a:gd name="connsiteX9" fmla="*/ 413025 w 413859"/>
                  <a:gd name="connsiteY9" fmla="*/ 392639 h 548885"/>
                  <a:gd name="connsiteX10" fmla="*/ 413443 w 413859"/>
                  <a:gd name="connsiteY10" fmla="*/ 402816 h 548885"/>
                  <a:gd name="connsiteX11" fmla="*/ 413860 w 413859"/>
                  <a:gd name="connsiteY11" fmla="*/ 432013 h 548885"/>
                  <a:gd name="connsiteX12" fmla="*/ 402764 w 413859"/>
                  <a:gd name="connsiteY12" fmla="*/ 436852 h 548885"/>
                  <a:gd name="connsiteX13" fmla="*/ 393420 w 413859"/>
                  <a:gd name="connsiteY13" fmla="*/ 443942 h 548885"/>
                  <a:gd name="connsiteX14" fmla="*/ 384577 w 413859"/>
                  <a:gd name="connsiteY14" fmla="*/ 450115 h 548885"/>
                  <a:gd name="connsiteX15" fmla="*/ 363303 w 413859"/>
                  <a:gd name="connsiteY15" fmla="*/ 454537 h 548885"/>
                  <a:gd name="connsiteX16" fmla="*/ 356212 w 413859"/>
                  <a:gd name="connsiteY16" fmla="*/ 451450 h 548885"/>
                  <a:gd name="connsiteX17" fmla="*/ 334104 w 413859"/>
                  <a:gd name="connsiteY17" fmla="*/ 447947 h 548885"/>
                  <a:gd name="connsiteX18" fmla="*/ 323008 w 413859"/>
                  <a:gd name="connsiteY18" fmla="*/ 477144 h 548885"/>
                  <a:gd name="connsiteX19" fmla="*/ 326512 w 413859"/>
                  <a:gd name="connsiteY19" fmla="*/ 485569 h 548885"/>
                  <a:gd name="connsiteX20" fmla="*/ 326512 w 413859"/>
                  <a:gd name="connsiteY20" fmla="*/ 491743 h 548885"/>
                  <a:gd name="connsiteX21" fmla="*/ 319003 w 413859"/>
                  <a:gd name="connsiteY21" fmla="*/ 491325 h 548885"/>
                  <a:gd name="connsiteX22" fmla="*/ 307490 w 413859"/>
                  <a:gd name="connsiteY22" fmla="*/ 486904 h 548885"/>
                  <a:gd name="connsiteX23" fmla="*/ 289303 w 413859"/>
                  <a:gd name="connsiteY23" fmla="*/ 492660 h 548885"/>
                  <a:gd name="connsiteX24" fmla="*/ 284882 w 413859"/>
                  <a:gd name="connsiteY24" fmla="*/ 508176 h 548885"/>
                  <a:gd name="connsiteX25" fmla="*/ 301734 w 413859"/>
                  <a:gd name="connsiteY25" fmla="*/ 524110 h 548885"/>
                  <a:gd name="connsiteX26" fmla="*/ 308408 w 413859"/>
                  <a:gd name="connsiteY26" fmla="*/ 527196 h 548885"/>
                  <a:gd name="connsiteX27" fmla="*/ 307073 w 413859"/>
                  <a:gd name="connsiteY27" fmla="*/ 540460 h 548885"/>
                  <a:gd name="connsiteX28" fmla="*/ 304404 w 413859"/>
                  <a:gd name="connsiteY28" fmla="*/ 547551 h 548885"/>
                  <a:gd name="connsiteX29" fmla="*/ 303987 w 413859"/>
                  <a:gd name="connsiteY29" fmla="*/ 548886 h 548885"/>
                  <a:gd name="connsiteX30" fmla="*/ 290722 w 413859"/>
                  <a:gd name="connsiteY30" fmla="*/ 547968 h 548885"/>
                  <a:gd name="connsiteX31" fmla="*/ 276539 w 413859"/>
                  <a:gd name="connsiteY31" fmla="*/ 543129 h 548885"/>
                  <a:gd name="connsiteX32" fmla="*/ 265944 w 413859"/>
                  <a:gd name="connsiteY32" fmla="*/ 535121 h 548885"/>
                  <a:gd name="connsiteX33" fmla="*/ 232239 w 413859"/>
                  <a:gd name="connsiteY33" fmla="*/ 537790 h 548885"/>
                  <a:gd name="connsiteX34" fmla="*/ 219392 w 413859"/>
                  <a:gd name="connsiteY34" fmla="*/ 543546 h 548885"/>
                  <a:gd name="connsiteX35" fmla="*/ 214970 w 413859"/>
                  <a:gd name="connsiteY35" fmla="*/ 544464 h 548885"/>
                  <a:gd name="connsiteX36" fmla="*/ 214553 w 413859"/>
                  <a:gd name="connsiteY36" fmla="*/ 524944 h 548885"/>
                  <a:gd name="connsiteX37" fmla="*/ 211466 w 413859"/>
                  <a:gd name="connsiteY37" fmla="*/ 513015 h 548885"/>
                  <a:gd name="connsiteX38" fmla="*/ 203457 w 413859"/>
                  <a:gd name="connsiteY38" fmla="*/ 506341 h 548885"/>
                  <a:gd name="connsiteX39" fmla="*/ 183101 w 413859"/>
                  <a:gd name="connsiteY39" fmla="*/ 493494 h 548885"/>
                  <a:gd name="connsiteX40" fmla="*/ 180431 w 413859"/>
                  <a:gd name="connsiteY40" fmla="*/ 491743 h 548885"/>
                  <a:gd name="connsiteX41" fmla="*/ 186605 w 413859"/>
                  <a:gd name="connsiteY41" fmla="*/ 464714 h 548885"/>
                  <a:gd name="connsiteX42" fmla="*/ 177261 w 413859"/>
                  <a:gd name="connsiteY42" fmla="*/ 457623 h 548885"/>
                  <a:gd name="connsiteX43" fmla="*/ 175509 w 413859"/>
                  <a:gd name="connsiteY43" fmla="*/ 456706 h 548885"/>
                  <a:gd name="connsiteX44" fmla="*/ 167083 w 413859"/>
                  <a:gd name="connsiteY44" fmla="*/ 449198 h 548885"/>
                  <a:gd name="connsiteX45" fmla="*/ 165331 w 413859"/>
                  <a:gd name="connsiteY45" fmla="*/ 446111 h 548885"/>
                  <a:gd name="connsiteX46" fmla="*/ 154736 w 413859"/>
                  <a:gd name="connsiteY46" fmla="*/ 434182 h 548885"/>
                  <a:gd name="connsiteX47" fmla="*/ 133462 w 413859"/>
                  <a:gd name="connsiteY47" fmla="*/ 435934 h 548885"/>
                  <a:gd name="connsiteX48" fmla="*/ 123701 w 413859"/>
                  <a:gd name="connsiteY48" fmla="*/ 438603 h 548885"/>
                  <a:gd name="connsiteX49" fmla="*/ 113940 w 413859"/>
                  <a:gd name="connsiteY49" fmla="*/ 430595 h 548885"/>
                  <a:gd name="connsiteX50" fmla="*/ 100175 w 413859"/>
                  <a:gd name="connsiteY50" fmla="*/ 419083 h 548885"/>
                  <a:gd name="connsiteX51" fmla="*/ 93084 w 413859"/>
                  <a:gd name="connsiteY51" fmla="*/ 416831 h 548885"/>
                  <a:gd name="connsiteX52" fmla="*/ 86910 w 413859"/>
                  <a:gd name="connsiteY52" fmla="*/ 414579 h 548885"/>
                  <a:gd name="connsiteX53" fmla="*/ 84657 w 413859"/>
                  <a:gd name="connsiteY53" fmla="*/ 406570 h 548885"/>
                  <a:gd name="connsiteX54" fmla="*/ 77983 w 413859"/>
                  <a:gd name="connsiteY54" fmla="*/ 389302 h 548885"/>
                  <a:gd name="connsiteX55" fmla="*/ 69557 w 413859"/>
                  <a:gd name="connsiteY55" fmla="*/ 384881 h 548885"/>
                  <a:gd name="connsiteX56" fmla="*/ 28761 w 413859"/>
                  <a:gd name="connsiteY56" fmla="*/ 374703 h 548885"/>
                  <a:gd name="connsiteX57" fmla="*/ 29179 w 413859"/>
                  <a:gd name="connsiteY57" fmla="*/ 369364 h 548885"/>
                  <a:gd name="connsiteX58" fmla="*/ 30513 w 413859"/>
                  <a:gd name="connsiteY58" fmla="*/ 359187 h 548885"/>
                  <a:gd name="connsiteX59" fmla="*/ 22504 w 413859"/>
                  <a:gd name="connsiteY59" fmla="*/ 333911 h 548885"/>
                  <a:gd name="connsiteX60" fmla="*/ 16748 w 413859"/>
                  <a:gd name="connsiteY60" fmla="*/ 326820 h 548885"/>
                  <a:gd name="connsiteX61" fmla="*/ 14495 w 413859"/>
                  <a:gd name="connsiteY61" fmla="*/ 316643 h 548885"/>
                  <a:gd name="connsiteX62" fmla="*/ 19334 w 413859"/>
                  <a:gd name="connsiteY62" fmla="*/ 310470 h 548885"/>
                  <a:gd name="connsiteX63" fmla="*/ 27760 w 413859"/>
                  <a:gd name="connsiteY63" fmla="*/ 310052 h 548885"/>
                  <a:gd name="connsiteX64" fmla="*/ 47699 w 413859"/>
                  <a:gd name="connsiteY64" fmla="*/ 297623 h 548885"/>
                  <a:gd name="connsiteX65" fmla="*/ 42861 w 413859"/>
                  <a:gd name="connsiteY65" fmla="*/ 285694 h 548885"/>
                  <a:gd name="connsiteX66" fmla="*/ 41526 w 413859"/>
                  <a:gd name="connsiteY66" fmla="*/ 284359 h 548885"/>
                  <a:gd name="connsiteX67" fmla="*/ 41109 w 413859"/>
                  <a:gd name="connsiteY67" fmla="*/ 278186 h 548885"/>
                  <a:gd name="connsiteX68" fmla="*/ 38856 w 413859"/>
                  <a:gd name="connsiteY68" fmla="*/ 267091 h 548885"/>
                  <a:gd name="connsiteX69" fmla="*/ 26425 w 413859"/>
                  <a:gd name="connsiteY69" fmla="*/ 252492 h 548885"/>
                  <a:gd name="connsiteX70" fmla="*/ 17999 w 413859"/>
                  <a:gd name="connsiteY70" fmla="*/ 242732 h 548885"/>
                  <a:gd name="connsiteX71" fmla="*/ 17582 w 413859"/>
                  <a:gd name="connsiteY71" fmla="*/ 234307 h 548885"/>
                  <a:gd name="connsiteX72" fmla="*/ 11409 w 413859"/>
                  <a:gd name="connsiteY72" fmla="*/ 213452 h 548885"/>
                  <a:gd name="connsiteX73" fmla="*/ 2065 w 413859"/>
                  <a:gd name="connsiteY73" fmla="*/ 208113 h 548885"/>
                  <a:gd name="connsiteX74" fmla="*/ 1648 w 413859"/>
                  <a:gd name="connsiteY74" fmla="*/ 206361 h 548885"/>
                  <a:gd name="connsiteX75" fmla="*/ 313 w 413859"/>
                  <a:gd name="connsiteY75" fmla="*/ 199270 h 548885"/>
                  <a:gd name="connsiteX76" fmla="*/ 313 w 413859"/>
                  <a:gd name="connsiteY76" fmla="*/ 186841 h 548885"/>
                  <a:gd name="connsiteX77" fmla="*/ 2565 w 413859"/>
                  <a:gd name="connsiteY77" fmla="*/ 175745 h 548885"/>
                  <a:gd name="connsiteX78" fmla="*/ 12326 w 413859"/>
                  <a:gd name="connsiteY78" fmla="*/ 167320 h 548885"/>
                  <a:gd name="connsiteX79" fmla="*/ 25174 w 413859"/>
                  <a:gd name="connsiteY79" fmla="*/ 162899 h 548885"/>
                  <a:gd name="connsiteX80" fmla="*/ 27844 w 413859"/>
                  <a:gd name="connsiteY80" fmla="*/ 161981 h 548885"/>
                  <a:gd name="connsiteX81" fmla="*/ 40691 w 413859"/>
                  <a:gd name="connsiteY81" fmla="*/ 156225 h 548885"/>
                  <a:gd name="connsiteX82" fmla="*/ 47783 w 413859"/>
                  <a:gd name="connsiteY82" fmla="*/ 139374 h 548885"/>
                  <a:gd name="connsiteX83" fmla="*/ 42944 w 413859"/>
                  <a:gd name="connsiteY83" fmla="*/ 129614 h 548885"/>
                  <a:gd name="connsiteX84" fmla="*/ 40274 w 413859"/>
                  <a:gd name="connsiteY84" fmla="*/ 126527 h 548885"/>
                  <a:gd name="connsiteX85" fmla="*/ 35436 w 413859"/>
                  <a:gd name="connsiteY85" fmla="*/ 119854 h 548885"/>
                  <a:gd name="connsiteX86" fmla="*/ 34101 w 413859"/>
                  <a:gd name="connsiteY86" fmla="*/ 112763 h 548885"/>
                  <a:gd name="connsiteX87" fmla="*/ 37188 w 413859"/>
                  <a:gd name="connsiteY87" fmla="*/ 108759 h 548885"/>
                  <a:gd name="connsiteX88" fmla="*/ 41609 w 413859"/>
                  <a:gd name="connsiteY88" fmla="*/ 103003 h 548885"/>
                  <a:gd name="connsiteX89" fmla="*/ 38939 w 413859"/>
                  <a:gd name="connsiteY89" fmla="*/ 78644 h 548885"/>
                  <a:gd name="connsiteX90" fmla="*/ 29179 w 413859"/>
                  <a:gd name="connsiteY90" fmla="*/ 71970 h 548885"/>
                  <a:gd name="connsiteX91" fmla="*/ 23422 w 413859"/>
                  <a:gd name="connsiteY91" fmla="*/ 68467 h 548885"/>
                  <a:gd name="connsiteX92" fmla="*/ 21670 w 413859"/>
                  <a:gd name="connsiteY92" fmla="*/ 61376 h 548885"/>
                  <a:gd name="connsiteX93" fmla="*/ 26509 w 413859"/>
                  <a:gd name="connsiteY93" fmla="*/ 54285 h 548885"/>
                  <a:gd name="connsiteX94" fmla="*/ 28761 w 413859"/>
                  <a:gd name="connsiteY94" fmla="*/ 51199 h 548885"/>
                  <a:gd name="connsiteX95" fmla="*/ 33600 w 413859"/>
                  <a:gd name="connsiteY95" fmla="*/ 30844 h 548885"/>
                  <a:gd name="connsiteX96" fmla="*/ 36270 w 413859"/>
                  <a:gd name="connsiteY96" fmla="*/ 12658 h 548885"/>
                  <a:gd name="connsiteX97" fmla="*/ 46865 w 413859"/>
                  <a:gd name="connsiteY97" fmla="*/ 3816 h 548885"/>
                  <a:gd name="connsiteX98" fmla="*/ 53956 w 413859"/>
                  <a:gd name="connsiteY98" fmla="*/ 10489 h 548885"/>
                  <a:gd name="connsiteX99" fmla="*/ 64552 w 413859"/>
                  <a:gd name="connsiteY99" fmla="*/ 20667 h 548885"/>
                  <a:gd name="connsiteX100" fmla="*/ 89830 w 413859"/>
                  <a:gd name="connsiteY100" fmla="*/ 18414 h 548885"/>
                  <a:gd name="connsiteX101" fmla="*/ 100425 w 413859"/>
                  <a:gd name="connsiteY101" fmla="*/ 8654 h 548885"/>
                  <a:gd name="connsiteX102" fmla="*/ 104847 w 413859"/>
                  <a:gd name="connsiteY102" fmla="*/ 3315 h 548885"/>
                  <a:gd name="connsiteX103" fmla="*/ 107933 w 413859"/>
                  <a:gd name="connsiteY103" fmla="*/ 229 h 548885"/>
                  <a:gd name="connsiteX104" fmla="*/ 115025 w 413859"/>
                  <a:gd name="connsiteY104" fmla="*/ 1564 h 548885"/>
                  <a:gd name="connsiteX105" fmla="*/ 115942 w 413859"/>
                  <a:gd name="connsiteY105" fmla="*/ 1981 h 548885"/>
                  <a:gd name="connsiteX106" fmla="*/ 135881 w 413859"/>
                  <a:gd name="connsiteY106" fmla="*/ 15244 h 548885"/>
                  <a:gd name="connsiteX107" fmla="*/ 144725 w 413859"/>
                  <a:gd name="connsiteY107" fmla="*/ 24087 h 548885"/>
                  <a:gd name="connsiteX108" fmla="*/ 146059 w 413859"/>
                  <a:gd name="connsiteY108" fmla="*/ 25422 h 548885"/>
                  <a:gd name="connsiteX109" fmla="*/ 151399 w 413859"/>
                  <a:gd name="connsiteY109" fmla="*/ 32096 h 548885"/>
                  <a:gd name="connsiteX110" fmla="*/ 168251 w 413859"/>
                  <a:gd name="connsiteY110" fmla="*/ 50281 h 548885"/>
                  <a:gd name="connsiteX111" fmla="*/ 196199 w 413859"/>
                  <a:gd name="connsiteY111" fmla="*/ 55620 h 548885"/>
                  <a:gd name="connsiteX112" fmla="*/ 198869 w 413859"/>
                  <a:gd name="connsiteY112" fmla="*/ 54285 h 548885"/>
                  <a:gd name="connsiteX113" fmla="*/ 201121 w 413859"/>
                  <a:gd name="connsiteY113" fmla="*/ 53368 h 548885"/>
                  <a:gd name="connsiteX114" fmla="*/ 205543 w 413859"/>
                  <a:gd name="connsiteY114" fmla="*/ 58707 h 548885"/>
                  <a:gd name="connsiteX115" fmla="*/ 206461 w 413859"/>
                  <a:gd name="connsiteY115" fmla="*/ 62210 h 548885"/>
                  <a:gd name="connsiteX116" fmla="*/ 213552 w 413859"/>
                  <a:gd name="connsiteY116" fmla="*/ 76809 h 548885"/>
                  <a:gd name="connsiteX117" fmla="*/ 235660 w 413859"/>
                  <a:gd name="connsiteY117" fmla="*/ 83899 h 548885"/>
                  <a:gd name="connsiteX118" fmla="*/ 268447 w 413859"/>
                  <a:gd name="connsiteY118" fmla="*/ 84817 h 548885"/>
                  <a:gd name="connsiteX119" fmla="*/ 277790 w 413859"/>
                  <a:gd name="connsiteY119" fmla="*/ 86152 h 548885"/>
                  <a:gd name="connsiteX120" fmla="*/ 287551 w 413859"/>
                  <a:gd name="connsiteY120" fmla="*/ 99916 h 548885"/>
                  <a:gd name="connsiteX121" fmla="*/ 291055 w 413859"/>
                  <a:gd name="connsiteY121" fmla="*/ 109677 h 548885"/>
                  <a:gd name="connsiteX122" fmla="*/ 296395 w 413859"/>
                  <a:gd name="connsiteY122" fmla="*/ 123858 h 548885"/>
                  <a:gd name="connsiteX123" fmla="*/ 297730 w 413859"/>
                  <a:gd name="connsiteY123" fmla="*/ 127862 h 548885"/>
                  <a:gd name="connsiteX124" fmla="*/ 298147 w 413859"/>
                  <a:gd name="connsiteY124" fmla="*/ 130115 h 548885"/>
                  <a:gd name="connsiteX125" fmla="*/ 302985 w 413859"/>
                  <a:gd name="connsiteY125" fmla="*/ 142961 h 548885"/>
                  <a:gd name="connsiteX126" fmla="*/ 310494 w 413859"/>
                  <a:gd name="connsiteY126" fmla="*/ 152721 h 548885"/>
                  <a:gd name="connsiteX127" fmla="*/ 329515 w 413859"/>
                  <a:gd name="connsiteY127" fmla="*/ 173993 h 548885"/>
                  <a:gd name="connsiteX128" fmla="*/ 334854 w 413859"/>
                  <a:gd name="connsiteY128" fmla="*/ 182002 h 548885"/>
                  <a:gd name="connsiteX129" fmla="*/ 335772 w 413859"/>
                  <a:gd name="connsiteY129" fmla="*/ 195766 h 548885"/>
                  <a:gd name="connsiteX130" fmla="*/ 338108 w 413859"/>
                  <a:gd name="connsiteY130" fmla="*/ 223796 h 548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413859" h="548885" extrusionOk="0">
                    <a:moveTo>
                      <a:pt x="338108" y="223796"/>
                    </a:moveTo>
                    <a:cubicBezTo>
                      <a:pt x="337691" y="235725"/>
                      <a:pt x="336773" y="250407"/>
                      <a:pt x="343447" y="263253"/>
                    </a:cubicBezTo>
                    <a:cubicBezTo>
                      <a:pt x="344365" y="264588"/>
                      <a:pt x="344782" y="266340"/>
                      <a:pt x="346117" y="267675"/>
                    </a:cubicBezTo>
                    <a:cubicBezTo>
                      <a:pt x="347452" y="269927"/>
                      <a:pt x="348787" y="272096"/>
                      <a:pt x="349621" y="275683"/>
                    </a:cubicBezTo>
                    <a:cubicBezTo>
                      <a:pt x="350038" y="277018"/>
                      <a:pt x="350539" y="279187"/>
                      <a:pt x="351874" y="281022"/>
                    </a:cubicBezTo>
                    <a:cubicBezTo>
                      <a:pt x="353208" y="284109"/>
                      <a:pt x="355878" y="285860"/>
                      <a:pt x="358047" y="288113"/>
                    </a:cubicBezTo>
                    <a:cubicBezTo>
                      <a:pt x="371813" y="300042"/>
                      <a:pt x="381991" y="315558"/>
                      <a:pt x="387247" y="332826"/>
                    </a:cubicBezTo>
                    <a:cubicBezTo>
                      <a:pt x="390750" y="343421"/>
                      <a:pt x="396590" y="359438"/>
                      <a:pt x="404099" y="373619"/>
                    </a:cubicBezTo>
                    <a:lnTo>
                      <a:pt x="406351" y="377122"/>
                    </a:lnTo>
                    <a:cubicBezTo>
                      <a:pt x="409438" y="382462"/>
                      <a:pt x="412108" y="387300"/>
                      <a:pt x="413025" y="392639"/>
                    </a:cubicBezTo>
                    <a:cubicBezTo>
                      <a:pt x="413443" y="395725"/>
                      <a:pt x="413443" y="399312"/>
                      <a:pt x="413443" y="402816"/>
                    </a:cubicBezTo>
                    <a:lnTo>
                      <a:pt x="413860" y="432013"/>
                    </a:lnTo>
                    <a:cubicBezTo>
                      <a:pt x="410356" y="432931"/>
                      <a:pt x="406768" y="434265"/>
                      <a:pt x="402764" y="436852"/>
                    </a:cubicBezTo>
                    <a:cubicBezTo>
                      <a:pt x="399260" y="439104"/>
                      <a:pt x="396090" y="441690"/>
                      <a:pt x="393420" y="443942"/>
                    </a:cubicBezTo>
                    <a:cubicBezTo>
                      <a:pt x="390333" y="446612"/>
                      <a:pt x="388081" y="448364"/>
                      <a:pt x="384577" y="450115"/>
                    </a:cubicBezTo>
                    <a:cubicBezTo>
                      <a:pt x="378403" y="452785"/>
                      <a:pt x="368642" y="455455"/>
                      <a:pt x="363303" y="454537"/>
                    </a:cubicBezTo>
                    <a:cubicBezTo>
                      <a:pt x="361051" y="454120"/>
                      <a:pt x="358881" y="452785"/>
                      <a:pt x="356212" y="451450"/>
                    </a:cubicBezTo>
                    <a:cubicBezTo>
                      <a:pt x="350455" y="448364"/>
                      <a:pt x="342446" y="444359"/>
                      <a:pt x="334104" y="447947"/>
                    </a:cubicBezTo>
                    <a:cubicBezTo>
                      <a:pt x="326095" y="451033"/>
                      <a:pt x="318169" y="458541"/>
                      <a:pt x="323008" y="477144"/>
                    </a:cubicBezTo>
                    <a:cubicBezTo>
                      <a:pt x="323926" y="480230"/>
                      <a:pt x="325260" y="483317"/>
                      <a:pt x="326512" y="485569"/>
                    </a:cubicBezTo>
                    <a:cubicBezTo>
                      <a:pt x="328764" y="489574"/>
                      <a:pt x="328764" y="489574"/>
                      <a:pt x="326512" y="491743"/>
                    </a:cubicBezTo>
                    <a:cubicBezTo>
                      <a:pt x="324259" y="494412"/>
                      <a:pt x="323842" y="494412"/>
                      <a:pt x="319003" y="491325"/>
                    </a:cubicBezTo>
                    <a:cubicBezTo>
                      <a:pt x="315917" y="489574"/>
                      <a:pt x="312329" y="487321"/>
                      <a:pt x="307490" y="486904"/>
                    </a:cubicBezTo>
                    <a:cubicBezTo>
                      <a:pt x="299982" y="485986"/>
                      <a:pt x="293308" y="488239"/>
                      <a:pt x="289303" y="492660"/>
                    </a:cubicBezTo>
                    <a:cubicBezTo>
                      <a:pt x="286634" y="495329"/>
                      <a:pt x="283964" y="500168"/>
                      <a:pt x="284882" y="508176"/>
                    </a:cubicBezTo>
                    <a:cubicBezTo>
                      <a:pt x="287134" y="519271"/>
                      <a:pt x="295978" y="522358"/>
                      <a:pt x="301734" y="524110"/>
                    </a:cubicBezTo>
                    <a:cubicBezTo>
                      <a:pt x="304404" y="525027"/>
                      <a:pt x="307073" y="525861"/>
                      <a:pt x="308408" y="527196"/>
                    </a:cubicBezTo>
                    <a:cubicBezTo>
                      <a:pt x="310661" y="530283"/>
                      <a:pt x="310661" y="532535"/>
                      <a:pt x="307073" y="540460"/>
                    </a:cubicBezTo>
                    <a:cubicBezTo>
                      <a:pt x="306156" y="542712"/>
                      <a:pt x="305321" y="545298"/>
                      <a:pt x="304404" y="547551"/>
                    </a:cubicBezTo>
                    <a:cubicBezTo>
                      <a:pt x="304404" y="547968"/>
                      <a:pt x="303987" y="548468"/>
                      <a:pt x="303987" y="548886"/>
                    </a:cubicBezTo>
                    <a:cubicBezTo>
                      <a:pt x="300483" y="547968"/>
                      <a:pt x="295978" y="547968"/>
                      <a:pt x="290722" y="547968"/>
                    </a:cubicBezTo>
                    <a:cubicBezTo>
                      <a:pt x="282713" y="548385"/>
                      <a:pt x="280961" y="547050"/>
                      <a:pt x="276539" y="543129"/>
                    </a:cubicBezTo>
                    <a:cubicBezTo>
                      <a:pt x="273869" y="540877"/>
                      <a:pt x="270783" y="538291"/>
                      <a:pt x="265944" y="535121"/>
                    </a:cubicBezTo>
                    <a:cubicBezTo>
                      <a:pt x="252178" y="526696"/>
                      <a:pt x="241166" y="532869"/>
                      <a:pt x="232239" y="537790"/>
                    </a:cubicBezTo>
                    <a:cubicBezTo>
                      <a:pt x="227818" y="540460"/>
                      <a:pt x="223813" y="542629"/>
                      <a:pt x="219392" y="543546"/>
                    </a:cubicBezTo>
                    <a:cubicBezTo>
                      <a:pt x="218057" y="543963"/>
                      <a:pt x="216305" y="544464"/>
                      <a:pt x="214970" y="544464"/>
                    </a:cubicBezTo>
                    <a:cubicBezTo>
                      <a:pt x="214970" y="537790"/>
                      <a:pt x="214970" y="531617"/>
                      <a:pt x="214553" y="524944"/>
                    </a:cubicBezTo>
                    <a:cubicBezTo>
                      <a:pt x="214136" y="521440"/>
                      <a:pt x="214136" y="516935"/>
                      <a:pt x="211466" y="513015"/>
                    </a:cubicBezTo>
                    <a:cubicBezTo>
                      <a:pt x="209214" y="509928"/>
                      <a:pt x="206127" y="507676"/>
                      <a:pt x="203457" y="506341"/>
                    </a:cubicBezTo>
                    <a:lnTo>
                      <a:pt x="183101" y="493494"/>
                    </a:lnTo>
                    <a:cubicBezTo>
                      <a:pt x="182183" y="493077"/>
                      <a:pt x="181349" y="492577"/>
                      <a:pt x="180431" y="491743"/>
                    </a:cubicBezTo>
                    <a:cubicBezTo>
                      <a:pt x="188440" y="484652"/>
                      <a:pt x="192862" y="473557"/>
                      <a:pt x="186605" y="464714"/>
                    </a:cubicBezTo>
                    <a:cubicBezTo>
                      <a:pt x="183935" y="461211"/>
                      <a:pt x="180431" y="458958"/>
                      <a:pt x="177261" y="457623"/>
                    </a:cubicBezTo>
                    <a:lnTo>
                      <a:pt x="175509" y="456706"/>
                    </a:lnTo>
                    <a:cubicBezTo>
                      <a:pt x="172005" y="454954"/>
                      <a:pt x="169336" y="452284"/>
                      <a:pt x="167083" y="449198"/>
                    </a:cubicBezTo>
                    <a:cubicBezTo>
                      <a:pt x="166666" y="448280"/>
                      <a:pt x="166165" y="446946"/>
                      <a:pt x="165331" y="446111"/>
                    </a:cubicBezTo>
                    <a:cubicBezTo>
                      <a:pt x="163079" y="442107"/>
                      <a:pt x="160492" y="436768"/>
                      <a:pt x="154736" y="434182"/>
                    </a:cubicBezTo>
                    <a:cubicBezTo>
                      <a:pt x="146727" y="430679"/>
                      <a:pt x="139219" y="433265"/>
                      <a:pt x="133462" y="435934"/>
                    </a:cubicBezTo>
                    <a:cubicBezTo>
                      <a:pt x="129958" y="437269"/>
                      <a:pt x="126788" y="439021"/>
                      <a:pt x="123701" y="438603"/>
                    </a:cubicBezTo>
                    <a:cubicBezTo>
                      <a:pt x="120614" y="438186"/>
                      <a:pt x="117528" y="435100"/>
                      <a:pt x="113940" y="430595"/>
                    </a:cubicBezTo>
                    <a:cubicBezTo>
                      <a:pt x="110353" y="426090"/>
                      <a:pt x="105931" y="421752"/>
                      <a:pt x="100175" y="419083"/>
                    </a:cubicBezTo>
                    <a:cubicBezTo>
                      <a:pt x="97922" y="418165"/>
                      <a:pt x="95336" y="417748"/>
                      <a:pt x="93084" y="416831"/>
                    </a:cubicBezTo>
                    <a:cubicBezTo>
                      <a:pt x="90414" y="416414"/>
                      <a:pt x="88245" y="415913"/>
                      <a:pt x="86910" y="414579"/>
                    </a:cubicBezTo>
                    <a:cubicBezTo>
                      <a:pt x="85575" y="413244"/>
                      <a:pt x="85158" y="410157"/>
                      <a:pt x="84657" y="406570"/>
                    </a:cubicBezTo>
                    <a:cubicBezTo>
                      <a:pt x="83740" y="401231"/>
                      <a:pt x="83323" y="394141"/>
                      <a:pt x="77983" y="389302"/>
                    </a:cubicBezTo>
                    <a:cubicBezTo>
                      <a:pt x="75314" y="387050"/>
                      <a:pt x="72644" y="385798"/>
                      <a:pt x="69557" y="384881"/>
                    </a:cubicBezTo>
                    <a:cubicBezTo>
                      <a:pt x="57127" y="380042"/>
                      <a:pt x="43445" y="376038"/>
                      <a:pt x="28761" y="374703"/>
                    </a:cubicBezTo>
                    <a:cubicBezTo>
                      <a:pt x="28761" y="372951"/>
                      <a:pt x="29179" y="371200"/>
                      <a:pt x="29179" y="369364"/>
                    </a:cubicBezTo>
                    <a:lnTo>
                      <a:pt x="30513" y="359187"/>
                    </a:lnTo>
                    <a:cubicBezTo>
                      <a:pt x="32265" y="345423"/>
                      <a:pt x="28261" y="340584"/>
                      <a:pt x="22504" y="333911"/>
                    </a:cubicBezTo>
                    <a:cubicBezTo>
                      <a:pt x="20752" y="331658"/>
                      <a:pt x="19000" y="329907"/>
                      <a:pt x="16748" y="326820"/>
                    </a:cubicBezTo>
                    <a:cubicBezTo>
                      <a:pt x="14495" y="323733"/>
                      <a:pt x="13661" y="320146"/>
                      <a:pt x="14495" y="316643"/>
                    </a:cubicBezTo>
                    <a:cubicBezTo>
                      <a:pt x="14913" y="314390"/>
                      <a:pt x="16247" y="312221"/>
                      <a:pt x="19334" y="310470"/>
                    </a:cubicBezTo>
                    <a:cubicBezTo>
                      <a:pt x="21587" y="309135"/>
                      <a:pt x="24673" y="309552"/>
                      <a:pt x="27760" y="310052"/>
                    </a:cubicBezTo>
                    <a:cubicBezTo>
                      <a:pt x="33100" y="310970"/>
                      <a:pt x="45447" y="312722"/>
                      <a:pt x="47699" y="297623"/>
                    </a:cubicBezTo>
                    <a:cubicBezTo>
                      <a:pt x="48116" y="292284"/>
                      <a:pt x="45030" y="288280"/>
                      <a:pt x="42861" y="285694"/>
                    </a:cubicBezTo>
                    <a:cubicBezTo>
                      <a:pt x="42443" y="284776"/>
                      <a:pt x="41943" y="284359"/>
                      <a:pt x="41526" y="284359"/>
                    </a:cubicBezTo>
                    <a:cubicBezTo>
                      <a:pt x="41109" y="282607"/>
                      <a:pt x="41109" y="280355"/>
                      <a:pt x="41109" y="278186"/>
                    </a:cubicBezTo>
                    <a:cubicBezTo>
                      <a:pt x="40691" y="274682"/>
                      <a:pt x="40691" y="270678"/>
                      <a:pt x="38856" y="267091"/>
                    </a:cubicBezTo>
                    <a:cubicBezTo>
                      <a:pt x="36186" y="260000"/>
                      <a:pt x="30847" y="255996"/>
                      <a:pt x="26425" y="252492"/>
                    </a:cubicBezTo>
                    <a:cubicBezTo>
                      <a:pt x="22922" y="249406"/>
                      <a:pt x="19751" y="246736"/>
                      <a:pt x="17999" y="242732"/>
                    </a:cubicBezTo>
                    <a:cubicBezTo>
                      <a:pt x="17582" y="240480"/>
                      <a:pt x="17582" y="237894"/>
                      <a:pt x="17582" y="234307"/>
                    </a:cubicBezTo>
                    <a:cubicBezTo>
                      <a:pt x="17999" y="228551"/>
                      <a:pt x="18500" y="220125"/>
                      <a:pt x="11409" y="213452"/>
                    </a:cubicBezTo>
                    <a:cubicBezTo>
                      <a:pt x="8739" y="210782"/>
                      <a:pt x="5652" y="209030"/>
                      <a:pt x="2065" y="208113"/>
                    </a:cubicBezTo>
                    <a:cubicBezTo>
                      <a:pt x="1648" y="207696"/>
                      <a:pt x="1648" y="206778"/>
                      <a:pt x="1648" y="206361"/>
                    </a:cubicBezTo>
                    <a:cubicBezTo>
                      <a:pt x="1231" y="203691"/>
                      <a:pt x="730" y="201522"/>
                      <a:pt x="313" y="199270"/>
                    </a:cubicBezTo>
                    <a:cubicBezTo>
                      <a:pt x="-104" y="195266"/>
                      <a:pt x="-104" y="191262"/>
                      <a:pt x="313" y="186841"/>
                    </a:cubicBezTo>
                    <a:cubicBezTo>
                      <a:pt x="730" y="182836"/>
                      <a:pt x="1231" y="178832"/>
                      <a:pt x="2565" y="175745"/>
                    </a:cubicBezTo>
                    <a:cubicBezTo>
                      <a:pt x="4818" y="171324"/>
                      <a:pt x="8739" y="168655"/>
                      <a:pt x="12326" y="167320"/>
                    </a:cubicBezTo>
                    <a:cubicBezTo>
                      <a:pt x="16331" y="165568"/>
                      <a:pt x="20752" y="164234"/>
                      <a:pt x="25174" y="162899"/>
                    </a:cubicBezTo>
                    <a:lnTo>
                      <a:pt x="27844" y="161981"/>
                    </a:lnTo>
                    <a:cubicBezTo>
                      <a:pt x="31848" y="160646"/>
                      <a:pt x="36687" y="159312"/>
                      <a:pt x="40691" y="156225"/>
                    </a:cubicBezTo>
                    <a:cubicBezTo>
                      <a:pt x="46031" y="151804"/>
                      <a:pt x="49118" y="145630"/>
                      <a:pt x="47783" y="139374"/>
                    </a:cubicBezTo>
                    <a:cubicBezTo>
                      <a:pt x="46865" y="135370"/>
                      <a:pt x="44696" y="132283"/>
                      <a:pt x="42944" y="129614"/>
                    </a:cubicBezTo>
                    <a:lnTo>
                      <a:pt x="40274" y="126527"/>
                    </a:lnTo>
                    <a:cubicBezTo>
                      <a:pt x="38522" y="124275"/>
                      <a:pt x="36770" y="122106"/>
                      <a:pt x="35436" y="119854"/>
                    </a:cubicBezTo>
                    <a:cubicBezTo>
                      <a:pt x="34101" y="117184"/>
                      <a:pt x="33183" y="114515"/>
                      <a:pt x="34101" y="112763"/>
                    </a:cubicBezTo>
                    <a:cubicBezTo>
                      <a:pt x="34518" y="111428"/>
                      <a:pt x="35853" y="110094"/>
                      <a:pt x="37188" y="108759"/>
                    </a:cubicBezTo>
                    <a:cubicBezTo>
                      <a:pt x="38522" y="107424"/>
                      <a:pt x="40274" y="105672"/>
                      <a:pt x="41609" y="103003"/>
                    </a:cubicBezTo>
                    <a:cubicBezTo>
                      <a:pt x="46448" y="95495"/>
                      <a:pt x="45113" y="84817"/>
                      <a:pt x="38939" y="78644"/>
                    </a:cubicBezTo>
                    <a:cubicBezTo>
                      <a:pt x="35853" y="75557"/>
                      <a:pt x="32265" y="73806"/>
                      <a:pt x="29179" y="71970"/>
                    </a:cubicBezTo>
                    <a:cubicBezTo>
                      <a:pt x="26926" y="71053"/>
                      <a:pt x="24757" y="69718"/>
                      <a:pt x="23422" y="68467"/>
                    </a:cubicBezTo>
                    <a:cubicBezTo>
                      <a:pt x="21670" y="66715"/>
                      <a:pt x="20752" y="63628"/>
                      <a:pt x="21670" y="61376"/>
                    </a:cubicBezTo>
                    <a:cubicBezTo>
                      <a:pt x="22087" y="59124"/>
                      <a:pt x="24340" y="56538"/>
                      <a:pt x="26509" y="54285"/>
                    </a:cubicBezTo>
                    <a:lnTo>
                      <a:pt x="28761" y="51199"/>
                    </a:lnTo>
                    <a:cubicBezTo>
                      <a:pt x="35436" y="42356"/>
                      <a:pt x="35436" y="35265"/>
                      <a:pt x="33600" y="30844"/>
                    </a:cubicBezTo>
                    <a:cubicBezTo>
                      <a:pt x="32265" y="26006"/>
                      <a:pt x="32682" y="20250"/>
                      <a:pt x="36270" y="12658"/>
                    </a:cubicBezTo>
                    <a:cubicBezTo>
                      <a:pt x="38522" y="7319"/>
                      <a:pt x="43361" y="2898"/>
                      <a:pt x="46865" y="3816"/>
                    </a:cubicBezTo>
                    <a:cubicBezTo>
                      <a:pt x="49535" y="4233"/>
                      <a:pt x="51704" y="6902"/>
                      <a:pt x="53956" y="10489"/>
                    </a:cubicBezTo>
                    <a:cubicBezTo>
                      <a:pt x="56626" y="13993"/>
                      <a:pt x="60130" y="17997"/>
                      <a:pt x="64552" y="20667"/>
                    </a:cubicBezTo>
                    <a:cubicBezTo>
                      <a:pt x="71643" y="24171"/>
                      <a:pt x="81821" y="23753"/>
                      <a:pt x="89830" y="18414"/>
                    </a:cubicBezTo>
                    <a:cubicBezTo>
                      <a:pt x="94251" y="15745"/>
                      <a:pt x="97338" y="12658"/>
                      <a:pt x="100425" y="8654"/>
                    </a:cubicBezTo>
                    <a:cubicBezTo>
                      <a:pt x="101760" y="6902"/>
                      <a:pt x="103512" y="5150"/>
                      <a:pt x="104847" y="3315"/>
                    </a:cubicBezTo>
                    <a:cubicBezTo>
                      <a:pt x="105764" y="1981"/>
                      <a:pt x="107099" y="646"/>
                      <a:pt x="107933" y="229"/>
                    </a:cubicBezTo>
                    <a:cubicBezTo>
                      <a:pt x="108851" y="-188"/>
                      <a:pt x="110603" y="-188"/>
                      <a:pt x="115025" y="1564"/>
                    </a:cubicBezTo>
                    <a:cubicBezTo>
                      <a:pt x="115442" y="1981"/>
                      <a:pt x="115442" y="1981"/>
                      <a:pt x="115942" y="1981"/>
                    </a:cubicBezTo>
                    <a:cubicBezTo>
                      <a:pt x="123451" y="5484"/>
                      <a:pt x="130125" y="9989"/>
                      <a:pt x="135881" y="15244"/>
                    </a:cubicBezTo>
                    <a:cubicBezTo>
                      <a:pt x="138968" y="17914"/>
                      <a:pt x="142055" y="20583"/>
                      <a:pt x="144725" y="24087"/>
                    </a:cubicBezTo>
                    <a:cubicBezTo>
                      <a:pt x="145142" y="24504"/>
                      <a:pt x="145642" y="25005"/>
                      <a:pt x="146059" y="25422"/>
                    </a:cubicBezTo>
                    <a:cubicBezTo>
                      <a:pt x="147812" y="27674"/>
                      <a:pt x="149563" y="29843"/>
                      <a:pt x="151399" y="32096"/>
                    </a:cubicBezTo>
                    <a:cubicBezTo>
                      <a:pt x="156238" y="38769"/>
                      <a:pt x="161577" y="44942"/>
                      <a:pt x="168251" y="50281"/>
                    </a:cubicBezTo>
                    <a:cubicBezTo>
                      <a:pt x="177595" y="57372"/>
                      <a:pt x="188190" y="59124"/>
                      <a:pt x="196199" y="55620"/>
                    </a:cubicBezTo>
                    <a:cubicBezTo>
                      <a:pt x="197117" y="55203"/>
                      <a:pt x="198452" y="54702"/>
                      <a:pt x="198869" y="54285"/>
                    </a:cubicBezTo>
                    <a:cubicBezTo>
                      <a:pt x="199786" y="53868"/>
                      <a:pt x="200621" y="53368"/>
                      <a:pt x="201121" y="53368"/>
                    </a:cubicBezTo>
                    <a:cubicBezTo>
                      <a:pt x="202039" y="53785"/>
                      <a:pt x="204208" y="55119"/>
                      <a:pt x="205543" y="58707"/>
                    </a:cubicBezTo>
                    <a:cubicBezTo>
                      <a:pt x="205960" y="60041"/>
                      <a:pt x="206461" y="61376"/>
                      <a:pt x="206461" y="62210"/>
                    </a:cubicBezTo>
                    <a:cubicBezTo>
                      <a:pt x="207795" y="67049"/>
                      <a:pt x="209130" y="72387"/>
                      <a:pt x="213552" y="76809"/>
                    </a:cubicBezTo>
                    <a:cubicBezTo>
                      <a:pt x="220226" y="83482"/>
                      <a:pt x="229903" y="83482"/>
                      <a:pt x="235660" y="83899"/>
                    </a:cubicBezTo>
                    <a:lnTo>
                      <a:pt x="268447" y="84817"/>
                    </a:lnTo>
                    <a:cubicBezTo>
                      <a:pt x="271533" y="84817"/>
                      <a:pt x="275121" y="84817"/>
                      <a:pt x="277790" y="86152"/>
                    </a:cubicBezTo>
                    <a:cubicBezTo>
                      <a:pt x="282212" y="87904"/>
                      <a:pt x="284882" y="93660"/>
                      <a:pt x="287551" y="99916"/>
                    </a:cubicBezTo>
                    <a:cubicBezTo>
                      <a:pt x="288886" y="103003"/>
                      <a:pt x="290221" y="106590"/>
                      <a:pt x="291055" y="109677"/>
                    </a:cubicBezTo>
                    <a:cubicBezTo>
                      <a:pt x="293308" y="114098"/>
                      <a:pt x="295060" y="119019"/>
                      <a:pt x="296395" y="123858"/>
                    </a:cubicBezTo>
                    <a:cubicBezTo>
                      <a:pt x="297312" y="125192"/>
                      <a:pt x="297312" y="126527"/>
                      <a:pt x="297730" y="127862"/>
                    </a:cubicBezTo>
                    <a:lnTo>
                      <a:pt x="298147" y="130115"/>
                    </a:lnTo>
                    <a:cubicBezTo>
                      <a:pt x="299481" y="134536"/>
                      <a:pt x="300816" y="138957"/>
                      <a:pt x="302985" y="142961"/>
                    </a:cubicBezTo>
                    <a:cubicBezTo>
                      <a:pt x="305238" y="146965"/>
                      <a:pt x="307824" y="150052"/>
                      <a:pt x="310494" y="152721"/>
                    </a:cubicBezTo>
                    <a:lnTo>
                      <a:pt x="329515" y="173993"/>
                    </a:lnTo>
                    <a:cubicBezTo>
                      <a:pt x="332185" y="177080"/>
                      <a:pt x="334354" y="179333"/>
                      <a:pt x="334854" y="182002"/>
                    </a:cubicBezTo>
                    <a:cubicBezTo>
                      <a:pt x="335772" y="186423"/>
                      <a:pt x="335772" y="190845"/>
                      <a:pt x="335772" y="195766"/>
                    </a:cubicBezTo>
                    <a:lnTo>
                      <a:pt x="338108" y="223796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19938077" name="Полилиния 351"/>
              <p:cNvSpPr/>
              <p:nvPr/>
            </p:nvSpPr>
            <p:spPr bwMode="auto">
              <a:xfrm>
                <a:off x="1396602" y="3884116"/>
                <a:ext cx="328774" cy="308815"/>
              </a:xfrm>
              <a:custGeom>
                <a:avLst/>
                <a:gdLst>
                  <a:gd name="connsiteX0" fmla="*/ 4839 w 369225"/>
                  <a:gd name="connsiteY0" fmla="*/ 145934 h 346810"/>
                  <a:gd name="connsiteX1" fmla="*/ 0 w 369225"/>
                  <a:gd name="connsiteY1" fmla="*/ 133087 h 346810"/>
                  <a:gd name="connsiteX2" fmla="*/ 54061 w 369225"/>
                  <a:gd name="connsiteY2" fmla="*/ 71940 h 346810"/>
                  <a:gd name="connsiteX3" fmla="*/ 68660 w 369225"/>
                  <a:gd name="connsiteY3" fmla="*/ 41408 h 346810"/>
                  <a:gd name="connsiteX4" fmla="*/ 89517 w 369225"/>
                  <a:gd name="connsiteY4" fmla="*/ 5538 h 346810"/>
                  <a:gd name="connsiteX5" fmla="*/ 108121 w 369225"/>
                  <a:gd name="connsiteY5" fmla="*/ 699 h 346810"/>
                  <a:gd name="connsiteX6" fmla="*/ 122721 w 369225"/>
                  <a:gd name="connsiteY6" fmla="*/ 16215 h 346810"/>
                  <a:gd name="connsiteX7" fmla="*/ 125391 w 369225"/>
                  <a:gd name="connsiteY7" fmla="*/ 32149 h 346810"/>
                  <a:gd name="connsiteX8" fmla="*/ 135151 w 369225"/>
                  <a:gd name="connsiteY8" fmla="*/ 62681 h 346810"/>
                  <a:gd name="connsiteX9" fmla="*/ 164851 w 369225"/>
                  <a:gd name="connsiteY9" fmla="*/ 72441 h 346810"/>
                  <a:gd name="connsiteX10" fmla="*/ 196303 w 369225"/>
                  <a:gd name="connsiteY10" fmla="*/ 73358 h 346810"/>
                  <a:gd name="connsiteX11" fmla="*/ 221582 w 369225"/>
                  <a:gd name="connsiteY11" fmla="*/ 67185 h 346810"/>
                  <a:gd name="connsiteX12" fmla="*/ 234847 w 369225"/>
                  <a:gd name="connsiteY12" fmla="*/ 68103 h 346810"/>
                  <a:gd name="connsiteX13" fmla="*/ 249947 w 369225"/>
                  <a:gd name="connsiteY13" fmla="*/ 67185 h 346810"/>
                  <a:gd name="connsiteX14" fmla="*/ 264546 w 369225"/>
                  <a:gd name="connsiteY14" fmla="*/ 65850 h 346810"/>
                  <a:gd name="connsiteX15" fmla="*/ 326533 w 369225"/>
                  <a:gd name="connsiteY15" fmla="*/ 55673 h 346810"/>
                  <a:gd name="connsiteX16" fmla="*/ 346055 w 369225"/>
                  <a:gd name="connsiteY16" fmla="*/ 51252 h 346810"/>
                  <a:gd name="connsiteX17" fmla="*/ 349141 w 369225"/>
                  <a:gd name="connsiteY17" fmla="*/ 50835 h 346810"/>
                  <a:gd name="connsiteX18" fmla="*/ 350476 w 369225"/>
                  <a:gd name="connsiteY18" fmla="*/ 66768 h 346810"/>
                  <a:gd name="connsiteX19" fmla="*/ 358485 w 369225"/>
                  <a:gd name="connsiteY19" fmla="*/ 109730 h 346810"/>
                  <a:gd name="connsiteX20" fmla="*/ 362907 w 369225"/>
                  <a:gd name="connsiteY20" fmla="*/ 119073 h 346810"/>
                  <a:gd name="connsiteX21" fmla="*/ 369080 w 369225"/>
                  <a:gd name="connsiteY21" fmla="*/ 140762 h 346810"/>
                  <a:gd name="connsiteX22" fmla="*/ 360654 w 369225"/>
                  <a:gd name="connsiteY22" fmla="*/ 156278 h 346810"/>
                  <a:gd name="connsiteX23" fmla="*/ 353563 w 369225"/>
                  <a:gd name="connsiteY23" fmla="*/ 166039 h 346810"/>
                  <a:gd name="connsiteX24" fmla="*/ 346889 w 369225"/>
                  <a:gd name="connsiteY24" fmla="*/ 205496 h 346810"/>
                  <a:gd name="connsiteX25" fmla="*/ 352228 w 369225"/>
                  <a:gd name="connsiteY25" fmla="*/ 217426 h 346810"/>
                  <a:gd name="connsiteX26" fmla="*/ 357067 w 369225"/>
                  <a:gd name="connsiteY26" fmla="*/ 229355 h 346810"/>
                  <a:gd name="connsiteX27" fmla="*/ 357067 w 369225"/>
                  <a:gd name="connsiteY27" fmla="*/ 229772 h 346810"/>
                  <a:gd name="connsiteX28" fmla="*/ 357484 w 369225"/>
                  <a:gd name="connsiteY28" fmla="*/ 232441 h 346810"/>
                  <a:gd name="connsiteX29" fmla="*/ 353980 w 369225"/>
                  <a:gd name="connsiteY29" fmla="*/ 240867 h 346810"/>
                  <a:gd name="connsiteX30" fmla="*/ 352228 w 369225"/>
                  <a:gd name="connsiteY30" fmla="*/ 244370 h 346810"/>
                  <a:gd name="connsiteX31" fmla="*/ 349141 w 369225"/>
                  <a:gd name="connsiteY31" fmla="*/ 251461 h 346810"/>
                  <a:gd name="connsiteX32" fmla="*/ 348224 w 369225"/>
                  <a:gd name="connsiteY32" fmla="*/ 261639 h 346810"/>
                  <a:gd name="connsiteX33" fmla="*/ 347807 w 369225"/>
                  <a:gd name="connsiteY33" fmla="*/ 266477 h 346810"/>
                  <a:gd name="connsiteX34" fmla="*/ 345137 w 369225"/>
                  <a:gd name="connsiteY34" fmla="*/ 272650 h 346810"/>
                  <a:gd name="connsiteX35" fmla="*/ 335793 w 369225"/>
                  <a:gd name="connsiteY35" fmla="*/ 270398 h 346810"/>
                  <a:gd name="connsiteX36" fmla="*/ 332706 w 369225"/>
                  <a:gd name="connsiteY36" fmla="*/ 269063 h 346810"/>
                  <a:gd name="connsiteX37" fmla="*/ 303006 w 369225"/>
                  <a:gd name="connsiteY37" fmla="*/ 268145 h 346810"/>
                  <a:gd name="connsiteX38" fmla="*/ 295915 w 369225"/>
                  <a:gd name="connsiteY38" fmla="*/ 272567 h 346810"/>
                  <a:gd name="connsiteX39" fmla="*/ 291911 w 369225"/>
                  <a:gd name="connsiteY39" fmla="*/ 280575 h 346810"/>
                  <a:gd name="connsiteX40" fmla="*/ 290576 w 369225"/>
                  <a:gd name="connsiteY40" fmla="*/ 289000 h 346810"/>
                  <a:gd name="connsiteX41" fmla="*/ 286154 w 369225"/>
                  <a:gd name="connsiteY41" fmla="*/ 304934 h 346810"/>
                  <a:gd name="connsiteX42" fmla="*/ 263128 w 369225"/>
                  <a:gd name="connsiteY42" fmla="*/ 316863 h 346810"/>
                  <a:gd name="connsiteX43" fmla="*/ 244524 w 369225"/>
                  <a:gd name="connsiteY43" fmla="*/ 326623 h 346810"/>
                  <a:gd name="connsiteX44" fmla="*/ 242272 w 369225"/>
                  <a:gd name="connsiteY44" fmla="*/ 331461 h 346810"/>
                  <a:gd name="connsiteX45" fmla="*/ 241854 w 369225"/>
                  <a:gd name="connsiteY45" fmla="*/ 333213 h 346810"/>
                  <a:gd name="connsiteX46" fmla="*/ 232093 w 369225"/>
                  <a:gd name="connsiteY46" fmla="*/ 336717 h 346810"/>
                  <a:gd name="connsiteX47" fmla="*/ 227672 w 369225"/>
                  <a:gd name="connsiteY47" fmla="*/ 335799 h 346810"/>
                  <a:gd name="connsiteX48" fmla="*/ 219663 w 369225"/>
                  <a:gd name="connsiteY48" fmla="*/ 333547 h 346810"/>
                  <a:gd name="connsiteX49" fmla="*/ 214824 w 369225"/>
                  <a:gd name="connsiteY49" fmla="*/ 332212 h 346810"/>
                  <a:gd name="connsiteX50" fmla="*/ 190881 w 369225"/>
                  <a:gd name="connsiteY50" fmla="*/ 331795 h 346810"/>
                  <a:gd name="connsiteX51" fmla="*/ 180703 w 369225"/>
                  <a:gd name="connsiteY51" fmla="*/ 338886 h 346810"/>
                  <a:gd name="connsiteX52" fmla="*/ 175864 w 369225"/>
                  <a:gd name="connsiteY52" fmla="*/ 342389 h 346810"/>
                  <a:gd name="connsiteX53" fmla="*/ 160346 w 369225"/>
                  <a:gd name="connsiteY53" fmla="*/ 346394 h 346810"/>
                  <a:gd name="connsiteX54" fmla="*/ 155007 w 369225"/>
                  <a:gd name="connsiteY54" fmla="*/ 346811 h 346810"/>
                  <a:gd name="connsiteX55" fmla="*/ 163433 w 369225"/>
                  <a:gd name="connsiteY55" fmla="*/ 318031 h 346810"/>
                  <a:gd name="connsiteX56" fmla="*/ 172276 w 369225"/>
                  <a:gd name="connsiteY56" fmla="*/ 290585 h 346810"/>
                  <a:gd name="connsiteX57" fmla="*/ 131981 w 369225"/>
                  <a:gd name="connsiteY57" fmla="*/ 219261 h 346810"/>
                  <a:gd name="connsiteX58" fmla="*/ 116464 w 369225"/>
                  <a:gd name="connsiteY58" fmla="*/ 209918 h 346810"/>
                  <a:gd name="connsiteX59" fmla="*/ 100946 w 369225"/>
                  <a:gd name="connsiteY59" fmla="*/ 200575 h 346810"/>
                  <a:gd name="connsiteX60" fmla="*/ 89851 w 369225"/>
                  <a:gd name="connsiteY60" fmla="*/ 187728 h 346810"/>
                  <a:gd name="connsiteX61" fmla="*/ 82342 w 369225"/>
                  <a:gd name="connsiteY61" fmla="*/ 177550 h 346810"/>
                  <a:gd name="connsiteX62" fmla="*/ 44717 w 369225"/>
                  <a:gd name="connsiteY62" fmla="*/ 169542 h 346810"/>
                  <a:gd name="connsiteX63" fmla="*/ 28782 w 369225"/>
                  <a:gd name="connsiteY63" fmla="*/ 173963 h 346810"/>
                  <a:gd name="connsiteX64" fmla="*/ 4839 w 369225"/>
                  <a:gd name="connsiteY64" fmla="*/ 145934 h 346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69225" h="346810" extrusionOk="0">
                    <a:moveTo>
                      <a:pt x="4839" y="145934"/>
                    </a:moveTo>
                    <a:cubicBezTo>
                      <a:pt x="3504" y="141513"/>
                      <a:pt x="1752" y="137091"/>
                      <a:pt x="0" y="133087"/>
                    </a:cubicBezTo>
                    <a:cubicBezTo>
                      <a:pt x="17269" y="116236"/>
                      <a:pt x="38126" y="94547"/>
                      <a:pt x="54061" y="71940"/>
                    </a:cubicBezTo>
                    <a:cubicBezTo>
                      <a:pt x="60735" y="62597"/>
                      <a:pt x="64656" y="52003"/>
                      <a:pt x="68660" y="41408"/>
                    </a:cubicBezTo>
                    <a:cubicBezTo>
                      <a:pt x="74000" y="27227"/>
                      <a:pt x="79255" y="13963"/>
                      <a:pt x="89517" y="5538"/>
                    </a:cubicBezTo>
                    <a:cubicBezTo>
                      <a:pt x="95691" y="699"/>
                      <a:pt x="101948" y="-1136"/>
                      <a:pt x="108121" y="699"/>
                    </a:cubicBezTo>
                    <a:cubicBezTo>
                      <a:pt x="114295" y="2534"/>
                      <a:pt x="119634" y="8207"/>
                      <a:pt x="122721" y="16215"/>
                    </a:cubicBezTo>
                    <a:cubicBezTo>
                      <a:pt x="124056" y="20637"/>
                      <a:pt x="124973" y="26393"/>
                      <a:pt x="125391" y="32149"/>
                    </a:cubicBezTo>
                    <a:cubicBezTo>
                      <a:pt x="126308" y="42326"/>
                      <a:pt x="127143" y="53838"/>
                      <a:pt x="135151" y="62681"/>
                    </a:cubicBezTo>
                    <a:cubicBezTo>
                      <a:pt x="143995" y="72858"/>
                      <a:pt x="155091" y="73275"/>
                      <a:pt x="164851" y="72441"/>
                    </a:cubicBezTo>
                    <a:cubicBezTo>
                      <a:pt x="178617" y="71106"/>
                      <a:pt x="183039" y="71106"/>
                      <a:pt x="196303" y="73358"/>
                    </a:cubicBezTo>
                    <a:cubicBezTo>
                      <a:pt x="209151" y="76028"/>
                      <a:pt x="216659" y="72941"/>
                      <a:pt x="221582" y="67185"/>
                    </a:cubicBezTo>
                    <a:cubicBezTo>
                      <a:pt x="226003" y="68103"/>
                      <a:pt x="230008" y="68103"/>
                      <a:pt x="234847" y="68103"/>
                    </a:cubicBezTo>
                    <a:cubicBezTo>
                      <a:pt x="239685" y="68103"/>
                      <a:pt x="244607" y="67686"/>
                      <a:pt x="249947" y="67185"/>
                    </a:cubicBezTo>
                    <a:lnTo>
                      <a:pt x="264546" y="65850"/>
                    </a:lnTo>
                    <a:cubicBezTo>
                      <a:pt x="284903" y="63598"/>
                      <a:pt x="306594" y="61846"/>
                      <a:pt x="326533" y="55673"/>
                    </a:cubicBezTo>
                    <a:cubicBezTo>
                      <a:pt x="333207" y="53421"/>
                      <a:pt x="339798" y="52587"/>
                      <a:pt x="346055" y="51252"/>
                    </a:cubicBezTo>
                    <a:cubicBezTo>
                      <a:pt x="346972" y="50835"/>
                      <a:pt x="348307" y="50835"/>
                      <a:pt x="349141" y="50835"/>
                    </a:cubicBezTo>
                    <a:cubicBezTo>
                      <a:pt x="349558" y="55673"/>
                      <a:pt x="350059" y="61429"/>
                      <a:pt x="350476" y="66768"/>
                    </a:cubicBezTo>
                    <a:cubicBezTo>
                      <a:pt x="351394" y="80950"/>
                      <a:pt x="352729" y="95965"/>
                      <a:pt x="358485" y="109730"/>
                    </a:cubicBezTo>
                    <a:cubicBezTo>
                      <a:pt x="359820" y="112816"/>
                      <a:pt x="361155" y="115903"/>
                      <a:pt x="362907" y="119073"/>
                    </a:cubicBezTo>
                    <a:cubicBezTo>
                      <a:pt x="366411" y="126581"/>
                      <a:pt x="369998" y="133672"/>
                      <a:pt x="369080" y="140762"/>
                    </a:cubicBezTo>
                    <a:cubicBezTo>
                      <a:pt x="368163" y="146518"/>
                      <a:pt x="364659" y="150939"/>
                      <a:pt x="360654" y="156278"/>
                    </a:cubicBezTo>
                    <a:cubicBezTo>
                      <a:pt x="357985" y="159365"/>
                      <a:pt x="355815" y="162452"/>
                      <a:pt x="353563" y="166039"/>
                    </a:cubicBezTo>
                    <a:cubicBezTo>
                      <a:pt x="345137" y="179803"/>
                      <a:pt x="342968" y="193484"/>
                      <a:pt x="346889" y="205496"/>
                    </a:cubicBezTo>
                    <a:cubicBezTo>
                      <a:pt x="348224" y="209918"/>
                      <a:pt x="350393" y="213505"/>
                      <a:pt x="352228" y="217426"/>
                    </a:cubicBezTo>
                    <a:cubicBezTo>
                      <a:pt x="354898" y="221847"/>
                      <a:pt x="356650" y="225851"/>
                      <a:pt x="357067" y="229355"/>
                    </a:cubicBezTo>
                    <a:lnTo>
                      <a:pt x="357067" y="229772"/>
                    </a:lnTo>
                    <a:cubicBezTo>
                      <a:pt x="357484" y="230689"/>
                      <a:pt x="357484" y="231524"/>
                      <a:pt x="357484" y="232441"/>
                    </a:cubicBezTo>
                    <a:cubicBezTo>
                      <a:pt x="357067" y="235111"/>
                      <a:pt x="355232" y="237780"/>
                      <a:pt x="353980" y="240867"/>
                    </a:cubicBezTo>
                    <a:cubicBezTo>
                      <a:pt x="353062" y="241784"/>
                      <a:pt x="352645" y="243119"/>
                      <a:pt x="352228" y="244370"/>
                    </a:cubicBezTo>
                    <a:cubicBezTo>
                      <a:pt x="350893" y="246623"/>
                      <a:pt x="349976" y="248792"/>
                      <a:pt x="349141" y="251461"/>
                    </a:cubicBezTo>
                    <a:cubicBezTo>
                      <a:pt x="348224" y="254965"/>
                      <a:pt x="348224" y="258552"/>
                      <a:pt x="348224" y="261639"/>
                    </a:cubicBezTo>
                    <a:cubicBezTo>
                      <a:pt x="347807" y="262973"/>
                      <a:pt x="347807" y="264725"/>
                      <a:pt x="347807" y="266477"/>
                    </a:cubicBezTo>
                    <a:cubicBezTo>
                      <a:pt x="347389" y="269563"/>
                      <a:pt x="346472" y="271816"/>
                      <a:pt x="345137" y="272650"/>
                    </a:cubicBezTo>
                    <a:cubicBezTo>
                      <a:pt x="343385" y="273567"/>
                      <a:pt x="339380" y="271732"/>
                      <a:pt x="335793" y="270398"/>
                    </a:cubicBezTo>
                    <a:lnTo>
                      <a:pt x="332706" y="269063"/>
                    </a:lnTo>
                    <a:cubicBezTo>
                      <a:pt x="322945" y="265559"/>
                      <a:pt x="312767" y="265559"/>
                      <a:pt x="303006" y="268145"/>
                    </a:cubicBezTo>
                    <a:cubicBezTo>
                      <a:pt x="300754" y="269063"/>
                      <a:pt x="298168" y="270398"/>
                      <a:pt x="295915" y="272567"/>
                    </a:cubicBezTo>
                    <a:cubicBezTo>
                      <a:pt x="293245" y="275236"/>
                      <a:pt x="292828" y="277906"/>
                      <a:pt x="291911" y="280575"/>
                    </a:cubicBezTo>
                    <a:cubicBezTo>
                      <a:pt x="291493" y="283244"/>
                      <a:pt x="290993" y="285914"/>
                      <a:pt x="290576" y="289000"/>
                    </a:cubicBezTo>
                    <a:cubicBezTo>
                      <a:pt x="289658" y="295173"/>
                      <a:pt x="288824" y="300513"/>
                      <a:pt x="286154" y="304934"/>
                    </a:cubicBezTo>
                    <a:cubicBezTo>
                      <a:pt x="282650" y="310690"/>
                      <a:pt x="275058" y="314694"/>
                      <a:pt x="263128" y="316863"/>
                    </a:cubicBezTo>
                    <a:cubicBezTo>
                      <a:pt x="256955" y="317780"/>
                      <a:pt x="248946" y="319532"/>
                      <a:pt x="244524" y="326623"/>
                    </a:cubicBezTo>
                    <a:cubicBezTo>
                      <a:pt x="243606" y="328375"/>
                      <a:pt x="243189" y="330127"/>
                      <a:pt x="242272" y="331461"/>
                    </a:cubicBezTo>
                    <a:cubicBezTo>
                      <a:pt x="241854" y="332379"/>
                      <a:pt x="241854" y="332796"/>
                      <a:pt x="241854" y="333213"/>
                    </a:cubicBezTo>
                    <a:cubicBezTo>
                      <a:pt x="240520" y="335883"/>
                      <a:pt x="236098" y="337218"/>
                      <a:pt x="232093" y="336717"/>
                    </a:cubicBezTo>
                    <a:cubicBezTo>
                      <a:pt x="230759" y="336717"/>
                      <a:pt x="229424" y="336300"/>
                      <a:pt x="227672" y="335799"/>
                    </a:cubicBezTo>
                    <a:cubicBezTo>
                      <a:pt x="225002" y="335382"/>
                      <a:pt x="222833" y="334464"/>
                      <a:pt x="219663" y="333547"/>
                    </a:cubicBezTo>
                    <a:lnTo>
                      <a:pt x="214824" y="332212"/>
                    </a:lnTo>
                    <a:cubicBezTo>
                      <a:pt x="205063" y="329126"/>
                      <a:pt x="197555" y="329126"/>
                      <a:pt x="190881" y="331795"/>
                    </a:cubicBezTo>
                    <a:cubicBezTo>
                      <a:pt x="186459" y="333547"/>
                      <a:pt x="183372" y="336633"/>
                      <a:pt x="180703" y="338886"/>
                    </a:cubicBezTo>
                    <a:cubicBezTo>
                      <a:pt x="179368" y="340220"/>
                      <a:pt x="177616" y="341555"/>
                      <a:pt x="175864" y="342389"/>
                    </a:cubicBezTo>
                    <a:cubicBezTo>
                      <a:pt x="171442" y="345059"/>
                      <a:pt x="166103" y="345893"/>
                      <a:pt x="160346" y="346394"/>
                    </a:cubicBezTo>
                    <a:cubicBezTo>
                      <a:pt x="158594" y="346811"/>
                      <a:pt x="156842" y="346811"/>
                      <a:pt x="155007" y="346811"/>
                    </a:cubicBezTo>
                    <a:cubicBezTo>
                      <a:pt x="155925" y="336633"/>
                      <a:pt x="159429" y="327290"/>
                      <a:pt x="163433" y="318031"/>
                    </a:cubicBezTo>
                    <a:cubicBezTo>
                      <a:pt x="166937" y="309188"/>
                      <a:pt x="170524" y="300346"/>
                      <a:pt x="172276" y="290585"/>
                    </a:cubicBezTo>
                    <a:cubicBezTo>
                      <a:pt x="178450" y="255632"/>
                      <a:pt x="146164" y="229021"/>
                      <a:pt x="131981" y="219261"/>
                    </a:cubicBezTo>
                    <a:cubicBezTo>
                      <a:pt x="127143" y="215757"/>
                      <a:pt x="121803" y="213088"/>
                      <a:pt x="116464" y="209918"/>
                    </a:cubicBezTo>
                    <a:cubicBezTo>
                      <a:pt x="110707" y="206831"/>
                      <a:pt x="105869" y="204162"/>
                      <a:pt x="100946" y="200575"/>
                    </a:cubicBezTo>
                    <a:cubicBezTo>
                      <a:pt x="96108" y="197071"/>
                      <a:pt x="92938" y="192566"/>
                      <a:pt x="89851" y="187728"/>
                    </a:cubicBezTo>
                    <a:cubicBezTo>
                      <a:pt x="87598" y="184224"/>
                      <a:pt x="85429" y="181054"/>
                      <a:pt x="82342" y="177550"/>
                    </a:cubicBezTo>
                    <a:cubicBezTo>
                      <a:pt x="67242" y="160283"/>
                      <a:pt x="54895" y="165621"/>
                      <a:pt x="44717" y="169542"/>
                    </a:cubicBezTo>
                    <a:cubicBezTo>
                      <a:pt x="39878" y="171794"/>
                      <a:pt x="34539" y="173963"/>
                      <a:pt x="28782" y="173963"/>
                    </a:cubicBezTo>
                    <a:cubicBezTo>
                      <a:pt x="15851" y="175632"/>
                      <a:pt x="11429" y="164537"/>
                      <a:pt x="4839" y="1459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34202377" name="Полилиния 352"/>
              <p:cNvSpPr/>
              <p:nvPr/>
            </p:nvSpPr>
            <p:spPr bwMode="auto">
              <a:xfrm>
                <a:off x="1463457" y="4375368"/>
                <a:ext cx="267948" cy="341322"/>
              </a:xfrm>
              <a:custGeom>
                <a:avLst/>
                <a:gdLst>
                  <a:gd name="connsiteX0" fmla="*/ 137490 w 300916"/>
                  <a:gd name="connsiteY0" fmla="*/ 239167 h 383317"/>
                  <a:gd name="connsiteX1" fmla="*/ 116217 w 300916"/>
                  <a:gd name="connsiteY1" fmla="*/ 182024 h 383317"/>
                  <a:gd name="connsiteX2" fmla="*/ 102034 w 300916"/>
                  <a:gd name="connsiteY2" fmla="*/ 175350 h 383317"/>
                  <a:gd name="connsiteX3" fmla="*/ 63074 w 300916"/>
                  <a:gd name="connsiteY3" fmla="*/ 151909 h 383317"/>
                  <a:gd name="connsiteX4" fmla="*/ 43552 w 300916"/>
                  <a:gd name="connsiteY4" fmla="*/ 120460 h 383317"/>
                  <a:gd name="connsiteX5" fmla="*/ 30287 w 300916"/>
                  <a:gd name="connsiteY5" fmla="*/ 95183 h 383317"/>
                  <a:gd name="connsiteX6" fmla="*/ 15187 w 300916"/>
                  <a:gd name="connsiteY6" fmla="*/ 79249 h 383317"/>
                  <a:gd name="connsiteX7" fmla="*/ 1421 w 300916"/>
                  <a:gd name="connsiteY7" fmla="*/ 48718 h 383317"/>
                  <a:gd name="connsiteX8" fmla="*/ 21360 w 300916"/>
                  <a:gd name="connsiteY8" fmla="*/ 21272 h 383317"/>
                  <a:gd name="connsiteX9" fmla="*/ 39547 w 300916"/>
                  <a:gd name="connsiteY9" fmla="*/ 0 h 383317"/>
                  <a:gd name="connsiteX10" fmla="*/ 47556 w 300916"/>
                  <a:gd name="connsiteY10" fmla="*/ 6674 h 383317"/>
                  <a:gd name="connsiteX11" fmla="*/ 50226 w 300916"/>
                  <a:gd name="connsiteY11" fmla="*/ 9760 h 383317"/>
                  <a:gd name="connsiteX12" fmla="*/ 58652 w 300916"/>
                  <a:gd name="connsiteY12" fmla="*/ 17769 h 383317"/>
                  <a:gd name="connsiteX13" fmla="*/ 97612 w 300916"/>
                  <a:gd name="connsiteY13" fmla="*/ 23108 h 383317"/>
                  <a:gd name="connsiteX14" fmla="*/ 101617 w 300916"/>
                  <a:gd name="connsiteY14" fmla="*/ 21356 h 383317"/>
                  <a:gd name="connsiteX15" fmla="*/ 108291 w 300916"/>
                  <a:gd name="connsiteY15" fmla="*/ 19104 h 383317"/>
                  <a:gd name="connsiteX16" fmla="*/ 122056 w 300916"/>
                  <a:gd name="connsiteY16" fmla="*/ 27112 h 383317"/>
                  <a:gd name="connsiteX17" fmla="*/ 127396 w 300916"/>
                  <a:gd name="connsiteY17" fmla="*/ 35537 h 383317"/>
                  <a:gd name="connsiteX18" fmla="*/ 135405 w 300916"/>
                  <a:gd name="connsiteY18" fmla="*/ 47467 h 383317"/>
                  <a:gd name="connsiteX19" fmla="*/ 163770 w 300916"/>
                  <a:gd name="connsiteY19" fmla="*/ 68322 h 383317"/>
                  <a:gd name="connsiteX20" fmla="*/ 179287 w 300916"/>
                  <a:gd name="connsiteY20" fmla="*/ 74995 h 383317"/>
                  <a:gd name="connsiteX21" fmla="*/ 197891 w 300916"/>
                  <a:gd name="connsiteY21" fmla="*/ 75913 h 383317"/>
                  <a:gd name="connsiteX22" fmla="*/ 208069 w 300916"/>
                  <a:gd name="connsiteY22" fmla="*/ 75913 h 383317"/>
                  <a:gd name="connsiteX23" fmla="*/ 233348 w 300916"/>
                  <a:gd name="connsiteY23" fmla="*/ 83921 h 383317"/>
                  <a:gd name="connsiteX24" fmla="*/ 258626 w 300916"/>
                  <a:gd name="connsiteY24" fmla="*/ 98103 h 383317"/>
                  <a:gd name="connsiteX25" fmla="*/ 263965 w 300916"/>
                  <a:gd name="connsiteY25" fmla="*/ 101189 h 383317"/>
                  <a:gd name="connsiteX26" fmla="*/ 279900 w 300916"/>
                  <a:gd name="connsiteY26" fmla="*/ 113118 h 383317"/>
                  <a:gd name="connsiteX27" fmla="*/ 284322 w 300916"/>
                  <a:gd name="connsiteY27" fmla="*/ 125548 h 383317"/>
                  <a:gd name="connsiteX28" fmla="*/ 285656 w 300916"/>
                  <a:gd name="connsiteY28" fmla="*/ 130887 h 383317"/>
                  <a:gd name="connsiteX29" fmla="*/ 298087 w 300916"/>
                  <a:gd name="connsiteY29" fmla="*/ 156163 h 383317"/>
                  <a:gd name="connsiteX30" fmla="*/ 299005 w 300916"/>
                  <a:gd name="connsiteY30" fmla="*/ 157081 h 383317"/>
                  <a:gd name="connsiteX31" fmla="*/ 299005 w 300916"/>
                  <a:gd name="connsiteY31" fmla="*/ 157498 h 383317"/>
                  <a:gd name="connsiteX32" fmla="*/ 299422 w 300916"/>
                  <a:gd name="connsiteY32" fmla="*/ 165924 h 383317"/>
                  <a:gd name="connsiteX33" fmla="*/ 294082 w 300916"/>
                  <a:gd name="connsiteY33" fmla="*/ 172097 h 383317"/>
                  <a:gd name="connsiteX34" fmla="*/ 284739 w 300916"/>
                  <a:gd name="connsiteY34" fmla="*/ 182274 h 383317"/>
                  <a:gd name="connsiteX35" fmla="*/ 293165 w 300916"/>
                  <a:gd name="connsiteY35" fmla="*/ 209302 h 383317"/>
                  <a:gd name="connsiteX36" fmla="*/ 299338 w 300916"/>
                  <a:gd name="connsiteY36" fmla="*/ 215475 h 383317"/>
                  <a:gd name="connsiteX37" fmla="*/ 291329 w 300916"/>
                  <a:gd name="connsiteY37" fmla="*/ 230074 h 383317"/>
                  <a:gd name="connsiteX38" fmla="*/ 278899 w 300916"/>
                  <a:gd name="connsiteY38" fmla="*/ 241169 h 383317"/>
                  <a:gd name="connsiteX39" fmla="*/ 274060 w 300916"/>
                  <a:gd name="connsiteY39" fmla="*/ 273036 h 383317"/>
                  <a:gd name="connsiteX40" fmla="*/ 274477 w 300916"/>
                  <a:gd name="connsiteY40" fmla="*/ 290303 h 383317"/>
                  <a:gd name="connsiteX41" fmla="*/ 250534 w 300916"/>
                  <a:gd name="connsiteY41" fmla="*/ 326174 h 383317"/>
                  <a:gd name="connsiteX42" fmla="*/ 240356 w 300916"/>
                  <a:gd name="connsiteY42" fmla="*/ 337269 h 383317"/>
                  <a:gd name="connsiteX43" fmla="*/ 230178 w 300916"/>
                  <a:gd name="connsiteY43" fmla="*/ 356289 h 383317"/>
                  <a:gd name="connsiteX44" fmla="*/ 217747 w 300916"/>
                  <a:gd name="connsiteY44" fmla="*/ 374475 h 383317"/>
                  <a:gd name="connsiteX45" fmla="*/ 205817 w 300916"/>
                  <a:gd name="connsiteY45" fmla="*/ 383317 h 383317"/>
                  <a:gd name="connsiteX46" fmla="*/ 201812 w 300916"/>
                  <a:gd name="connsiteY46" fmla="*/ 380231 h 383317"/>
                  <a:gd name="connsiteX47" fmla="*/ 194721 w 300916"/>
                  <a:gd name="connsiteY47" fmla="*/ 373557 h 383317"/>
                  <a:gd name="connsiteX48" fmla="*/ 182291 w 300916"/>
                  <a:gd name="connsiteY48" fmla="*/ 348281 h 383317"/>
                  <a:gd name="connsiteX49" fmla="*/ 181373 w 300916"/>
                  <a:gd name="connsiteY49" fmla="*/ 345194 h 383317"/>
                  <a:gd name="connsiteX50" fmla="*/ 152173 w 300916"/>
                  <a:gd name="connsiteY50" fmla="*/ 304402 h 383317"/>
                  <a:gd name="connsiteX51" fmla="*/ 140661 w 300916"/>
                  <a:gd name="connsiteY51" fmla="*/ 293807 h 383317"/>
                  <a:gd name="connsiteX52" fmla="*/ 137490 w 300916"/>
                  <a:gd name="connsiteY52" fmla="*/ 239167 h 383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00916" h="383317" extrusionOk="0">
                    <a:moveTo>
                      <a:pt x="137490" y="239167"/>
                    </a:moveTo>
                    <a:cubicBezTo>
                      <a:pt x="145499" y="214808"/>
                      <a:pt x="144164" y="196622"/>
                      <a:pt x="116217" y="182024"/>
                    </a:cubicBezTo>
                    <a:cubicBezTo>
                      <a:pt x="111795" y="179771"/>
                      <a:pt x="106873" y="177603"/>
                      <a:pt x="102034" y="175350"/>
                    </a:cubicBezTo>
                    <a:cubicBezTo>
                      <a:pt x="87851" y="168676"/>
                      <a:pt x="74086" y="162086"/>
                      <a:pt x="63074" y="151909"/>
                    </a:cubicBezTo>
                    <a:cubicBezTo>
                      <a:pt x="53730" y="143483"/>
                      <a:pt x="48891" y="131971"/>
                      <a:pt x="43552" y="120460"/>
                    </a:cubicBezTo>
                    <a:cubicBezTo>
                      <a:pt x="40048" y="112034"/>
                      <a:pt x="36043" y="103191"/>
                      <a:pt x="30287" y="95183"/>
                    </a:cubicBezTo>
                    <a:cubicBezTo>
                      <a:pt x="25865" y="89010"/>
                      <a:pt x="20526" y="84088"/>
                      <a:pt x="15187" y="79249"/>
                    </a:cubicBezTo>
                    <a:cubicBezTo>
                      <a:pt x="3257" y="68655"/>
                      <a:pt x="-3000" y="61982"/>
                      <a:pt x="1421" y="48718"/>
                    </a:cubicBezTo>
                    <a:cubicBezTo>
                      <a:pt x="4508" y="38123"/>
                      <a:pt x="12517" y="30115"/>
                      <a:pt x="21360" y="21272"/>
                    </a:cubicBezTo>
                    <a:cubicBezTo>
                      <a:pt x="28034" y="14599"/>
                      <a:pt x="34208" y="8008"/>
                      <a:pt x="39547" y="0"/>
                    </a:cubicBezTo>
                    <a:cubicBezTo>
                      <a:pt x="42217" y="2253"/>
                      <a:pt x="44887" y="4422"/>
                      <a:pt x="47556" y="6674"/>
                    </a:cubicBezTo>
                    <a:lnTo>
                      <a:pt x="50226" y="9760"/>
                    </a:lnTo>
                    <a:cubicBezTo>
                      <a:pt x="52896" y="12430"/>
                      <a:pt x="55565" y="15099"/>
                      <a:pt x="58652" y="17769"/>
                    </a:cubicBezTo>
                    <a:cubicBezTo>
                      <a:pt x="69748" y="26194"/>
                      <a:pt x="84765" y="27946"/>
                      <a:pt x="97612" y="23108"/>
                    </a:cubicBezTo>
                    <a:cubicBezTo>
                      <a:pt x="98947" y="22691"/>
                      <a:pt x="100282" y="22190"/>
                      <a:pt x="101617" y="21356"/>
                    </a:cubicBezTo>
                    <a:cubicBezTo>
                      <a:pt x="104286" y="20438"/>
                      <a:pt x="106038" y="19104"/>
                      <a:pt x="108291" y="19104"/>
                    </a:cubicBezTo>
                    <a:cubicBezTo>
                      <a:pt x="113130" y="18186"/>
                      <a:pt x="118469" y="22607"/>
                      <a:pt x="122056" y="27112"/>
                    </a:cubicBezTo>
                    <a:cubicBezTo>
                      <a:pt x="124309" y="29781"/>
                      <a:pt x="125560" y="32451"/>
                      <a:pt x="127396" y="35537"/>
                    </a:cubicBezTo>
                    <a:cubicBezTo>
                      <a:pt x="130065" y="39959"/>
                      <a:pt x="132234" y="43963"/>
                      <a:pt x="135405" y="47467"/>
                    </a:cubicBezTo>
                    <a:cubicBezTo>
                      <a:pt x="143414" y="57227"/>
                      <a:pt x="154009" y="62982"/>
                      <a:pt x="163770" y="68322"/>
                    </a:cubicBezTo>
                    <a:cubicBezTo>
                      <a:pt x="168191" y="70574"/>
                      <a:pt x="173531" y="73160"/>
                      <a:pt x="179287" y="74995"/>
                    </a:cubicBezTo>
                    <a:cubicBezTo>
                      <a:pt x="185961" y="76330"/>
                      <a:pt x="191718" y="75913"/>
                      <a:pt x="197891" y="75913"/>
                    </a:cubicBezTo>
                    <a:cubicBezTo>
                      <a:pt x="201395" y="75496"/>
                      <a:pt x="204565" y="75496"/>
                      <a:pt x="208069" y="75913"/>
                    </a:cubicBezTo>
                    <a:cubicBezTo>
                      <a:pt x="216913" y="76330"/>
                      <a:pt x="225339" y="80334"/>
                      <a:pt x="233348" y="83921"/>
                    </a:cubicBezTo>
                    <a:cubicBezTo>
                      <a:pt x="241774" y="88343"/>
                      <a:pt x="250200" y="92764"/>
                      <a:pt x="258626" y="98103"/>
                    </a:cubicBezTo>
                    <a:cubicBezTo>
                      <a:pt x="260378" y="99020"/>
                      <a:pt x="262130" y="100355"/>
                      <a:pt x="263965" y="101189"/>
                    </a:cubicBezTo>
                    <a:cubicBezTo>
                      <a:pt x="269722" y="104693"/>
                      <a:pt x="276396" y="108697"/>
                      <a:pt x="279900" y="113118"/>
                    </a:cubicBezTo>
                    <a:cubicBezTo>
                      <a:pt x="282152" y="115788"/>
                      <a:pt x="282987" y="121127"/>
                      <a:pt x="284322" y="125548"/>
                    </a:cubicBezTo>
                    <a:cubicBezTo>
                      <a:pt x="284739" y="127300"/>
                      <a:pt x="285239" y="128635"/>
                      <a:pt x="285656" y="130887"/>
                    </a:cubicBezTo>
                    <a:cubicBezTo>
                      <a:pt x="287909" y="139312"/>
                      <a:pt x="290495" y="149073"/>
                      <a:pt x="298087" y="156163"/>
                    </a:cubicBezTo>
                    <a:cubicBezTo>
                      <a:pt x="298504" y="156580"/>
                      <a:pt x="299005" y="156580"/>
                      <a:pt x="299005" y="157081"/>
                    </a:cubicBezTo>
                    <a:cubicBezTo>
                      <a:pt x="299005" y="157498"/>
                      <a:pt x="299005" y="157498"/>
                      <a:pt x="299005" y="157498"/>
                    </a:cubicBezTo>
                    <a:cubicBezTo>
                      <a:pt x="299922" y="161002"/>
                      <a:pt x="300339" y="163671"/>
                      <a:pt x="299422" y="165924"/>
                    </a:cubicBezTo>
                    <a:cubicBezTo>
                      <a:pt x="298504" y="168593"/>
                      <a:pt x="296752" y="169427"/>
                      <a:pt x="294082" y="172097"/>
                    </a:cubicBezTo>
                    <a:cubicBezTo>
                      <a:pt x="290996" y="174766"/>
                      <a:pt x="287408" y="177436"/>
                      <a:pt x="284739" y="182274"/>
                    </a:cubicBezTo>
                    <a:cubicBezTo>
                      <a:pt x="278065" y="196872"/>
                      <a:pt x="287408" y="204380"/>
                      <a:pt x="293165" y="209302"/>
                    </a:cubicBezTo>
                    <a:cubicBezTo>
                      <a:pt x="295834" y="211554"/>
                      <a:pt x="298004" y="213724"/>
                      <a:pt x="299338" y="215475"/>
                    </a:cubicBezTo>
                    <a:cubicBezTo>
                      <a:pt x="302425" y="221648"/>
                      <a:pt x="301591" y="223484"/>
                      <a:pt x="291329" y="230074"/>
                    </a:cubicBezTo>
                    <a:cubicBezTo>
                      <a:pt x="286908" y="233160"/>
                      <a:pt x="282486" y="236748"/>
                      <a:pt x="278899" y="241169"/>
                    </a:cubicBezTo>
                    <a:cubicBezTo>
                      <a:pt x="270473" y="252681"/>
                      <a:pt x="272225" y="263275"/>
                      <a:pt x="274060" y="273036"/>
                    </a:cubicBezTo>
                    <a:cubicBezTo>
                      <a:pt x="274978" y="279209"/>
                      <a:pt x="276313" y="284547"/>
                      <a:pt x="274477" y="290303"/>
                    </a:cubicBezTo>
                    <a:cubicBezTo>
                      <a:pt x="270973" y="304068"/>
                      <a:pt x="260712" y="315580"/>
                      <a:pt x="250534" y="326174"/>
                    </a:cubicBezTo>
                    <a:cubicBezTo>
                      <a:pt x="247030" y="329678"/>
                      <a:pt x="243860" y="333265"/>
                      <a:pt x="240356" y="337269"/>
                    </a:cubicBezTo>
                    <a:cubicBezTo>
                      <a:pt x="235016" y="343943"/>
                      <a:pt x="232347" y="350533"/>
                      <a:pt x="230178" y="356289"/>
                    </a:cubicBezTo>
                    <a:cubicBezTo>
                      <a:pt x="227508" y="363380"/>
                      <a:pt x="225339" y="369136"/>
                      <a:pt x="217747" y="374475"/>
                    </a:cubicBezTo>
                    <a:cubicBezTo>
                      <a:pt x="213325" y="377561"/>
                      <a:pt x="209321" y="380231"/>
                      <a:pt x="205817" y="383317"/>
                    </a:cubicBezTo>
                    <a:cubicBezTo>
                      <a:pt x="204482" y="381983"/>
                      <a:pt x="203147" y="381065"/>
                      <a:pt x="201812" y="380231"/>
                    </a:cubicBezTo>
                    <a:cubicBezTo>
                      <a:pt x="199560" y="377978"/>
                      <a:pt x="196974" y="376227"/>
                      <a:pt x="194721" y="373557"/>
                    </a:cubicBezTo>
                    <a:cubicBezTo>
                      <a:pt x="187630" y="366884"/>
                      <a:pt x="185377" y="358959"/>
                      <a:pt x="182291" y="348281"/>
                    </a:cubicBezTo>
                    <a:lnTo>
                      <a:pt x="181373" y="345194"/>
                    </a:lnTo>
                    <a:cubicBezTo>
                      <a:pt x="174699" y="324339"/>
                      <a:pt x="164103" y="315079"/>
                      <a:pt x="152173" y="304402"/>
                    </a:cubicBezTo>
                    <a:cubicBezTo>
                      <a:pt x="148669" y="301315"/>
                      <a:pt x="144665" y="297728"/>
                      <a:pt x="140661" y="293807"/>
                    </a:cubicBezTo>
                    <a:cubicBezTo>
                      <a:pt x="125977" y="279042"/>
                      <a:pt x="129481" y="263109"/>
                      <a:pt x="137490" y="23916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5241620" name="Полилиния 353"/>
              <p:cNvSpPr/>
              <p:nvPr/>
            </p:nvSpPr>
            <p:spPr bwMode="auto">
              <a:xfrm>
                <a:off x="1470481" y="5694750"/>
                <a:ext cx="301759" cy="576985"/>
              </a:xfrm>
              <a:custGeom>
                <a:avLst/>
                <a:gdLst>
                  <a:gd name="connsiteX0" fmla="*/ 338252 w 338886"/>
                  <a:gd name="connsiteY0" fmla="*/ 282636 h 647974"/>
                  <a:gd name="connsiteX1" fmla="*/ 309470 w 338886"/>
                  <a:gd name="connsiteY1" fmla="*/ 300322 h 647974"/>
                  <a:gd name="connsiteX2" fmla="*/ 263835 w 338886"/>
                  <a:gd name="connsiteY2" fmla="*/ 351709 h 647974"/>
                  <a:gd name="connsiteX3" fmla="*/ 260749 w 338886"/>
                  <a:gd name="connsiteY3" fmla="*/ 445140 h 647974"/>
                  <a:gd name="connsiteX4" fmla="*/ 254074 w 338886"/>
                  <a:gd name="connsiteY4" fmla="*/ 520885 h 647974"/>
                  <a:gd name="connsiteX5" fmla="*/ 256744 w 338886"/>
                  <a:gd name="connsiteY5" fmla="*/ 569603 h 647974"/>
                  <a:gd name="connsiteX6" fmla="*/ 254074 w 338886"/>
                  <a:gd name="connsiteY6" fmla="*/ 609061 h 647974"/>
                  <a:gd name="connsiteX7" fmla="*/ 254074 w 338886"/>
                  <a:gd name="connsiteY7" fmla="*/ 613899 h 647974"/>
                  <a:gd name="connsiteX8" fmla="*/ 241227 w 338886"/>
                  <a:gd name="connsiteY8" fmla="*/ 620990 h 647974"/>
                  <a:gd name="connsiteX9" fmla="*/ 213779 w 338886"/>
                  <a:gd name="connsiteY9" fmla="*/ 633837 h 647974"/>
                  <a:gd name="connsiteX10" fmla="*/ 179658 w 338886"/>
                  <a:gd name="connsiteY10" fmla="*/ 635589 h 647974"/>
                  <a:gd name="connsiteX11" fmla="*/ 131854 w 338886"/>
                  <a:gd name="connsiteY11" fmla="*/ 641344 h 647974"/>
                  <a:gd name="connsiteX12" fmla="*/ 91559 w 338886"/>
                  <a:gd name="connsiteY12" fmla="*/ 635589 h 647974"/>
                  <a:gd name="connsiteX13" fmla="*/ 80964 w 338886"/>
                  <a:gd name="connsiteY13" fmla="*/ 585536 h 647974"/>
                  <a:gd name="connsiteX14" fmla="*/ 81381 w 338886"/>
                  <a:gd name="connsiteY14" fmla="*/ 566016 h 647974"/>
                  <a:gd name="connsiteX15" fmla="*/ 64112 w 338886"/>
                  <a:gd name="connsiteY15" fmla="*/ 491605 h 647974"/>
                  <a:gd name="connsiteX16" fmla="*/ 50346 w 338886"/>
                  <a:gd name="connsiteY16" fmla="*/ 477006 h 647974"/>
                  <a:gd name="connsiteX17" fmla="*/ 48094 w 338886"/>
                  <a:gd name="connsiteY17" fmla="*/ 474754 h 647974"/>
                  <a:gd name="connsiteX18" fmla="*/ 38750 w 338886"/>
                  <a:gd name="connsiteY18" fmla="*/ 464576 h 647974"/>
                  <a:gd name="connsiteX19" fmla="*/ 36998 w 338886"/>
                  <a:gd name="connsiteY19" fmla="*/ 460572 h 647974"/>
                  <a:gd name="connsiteX20" fmla="*/ 32993 w 338886"/>
                  <a:gd name="connsiteY20" fmla="*/ 447726 h 647974"/>
                  <a:gd name="connsiteX21" fmla="*/ 28989 w 338886"/>
                  <a:gd name="connsiteY21" fmla="*/ 433961 h 647974"/>
                  <a:gd name="connsiteX22" fmla="*/ 14806 w 338886"/>
                  <a:gd name="connsiteY22" fmla="*/ 410937 h 647974"/>
                  <a:gd name="connsiteX23" fmla="*/ 206 w 338886"/>
                  <a:gd name="connsiteY23" fmla="*/ 382157 h 647974"/>
                  <a:gd name="connsiteX24" fmla="*/ 10385 w 338886"/>
                  <a:gd name="connsiteY24" fmla="*/ 357798 h 647974"/>
                  <a:gd name="connsiteX25" fmla="*/ 22815 w 338886"/>
                  <a:gd name="connsiteY25" fmla="*/ 333440 h 647974"/>
                  <a:gd name="connsiteX26" fmla="*/ 23733 w 338886"/>
                  <a:gd name="connsiteY26" fmla="*/ 333440 h 647974"/>
                  <a:gd name="connsiteX27" fmla="*/ 39667 w 338886"/>
                  <a:gd name="connsiteY27" fmla="*/ 334357 h 647974"/>
                  <a:gd name="connsiteX28" fmla="*/ 58689 w 338886"/>
                  <a:gd name="connsiteY28" fmla="*/ 335275 h 647974"/>
                  <a:gd name="connsiteX29" fmla="*/ 77293 w 338886"/>
                  <a:gd name="connsiteY29" fmla="*/ 333023 h 647974"/>
                  <a:gd name="connsiteX30" fmla="*/ 91475 w 338886"/>
                  <a:gd name="connsiteY30" fmla="*/ 325932 h 647974"/>
                  <a:gd name="connsiteX31" fmla="*/ 105241 w 338886"/>
                  <a:gd name="connsiteY31" fmla="*/ 322845 h 647974"/>
                  <a:gd name="connsiteX32" fmla="*/ 113250 w 338886"/>
                  <a:gd name="connsiteY32" fmla="*/ 326349 h 647974"/>
                  <a:gd name="connsiteX33" fmla="*/ 146954 w 338886"/>
                  <a:gd name="connsiteY33" fmla="*/ 321510 h 647974"/>
                  <a:gd name="connsiteX34" fmla="*/ 154046 w 338886"/>
                  <a:gd name="connsiteY34" fmla="*/ 301990 h 647974"/>
                  <a:gd name="connsiteX35" fmla="*/ 157550 w 338886"/>
                  <a:gd name="connsiteY35" fmla="*/ 290478 h 647974"/>
                  <a:gd name="connsiteX36" fmla="*/ 164641 w 338886"/>
                  <a:gd name="connsiteY36" fmla="*/ 279383 h 647974"/>
                  <a:gd name="connsiteX37" fmla="*/ 169062 w 338886"/>
                  <a:gd name="connsiteY37" fmla="*/ 273627 h 647974"/>
                  <a:gd name="connsiteX38" fmla="*/ 177071 w 338886"/>
                  <a:gd name="connsiteY38" fmla="*/ 257276 h 647974"/>
                  <a:gd name="connsiteX39" fmla="*/ 185915 w 338886"/>
                  <a:gd name="connsiteY39" fmla="*/ 241760 h 647974"/>
                  <a:gd name="connsiteX40" fmla="*/ 188167 w 338886"/>
                  <a:gd name="connsiteY40" fmla="*/ 240426 h 647974"/>
                  <a:gd name="connsiteX41" fmla="*/ 205854 w 338886"/>
                  <a:gd name="connsiteY41" fmla="*/ 227996 h 647974"/>
                  <a:gd name="connsiteX42" fmla="*/ 214280 w 338886"/>
                  <a:gd name="connsiteY42" fmla="*/ 226244 h 647974"/>
                  <a:gd name="connsiteX43" fmla="*/ 228462 w 338886"/>
                  <a:gd name="connsiteY43" fmla="*/ 223158 h 647974"/>
                  <a:gd name="connsiteX44" fmla="*/ 242645 w 338886"/>
                  <a:gd name="connsiteY44" fmla="*/ 196129 h 647974"/>
                  <a:gd name="connsiteX45" fmla="*/ 230214 w 338886"/>
                  <a:gd name="connsiteY45" fmla="*/ 169101 h 647974"/>
                  <a:gd name="connsiteX46" fmla="*/ 209858 w 338886"/>
                  <a:gd name="connsiteY46" fmla="*/ 165597 h 647974"/>
                  <a:gd name="connsiteX47" fmla="*/ 197010 w 338886"/>
                  <a:gd name="connsiteY47" fmla="*/ 160759 h 647974"/>
                  <a:gd name="connsiteX48" fmla="*/ 196593 w 338886"/>
                  <a:gd name="connsiteY48" fmla="*/ 154586 h 647974"/>
                  <a:gd name="connsiteX49" fmla="*/ 193924 w 338886"/>
                  <a:gd name="connsiteY49" fmla="*/ 139487 h 647974"/>
                  <a:gd name="connsiteX50" fmla="*/ 181493 w 338886"/>
                  <a:gd name="connsiteY50" fmla="*/ 127975 h 647974"/>
                  <a:gd name="connsiteX51" fmla="*/ 175737 w 338886"/>
                  <a:gd name="connsiteY51" fmla="*/ 123554 h 647974"/>
                  <a:gd name="connsiteX52" fmla="*/ 169062 w 338886"/>
                  <a:gd name="connsiteY52" fmla="*/ 116463 h 647974"/>
                  <a:gd name="connsiteX53" fmla="*/ 160219 w 338886"/>
                  <a:gd name="connsiteY53" fmla="*/ 108454 h 647974"/>
                  <a:gd name="connsiteX54" fmla="*/ 161137 w 338886"/>
                  <a:gd name="connsiteY54" fmla="*/ 105368 h 647974"/>
                  <a:gd name="connsiteX55" fmla="*/ 163389 w 338886"/>
                  <a:gd name="connsiteY55" fmla="*/ 99195 h 647974"/>
                  <a:gd name="connsiteX56" fmla="*/ 162055 w 338886"/>
                  <a:gd name="connsiteY56" fmla="*/ 71749 h 647974"/>
                  <a:gd name="connsiteX57" fmla="*/ 148790 w 338886"/>
                  <a:gd name="connsiteY57" fmla="*/ 64659 h 647974"/>
                  <a:gd name="connsiteX58" fmla="*/ 141698 w 338886"/>
                  <a:gd name="connsiteY58" fmla="*/ 59820 h 647974"/>
                  <a:gd name="connsiteX59" fmla="*/ 142116 w 338886"/>
                  <a:gd name="connsiteY59" fmla="*/ 56317 h 647974"/>
                  <a:gd name="connsiteX60" fmla="*/ 148790 w 338886"/>
                  <a:gd name="connsiteY60" fmla="*/ 54982 h 647974"/>
                  <a:gd name="connsiteX61" fmla="*/ 154546 w 338886"/>
                  <a:gd name="connsiteY61" fmla="*/ 57651 h 647974"/>
                  <a:gd name="connsiteX62" fmla="*/ 179824 w 338886"/>
                  <a:gd name="connsiteY62" fmla="*/ 55899 h 647974"/>
                  <a:gd name="connsiteX63" fmla="*/ 182077 w 338886"/>
                  <a:gd name="connsiteY63" fmla="*/ 32875 h 647974"/>
                  <a:gd name="connsiteX64" fmla="*/ 179824 w 338886"/>
                  <a:gd name="connsiteY64" fmla="*/ 28037 h 647974"/>
                  <a:gd name="connsiteX65" fmla="*/ 182494 w 338886"/>
                  <a:gd name="connsiteY65" fmla="*/ 15608 h 647974"/>
                  <a:gd name="connsiteX66" fmla="*/ 192672 w 338886"/>
                  <a:gd name="connsiteY66" fmla="*/ 18694 h 647974"/>
                  <a:gd name="connsiteX67" fmla="*/ 203768 w 338886"/>
                  <a:gd name="connsiteY67" fmla="*/ 23115 h 647974"/>
                  <a:gd name="connsiteX68" fmla="*/ 232967 w 338886"/>
                  <a:gd name="connsiteY68" fmla="*/ 17776 h 647974"/>
                  <a:gd name="connsiteX69" fmla="*/ 245398 w 338886"/>
                  <a:gd name="connsiteY69" fmla="*/ 9351 h 647974"/>
                  <a:gd name="connsiteX70" fmla="*/ 252489 w 338886"/>
                  <a:gd name="connsiteY70" fmla="*/ 4012 h 647974"/>
                  <a:gd name="connsiteX71" fmla="*/ 256494 w 338886"/>
                  <a:gd name="connsiteY71" fmla="*/ 1760 h 647974"/>
                  <a:gd name="connsiteX72" fmla="*/ 270676 w 338886"/>
                  <a:gd name="connsiteY72" fmla="*/ 2677 h 647974"/>
                  <a:gd name="connsiteX73" fmla="*/ 283941 w 338886"/>
                  <a:gd name="connsiteY73" fmla="*/ 15107 h 647974"/>
                  <a:gd name="connsiteX74" fmla="*/ 289698 w 338886"/>
                  <a:gd name="connsiteY74" fmla="*/ 21781 h 647974"/>
                  <a:gd name="connsiteX75" fmla="*/ 307384 w 338886"/>
                  <a:gd name="connsiteY75" fmla="*/ 37297 h 647974"/>
                  <a:gd name="connsiteX76" fmla="*/ 333080 w 338886"/>
                  <a:gd name="connsiteY76" fmla="*/ 65243 h 647974"/>
                  <a:gd name="connsiteX77" fmla="*/ 336584 w 338886"/>
                  <a:gd name="connsiteY77" fmla="*/ 103783 h 647974"/>
                  <a:gd name="connsiteX78" fmla="*/ 310471 w 338886"/>
                  <a:gd name="connsiteY78" fmla="*/ 118381 h 647974"/>
                  <a:gd name="connsiteX79" fmla="*/ 334832 w 338886"/>
                  <a:gd name="connsiteY79" fmla="*/ 189289 h 647974"/>
                  <a:gd name="connsiteX80" fmla="*/ 325071 w 338886"/>
                  <a:gd name="connsiteY80" fmla="*/ 265035 h 647974"/>
                  <a:gd name="connsiteX81" fmla="*/ 338252 w 338886"/>
                  <a:gd name="connsiteY81" fmla="*/ 282636 h 647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338886" h="647974" extrusionOk="0">
                    <a:moveTo>
                      <a:pt x="338252" y="282636"/>
                    </a:moveTo>
                    <a:cubicBezTo>
                      <a:pt x="334748" y="292814"/>
                      <a:pt x="317395" y="295900"/>
                      <a:pt x="309470" y="300322"/>
                    </a:cubicBezTo>
                    <a:cubicBezTo>
                      <a:pt x="291283" y="310082"/>
                      <a:pt x="274931" y="334440"/>
                      <a:pt x="263835" y="351709"/>
                    </a:cubicBezTo>
                    <a:cubicBezTo>
                      <a:pt x="246566" y="377402"/>
                      <a:pt x="261166" y="415942"/>
                      <a:pt x="260749" y="445140"/>
                    </a:cubicBezTo>
                    <a:cubicBezTo>
                      <a:pt x="260331" y="470833"/>
                      <a:pt x="255409" y="495609"/>
                      <a:pt x="254074" y="520885"/>
                    </a:cubicBezTo>
                    <a:cubicBezTo>
                      <a:pt x="253157" y="537236"/>
                      <a:pt x="256327" y="553670"/>
                      <a:pt x="256744" y="569603"/>
                    </a:cubicBezTo>
                    <a:cubicBezTo>
                      <a:pt x="257161" y="582867"/>
                      <a:pt x="254074" y="596214"/>
                      <a:pt x="254074" y="609061"/>
                    </a:cubicBezTo>
                    <a:lnTo>
                      <a:pt x="254074" y="613899"/>
                    </a:lnTo>
                    <a:cubicBezTo>
                      <a:pt x="249653" y="616152"/>
                      <a:pt x="245648" y="618321"/>
                      <a:pt x="241227" y="620990"/>
                    </a:cubicBezTo>
                    <a:cubicBezTo>
                      <a:pt x="231883" y="626329"/>
                      <a:pt x="223040" y="631167"/>
                      <a:pt x="213779" y="633837"/>
                    </a:cubicBezTo>
                    <a:cubicBezTo>
                      <a:pt x="203184" y="636923"/>
                      <a:pt x="191671" y="636089"/>
                      <a:pt x="179658" y="635589"/>
                    </a:cubicBezTo>
                    <a:cubicBezTo>
                      <a:pt x="164140" y="634671"/>
                      <a:pt x="148206" y="634254"/>
                      <a:pt x="131854" y="641344"/>
                    </a:cubicBezTo>
                    <a:cubicBezTo>
                      <a:pt x="112833" y="650187"/>
                      <a:pt x="104824" y="651939"/>
                      <a:pt x="91559" y="635589"/>
                    </a:cubicBezTo>
                    <a:cubicBezTo>
                      <a:pt x="79128" y="620489"/>
                      <a:pt x="79629" y="604139"/>
                      <a:pt x="80964" y="585536"/>
                    </a:cubicBezTo>
                    <a:cubicBezTo>
                      <a:pt x="81381" y="578863"/>
                      <a:pt x="81881" y="572690"/>
                      <a:pt x="81381" y="566016"/>
                    </a:cubicBezTo>
                    <a:cubicBezTo>
                      <a:pt x="80463" y="532314"/>
                      <a:pt x="75207" y="507955"/>
                      <a:pt x="64112" y="491605"/>
                    </a:cubicBezTo>
                    <a:cubicBezTo>
                      <a:pt x="60608" y="485432"/>
                      <a:pt x="55268" y="481428"/>
                      <a:pt x="50346" y="477006"/>
                    </a:cubicBezTo>
                    <a:cubicBezTo>
                      <a:pt x="49428" y="476089"/>
                      <a:pt x="49011" y="475672"/>
                      <a:pt x="48094" y="474754"/>
                    </a:cubicBezTo>
                    <a:cubicBezTo>
                      <a:pt x="44590" y="471667"/>
                      <a:pt x="41419" y="468581"/>
                      <a:pt x="38750" y="464576"/>
                    </a:cubicBezTo>
                    <a:cubicBezTo>
                      <a:pt x="37832" y="463242"/>
                      <a:pt x="37415" y="461907"/>
                      <a:pt x="36998" y="460572"/>
                    </a:cubicBezTo>
                    <a:cubicBezTo>
                      <a:pt x="35246" y="457069"/>
                      <a:pt x="33911" y="452147"/>
                      <a:pt x="32993" y="447726"/>
                    </a:cubicBezTo>
                    <a:cubicBezTo>
                      <a:pt x="31658" y="443304"/>
                      <a:pt x="30741" y="438883"/>
                      <a:pt x="28989" y="433961"/>
                    </a:cubicBezTo>
                    <a:cubicBezTo>
                      <a:pt x="25485" y="425536"/>
                      <a:pt x="20146" y="418028"/>
                      <a:pt x="14806" y="410937"/>
                    </a:cubicBezTo>
                    <a:cubicBezTo>
                      <a:pt x="7715" y="401177"/>
                      <a:pt x="1041" y="392751"/>
                      <a:pt x="206" y="382157"/>
                    </a:cubicBezTo>
                    <a:cubicBezTo>
                      <a:pt x="-1128" y="372397"/>
                      <a:pt x="4211" y="365807"/>
                      <a:pt x="10385" y="357798"/>
                    </a:cubicBezTo>
                    <a:cubicBezTo>
                      <a:pt x="15724" y="351125"/>
                      <a:pt x="21480" y="343200"/>
                      <a:pt x="22815" y="333440"/>
                    </a:cubicBezTo>
                    <a:lnTo>
                      <a:pt x="23733" y="333440"/>
                    </a:lnTo>
                    <a:cubicBezTo>
                      <a:pt x="28572" y="333440"/>
                      <a:pt x="34328" y="333857"/>
                      <a:pt x="39667" y="334357"/>
                    </a:cubicBezTo>
                    <a:cubicBezTo>
                      <a:pt x="46342" y="334774"/>
                      <a:pt x="52515" y="335275"/>
                      <a:pt x="58689" y="335275"/>
                    </a:cubicBezTo>
                    <a:cubicBezTo>
                      <a:pt x="65363" y="335275"/>
                      <a:pt x="71536" y="334858"/>
                      <a:pt x="77293" y="333023"/>
                    </a:cubicBezTo>
                    <a:cubicBezTo>
                      <a:pt x="83467" y="331688"/>
                      <a:pt x="87888" y="328601"/>
                      <a:pt x="91475" y="325932"/>
                    </a:cubicBezTo>
                    <a:cubicBezTo>
                      <a:pt x="96314" y="322428"/>
                      <a:pt x="98984" y="320593"/>
                      <a:pt x="105241" y="322845"/>
                    </a:cubicBezTo>
                    <a:cubicBezTo>
                      <a:pt x="107911" y="323763"/>
                      <a:pt x="110580" y="325098"/>
                      <a:pt x="113250" y="326349"/>
                    </a:cubicBezTo>
                    <a:cubicBezTo>
                      <a:pt x="121676" y="331187"/>
                      <a:pt x="134941" y="338278"/>
                      <a:pt x="146954" y="321510"/>
                    </a:cubicBezTo>
                    <a:cubicBezTo>
                      <a:pt x="150959" y="316171"/>
                      <a:pt x="152294" y="309081"/>
                      <a:pt x="154046" y="301990"/>
                    </a:cubicBezTo>
                    <a:cubicBezTo>
                      <a:pt x="154963" y="297569"/>
                      <a:pt x="156298" y="293564"/>
                      <a:pt x="157550" y="290478"/>
                    </a:cubicBezTo>
                    <a:cubicBezTo>
                      <a:pt x="159802" y="286474"/>
                      <a:pt x="161971" y="282970"/>
                      <a:pt x="164641" y="279383"/>
                    </a:cubicBezTo>
                    <a:cubicBezTo>
                      <a:pt x="165976" y="277131"/>
                      <a:pt x="167728" y="275880"/>
                      <a:pt x="169062" y="273627"/>
                    </a:cubicBezTo>
                    <a:cubicBezTo>
                      <a:pt x="173067" y="267454"/>
                      <a:pt x="175236" y="262115"/>
                      <a:pt x="177071" y="257276"/>
                    </a:cubicBezTo>
                    <a:cubicBezTo>
                      <a:pt x="179324" y="250603"/>
                      <a:pt x="180575" y="246182"/>
                      <a:pt x="185915" y="241760"/>
                    </a:cubicBezTo>
                    <a:lnTo>
                      <a:pt x="188167" y="240426"/>
                    </a:lnTo>
                    <a:cubicBezTo>
                      <a:pt x="193507" y="236004"/>
                      <a:pt x="200598" y="230665"/>
                      <a:pt x="205854" y="227996"/>
                    </a:cubicBezTo>
                    <a:cubicBezTo>
                      <a:pt x="208106" y="226661"/>
                      <a:pt x="211193" y="226661"/>
                      <a:pt x="214280" y="226244"/>
                    </a:cubicBezTo>
                    <a:cubicBezTo>
                      <a:pt x="218701" y="225827"/>
                      <a:pt x="223624" y="225327"/>
                      <a:pt x="228462" y="223158"/>
                    </a:cubicBezTo>
                    <a:cubicBezTo>
                      <a:pt x="236888" y="218319"/>
                      <a:pt x="242228" y="208559"/>
                      <a:pt x="242645" y="196129"/>
                    </a:cubicBezTo>
                    <a:cubicBezTo>
                      <a:pt x="243062" y="184200"/>
                      <a:pt x="238223" y="173939"/>
                      <a:pt x="230214" y="169101"/>
                    </a:cubicBezTo>
                    <a:cubicBezTo>
                      <a:pt x="223540" y="165097"/>
                      <a:pt x="216032" y="165597"/>
                      <a:pt x="209858" y="165597"/>
                    </a:cubicBezTo>
                    <a:cubicBezTo>
                      <a:pt x="201015" y="166015"/>
                      <a:pt x="198762" y="165597"/>
                      <a:pt x="197010" y="160759"/>
                    </a:cubicBezTo>
                    <a:cubicBezTo>
                      <a:pt x="196093" y="159424"/>
                      <a:pt x="196593" y="157255"/>
                      <a:pt x="196593" y="154586"/>
                    </a:cubicBezTo>
                    <a:cubicBezTo>
                      <a:pt x="197010" y="150165"/>
                      <a:pt x="197010" y="144826"/>
                      <a:pt x="193924" y="139487"/>
                    </a:cubicBezTo>
                    <a:cubicBezTo>
                      <a:pt x="191254" y="134648"/>
                      <a:pt x="185915" y="131061"/>
                      <a:pt x="181493" y="127975"/>
                    </a:cubicBezTo>
                    <a:cubicBezTo>
                      <a:pt x="179241" y="126640"/>
                      <a:pt x="177489" y="124888"/>
                      <a:pt x="175737" y="123554"/>
                    </a:cubicBezTo>
                    <a:cubicBezTo>
                      <a:pt x="173067" y="120884"/>
                      <a:pt x="170898" y="118715"/>
                      <a:pt x="169062" y="116463"/>
                    </a:cubicBezTo>
                    <a:cubicBezTo>
                      <a:pt x="165976" y="113376"/>
                      <a:pt x="162889" y="110290"/>
                      <a:pt x="160219" y="108454"/>
                    </a:cubicBezTo>
                    <a:cubicBezTo>
                      <a:pt x="160636" y="107537"/>
                      <a:pt x="160636" y="106202"/>
                      <a:pt x="161137" y="105368"/>
                    </a:cubicBezTo>
                    <a:cubicBezTo>
                      <a:pt x="161554" y="103116"/>
                      <a:pt x="162472" y="101364"/>
                      <a:pt x="163389" y="99195"/>
                    </a:cubicBezTo>
                    <a:cubicBezTo>
                      <a:pt x="166476" y="91687"/>
                      <a:pt x="170481" y="81510"/>
                      <a:pt x="162055" y="71749"/>
                    </a:cubicBezTo>
                    <a:cubicBezTo>
                      <a:pt x="158050" y="67328"/>
                      <a:pt x="152711" y="65576"/>
                      <a:pt x="148790" y="64659"/>
                    </a:cubicBezTo>
                    <a:cubicBezTo>
                      <a:pt x="142616" y="62907"/>
                      <a:pt x="142116" y="61989"/>
                      <a:pt x="141698" y="59820"/>
                    </a:cubicBezTo>
                    <a:cubicBezTo>
                      <a:pt x="141281" y="58903"/>
                      <a:pt x="141281" y="57151"/>
                      <a:pt x="142116" y="56317"/>
                    </a:cubicBezTo>
                    <a:cubicBezTo>
                      <a:pt x="142950" y="55482"/>
                      <a:pt x="145202" y="54565"/>
                      <a:pt x="148790" y="54982"/>
                    </a:cubicBezTo>
                    <a:cubicBezTo>
                      <a:pt x="150542" y="55399"/>
                      <a:pt x="152294" y="56317"/>
                      <a:pt x="154546" y="57651"/>
                    </a:cubicBezTo>
                    <a:cubicBezTo>
                      <a:pt x="159885" y="60738"/>
                      <a:pt x="169146" y="66494"/>
                      <a:pt x="179824" y="55899"/>
                    </a:cubicBezTo>
                    <a:cubicBezTo>
                      <a:pt x="189585" y="46139"/>
                      <a:pt x="184663" y="37714"/>
                      <a:pt x="182077" y="32875"/>
                    </a:cubicBezTo>
                    <a:cubicBezTo>
                      <a:pt x="181159" y="31123"/>
                      <a:pt x="180325" y="29789"/>
                      <a:pt x="179824" y="28037"/>
                    </a:cubicBezTo>
                    <a:cubicBezTo>
                      <a:pt x="177155" y="17443"/>
                      <a:pt x="180242" y="16108"/>
                      <a:pt x="182494" y="15608"/>
                    </a:cubicBezTo>
                    <a:cubicBezTo>
                      <a:pt x="184747" y="14690"/>
                      <a:pt x="187833" y="16025"/>
                      <a:pt x="192672" y="18694"/>
                    </a:cubicBezTo>
                    <a:cubicBezTo>
                      <a:pt x="196176" y="20946"/>
                      <a:pt x="199764" y="22198"/>
                      <a:pt x="203768" y="23115"/>
                    </a:cubicBezTo>
                    <a:cubicBezTo>
                      <a:pt x="213946" y="24450"/>
                      <a:pt x="227211" y="20029"/>
                      <a:pt x="232967" y="17776"/>
                    </a:cubicBezTo>
                    <a:cubicBezTo>
                      <a:pt x="238307" y="15107"/>
                      <a:pt x="241811" y="12437"/>
                      <a:pt x="245398" y="9351"/>
                    </a:cubicBezTo>
                    <a:cubicBezTo>
                      <a:pt x="247651" y="7599"/>
                      <a:pt x="249820" y="5847"/>
                      <a:pt x="252489" y="4012"/>
                    </a:cubicBezTo>
                    <a:cubicBezTo>
                      <a:pt x="253824" y="3094"/>
                      <a:pt x="255159" y="2677"/>
                      <a:pt x="256494" y="1760"/>
                    </a:cubicBezTo>
                    <a:cubicBezTo>
                      <a:pt x="261833" y="-910"/>
                      <a:pt x="266255" y="-493"/>
                      <a:pt x="270676" y="2677"/>
                    </a:cubicBezTo>
                    <a:cubicBezTo>
                      <a:pt x="274681" y="4929"/>
                      <a:pt x="279102" y="9351"/>
                      <a:pt x="283941" y="15107"/>
                    </a:cubicBezTo>
                    <a:cubicBezTo>
                      <a:pt x="285693" y="17359"/>
                      <a:pt x="287445" y="19528"/>
                      <a:pt x="289698" y="21781"/>
                    </a:cubicBezTo>
                    <a:cubicBezTo>
                      <a:pt x="295037" y="27536"/>
                      <a:pt x="301211" y="32375"/>
                      <a:pt x="307384" y="37297"/>
                    </a:cubicBezTo>
                    <a:cubicBezTo>
                      <a:pt x="317562" y="45722"/>
                      <a:pt x="327323" y="53647"/>
                      <a:pt x="333080" y="65243"/>
                    </a:cubicBezTo>
                    <a:cubicBezTo>
                      <a:pt x="337501" y="75003"/>
                      <a:pt x="337501" y="89601"/>
                      <a:pt x="336584" y="103783"/>
                    </a:cubicBezTo>
                    <a:cubicBezTo>
                      <a:pt x="325988" y="106035"/>
                      <a:pt x="316645" y="109956"/>
                      <a:pt x="310471" y="118381"/>
                    </a:cubicBezTo>
                    <a:cubicBezTo>
                      <a:pt x="296288" y="137902"/>
                      <a:pt x="333497" y="168017"/>
                      <a:pt x="334832" y="189289"/>
                    </a:cubicBezTo>
                    <a:cubicBezTo>
                      <a:pt x="336166" y="211896"/>
                      <a:pt x="313558" y="244680"/>
                      <a:pt x="325071" y="265035"/>
                    </a:cubicBezTo>
                    <a:cubicBezTo>
                      <a:pt x="329826" y="273711"/>
                      <a:pt x="341756" y="272376"/>
                      <a:pt x="338252" y="28263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7035958" name="Полилиния 354"/>
              <p:cNvSpPr/>
              <p:nvPr/>
            </p:nvSpPr>
            <p:spPr bwMode="auto">
              <a:xfrm>
                <a:off x="1471269" y="4190603"/>
                <a:ext cx="322543" cy="303094"/>
              </a:xfrm>
              <a:custGeom>
                <a:avLst/>
                <a:gdLst>
                  <a:gd name="connsiteX0" fmla="*/ 161504 w 362228"/>
                  <a:gd name="connsiteY0" fmla="*/ 10793 h 340387"/>
                  <a:gd name="connsiteX1" fmla="*/ 180525 w 362228"/>
                  <a:gd name="connsiteY1" fmla="*/ 20136 h 340387"/>
                  <a:gd name="connsiteX2" fmla="*/ 191121 w 362228"/>
                  <a:gd name="connsiteY2" fmla="*/ 24557 h 340387"/>
                  <a:gd name="connsiteX3" fmla="*/ 209725 w 362228"/>
                  <a:gd name="connsiteY3" fmla="*/ 50668 h 340387"/>
                  <a:gd name="connsiteX4" fmla="*/ 226994 w 362228"/>
                  <a:gd name="connsiteY4" fmla="*/ 78613 h 340387"/>
                  <a:gd name="connsiteX5" fmla="*/ 245181 w 362228"/>
                  <a:gd name="connsiteY5" fmla="*/ 87957 h 340387"/>
                  <a:gd name="connsiteX6" fmla="*/ 258029 w 362228"/>
                  <a:gd name="connsiteY6" fmla="*/ 94130 h 340387"/>
                  <a:gd name="connsiteX7" fmla="*/ 260699 w 362228"/>
                  <a:gd name="connsiteY7" fmla="*/ 116236 h 340387"/>
                  <a:gd name="connsiteX8" fmla="*/ 259781 w 362228"/>
                  <a:gd name="connsiteY8" fmla="*/ 122409 h 340387"/>
                  <a:gd name="connsiteX9" fmla="*/ 275715 w 362228"/>
                  <a:gd name="connsiteY9" fmla="*/ 179969 h 340387"/>
                  <a:gd name="connsiteX10" fmla="*/ 283724 w 362228"/>
                  <a:gd name="connsiteY10" fmla="*/ 197238 h 340387"/>
                  <a:gd name="connsiteX11" fmla="*/ 328024 w 362228"/>
                  <a:gd name="connsiteY11" fmla="*/ 238030 h 340387"/>
                  <a:gd name="connsiteX12" fmla="*/ 327607 w 362228"/>
                  <a:gd name="connsiteY12" fmla="*/ 246039 h 340387"/>
                  <a:gd name="connsiteX13" fmla="*/ 326689 w 362228"/>
                  <a:gd name="connsiteY13" fmla="*/ 251795 h 340387"/>
                  <a:gd name="connsiteX14" fmla="*/ 333363 w 362228"/>
                  <a:gd name="connsiteY14" fmla="*/ 273484 h 340387"/>
                  <a:gd name="connsiteX15" fmla="*/ 348881 w 362228"/>
                  <a:gd name="connsiteY15" fmla="*/ 280992 h 340387"/>
                  <a:gd name="connsiteX16" fmla="*/ 356890 w 362228"/>
                  <a:gd name="connsiteY16" fmla="*/ 283661 h 340387"/>
                  <a:gd name="connsiteX17" fmla="*/ 362229 w 362228"/>
                  <a:gd name="connsiteY17" fmla="*/ 288500 h 340387"/>
                  <a:gd name="connsiteX18" fmla="*/ 356473 w 362228"/>
                  <a:gd name="connsiteY18" fmla="*/ 298260 h 340387"/>
                  <a:gd name="connsiteX19" fmla="*/ 351634 w 362228"/>
                  <a:gd name="connsiteY19" fmla="*/ 306685 h 340387"/>
                  <a:gd name="connsiteX20" fmla="*/ 348964 w 362228"/>
                  <a:gd name="connsiteY20" fmla="*/ 308020 h 340387"/>
                  <a:gd name="connsiteX21" fmla="*/ 348046 w 362228"/>
                  <a:gd name="connsiteY21" fmla="*/ 307103 h 340387"/>
                  <a:gd name="connsiteX22" fmla="*/ 340037 w 362228"/>
                  <a:gd name="connsiteY22" fmla="*/ 300929 h 340387"/>
                  <a:gd name="connsiteX23" fmla="*/ 320098 w 362228"/>
                  <a:gd name="connsiteY23" fmla="*/ 297843 h 340387"/>
                  <a:gd name="connsiteX24" fmla="*/ 306333 w 362228"/>
                  <a:gd name="connsiteY24" fmla="*/ 317780 h 340387"/>
                  <a:gd name="connsiteX25" fmla="*/ 305415 w 362228"/>
                  <a:gd name="connsiteY25" fmla="*/ 320867 h 340387"/>
                  <a:gd name="connsiteX26" fmla="*/ 298324 w 362228"/>
                  <a:gd name="connsiteY26" fmla="*/ 331962 h 340387"/>
                  <a:gd name="connsiteX27" fmla="*/ 291650 w 362228"/>
                  <a:gd name="connsiteY27" fmla="*/ 340387 h 340387"/>
                  <a:gd name="connsiteX28" fmla="*/ 289898 w 362228"/>
                  <a:gd name="connsiteY28" fmla="*/ 334214 h 340387"/>
                  <a:gd name="connsiteX29" fmla="*/ 288980 w 362228"/>
                  <a:gd name="connsiteY29" fmla="*/ 329793 h 340387"/>
                  <a:gd name="connsiteX30" fmla="*/ 281889 w 362228"/>
                  <a:gd name="connsiteY30" fmla="*/ 312108 h 340387"/>
                  <a:gd name="connsiteX31" fmla="*/ 261950 w 362228"/>
                  <a:gd name="connsiteY31" fmla="*/ 296592 h 340387"/>
                  <a:gd name="connsiteX32" fmla="*/ 257111 w 362228"/>
                  <a:gd name="connsiteY32" fmla="*/ 293505 h 340387"/>
                  <a:gd name="connsiteX33" fmla="*/ 230498 w 362228"/>
                  <a:gd name="connsiteY33" fmla="*/ 278906 h 340387"/>
                  <a:gd name="connsiteX34" fmla="*/ 199964 w 362228"/>
                  <a:gd name="connsiteY34" fmla="*/ 269146 h 340387"/>
                  <a:gd name="connsiteX35" fmla="*/ 188034 w 362228"/>
                  <a:gd name="connsiteY35" fmla="*/ 269563 h 340387"/>
                  <a:gd name="connsiteX36" fmla="*/ 173434 w 362228"/>
                  <a:gd name="connsiteY36" fmla="*/ 269146 h 340387"/>
                  <a:gd name="connsiteX37" fmla="*/ 161504 w 362228"/>
                  <a:gd name="connsiteY37" fmla="*/ 263807 h 340387"/>
                  <a:gd name="connsiteX38" fmla="*/ 137561 w 362228"/>
                  <a:gd name="connsiteY38" fmla="*/ 246539 h 340387"/>
                  <a:gd name="connsiteX39" fmla="*/ 131387 w 362228"/>
                  <a:gd name="connsiteY39" fmla="*/ 236362 h 340387"/>
                  <a:gd name="connsiteX40" fmla="*/ 124713 w 362228"/>
                  <a:gd name="connsiteY40" fmla="*/ 226185 h 340387"/>
                  <a:gd name="connsiteX41" fmla="*/ 97683 w 362228"/>
                  <a:gd name="connsiteY41" fmla="*/ 212420 h 340387"/>
                  <a:gd name="connsiteX42" fmla="*/ 87087 w 362228"/>
                  <a:gd name="connsiteY42" fmla="*/ 215924 h 340387"/>
                  <a:gd name="connsiteX43" fmla="*/ 84001 w 362228"/>
                  <a:gd name="connsiteY43" fmla="*/ 217259 h 340387"/>
                  <a:gd name="connsiteX44" fmla="*/ 59223 w 362228"/>
                  <a:gd name="connsiteY44" fmla="*/ 213755 h 340387"/>
                  <a:gd name="connsiteX45" fmla="*/ 52549 w 362228"/>
                  <a:gd name="connsiteY45" fmla="*/ 207081 h 340387"/>
                  <a:gd name="connsiteX46" fmla="*/ 49462 w 362228"/>
                  <a:gd name="connsiteY46" fmla="*/ 203995 h 340387"/>
                  <a:gd name="connsiteX47" fmla="*/ 37031 w 362228"/>
                  <a:gd name="connsiteY47" fmla="*/ 193817 h 340387"/>
                  <a:gd name="connsiteX48" fmla="*/ 29022 w 362228"/>
                  <a:gd name="connsiteY48" fmla="*/ 119406 h 340387"/>
                  <a:gd name="connsiteX49" fmla="*/ 13505 w 362228"/>
                  <a:gd name="connsiteY49" fmla="*/ 101221 h 340387"/>
                  <a:gd name="connsiteX50" fmla="*/ 2910 w 362228"/>
                  <a:gd name="connsiteY50" fmla="*/ 72023 h 340387"/>
                  <a:gd name="connsiteX51" fmla="*/ 33444 w 362228"/>
                  <a:gd name="connsiteY51" fmla="*/ 38822 h 340387"/>
                  <a:gd name="connsiteX52" fmla="*/ 42287 w 362228"/>
                  <a:gd name="connsiteY52" fmla="*/ 38822 h 340387"/>
                  <a:gd name="connsiteX53" fmla="*/ 67565 w 362228"/>
                  <a:gd name="connsiteY53" fmla="*/ 30397 h 340387"/>
                  <a:gd name="connsiteX54" fmla="*/ 71987 w 362228"/>
                  <a:gd name="connsiteY54" fmla="*/ 17550 h 340387"/>
                  <a:gd name="connsiteX55" fmla="*/ 79496 w 362228"/>
                  <a:gd name="connsiteY55" fmla="*/ 17133 h 340387"/>
                  <a:gd name="connsiteX56" fmla="*/ 101187 w 362228"/>
                  <a:gd name="connsiteY56" fmla="*/ 10960 h 340387"/>
                  <a:gd name="connsiteX57" fmla="*/ 107861 w 362228"/>
                  <a:gd name="connsiteY57" fmla="*/ 5621 h 340387"/>
                  <a:gd name="connsiteX58" fmla="*/ 114034 w 362228"/>
                  <a:gd name="connsiteY58" fmla="*/ 782 h 340387"/>
                  <a:gd name="connsiteX59" fmla="*/ 127800 w 362228"/>
                  <a:gd name="connsiteY59" fmla="*/ 1700 h 340387"/>
                  <a:gd name="connsiteX60" fmla="*/ 132221 w 362228"/>
                  <a:gd name="connsiteY60" fmla="*/ 3035 h 340387"/>
                  <a:gd name="connsiteX61" fmla="*/ 148156 w 362228"/>
                  <a:gd name="connsiteY61" fmla="*/ 7039 h 340387"/>
                  <a:gd name="connsiteX62" fmla="*/ 157500 w 362228"/>
                  <a:gd name="connsiteY62" fmla="*/ 6121 h 340387"/>
                  <a:gd name="connsiteX63" fmla="*/ 161504 w 362228"/>
                  <a:gd name="connsiteY63" fmla="*/ 10793 h 34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62228" h="340387" extrusionOk="0">
                    <a:moveTo>
                      <a:pt x="161504" y="10793"/>
                    </a:moveTo>
                    <a:cubicBezTo>
                      <a:pt x="167678" y="16132"/>
                      <a:pt x="174352" y="17883"/>
                      <a:pt x="180525" y="20136"/>
                    </a:cubicBezTo>
                    <a:cubicBezTo>
                      <a:pt x="184029" y="21470"/>
                      <a:pt x="188034" y="22805"/>
                      <a:pt x="191121" y="24557"/>
                    </a:cubicBezTo>
                    <a:cubicBezTo>
                      <a:pt x="200882" y="29896"/>
                      <a:pt x="204886" y="39656"/>
                      <a:pt x="209725" y="50668"/>
                    </a:cubicBezTo>
                    <a:cubicBezTo>
                      <a:pt x="214146" y="60845"/>
                      <a:pt x="218151" y="70605"/>
                      <a:pt x="226994" y="78613"/>
                    </a:cubicBezTo>
                    <a:cubicBezTo>
                      <a:pt x="232333" y="83953"/>
                      <a:pt x="239425" y="85704"/>
                      <a:pt x="245181" y="87957"/>
                    </a:cubicBezTo>
                    <a:cubicBezTo>
                      <a:pt x="250521" y="89292"/>
                      <a:pt x="255359" y="91043"/>
                      <a:pt x="258029" y="94130"/>
                    </a:cubicBezTo>
                    <a:cubicBezTo>
                      <a:pt x="262868" y="99469"/>
                      <a:pt x="262451" y="106059"/>
                      <a:pt x="260699" y="116236"/>
                    </a:cubicBezTo>
                    <a:cubicBezTo>
                      <a:pt x="260281" y="118489"/>
                      <a:pt x="260281" y="120241"/>
                      <a:pt x="259781" y="122409"/>
                    </a:cubicBezTo>
                    <a:cubicBezTo>
                      <a:pt x="257111" y="143264"/>
                      <a:pt x="266455" y="161867"/>
                      <a:pt x="275715" y="179969"/>
                    </a:cubicBezTo>
                    <a:cubicBezTo>
                      <a:pt x="278385" y="185726"/>
                      <a:pt x="281472" y="191482"/>
                      <a:pt x="283724" y="197238"/>
                    </a:cubicBezTo>
                    <a:cubicBezTo>
                      <a:pt x="293068" y="218927"/>
                      <a:pt x="308085" y="232691"/>
                      <a:pt x="328024" y="238030"/>
                    </a:cubicBezTo>
                    <a:cubicBezTo>
                      <a:pt x="328024" y="240700"/>
                      <a:pt x="327607" y="242869"/>
                      <a:pt x="327607" y="246039"/>
                    </a:cubicBezTo>
                    <a:cubicBezTo>
                      <a:pt x="327190" y="248291"/>
                      <a:pt x="327190" y="249542"/>
                      <a:pt x="326689" y="251795"/>
                    </a:cubicBezTo>
                    <a:cubicBezTo>
                      <a:pt x="326272" y="261555"/>
                      <a:pt x="328441" y="268646"/>
                      <a:pt x="333363" y="273484"/>
                    </a:cubicBezTo>
                    <a:cubicBezTo>
                      <a:pt x="337785" y="278322"/>
                      <a:pt x="343959" y="279657"/>
                      <a:pt x="348881" y="280992"/>
                    </a:cubicBezTo>
                    <a:cubicBezTo>
                      <a:pt x="351968" y="281909"/>
                      <a:pt x="354637" y="282327"/>
                      <a:pt x="356890" y="283661"/>
                    </a:cubicBezTo>
                    <a:cubicBezTo>
                      <a:pt x="359142" y="284579"/>
                      <a:pt x="360394" y="286748"/>
                      <a:pt x="362229" y="288500"/>
                    </a:cubicBezTo>
                    <a:cubicBezTo>
                      <a:pt x="359559" y="291169"/>
                      <a:pt x="358225" y="294673"/>
                      <a:pt x="356473" y="298260"/>
                    </a:cubicBezTo>
                    <a:cubicBezTo>
                      <a:pt x="355138" y="300929"/>
                      <a:pt x="352969" y="305768"/>
                      <a:pt x="351634" y="306685"/>
                    </a:cubicBezTo>
                    <a:cubicBezTo>
                      <a:pt x="350299" y="307603"/>
                      <a:pt x="349381" y="307603"/>
                      <a:pt x="348964" y="308020"/>
                    </a:cubicBezTo>
                    <a:cubicBezTo>
                      <a:pt x="348547" y="307603"/>
                      <a:pt x="348046" y="307103"/>
                      <a:pt x="348046" y="307103"/>
                    </a:cubicBezTo>
                    <a:cubicBezTo>
                      <a:pt x="346295" y="305351"/>
                      <a:pt x="343625" y="303098"/>
                      <a:pt x="340037" y="300929"/>
                    </a:cubicBezTo>
                    <a:cubicBezTo>
                      <a:pt x="332029" y="296508"/>
                      <a:pt x="325438" y="295590"/>
                      <a:pt x="320098" y="297843"/>
                    </a:cubicBezTo>
                    <a:cubicBezTo>
                      <a:pt x="312089" y="300929"/>
                      <a:pt x="309503" y="309772"/>
                      <a:pt x="306333" y="317780"/>
                    </a:cubicBezTo>
                    <a:lnTo>
                      <a:pt x="305415" y="320867"/>
                    </a:lnTo>
                    <a:cubicBezTo>
                      <a:pt x="303663" y="325705"/>
                      <a:pt x="300994" y="328875"/>
                      <a:pt x="298324" y="331962"/>
                    </a:cubicBezTo>
                    <a:cubicBezTo>
                      <a:pt x="296072" y="334631"/>
                      <a:pt x="293485" y="336800"/>
                      <a:pt x="291650" y="340387"/>
                    </a:cubicBezTo>
                    <a:cubicBezTo>
                      <a:pt x="290732" y="338135"/>
                      <a:pt x="290315" y="336383"/>
                      <a:pt x="289898" y="334214"/>
                    </a:cubicBezTo>
                    <a:lnTo>
                      <a:pt x="288980" y="329793"/>
                    </a:lnTo>
                    <a:cubicBezTo>
                      <a:pt x="287645" y="323620"/>
                      <a:pt x="285893" y="316946"/>
                      <a:pt x="281889" y="312108"/>
                    </a:cubicBezTo>
                    <a:cubicBezTo>
                      <a:pt x="277050" y="305434"/>
                      <a:pt x="269041" y="301013"/>
                      <a:pt x="261950" y="296592"/>
                    </a:cubicBezTo>
                    <a:cubicBezTo>
                      <a:pt x="260615" y="295674"/>
                      <a:pt x="258863" y="294339"/>
                      <a:pt x="257111" y="293505"/>
                    </a:cubicBezTo>
                    <a:cubicBezTo>
                      <a:pt x="248268" y="288166"/>
                      <a:pt x="239425" y="282911"/>
                      <a:pt x="230498" y="278906"/>
                    </a:cubicBezTo>
                    <a:cubicBezTo>
                      <a:pt x="221154" y="274068"/>
                      <a:pt x="210976" y="270064"/>
                      <a:pt x="199964" y="269146"/>
                    </a:cubicBezTo>
                    <a:cubicBezTo>
                      <a:pt x="195959" y="268729"/>
                      <a:pt x="191955" y="269146"/>
                      <a:pt x="188034" y="269563"/>
                    </a:cubicBezTo>
                    <a:cubicBezTo>
                      <a:pt x="182694" y="269980"/>
                      <a:pt x="177856" y="269980"/>
                      <a:pt x="173434" y="269146"/>
                    </a:cubicBezTo>
                    <a:cubicBezTo>
                      <a:pt x="169430" y="268229"/>
                      <a:pt x="165425" y="266060"/>
                      <a:pt x="161504" y="263807"/>
                    </a:cubicBezTo>
                    <a:cubicBezTo>
                      <a:pt x="153078" y="259386"/>
                      <a:pt x="143317" y="254047"/>
                      <a:pt x="137561" y="246539"/>
                    </a:cubicBezTo>
                    <a:cubicBezTo>
                      <a:pt x="134891" y="243452"/>
                      <a:pt x="133139" y="239866"/>
                      <a:pt x="131387" y="236362"/>
                    </a:cubicBezTo>
                    <a:cubicBezTo>
                      <a:pt x="129135" y="232858"/>
                      <a:pt x="127382" y="229688"/>
                      <a:pt x="124713" y="226185"/>
                    </a:cubicBezTo>
                    <a:cubicBezTo>
                      <a:pt x="117622" y="216424"/>
                      <a:pt x="107444" y="211085"/>
                      <a:pt x="97683" y="212420"/>
                    </a:cubicBezTo>
                    <a:cubicBezTo>
                      <a:pt x="93678" y="213338"/>
                      <a:pt x="90174" y="214672"/>
                      <a:pt x="87087" y="215924"/>
                    </a:cubicBezTo>
                    <a:cubicBezTo>
                      <a:pt x="86170" y="216341"/>
                      <a:pt x="84835" y="216841"/>
                      <a:pt x="84001" y="217259"/>
                    </a:cubicBezTo>
                    <a:cubicBezTo>
                      <a:pt x="75574" y="220345"/>
                      <a:pt x="66314" y="219010"/>
                      <a:pt x="59223" y="213755"/>
                    </a:cubicBezTo>
                    <a:cubicBezTo>
                      <a:pt x="56553" y="211503"/>
                      <a:pt x="54801" y="209334"/>
                      <a:pt x="52549" y="207081"/>
                    </a:cubicBezTo>
                    <a:lnTo>
                      <a:pt x="49462" y="203995"/>
                    </a:lnTo>
                    <a:cubicBezTo>
                      <a:pt x="45958" y="200491"/>
                      <a:pt x="41453" y="196904"/>
                      <a:pt x="37031" y="193817"/>
                    </a:cubicBezTo>
                    <a:cubicBezTo>
                      <a:pt x="45457" y="169459"/>
                      <a:pt x="42371" y="142013"/>
                      <a:pt x="29022" y="119406"/>
                    </a:cubicBezTo>
                    <a:cubicBezTo>
                      <a:pt x="24601" y="112316"/>
                      <a:pt x="18844" y="106559"/>
                      <a:pt x="13505" y="101221"/>
                    </a:cubicBezTo>
                    <a:cubicBezTo>
                      <a:pt x="1575" y="89709"/>
                      <a:pt x="-3764" y="83953"/>
                      <a:pt x="2910" y="72023"/>
                    </a:cubicBezTo>
                    <a:cubicBezTo>
                      <a:pt x="13505" y="53421"/>
                      <a:pt x="25018" y="40574"/>
                      <a:pt x="33444" y="38822"/>
                    </a:cubicBezTo>
                    <a:cubicBezTo>
                      <a:pt x="36114" y="38405"/>
                      <a:pt x="39200" y="38405"/>
                      <a:pt x="42287" y="38822"/>
                    </a:cubicBezTo>
                    <a:cubicBezTo>
                      <a:pt x="50296" y="39239"/>
                      <a:pt x="60474" y="39740"/>
                      <a:pt x="67565" y="30397"/>
                    </a:cubicBezTo>
                    <a:cubicBezTo>
                      <a:pt x="70652" y="26393"/>
                      <a:pt x="71570" y="21554"/>
                      <a:pt x="71987" y="17550"/>
                    </a:cubicBezTo>
                    <a:cubicBezTo>
                      <a:pt x="74657" y="17967"/>
                      <a:pt x="76826" y="17550"/>
                      <a:pt x="79496" y="17133"/>
                    </a:cubicBezTo>
                    <a:cubicBezTo>
                      <a:pt x="86587" y="16215"/>
                      <a:pt x="94095" y="14880"/>
                      <a:pt x="101187" y="10960"/>
                    </a:cubicBezTo>
                    <a:cubicBezTo>
                      <a:pt x="103439" y="9625"/>
                      <a:pt x="105608" y="7873"/>
                      <a:pt x="107861" y="5621"/>
                    </a:cubicBezTo>
                    <a:cubicBezTo>
                      <a:pt x="110113" y="3368"/>
                      <a:pt x="112282" y="2117"/>
                      <a:pt x="114034" y="782"/>
                    </a:cubicBezTo>
                    <a:cubicBezTo>
                      <a:pt x="117121" y="-553"/>
                      <a:pt x="122043" y="-135"/>
                      <a:pt x="127800" y="1700"/>
                    </a:cubicBezTo>
                    <a:lnTo>
                      <a:pt x="132221" y="3035"/>
                    </a:lnTo>
                    <a:cubicBezTo>
                      <a:pt x="137060" y="4786"/>
                      <a:pt x="142399" y="6538"/>
                      <a:pt x="148156" y="7039"/>
                    </a:cubicBezTo>
                    <a:cubicBezTo>
                      <a:pt x="151243" y="7456"/>
                      <a:pt x="154329" y="7039"/>
                      <a:pt x="157500" y="6121"/>
                    </a:cubicBezTo>
                    <a:cubicBezTo>
                      <a:pt x="157917" y="7706"/>
                      <a:pt x="159752" y="9458"/>
                      <a:pt x="161504" y="1079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25498181" name="Полилиния 355"/>
              <p:cNvSpPr/>
              <p:nvPr/>
            </p:nvSpPr>
            <p:spPr bwMode="auto">
              <a:xfrm>
                <a:off x="1319194" y="4818384"/>
                <a:ext cx="526099" cy="585709"/>
              </a:xfrm>
              <a:custGeom>
                <a:avLst/>
                <a:gdLst>
                  <a:gd name="connsiteX0" fmla="*/ 5756 w 590828"/>
                  <a:gd name="connsiteY0" fmla="*/ 168676 h 657771"/>
                  <a:gd name="connsiteX1" fmla="*/ 0 w 590828"/>
                  <a:gd name="connsiteY1" fmla="*/ 165590 h 657771"/>
                  <a:gd name="connsiteX2" fmla="*/ 8426 w 590828"/>
                  <a:gd name="connsiteY2" fmla="*/ 157581 h 657771"/>
                  <a:gd name="connsiteX3" fmla="*/ 19021 w 590828"/>
                  <a:gd name="connsiteY3" fmla="*/ 144735 h 657771"/>
                  <a:gd name="connsiteX4" fmla="*/ 36291 w 590828"/>
                  <a:gd name="connsiteY4" fmla="*/ 126549 h 657771"/>
                  <a:gd name="connsiteX5" fmla="*/ 84094 w 590828"/>
                  <a:gd name="connsiteY5" fmla="*/ 124797 h 657771"/>
                  <a:gd name="connsiteX6" fmla="*/ 113794 w 590828"/>
                  <a:gd name="connsiteY6" fmla="*/ 129218 h 657771"/>
                  <a:gd name="connsiteX7" fmla="*/ 115129 w 590828"/>
                  <a:gd name="connsiteY7" fmla="*/ 129218 h 657771"/>
                  <a:gd name="connsiteX8" fmla="*/ 164768 w 590828"/>
                  <a:gd name="connsiteY8" fmla="*/ 161085 h 657771"/>
                  <a:gd name="connsiteX9" fmla="*/ 173194 w 590828"/>
                  <a:gd name="connsiteY9" fmla="*/ 171262 h 657771"/>
                  <a:gd name="connsiteX10" fmla="*/ 203728 w 590828"/>
                  <a:gd name="connsiteY10" fmla="*/ 190782 h 657771"/>
                  <a:gd name="connsiteX11" fmla="*/ 208150 w 590828"/>
                  <a:gd name="connsiteY11" fmla="*/ 190365 h 657771"/>
                  <a:gd name="connsiteX12" fmla="*/ 238684 w 590828"/>
                  <a:gd name="connsiteY12" fmla="*/ 171763 h 657771"/>
                  <a:gd name="connsiteX13" fmla="*/ 247527 w 590828"/>
                  <a:gd name="connsiteY13" fmla="*/ 164255 h 657771"/>
                  <a:gd name="connsiteX14" fmla="*/ 249279 w 590828"/>
                  <a:gd name="connsiteY14" fmla="*/ 162920 h 657771"/>
                  <a:gd name="connsiteX15" fmla="*/ 279814 w 590828"/>
                  <a:gd name="connsiteY15" fmla="*/ 129719 h 657771"/>
                  <a:gd name="connsiteX16" fmla="*/ 285153 w 590828"/>
                  <a:gd name="connsiteY16" fmla="*/ 107612 h 657771"/>
                  <a:gd name="connsiteX17" fmla="*/ 289992 w 590828"/>
                  <a:gd name="connsiteY17" fmla="*/ 87675 h 657771"/>
                  <a:gd name="connsiteX18" fmla="*/ 343135 w 590828"/>
                  <a:gd name="connsiteY18" fmla="*/ 47800 h 657771"/>
                  <a:gd name="connsiteX19" fmla="*/ 356399 w 590828"/>
                  <a:gd name="connsiteY19" fmla="*/ 48217 h 657771"/>
                  <a:gd name="connsiteX20" fmla="*/ 383847 w 590828"/>
                  <a:gd name="connsiteY20" fmla="*/ 45547 h 657771"/>
                  <a:gd name="connsiteX21" fmla="*/ 402868 w 590828"/>
                  <a:gd name="connsiteY21" fmla="*/ 25193 h 657771"/>
                  <a:gd name="connsiteX22" fmla="*/ 410377 w 590828"/>
                  <a:gd name="connsiteY22" fmla="*/ 14599 h 657771"/>
                  <a:gd name="connsiteX23" fmla="*/ 415716 w 590828"/>
                  <a:gd name="connsiteY23" fmla="*/ 10177 h 657771"/>
                  <a:gd name="connsiteX24" fmla="*/ 425894 w 590828"/>
                  <a:gd name="connsiteY24" fmla="*/ 0 h 657771"/>
                  <a:gd name="connsiteX25" fmla="*/ 426812 w 590828"/>
                  <a:gd name="connsiteY25" fmla="*/ 417 h 657771"/>
                  <a:gd name="connsiteX26" fmla="*/ 445416 w 590828"/>
                  <a:gd name="connsiteY26" fmla="*/ 11929 h 657771"/>
                  <a:gd name="connsiteX27" fmla="*/ 488381 w 590828"/>
                  <a:gd name="connsiteY27" fmla="*/ 31866 h 657771"/>
                  <a:gd name="connsiteX28" fmla="*/ 518081 w 590828"/>
                  <a:gd name="connsiteY28" fmla="*/ 31866 h 657771"/>
                  <a:gd name="connsiteX29" fmla="*/ 531846 w 590828"/>
                  <a:gd name="connsiteY29" fmla="*/ 23441 h 657771"/>
                  <a:gd name="connsiteX30" fmla="*/ 542942 w 590828"/>
                  <a:gd name="connsiteY30" fmla="*/ 16767 h 657771"/>
                  <a:gd name="connsiteX31" fmla="*/ 554872 w 590828"/>
                  <a:gd name="connsiteY31" fmla="*/ 16767 h 657771"/>
                  <a:gd name="connsiteX32" fmla="*/ 573059 w 590828"/>
                  <a:gd name="connsiteY32" fmla="*/ 15850 h 657771"/>
                  <a:gd name="connsiteX33" fmla="*/ 573977 w 590828"/>
                  <a:gd name="connsiteY33" fmla="*/ 15433 h 657771"/>
                  <a:gd name="connsiteX34" fmla="*/ 573560 w 590828"/>
                  <a:gd name="connsiteY34" fmla="*/ 17685 h 657771"/>
                  <a:gd name="connsiteX35" fmla="*/ 572225 w 590828"/>
                  <a:gd name="connsiteY35" fmla="*/ 26110 h 657771"/>
                  <a:gd name="connsiteX36" fmla="*/ 579316 w 590828"/>
                  <a:gd name="connsiteY36" fmla="*/ 58895 h 657771"/>
                  <a:gd name="connsiteX37" fmla="*/ 581986 w 590828"/>
                  <a:gd name="connsiteY37" fmla="*/ 63316 h 657771"/>
                  <a:gd name="connsiteX38" fmla="*/ 585072 w 590828"/>
                  <a:gd name="connsiteY38" fmla="*/ 68655 h 657771"/>
                  <a:gd name="connsiteX39" fmla="*/ 588576 w 590828"/>
                  <a:gd name="connsiteY39" fmla="*/ 80584 h 657771"/>
                  <a:gd name="connsiteX40" fmla="*/ 590829 w 590828"/>
                  <a:gd name="connsiteY40" fmla="*/ 104025 h 657771"/>
                  <a:gd name="connsiteX41" fmla="*/ 590412 w 590828"/>
                  <a:gd name="connsiteY41" fmla="*/ 110699 h 657771"/>
                  <a:gd name="connsiteX42" fmla="*/ 586407 w 590828"/>
                  <a:gd name="connsiteY42" fmla="*/ 116455 h 657771"/>
                  <a:gd name="connsiteX43" fmla="*/ 575812 w 590828"/>
                  <a:gd name="connsiteY43" fmla="*/ 124880 h 657771"/>
                  <a:gd name="connsiteX44" fmla="*/ 567386 w 590828"/>
                  <a:gd name="connsiteY44" fmla="*/ 131554 h 657771"/>
                  <a:gd name="connsiteX45" fmla="*/ 560295 w 590828"/>
                  <a:gd name="connsiteY45" fmla="*/ 138228 h 657771"/>
                  <a:gd name="connsiteX46" fmla="*/ 551869 w 590828"/>
                  <a:gd name="connsiteY46" fmla="*/ 146236 h 657771"/>
                  <a:gd name="connsiteX47" fmla="*/ 548365 w 590828"/>
                  <a:gd name="connsiteY47" fmla="*/ 148489 h 657771"/>
                  <a:gd name="connsiteX48" fmla="*/ 534182 w 590828"/>
                  <a:gd name="connsiteY48" fmla="*/ 162670 h 657771"/>
                  <a:gd name="connsiteX49" fmla="*/ 536435 w 590828"/>
                  <a:gd name="connsiteY49" fmla="*/ 184359 h 657771"/>
                  <a:gd name="connsiteX50" fmla="*/ 538187 w 590828"/>
                  <a:gd name="connsiteY50" fmla="*/ 188780 h 657771"/>
                  <a:gd name="connsiteX51" fmla="*/ 541690 w 590828"/>
                  <a:gd name="connsiteY51" fmla="*/ 198958 h 657771"/>
                  <a:gd name="connsiteX52" fmla="*/ 542108 w 590828"/>
                  <a:gd name="connsiteY52" fmla="*/ 203796 h 657771"/>
                  <a:gd name="connsiteX53" fmla="*/ 542525 w 590828"/>
                  <a:gd name="connsiteY53" fmla="*/ 210470 h 657771"/>
                  <a:gd name="connsiteX54" fmla="*/ 546946 w 590828"/>
                  <a:gd name="connsiteY54" fmla="*/ 224651 h 657771"/>
                  <a:gd name="connsiteX55" fmla="*/ 550450 w 590828"/>
                  <a:gd name="connsiteY55" fmla="*/ 235746 h 657771"/>
                  <a:gd name="connsiteX56" fmla="*/ 544277 w 590828"/>
                  <a:gd name="connsiteY56" fmla="*/ 255684 h 657771"/>
                  <a:gd name="connsiteX57" fmla="*/ 531846 w 590828"/>
                  <a:gd name="connsiteY57" fmla="*/ 274286 h 657771"/>
                  <a:gd name="connsiteX58" fmla="*/ 514994 w 590828"/>
                  <a:gd name="connsiteY58" fmla="*/ 283129 h 657771"/>
                  <a:gd name="connsiteX59" fmla="*/ 491551 w 590828"/>
                  <a:gd name="connsiteY59" fmla="*/ 276038 h 657771"/>
                  <a:gd name="connsiteX60" fmla="*/ 476951 w 590828"/>
                  <a:gd name="connsiteY60" fmla="*/ 269865 h 657771"/>
                  <a:gd name="connsiteX61" fmla="*/ 449003 w 590828"/>
                  <a:gd name="connsiteY61" fmla="*/ 279208 h 657771"/>
                  <a:gd name="connsiteX62" fmla="*/ 417969 w 590828"/>
                  <a:gd name="connsiteY62" fmla="*/ 299146 h 657771"/>
                  <a:gd name="connsiteX63" fmla="*/ 409125 w 590828"/>
                  <a:gd name="connsiteY63" fmla="*/ 308906 h 657771"/>
                  <a:gd name="connsiteX64" fmla="*/ 412212 w 590828"/>
                  <a:gd name="connsiteY64" fmla="*/ 324839 h 657771"/>
                  <a:gd name="connsiteX65" fmla="*/ 428147 w 590828"/>
                  <a:gd name="connsiteY65" fmla="*/ 344777 h 657771"/>
                  <a:gd name="connsiteX66" fmla="*/ 442329 w 590828"/>
                  <a:gd name="connsiteY66" fmla="*/ 370887 h 657771"/>
                  <a:gd name="connsiteX67" fmla="*/ 439242 w 590828"/>
                  <a:gd name="connsiteY67" fmla="*/ 386821 h 657771"/>
                  <a:gd name="connsiteX68" fmla="*/ 437907 w 590828"/>
                  <a:gd name="connsiteY68" fmla="*/ 391659 h 657771"/>
                  <a:gd name="connsiteX69" fmla="*/ 433486 w 590828"/>
                  <a:gd name="connsiteY69" fmla="*/ 436873 h 657771"/>
                  <a:gd name="connsiteX70" fmla="*/ 439242 w 590828"/>
                  <a:gd name="connsiteY70" fmla="*/ 456810 h 657771"/>
                  <a:gd name="connsiteX71" fmla="*/ 443247 w 590828"/>
                  <a:gd name="connsiteY71" fmla="*/ 460815 h 657771"/>
                  <a:gd name="connsiteX72" fmla="*/ 445916 w 590828"/>
                  <a:gd name="connsiteY72" fmla="*/ 463484 h 657771"/>
                  <a:gd name="connsiteX73" fmla="*/ 448586 w 590828"/>
                  <a:gd name="connsiteY73" fmla="*/ 471492 h 657771"/>
                  <a:gd name="connsiteX74" fmla="*/ 453925 w 590828"/>
                  <a:gd name="connsiteY74" fmla="*/ 486091 h 657771"/>
                  <a:gd name="connsiteX75" fmla="*/ 473447 w 590828"/>
                  <a:gd name="connsiteY75" fmla="*/ 494934 h 657771"/>
                  <a:gd name="connsiteX76" fmla="*/ 484043 w 590828"/>
                  <a:gd name="connsiteY76" fmla="*/ 498020 h 657771"/>
                  <a:gd name="connsiteX77" fmla="*/ 486712 w 590828"/>
                  <a:gd name="connsiteY77" fmla="*/ 502442 h 657771"/>
                  <a:gd name="connsiteX78" fmla="*/ 486712 w 590828"/>
                  <a:gd name="connsiteY78" fmla="*/ 502859 h 657771"/>
                  <a:gd name="connsiteX79" fmla="*/ 487129 w 590828"/>
                  <a:gd name="connsiteY79" fmla="*/ 512619 h 657771"/>
                  <a:gd name="connsiteX80" fmla="*/ 486712 w 590828"/>
                  <a:gd name="connsiteY80" fmla="*/ 516122 h 657771"/>
                  <a:gd name="connsiteX81" fmla="*/ 485377 w 590828"/>
                  <a:gd name="connsiteY81" fmla="*/ 535643 h 657771"/>
                  <a:gd name="connsiteX82" fmla="*/ 503564 w 590828"/>
                  <a:gd name="connsiteY82" fmla="*/ 551159 h 657771"/>
                  <a:gd name="connsiteX83" fmla="*/ 529260 w 590828"/>
                  <a:gd name="connsiteY83" fmla="*/ 543651 h 657771"/>
                  <a:gd name="connsiteX84" fmla="*/ 531012 w 590828"/>
                  <a:gd name="connsiteY84" fmla="*/ 542316 h 657771"/>
                  <a:gd name="connsiteX85" fmla="*/ 534099 w 590828"/>
                  <a:gd name="connsiteY85" fmla="*/ 540064 h 657771"/>
                  <a:gd name="connsiteX86" fmla="*/ 542525 w 590828"/>
                  <a:gd name="connsiteY86" fmla="*/ 541399 h 657771"/>
                  <a:gd name="connsiteX87" fmla="*/ 543442 w 590828"/>
                  <a:gd name="connsiteY87" fmla="*/ 543651 h 657771"/>
                  <a:gd name="connsiteX88" fmla="*/ 542525 w 590828"/>
                  <a:gd name="connsiteY88" fmla="*/ 545904 h 657771"/>
                  <a:gd name="connsiteX89" fmla="*/ 527424 w 590828"/>
                  <a:gd name="connsiteY89" fmla="*/ 571180 h 657771"/>
                  <a:gd name="connsiteX90" fmla="*/ 505316 w 590828"/>
                  <a:gd name="connsiteY90" fmla="*/ 599543 h 657771"/>
                  <a:gd name="connsiteX91" fmla="*/ 476534 w 590828"/>
                  <a:gd name="connsiteY91" fmla="*/ 615893 h 657771"/>
                  <a:gd name="connsiteX92" fmla="*/ 459265 w 590828"/>
                  <a:gd name="connsiteY92" fmla="*/ 617228 h 657771"/>
                  <a:gd name="connsiteX93" fmla="*/ 450839 w 590828"/>
                  <a:gd name="connsiteY93" fmla="*/ 617645 h 657771"/>
                  <a:gd name="connsiteX94" fmla="*/ 433152 w 590828"/>
                  <a:gd name="connsiteY94" fmla="*/ 621149 h 657771"/>
                  <a:gd name="connsiteX95" fmla="*/ 413213 w 590828"/>
                  <a:gd name="connsiteY95" fmla="*/ 645091 h 657771"/>
                  <a:gd name="connsiteX96" fmla="*/ 406539 w 590828"/>
                  <a:gd name="connsiteY96" fmla="*/ 651764 h 657771"/>
                  <a:gd name="connsiteX97" fmla="*/ 402535 w 590828"/>
                  <a:gd name="connsiteY97" fmla="*/ 654851 h 657771"/>
                  <a:gd name="connsiteX98" fmla="*/ 399865 w 590828"/>
                  <a:gd name="connsiteY98" fmla="*/ 657103 h 657771"/>
                  <a:gd name="connsiteX99" fmla="*/ 395026 w 590828"/>
                  <a:gd name="connsiteY99" fmla="*/ 654851 h 657771"/>
                  <a:gd name="connsiteX100" fmla="*/ 382178 w 590828"/>
                  <a:gd name="connsiteY100" fmla="*/ 650429 h 657771"/>
                  <a:gd name="connsiteX101" fmla="*/ 371583 w 590828"/>
                  <a:gd name="connsiteY101" fmla="*/ 653516 h 657771"/>
                  <a:gd name="connsiteX102" fmla="*/ 358318 w 590828"/>
                  <a:gd name="connsiteY102" fmla="*/ 657020 h 657771"/>
                  <a:gd name="connsiteX103" fmla="*/ 351227 w 590828"/>
                  <a:gd name="connsiteY103" fmla="*/ 657437 h 657771"/>
                  <a:gd name="connsiteX104" fmla="*/ 349892 w 590828"/>
                  <a:gd name="connsiteY104" fmla="*/ 655685 h 657771"/>
                  <a:gd name="connsiteX105" fmla="*/ 345471 w 590828"/>
                  <a:gd name="connsiteY105" fmla="*/ 650847 h 657771"/>
                  <a:gd name="connsiteX106" fmla="*/ 340632 w 590828"/>
                  <a:gd name="connsiteY106" fmla="*/ 648594 h 657771"/>
                  <a:gd name="connsiteX107" fmla="*/ 340215 w 590828"/>
                  <a:gd name="connsiteY107" fmla="*/ 648594 h 657771"/>
                  <a:gd name="connsiteX108" fmla="*/ 339797 w 590828"/>
                  <a:gd name="connsiteY108" fmla="*/ 634830 h 657771"/>
                  <a:gd name="connsiteX109" fmla="*/ 338463 w 590828"/>
                  <a:gd name="connsiteY109" fmla="*/ 611389 h 657771"/>
                  <a:gd name="connsiteX110" fmla="*/ 315854 w 590828"/>
                  <a:gd name="connsiteY110" fmla="*/ 579522 h 657771"/>
                  <a:gd name="connsiteX111" fmla="*/ 296332 w 590828"/>
                  <a:gd name="connsiteY111" fmla="*/ 548490 h 657771"/>
                  <a:gd name="connsiteX112" fmla="*/ 275976 w 590828"/>
                  <a:gd name="connsiteY112" fmla="*/ 512202 h 657771"/>
                  <a:gd name="connsiteX113" fmla="*/ 254702 w 590828"/>
                  <a:gd name="connsiteY113" fmla="*/ 505111 h 657771"/>
                  <a:gd name="connsiteX114" fmla="*/ 236098 w 590828"/>
                  <a:gd name="connsiteY114" fmla="*/ 524632 h 657771"/>
                  <a:gd name="connsiteX115" fmla="*/ 202894 w 590828"/>
                  <a:gd name="connsiteY115" fmla="*/ 538396 h 657771"/>
                  <a:gd name="connsiteX116" fmla="*/ 196720 w 590828"/>
                  <a:gd name="connsiteY116" fmla="*/ 533557 h 657771"/>
                  <a:gd name="connsiteX117" fmla="*/ 171025 w 590828"/>
                  <a:gd name="connsiteY117" fmla="*/ 532640 h 657771"/>
                  <a:gd name="connsiteX118" fmla="*/ 159512 w 590828"/>
                  <a:gd name="connsiteY118" fmla="*/ 542817 h 657771"/>
                  <a:gd name="connsiteX119" fmla="*/ 137404 w 590828"/>
                  <a:gd name="connsiteY119" fmla="*/ 528218 h 657771"/>
                  <a:gd name="connsiteX120" fmla="*/ 130730 w 590828"/>
                  <a:gd name="connsiteY120" fmla="*/ 525549 h 657771"/>
                  <a:gd name="connsiteX121" fmla="*/ 131147 w 590828"/>
                  <a:gd name="connsiteY121" fmla="*/ 507864 h 657771"/>
                  <a:gd name="connsiteX122" fmla="*/ 132065 w 590828"/>
                  <a:gd name="connsiteY122" fmla="*/ 489678 h 657771"/>
                  <a:gd name="connsiteX123" fmla="*/ 132982 w 590828"/>
                  <a:gd name="connsiteY123" fmla="*/ 483005 h 657771"/>
                  <a:gd name="connsiteX124" fmla="*/ 131648 w 590828"/>
                  <a:gd name="connsiteY124" fmla="*/ 461733 h 657771"/>
                  <a:gd name="connsiteX125" fmla="*/ 121887 w 590828"/>
                  <a:gd name="connsiteY125" fmla="*/ 453307 h 657771"/>
                  <a:gd name="connsiteX126" fmla="*/ 117048 w 590828"/>
                  <a:gd name="connsiteY126" fmla="*/ 449303 h 657771"/>
                  <a:gd name="connsiteX127" fmla="*/ 109539 w 590828"/>
                  <a:gd name="connsiteY127" fmla="*/ 440877 h 657771"/>
                  <a:gd name="connsiteX128" fmla="*/ 87431 w 590828"/>
                  <a:gd name="connsiteY128" fmla="*/ 402337 h 657771"/>
                  <a:gd name="connsiteX129" fmla="*/ 90518 w 590828"/>
                  <a:gd name="connsiteY129" fmla="*/ 392577 h 657771"/>
                  <a:gd name="connsiteX130" fmla="*/ 94940 w 590828"/>
                  <a:gd name="connsiteY130" fmla="*/ 377978 h 657771"/>
                  <a:gd name="connsiteX131" fmla="*/ 102031 w 590828"/>
                  <a:gd name="connsiteY131" fmla="*/ 358041 h 657771"/>
                  <a:gd name="connsiteX132" fmla="*/ 112626 w 590828"/>
                  <a:gd name="connsiteY132" fmla="*/ 332764 h 657771"/>
                  <a:gd name="connsiteX133" fmla="*/ 89600 w 590828"/>
                  <a:gd name="connsiteY133" fmla="*/ 304401 h 657771"/>
                  <a:gd name="connsiteX134" fmla="*/ 79005 w 590828"/>
                  <a:gd name="connsiteY134" fmla="*/ 293807 h 657771"/>
                  <a:gd name="connsiteX135" fmla="*/ 36040 w 590828"/>
                  <a:gd name="connsiteY135" fmla="*/ 273452 h 657771"/>
                  <a:gd name="connsiteX136" fmla="*/ 25862 w 590828"/>
                  <a:gd name="connsiteY136" fmla="*/ 276956 h 657771"/>
                  <a:gd name="connsiteX137" fmla="*/ 15684 w 590828"/>
                  <a:gd name="connsiteY137" fmla="*/ 277373 h 657771"/>
                  <a:gd name="connsiteX138" fmla="*/ 1085 w 590828"/>
                  <a:gd name="connsiteY138" fmla="*/ 262274 h 657771"/>
                  <a:gd name="connsiteX139" fmla="*/ 5506 w 590828"/>
                  <a:gd name="connsiteY139" fmla="*/ 255183 h 657771"/>
                  <a:gd name="connsiteX140" fmla="*/ 13015 w 590828"/>
                  <a:gd name="connsiteY140" fmla="*/ 241002 h 657771"/>
                  <a:gd name="connsiteX141" fmla="*/ 13015 w 590828"/>
                  <a:gd name="connsiteY141" fmla="*/ 229072 h 657771"/>
                  <a:gd name="connsiteX142" fmla="*/ 32036 w 590828"/>
                  <a:gd name="connsiteY142" fmla="*/ 233494 h 657771"/>
                  <a:gd name="connsiteX143" fmla="*/ 53310 w 590828"/>
                  <a:gd name="connsiteY143" fmla="*/ 237915 h 657771"/>
                  <a:gd name="connsiteX144" fmla="*/ 65240 w 590828"/>
                  <a:gd name="connsiteY144" fmla="*/ 245924 h 657771"/>
                  <a:gd name="connsiteX145" fmla="*/ 79422 w 590828"/>
                  <a:gd name="connsiteY145" fmla="*/ 218895 h 657771"/>
                  <a:gd name="connsiteX146" fmla="*/ 55979 w 590828"/>
                  <a:gd name="connsiteY146" fmla="*/ 206049 h 657771"/>
                  <a:gd name="connsiteX147" fmla="*/ 5756 w 590828"/>
                  <a:gd name="connsiteY147" fmla="*/ 168676 h 65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590828" h="657771" extrusionOk="0">
                    <a:moveTo>
                      <a:pt x="5756" y="168676"/>
                    </a:moveTo>
                    <a:cubicBezTo>
                      <a:pt x="4004" y="167341"/>
                      <a:pt x="2253" y="166424"/>
                      <a:pt x="0" y="165590"/>
                    </a:cubicBezTo>
                    <a:cubicBezTo>
                      <a:pt x="2670" y="162920"/>
                      <a:pt x="5756" y="160250"/>
                      <a:pt x="8426" y="157581"/>
                    </a:cubicBezTo>
                    <a:cubicBezTo>
                      <a:pt x="11930" y="153577"/>
                      <a:pt x="15517" y="149156"/>
                      <a:pt x="19021" y="144735"/>
                    </a:cubicBezTo>
                    <a:cubicBezTo>
                      <a:pt x="24361" y="137644"/>
                      <a:pt x="29617" y="130970"/>
                      <a:pt x="36291" y="126549"/>
                    </a:cubicBezTo>
                    <a:cubicBezTo>
                      <a:pt x="49556" y="117206"/>
                      <a:pt x="66408" y="120793"/>
                      <a:pt x="84094" y="124797"/>
                    </a:cubicBezTo>
                    <a:cubicBezTo>
                      <a:pt x="93855" y="127049"/>
                      <a:pt x="104033" y="129218"/>
                      <a:pt x="113794" y="129218"/>
                    </a:cubicBezTo>
                    <a:lnTo>
                      <a:pt x="115129" y="129218"/>
                    </a:lnTo>
                    <a:cubicBezTo>
                      <a:pt x="138155" y="129218"/>
                      <a:pt x="149668" y="143400"/>
                      <a:pt x="164768" y="161085"/>
                    </a:cubicBezTo>
                    <a:lnTo>
                      <a:pt x="173194" y="171262"/>
                    </a:lnTo>
                    <a:cubicBezTo>
                      <a:pt x="180285" y="179688"/>
                      <a:pt x="189546" y="190782"/>
                      <a:pt x="203728" y="190782"/>
                    </a:cubicBezTo>
                    <a:cubicBezTo>
                      <a:pt x="205063" y="190782"/>
                      <a:pt x="206398" y="190365"/>
                      <a:pt x="208150" y="190365"/>
                    </a:cubicBezTo>
                    <a:cubicBezTo>
                      <a:pt x="219246" y="188613"/>
                      <a:pt x="229841" y="179771"/>
                      <a:pt x="238684" y="171763"/>
                    </a:cubicBezTo>
                    <a:cubicBezTo>
                      <a:pt x="241771" y="169093"/>
                      <a:pt x="244858" y="166424"/>
                      <a:pt x="247527" y="164255"/>
                    </a:cubicBezTo>
                    <a:lnTo>
                      <a:pt x="249279" y="162920"/>
                    </a:lnTo>
                    <a:cubicBezTo>
                      <a:pt x="261209" y="154495"/>
                      <a:pt x="273223" y="145235"/>
                      <a:pt x="279814" y="129719"/>
                    </a:cubicBezTo>
                    <a:cubicBezTo>
                      <a:pt x="282900" y="122628"/>
                      <a:pt x="284235" y="114620"/>
                      <a:pt x="285153" y="107612"/>
                    </a:cubicBezTo>
                    <a:cubicBezTo>
                      <a:pt x="286071" y="100522"/>
                      <a:pt x="287406" y="93848"/>
                      <a:pt x="289992" y="87675"/>
                    </a:cubicBezTo>
                    <a:cubicBezTo>
                      <a:pt x="299335" y="66402"/>
                      <a:pt x="321026" y="50052"/>
                      <a:pt x="343135" y="47800"/>
                    </a:cubicBezTo>
                    <a:cubicBezTo>
                      <a:pt x="347139" y="47383"/>
                      <a:pt x="351561" y="47800"/>
                      <a:pt x="356399" y="48217"/>
                    </a:cubicBezTo>
                    <a:cubicBezTo>
                      <a:pt x="364826" y="49135"/>
                      <a:pt x="374587" y="49969"/>
                      <a:pt x="383847" y="45547"/>
                    </a:cubicBezTo>
                    <a:cubicBezTo>
                      <a:pt x="393191" y="41126"/>
                      <a:pt x="398029" y="32701"/>
                      <a:pt x="402868" y="25193"/>
                    </a:cubicBezTo>
                    <a:cubicBezTo>
                      <a:pt x="405538" y="21189"/>
                      <a:pt x="407707" y="17184"/>
                      <a:pt x="410377" y="14599"/>
                    </a:cubicBezTo>
                    <a:cubicBezTo>
                      <a:pt x="411711" y="13264"/>
                      <a:pt x="413881" y="11512"/>
                      <a:pt x="415716" y="10177"/>
                    </a:cubicBezTo>
                    <a:cubicBezTo>
                      <a:pt x="418803" y="7925"/>
                      <a:pt x="422807" y="4421"/>
                      <a:pt x="425894" y="0"/>
                    </a:cubicBezTo>
                    <a:cubicBezTo>
                      <a:pt x="426311" y="0"/>
                      <a:pt x="426812" y="0"/>
                      <a:pt x="426812" y="417"/>
                    </a:cubicBezTo>
                    <a:cubicBezTo>
                      <a:pt x="433486" y="3921"/>
                      <a:pt x="439659" y="7925"/>
                      <a:pt x="445416" y="11929"/>
                    </a:cubicBezTo>
                    <a:cubicBezTo>
                      <a:pt x="457846" y="20355"/>
                      <a:pt x="470194" y="28780"/>
                      <a:pt x="488381" y="31866"/>
                    </a:cubicBezTo>
                    <a:cubicBezTo>
                      <a:pt x="496807" y="33201"/>
                      <a:pt x="508320" y="34953"/>
                      <a:pt x="518081" y="31866"/>
                    </a:cubicBezTo>
                    <a:cubicBezTo>
                      <a:pt x="523420" y="29614"/>
                      <a:pt x="527842" y="26528"/>
                      <a:pt x="531846" y="23441"/>
                    </a:cubicBezTo>
                    <a:cubicBezTo>
                      <a:pt x="535350" y="20355"/>
                      <a:pt x="538937" y="18102"/>
                      <a:pt x="542942" y="16767"/>
                    </a:cubicBezTo>
                    <a:cubicBezTo>
                      <a:pt x="546446" y="15850"/>
                      <a:pt x="550951" y="16350"/>
                      <a:pt x="554872" y="16767"/>
                    </a:cubicBezTo>
                    <a:cubicBezTo>
                      <a:pt x="560211" y="17685"/>
                      <a:pt x="566802" y="18102"/>
                      <a:pt x="573059" y="15850"/>
                    </a:cubicBezTo>
                    <a:cubicBezTo>
                      <a:pt x="573476" y="15850"/>
                      <a:pt x="573476" y="15433"/>
                      <a:pt x="573977" y="15433"/>
                    </a:cubicBezTo>
                    <a:cubicBezTo>
                      <a:pt x="573977" y="16350"/>
                      <a:pt x="573977" y="16767"/>
                      <a:pt x="573560" y="17685"/>
                    </a:cubicBezTo>
                    <a:cubicBezTo>
                      <a:pt x="573142" y="20355"/>
                      <a:pt x="572642" y="23024"/>
                      <a:pt x="572225" y="26110"/>
                    </a:cubicBezTo>
                    <a:cubicBezTo>
                      <a:pt x="570890" y="37205"/>
                      <a:pt x="573560" y="49135"/>
                      <a:pt x="579316" y="58895"/>
                    </a:cubicBezTo>
                    <a:cubicBezTo>
                      <a:pt x="580234" y="60229"/>
                      <a:pt x="581068" y="61981"/>
                      <a:pt x="581986" y="63316"/>
                    </a:cubicBezTo>
                    <a:cubicBezTo>
                      <a:pt x="583320" y="65068"/>
                      <a:pt x="584238" y="66820"/>
                      <a:pt x="585072" y="68655"/>
                    </a:cubicBezTo>
                    <a:cubicBezTo>
                      <a:pt x="586824" y="72159"/>
                      <a:pt x="587742" y="77080"/>
                      <a:pt x="588576" y="80584"/>
                    </a:cubicBezTo>
                    <a:cubicBezTo>
                      <a:pt x="589911" y="88592"/>
                      <a:pt x="590829" y="96100"/>
                      <a:pt x="590829" y="104025"/>
                    </a:cubicBezTo>
                    <a:cubicBezTo>
                      <a:pt x="590829" y="106695"/>
                      <a:pt x="590829" y="108864"/>
                      <a:pt x="590412" y="110699"/>
                    </a:cubicBezTo>
                    <a:cubicBezTo>
                      <a:pt x="589995" y="112451"/>
                      <a:pt x="588159" y="114203"/>
                      <a:pt x="586407" y="116455"/>
                    </a:cubicBezTo>
                    <a:cubicBezTo>
                      <a:pt x="583320" y="119541"/>
                      <a:pt x="579733" y="122211"/>
                      <a:pt x="575812" y="124880"/>
                    </a:cubicBezTo>
                    <a:cubicBezTo>
                      <a:pt x="573142" y="127133"/>
                      <a:pt x="570056" y="129302"/>
                      <a:pt x="567386" y="131554"/>
                    </a:cubicBezTo>
                    <a:cubicBezTo>
                      <a:pt x="564716" y="133806"/>
                      <a:pt x="562547" y="135975"/>
                      <a:pt x="560295" y="138228"/>
                    </a:cubicBezTo>
                    <a:cubicBezTo>
                      <a:pt x="557625" y="141314"/>
                      <a:pt x="554538" y="144401"/>
                      <a:pt x="551869" y="146236"/>
                    </a:cubicBezTo>
                    <a:cubicBezTo>
                      <a:pt x="550534" y="147154"/>
                      <a:pt x="549616" y="147571"/>
                      <a:pt x="548365" y="148489"/>
                    </a:cubicBezTo>
                    <a:cubicBezTo>
                      <a:pt x="543526" y="151158"/>
                      <a:pt x="537269" y="154662"/>
                      <a:pt x="534182" y="162670"/>
                    </a:cubicBezTo>
                    <a:cubicBezTo>
                      <a:pt x="531930" y="168843"/>
                      <a:pt x="532847" y="175934"/>
                      <a:pt x="536435" y="184359"/>
                    </a:cubicBezTo>
                    <a:lnTo>
                      <a:pt x="538187" y="188780"/>
                    </a:lnTo>
                    <a:cubicBezTo>
                      <a:pt x="539939" y="192284"/>
                      <a:pt x="541273" y="195871"/>
                      <a:pt x="541690" y="198958"/>
                    </a:cubicBezTo>
                    <a:cubicBezTo>
                      <a:pt x="542108" y="200292"/>
                      <a:pt x="542108" y="202044"/>
                      <a:pt x="542108" y="203796"/>
                    </a:cubicBezTo>
                    <a:cubicBezTo>
                      <a:pt x="542108" y="206049"/>
                      <a:pt x="542525" y="208217"/>
                      <a:pt x="542525" y="210470"/>
                    </a:cubicBezTo>
                    <a:cubicBezTo>
                      <a:pt x="543442" y="215308"/>
                      <a:pt x="545194" y="220230"/>
                      <a:pt x="546946" y="224651"/>
                    </a:cubicBezTo>
                    <a:cubicBezTo>
                      <a:pt x="548698" y="228655"/>
                      <a:pt x="550450" y="232660"/>
                      <a:pt x="550450" y="235746"/>
                    </a:cubicBezTo>
                    <a:cubicBezTo>
                      <a:pt x="551368" y="242420"/>
                      <a:pt x="547781" y="249510"/>
                      <a:pt x="544277" y="255684"/>
                    </a:cubicBezTo>
                    <a:cubicBezTo>
                      <a:pt x="540272" y="263192"/>
                      <a:pt x="536768" y="269448"/>
                      <a:pt x="531846" y="274286"/>
                    </a:cubicBezTo>
                    <a:cubicBezTo>
                      <a:pt x="527007" y="279625"/>
                      <a:pt x="520750" y="282712"/>
                      <a:pt x="514994" y="283129"/>
                    </a:cubicBezTo>
                    <a:cubicBezTo>
                      <a:pt x="508820" y="284047"/>
                      <a:pt x="502146" y="281794"/>
                      <a:pt x="491551" y="276038"/>
                    </a:cubicBezTo>
                    <a:cubicBezTo>
                      <a:pt x="487129" y="273369"/>
                      <a:pt x="482708" y="271200"/>
                      <a:pt x="476951" y="269865"/>
                    </a:cubicBezTo>
                    <a:cubicBezTo>
                      <a:pt x="465855" y="268113"/>
                      <a:pt x="455677" y="274704"/>
                      <a:pt x="449003" y="279208"/>
                    </a:cubicBezTo>
                    <a:lnTo>
                      <a:pt x="417969" y="299146"/>
                    </a:lnTo>
                    <a:cubicBezTo>
                      <a:pt x="415299" y="300898"/>
                      <a:pt x="410877" y="303567"/>
                      <a:pt x="409125" y="308906"/>
                    </a:cubicBezTo>
                    <a:cubicBezTo>
                      <a:pt x="406873" y="315580"/>
                      <a:pt x="410460" y="322170"/>
                      <a:pt x="412212" y="324839"/>
                    </a:cubicBezTo>
                    <a:cubicBezTo>
                      <a:pt x="416216" y="331513"/>
                      <a:pt x="421055" y="337686"/>
                      <a:pt x="428147" y="344777"/>
                    </a:cubicBezTo>
                    <a:cubicBezTo>
                      <a:pt x="437907" y="354954"/>
                      <a:pt x="442746" y="360293"/>
                      <a:pt x="442329" y="370887"/>
                    </a:cubicBezTo>
                    <a:cubicBezTo>
                      <a:pt x="441912" y="376227"/>
                      <a:pt x="440577" y="381482"/>
                      <a:pt x="439242" y="386821"/>
                    </a:cubicBezTo>
                    <a:lnTo>
                      <a:pt x="437907" y="391659"/>
                    </a:lnTo>
                    <a:cubicBezTo>
                      <a:pt x="434821" y="406258"/>
                      <a:pt x="433069" y="421357"/>
                      <a:pt x="433486" y="436873"/>
                    </a:cubicBezTo>
                    <a:cubicBezTo>
                      <a:pt x="433903" y="443964"/>
                      <a:pt x="434404" y="451054"/>
                      <a:pt x="439242" y="456810"/>
                    </a:cubicBezTo>
                    <a:cubicBezTo>
                      <a:pt x="440577" y="458145"/>
                      <a:pt x="441912" y="459480"/>
                      <a:pt x="443247" y="460815"/>
                    </a:cubicBezTo>
                    <a:cubicBezTo>
                      <a:pt x="444164" y="461733"/>
                      <a:pt x="444999" y="462567"/>
                      <a:pt x="445916" y="463484"/>
                    </a:cubicBezTo>
                    <a:cubicBezTo>
                      <a:pt x="447251" y="465236"/>
                      <a:pt x="447668" y="468323"/>
                      <a:pt x="448586" y="471492"/>
                    </a:cubicBezTo>
                    <a:cubicBezTo>
                      <a:pt x="449504" y="476331"/>
                      <a:pt x="450338" y="481670"/>
                      <a:pt x="453925" y="486091"/>
                    </a:cubicBezTo>
                    <a:cubicBezTo>
                      <a:pt x="459265" y="492765"/>
                      <a:pt x="466773" y="494100"/>
                      <a:pt x="473447" y="494934"/>
                    </a:cubicBezTo>
                    <a:cubicBezTo>
                      <a:pt x="477869" y="495851"/>
                      <a:pt x="481873" y="496269"/>
                      <a:pt x="484043" y="498020"/>
                    </a:cubicBezTo>
                    <a:cubicBezTo>
                      <a:pt x="485377" y="498938"/>
                      <a:pt x="486295" y="500690"/>
                      <a:pt x="486712" y="502442"/>
                    </a:cubicBezTo>
                    <a:lnTo>
                      <a:pt x="486712" y="502859"/>
                    </a:lnTo>
                    <a:cubicBezTo>
                      <a:pt x="487630" y="506363"/>
                      <a:pt x="487129" y="510367"/>
                      <a:pt x="487129" y="512619"/>
                    </a:cubicBezTo>
                    <a:lnTo>
                      <a:pt x="486712" y="516122"/>
                    </a:lnTo>
                    <a:cubicBezTo>
                      <a:pt x="485794" y="522295"/>
                      <a:pt x="484460" y="528969"/>
                      <a:pt x="485377" y="535643"/>
                    </a:cubicBezTo>
                    <a:cubicBezTo>
                      <a:pt x="486295" y="544485"/>
                      <a:pt x="492886" y="549824"/>
                      <a:pt x="503564" y="551159"/>
                    </a:cubicBezTo>
                    <a:cubicBezTo>
                      <a:pt x="512908" y="552077"/>
                      <a:pt x="522169" y="548907"/>
                      <a:pt x="529260" y="543651"/>
                    </a:cubicBezTo>
                    <a:lnTo>
                      <a:pt x="531012" y="542316"/>
                    </a:lnTo>
                    <a:cubicBezTo>
                      <a:pt x="531930" y="541399"/>
                      <a:pt x="532764" y="540982"/>
                      <a:pt x="534099" y="540064"/>
                    </a:cubicBezTo>
                    <a:cubicBezTo>
                      <a:pt x="536768" y="538730"/>
                      <a:pt x="540773" y="539147"/>
                      <a:pt x="542525" y="541399"/>
                    </a:cubicBezTo>
                    <a:cubicBezTo>
                      <a:pt x="543442" y="542316"/>
                      <a:pt x="543442" y="543151"/>
                      <a:pt x="543442" y="543651"/>
                    </a:cubicBezTo>
                    <a:cubicBezTo>
                      <a:pt x="543442" y="544152"/>
                      <a:pt x="542525" y="544986"/>
                      <a:pt x="542525" y="545904"/>
                    </a:cubicBezTo>
                    <a:cubicBezTo>
                      <a:pt x="537686" y="554329"/>
                      <a:pt x="532764" y="562754"/>
                      <a:pt x="527424" y="571180"/>
                    </a:cubicBezTo>
                    <a:cubicBezTo>
                      <a:pt x="521251" y="580940"/>
                      <a:pt x="514160" y="591117"/>
                      <a:pt x="505316" y="599543"/>
                    </a:cubicBezTo>
                    <a:cubicBezTo>
                      <a:pt x="496473" y="608386"/>
                      <a:pt x="486295" y="614142"/>
                      <a:pt x="476534" y="615893"/>
                    </a:cubicBezTo>
                    <a:cubicBezTo>
                      <a:pt x="471195" y="616811"/>
                      <a:pt x="465438" y="617228"/>
                      <a:pt x="459265" y="617228"/>
                    </a:cubicBezTo>
                    <a:cubicBezTo>
                      <a:pt x="456595" y="617228"/>
                      <a:pt x="453508" y="617228"/>
                      <a:pt x="450839" y="617645"/>
                    </a:cubicBezTo>
                    <a:cubicBezTo>
                      <a:pt x="445499" y="618062"/>
                      <a:pt x="439326" y="618563"/>
                      <a:pt x="433152" y="621149"/>
                    </a:cubicBezTo>
                    <a:cubicBezTo>
                      <a:pt x="423391" y="625987"/>
                      <a:pt x="417635" y="635747"/>
                      <a:pt x="413213" y="645091"/>
                    </a:cubicBezTo>
                    <a:cubicBezTo>
                      <a:pt x="411878" y="647760"/>
                      <a:pt x="409709" y="649512"/>
                      <a:pt x="406539" y="651764"/>
                    </a:cubicBezTo>
                    <a:cubicBezTo>
                      <a:pt x="405204" y="652682"/>
                      <a:pt x="403869" y="654017"/>
                      <a:pt x="402535" y="654851"/>
                    </a:cubicBezTo>
                    <a:cubicBezTo>
                      <a:pt x="401617" y="655768"/>
                      <a:pt x="400282" y="656603"/>
                      <a:pt x="399865" y="657103"/>
                    </a:cubicBezTo>
                    <a:cubicBezTo>
                      <a:pt x="399448" y="657520"/>
                      <a:pt x="396778" y="655768"/>
                      <a:pt x="395026" y="654851"/>
                    </a:cubicBezTo>
                    <a:cubicBezTo>
                      <a:pt x="391522" y="652599"/>
                      <a:pt x="387017" y="650429"/>
                      <a:pt x="382178" y="650429"/>
                    </a:cubicBezTo>
                    <a:cubicBezTo>
                      <a:pt x="378674" y="650429"/>
                      <a:pt x="375504" y="651764"/>
                      <a:pt x="371583" y="653516"/>
                    </a:cubicBezTo>
                    <a:cubicBezTo>
                      <a:pt x="367579" y="655268"/>
                      <a:pt x="363157" y="656185"/>
                      <a:pt x="358318" y="657020"/>
                    </a:cubicBezTo>
                    <a:cubicBezTo>
                      <a:pt x="353480" y="657937"/>
                      <a:pt x="351644" y="657937"/>
                      <a:pt x="351227" y="657437"/>
                    </a:cubicBezTo>
                    <a:cubicBezTo>
                      <a:pt x="350810" y="656937"/>
                      <a:pt x="350309" y="656519"/>
                      <a:pt x="349892" y="655685"/>
                    </a:cubicBezTo>
                    <a:cubicBezTo>
                      <a:pt x="348974" y="654350"/>
                      <a:pt x="347640" y="652599"/>
                      <a:pt x="345471" y="650847"/>
                    </a:cubicBezTo>
                    <a:cubicBezTo>
                      <a:pt x="344136" y="649512"/>
                      <a:pt x="342384" y="648594"/>
                      <a:pt x="340632" y="648594"/>
                    </a:cubicBezTo>
                    <a:lnTo>
                      <a:pt x="340215" y="648594"/>
                    </a:lnTo>
                    <a:cubicBezTo>
                      <a:pt x="339797" y="644173"/>
                      <a:pt x="339797" y="639752"/>
                      <a:pt x="339797" y="634830"/>
                    </a:cubicBezTo>
                    <a:cubicBezTo>
                      <a:pt x="339380" y="626822"/>
                      <a:pt x="338880" y="619314"/>
                      <a:pt x="338463" y="611389"/>
                    </a:cubicBezTo>
                    <a:cubicBezTo>
                      <a:pt x="336210" y="591869"/>
                      <a:pt x="330454" y="587447"/>
                      <a:pt x="315854" y="579522"/>
                    </a:cubicBezTo>
                    <a:cubicBezTo>
                      <a:pt x="303006" y="572431"/>
                      <a:pt x="299920" y="561337"/>
                      <a:pt x="296332" y="548490"/>
                    </a:cubicBezTo>
                    <a:cubicBezTo>
                      <a:pt x="293245" y="536560"/>
                      <a:pt x="289241" y="522796"/>
                      <a:pt x="275976" y="512202"/>
                    </a:cubicBezTo>
                    <a:cubicBezTo>
                      <a:pt x="271137" y="508698"/>
                      <a:pt x="263128" y="503359"/>
                      <a:pt x="254702" y="505111"/>
                    </a:cubicBezTo>
                    <a:cubicBezTo>
                      <a:pt x="245859" y="507363"/>
                      <a:pt x="241437" y="514871"/>
                      <a:pt x="236098" y="524632"/>
                    </a:cubicBezTo>
                    <a:cubicBezTo>
                      <a:pt x="230342" y="534809"/>
                      <a:pt x="214824" y="542817"/>
                      <a:pt x="202894" y="538396"/>
                    </a:cubicBezTo>
                    <a:cubicBezTo>
                      <a:pt x="200224" y="537478"/>
                      <a:pt x="198472" y="535309"/>
                      <a:pt x="196720" y="533557"/>
                    </a:cubicBezTo>
                    <a:cubicBezTo>
                      <a:pt x="189629" y="524715"/>
                      <a:pt x="182538" y="524715"/>
                      <a:pt x="171025" y="532640"/>
                    </a:cubicBezTo>
                    <a:cubicBezTo>
                      <a:pt x="168772" y="533974"/>
                      <a:pt x="164351" y="537979"/>
                      <a:pt x="159512" y="542817"/>
                    </a:cubicBezTo>
                    <a:cubicBezTo>
                      <a:pt x="152838" y="537061"/>
                      <a:pt x="145330" y="532223"/>
                      <a:pt x="137404" y="528218"/>
                    </a:cubicBezTo>
                    <a:cubicBezTo>
                      <a:pt x="136069" y="527301"/>
                      <a:pt x="133900" y="525966"/>
                      <a:pt x="130730" y="525549"/>
                    </a:cubicBezTo>
                    <a:cubicBezTo>
                      <a:pt x="130730" y="519376"/>
                      <a:pt x="131147" y="513620"/>
                      <a:pt x="131147" y="507864"/>
                    </a:cubicBezTo>
                    <a:cubicBezTo>
                      <a:pt x="131564" y="501691"/>
                      <a:pt x="131564" y="495935"/>
                      <a:pt x="132065" y="489678"/>
                    </a:cubicBezTo>
                    <a:cubicBezTo>
                      <a:pt x="132065" y="487426"/>
                      <a:pt x="132482" y="485257"/>
                      <a:pt x="132982" y="483005"/>
                    </a:cubicBezTo>
                    <a:cubicBezTo>
                      <a:pt x="133900" y="476831"/>
                      <a:pt x="135235" y="468823"/>
                      <a:pt x="131648" y="461733"/>
                    </a:cubicBezTo>
                    <a:cubicBezTo>
                      <a:pt x="129395" y="458229"/>
                      <a:pt x="125474" y="455559"/>
                      <a:pt x="121887" y="453307"/>
                    </a:cubicBezTo>
                    <a:cubicBezTo>
                      <a:pt x="119634" y="451972"/>
                      <a:pt x="117465" y="450637"/>
                      <a:pt x="117048" y="449303"/>
                    </a:cubicBezTo>
                    <a:cubicBezTo>
                      <a:pt x="114795" y="446633"/>
                      <a:pt x="112209" y="443964"/>
                      <a:pt x="109539" y="440877"/>
                    </a:cubicBezTo>
                    <a:cubicBezTo>
                      <a:pt x="99779" y="429782"/>
                      <a:pt x="84762" y="413432"/>
                      <a:pt x="87431" y="402337"/>
                    </a:cubicBezTo>
                    <a:cubicBezTo>
                      <a:pt x="88349" y="399250"/>
                      <a:pt x="89684" y="395663"/>
                      <a:pt x="90518" y="392577"/>
                    </a:cubicBezTo>
                    <a:cubicBezTo>
                      <a:pt x="92270" y="388155"/>
                      <a:pt x="94022" y="383234"/>
                      <a:pt x="94940" y="377978"/>
                    </a:cubicBezTo>
                    <a:cubicBezTo>
                      <a:pt x="96275" y="369970"/>
                      <a:pt x="97609" y="363797"/>
                      <a:pt x="102031" y="358041"/>
                    </a:cubicBezTo>
                    <a:cubicBezTo>
                      <a:pt x="110457" y="347864"/>
                      <a:pt x="113544" y="340356"/>
                      <a:pt x="112626" y="332764"/>
                    </a:cubicBezTo>
                    <a:cubicBezTo>
                      <a:pt x="111291" y="321669"/>
                      <a:pt x="102448" y="314578"/>
                      <a:pt x="89600" y="304401"/>
                    </a:cubicBezTo>
                    <a:cubicBezTo>
                      <a:pt x="86097" y="301315"/>
                      <a:pt x="82509" y="297728"/>
                      <a:pt x="79005" y="293807"/>
                    </a:cubicBezTo>
                    <a:cubicBezTo>
                      <a:pt x="68827" y="282712"/>
                      <a:pt x="55562" y="269031"/>
                      <a:pt x="36040" y="273452"/>
                    </a:cubicBezTo>
                    <a:cubicBezTo>
                      <a:pt x="31619" y="274370"/>
                      <a:pt x="28532" y="276122"/>
                      <a:pt x="25862" y="276956"/>
                    </a:cubicBezTo>
                    <a:cubicBezTo>
                      <a:pt x="22358" y="278708"/>
                      <a:pt x="21024" y="279625"/>
                      <a:pt x="15684" y="277373"/>
                    </a:cubicBezTo>
                    <a:cubicBezTo>
                      <a:pt x="14349" y="276455"/>
                      <a:pt x="-250" y="270700"/>
                      <a:pt x="1085" y="262274"/>
                    </a:cubicBezTo>
                    <a:cubicBezTo>
                      <a:pt x="1502" y="259604"/>
                      <a:pt x="3337" y="257852"/>
                      <a:pt x="5506" y="255183"/>
                    </a:cubicBezTo>
                    <a:cubicBezTo>
                      <a:pt x="8176" y="251679"/>
                      <a:pt x="11680" y="247175"/>
                      <a:pt x="13015" y="241002"/>
                    </a:cubicBezTo>
                    <a:cubicBezTo>
                      <a:pt x="13932" y="237498"/>
                      <a:pt x="13432" y="232993"/>
                      <a:pt x="13015" y="229072"/>
                    </a:cubicBezTo>
                    <a:cubicBezTo>
                      <a:pt x="18354" y="231742"/>
                      <a:pt x="23610" y="232576"/>
                      <a:pt x="32036" y="233494"/>
                    </a:cubicBezTo>
                    <a:cubicBezTo>
                      <a:pt x="40462" y="234412"/>
                      <a:pt x="45801" y="234412"/>
                      <a:pt x="53310" y="237915"/>
                    </a:cubicBezTo>
                    <a:cubicBezTo>
                      <a:pt x="57731" y="240168"/>
                      <a:pt x="59984" y="244589"/>
                      <a:pt x="65240" y="245924"/>
                    </a:cubicBezTo>
                    <a:cubicBezTo>
                      <a:pt x="82092" y="249427"/>
                      <a:pt x="86931" y="231742"/>
                      <a:pt x="79422" y="218895"/>
                    </a:cubicBezTo>
                    <a:cubicBezTo>
                      <a:pt x="73666" y="210053"/>
                      <a:pt x="65240" y="209135"/>
                      <a:pt x="55979" y="206049"/>
                    </a:cubicBezTo>
                    <a:cubicBezTo>
                      <a:pt x="31952" y="198374"/>
                      <a:pt x="25278" y="181106"/>
                      <a:pt x="5756" y="1686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82094551" name="Полилиния 356"/>
              <p:cNvSpPr/>
              <p:nvPr/>
            </p:nvSpPr>
            <p:spPr bwMode="auto">
              <a:xfrm>
                <a:off x="1621692" y="4110332"/>
                <a:ext cx="244923" cy="281635"/>
              </a:xfrm>
              <a:custGeom>
                <a:avLst/>
                <a:gdLst>
                  <a:gd name="connsiteX0" fmla="*/ 109039 w 275058"/>
                  <a:gd name="connsiteY0" fmla="*/ 14181 h 316286"/>
                  <a:gd name="connsiteX1" fmla="*/ 109456 w 275058"/>
                  <a:gd name="connsiteY1" fmla="*/ 8426 h 316286"/>
                  <a:gd name="connsiteX2" fmla="*/ 110374 w 275058"/>
                  <a:gd name="connsiteY2" fmla="*/ 1335 h 316286"/>
                  <a:gd name="connsiteX3" fmla="*/ 110791 w 275058"/>
                  <a:gd name="connsiteY3" fmla="*/ 0 h 316286"/>
                  <a:gd name="connsiteX4" fmla="*/ 127143 w 275058"/>
                  <a:gd name="connsiteY4" fmla="*/ 7091 h 316286"/>
                  <a:gd name="connsiteX5" fmla="*/ 150168 w 275058"/>
                  <a:gd name="connsiteY5" fmla="*/ 4838 h 316286"/>
                  <a:gd name="connsiteX6" fmla="*/ 168355 w 275058"/>
                  <a:gd name="connsiteY6" fmla="*/ 3504 h 316286"/>
                  <a:gd name="connsiteX7" fmla="*/ 174112 w 275058"/>
                  <a:gd name="connsiteY7" fmla="*/ 6173 h 316286"/>
                  <a:gd name="connsiteX8" fmla="*/ 180285 w 275058"/>
                  <a:gd name="connsiteY8" fmla="*/ 9260 h 316286"/>
                  <a:gd name="connsiteX9" fmla="*/ 194051 w 275058"/>
                  <a:gd name="connsiteY9" fmla="*/ 12763 h 316286"/>
                  <a:gd name="connsiteX10" fmla="*/ 197138 w 275058"/>
                  <a:gd name="connsiteY10" fmla="*/ 13180 h 316286"/>
                  <a:gd name="connsiteX11" fmla="*/ 211737 w 275058"/>
                  <a:gd name="connsiteY11" fmla="*/ 17602 h 316286"/>
                  <a:gd name="connsiteX12" fmla="*/ 223667 w 275058"/>
                  <a:gd name="connsiteY12" fmla="*/ 75663 h 316286"/>
                  <a:gd name="connsiteX13" fmla="*/ 227171 w 275058"/>
                  <a:gd name="connsiteY13" fmla="*/ 88092 h 316286"/>
                  <a:gd name="connsiteX14" fmla="*/ 258623 w 275058"/>
                  <a:gd name="connsiteY14" fmla="*/ 136810 h 316286"/>
                  <a:gd name="connsiteX15" fmla="*/ 262127 w 275058"/>
                  <a:gd name="connsiteY15" fmla="*/ 140313 h 316286"/>
                  <a:gd name="connsiteX16" fmla="*/ 270136 w 275058"/>
                  <a:gd name="connsiteY16" fmla="*/ 172180 h 316286"/>
                  <a:gd name="connsiteX17" fmla="*/ 272806 w 275058"/>
                  <a:gd name="connsiteY17" fmla="*/ 203212 h 316286"/>
                  <a:gd name="connsiteX18" fmla="*/ 275058 w 275058"/>
                  <a:gd name="connsiteY18" fmla="*/ 207216 h 316286"/>
                  <a:gd name="connsiteX19" fmla="*/ 209068 w 275058"/>
                  <a:gd name="connsiteY19" fmla="*/ 291388 h 316286"/>
                  <a:gd name="connsiteX20" fmla="*/ 170942 w 275058"/>
                  <a:gd name="connsiteY20" fmla="*/ 315747 h 316286"/>
                  <a:gd name="connsiteX21" fmla="*/ 169607 w 275058"/>
                  <a:gd name="connsiteY21" fmla="*/ 315747 h 316286"/>
                  <a:gd name="connsiteX22" fmla="*/ 154506 w 275058"/>
                  <a:gd name="connsiteY22" fmla="*/ 311326 h 316286"/>
                  <a:gd name="connsiteX23" fmla="*/ 128394 w 275058"/>
                  <a:gd name="connsiteY23" fmla="*/ 281628 h 316286"/>
                  <a:gd name="connsiteX24" fmla="*/ 119968 w 275058"/>
                  <a:gd name="connsiteY24" fmla="*/ 263942 h 316286"/>
                  <a:gd name="connsiteX25" fmla="*/ 105368 w 275058"/>
                  <a:gd name="connsiteY25" fmla="*/ 214307 h 316286"/>
                  <a:gd name="connsiteX26" fmla="*/ 106286 w 275058"/>
                  <a:gd name="connsiteY26" fmla="*/ 208968 h 316286"/>
                  <a:gd name="connsiteX27" fmla="*/ 100112 w 275058"/>
                  <a:gd name="connsiteY27" fmla="*/ 174432 h 316286"/>
                  <a:gd name="connsiteX28" fmla="*/ 81091 w 275058"/>
                  <a:gd name="connsiteY28" fmla="*/ 164672 h 316286"/>
                  <a:gd name="connsiteX29" fmla="*/ 68243 w 275058"/>
                  <a:gd name="connsiteY29" fmla="*/ 158499 h 316286"/>
                  <a:gd name="connsiteX30" fmla="*/ 54478 w 275058"/>
                  <a:gd name="connsiteY30" fmla="*/ 135058 h 316286"/>
                  <a:gd name="connsiteX31" fmla="*/ 30117 w 275058"/>
                  <a:gd name="connsiteY31" fmla="*/ 101857 h 316286"/>
                  <a:gd name="connsiteX32" fmla="*/ 16352 w 275058"/>
                  <a:gd name="connsiteY32" fmla="*/ 96518 h 316286"/>
                  <a:gd name="connsiteX33" fmla="*/ 1752 w 275058"/>
                  <a:gd name="connsiteY33" fmla="*/ 89844 h 316286"/>
                  <a:gd name="connsiteX34" fmla="*/ 0 w 275058"/>
                  <a:gd name="connsiteY34" fmla="*/ 88509 h 316286"/>
                  <a:gd name="connsiteX35" fmla="*/ 2252 w 275058"/>
                  <a:gd name="connsiteY35" fmla="*/ 85423 h 316286"/>
                  <a:gd name="connsiteX36" fmla="*/ 3587 w 275058"/>
                  <a:gd name="connsiteY36" fmla="*/ 82336 h 316286"/>
                  <a:gd name="connsiteX37" fmla="*/ 4505 w 275058"/>
                  <a:gd name="connsiteY37" fmla="*/ 80084 h 316286"/>
                  <a:gd name="connsiteX38" fmla="*/ 13348 w 275058"/>
                  <a:gd name="connsiteY38" fmla="*/ 76997 h 316286"/>
                  <a:gd name="connsiteX39" fmla="*/ 46135 w 275058"/>
                  <a:gd name="connsiteY39" fmla="*/ 58811 h 316286"/>
                  <a:gd name="connsiteX40" fmla="*/ 52809 w 275058"/>
                  <a:gd name="connsiteY40" fmla="*/ 37122 h 316286"/>
                  <a:gd name="connsiteX41" fmla="*/ 54144 w 275058"/>
                  <a:gd name="connsiteY41" fmla="*/ 29614 h 316286"/>
                  <a:gd name="connsiteX42" fmla="*/ 55479 w 275058"/>
                  <a:gd name="connsiteY42" fmla="*/ 27362 h 316286"/>
                  <a:gd name="connsiteX43" fmla="*/ 75835 w 275058"/>
                  <a:gd name="connsiteY43" fmla="*/ 27779 h 316286"/>
                  <a:gd name="connsiteX44" fmla="*/ 78505 w 275058"/>
                  <a:gd name="connsiteY44" fmla="*/ 29114 h 316286"/>
                  <a:gd name="connsiteX45" fmla="*/ 99778 w 275058"/>
                  <a:gd name="connsiteY45" fmla="*/ 30448 h 316286"/>
                  <a:gd name="connsiteX46" fmla="*/ 109039 w 275058"/>
                  <a:gd name="connsiteY46" fmla="*/ 14181 h 316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75058" h="316286" extrusionOk="0">
                    <a:moveTo>
                      <a:pt x="109039" y="14181"/>
                    </a:moveTo>
                    <a:cubicBezTo>
                      <a:pt x="109456" y="11929"/>
                      <a:pt x="109456" y="10177"/>
                      <a:pt x="109456" y="8426"/>
                    </a:cubicBezTo>
                    <a:cubicBezTo>
                      <a:pt x="109873" y="5756"/>
                      <a:pt x="109873" y="3587"/>
                      <a:pt x="110374" y="1335"/>
                    </a:cubicBezTo>
                    <a:cubicBezTo>
                      <a:pt x="110374" y="918"/>
                      <a:pt x="110791" y="417"/>
                      <a:pt x="110791" y="0"/>
                    </a:cubicBezTo>
                    <a:cubicBezTo>
                      <a:pt x="115630" y="3087"/>
                      <a:pt x="120969" y="6173"/>
                      <a:pt x="127143" y="7091"/>
                    </a:cubicBezTo>
                    <a:cubicBezTo>
                      <a:pt x="135151" y="8426"/>
                      <a:pt x="142660" y="6674"/>
                      <a:pt x="150168" y="4838"/>
                    </a:cubicBezTo>
                    <a:cubicBezTo>
                      <a:pt x="156342" y="3504"/>
                      <a:pt x="162599" y="2169"/>
                      <a:pt x="168355" y="3504"/>
                    </a:cubicBezTo>
                    <a:cubicBezTo>
                      <a:pt x="170608" y="3921"/>
                      <a:pt x="171859" y="4838"/>
                      <a:pt x="174112" y="6173"/>
                    </a:cubicBezTo>
                    <a:cubicBezTo>
                      <a:pt x="175864" y="7091"/>
                      <a:pt x="177616" y="8843"/>
                      <a:pt x="180285" y="9260"/>
                    </a:cubicBezTo>
                    <a:cubicBezTo>
                      <a:pt x="185124" y="11512"/>
                      <a:pt x="189129" y="11929"/>
                      <a:pt x="194051" y="12763"/>
                    </a:cubicBezTo>
                    <a:lnTo>
                      <a:pt x="197138" y="13180"/>
                    </a:lnTo>
                    <a:cubicBezTo>
                      <a:pt x="201142" y="14098"/>
                      <a:pt x="206481" y="15433"/>
                      <a:pt x="211737" y="17602"/>
                    </a:cubicBezTo>
                    <a:cubicBezTo>
                      <a:pt x="211320" y="35787"/>
                      <a:pt x="218411" y="57894"/>
                      <a:pt x="223667" y="75663"/>
                    </a:cubicBezTo>
                    <a:cubicBezTo>
                      <a:pt x="225002" y="80501"/>
                      <a:pt x="226337" y="84505"/>
                      <a:pt x="227171" y="88092"/>
                    </a:cubicBezTo>
                    <a:cubicBezTo>
                      <a:pt x="233845" y="112034"/>
                      <a:pt x="244441" y="122628"/>
                      <a:pt x="258623" y="136810"/>
                    </a:cubicBezTo>
                    <a:lnTo>
                      <a:pt x="262127" y="140313"/>
                    </a:lnTo>
                    <a:cubicBezTo>
                      <a:pt x="272305" y="150073"/>
                      <a:pt x="270970" y="159834"/>
                      <a:pt x="270136" y="172180"/>
                    </a:cubicBezTo>
                    <a:cubicBezTo>
                      <a:pt x="269218" y="181523"/>
                      <a:pt x="267884" y="192117"/>
                      <a:pt x="272806" y="203212"/>
                    </a:cubicBezTo>
                    <a:cubicBezTo>
                      <a:pt x="273223" y="204547"/>
                      <a:pt x="274141" y="205882"/>
                      <a:pt x="275058" y="207216"/>
                    </a:cubicBezTo>
                    <a:cubicBezTo>
                      <a:pt x="247611" y="230658"/>
                      <a:pt x="222333" y="257686"/>
                      <a:pt x="209068" y="291388"/>
                    </a:cubicBezTo>
                    <a:cubicBezTo>
                      <a:pt x="201559" y="311326"/>
                      <a:pt x="190881" y="318416"/>
                      <a:pt x="170942" y="315747"/>
                    </a:cubicBezTo>
                    <a:cubicBezTo>
                      <a:pt x="170524" y="316164"/>
                      <a:pt x="170024" y="315747"/>
                      <a:pt x="169607" y="315747"/>
                    </a:cubicBezTo>
                    <a:cubicBezTo>
                      <a:pt x="163850" y="314829"/>
                      <a:pt x="159012" y="313494"/>
                      <a:pt x="154506" y="311326"/>
                    </a:cubicBezTo>
                    <a:cubicBezTo>
                      <a:pt x="140324" y="304652"/>
                      <a:pt x="132398" y="292305"/>
                      <a:pt x="128394" y="281628"/>
                    </a:cubicBezTo>
                    <a:cubicBezTo>
                      <a:pt x="125724" y="275872"/>
                      <a:pt x="123055" y="269698"/>
                      <a:pt x="119968" y="263942"/>
                    </a:cubicBezTo>
                    <a:cubicBezTo>
                      <a:pt x="111542" y="247092"/>
                      <a:pt x="103616" y="231158"/>
                      <a:pt x="105368" y="214307"/>
                    </a:cubicBezTo>
                    <a:lnTo>
                      <a:pt x="106286" y="208968"/>
                    </a:lnTo>
                    <a:cubicBezTo>
                      <a:pt x="108038" y="198374"/>
                      <a:pt x="109790" y="185027"/>
                      <a:pt x="100112" y="174432"/>
                    </a:cubicBezTo>
                    <a:cubicBezTo>
                      <a:pt x="94773" y="168676"/>
                      <a:pt x="87264" y="166424"/>
                      <a:pt x="81091" y="164672"/>
                    </a:cubicBezTo>
                    <a:cubicBezTo>
                      <a:pt x="76252" y="162920"/>
                      <a:pt x="71330" y="161586"/>
                      <a:pt x="68243" y="158499"/>
                    </a:cubicBezTo>
                    <a:cubicBezTo>
                      <a:pt x="62070" y="152326"/>
                      <a:pt x="58065" y="144317"/>
                      <a:pt x="54478" y="135058"/>
                    </a:cubicBezTo>
                    <a:cubicBezTo>
                      <a:pt x="49639" y="123129"/>
                      <a:pt x="43882" y="109364"/>
                      <a:pt x="30117" y="101857"/>
                    </a:cubicBezTo>
                    <a:cubicBezTo>
                      <a:pt x="25696" y="99187"/>
                      <a:pt x="21274" y="97852"/>
                      <a:pt x="16352" y="96518"/>
                    </a:cubicBezTo>
                    <a:cubicBezTo>
                      <a:pt x="11012" y="94766"/>
                      <a:pt x="6174" y="93431"/>
                      <a:pt x="1752" y="89844"/>
                    </a:cubicBezTo>
                    <a:cubicBezTo>
                      <a:pt x="1335" y="89427"/>
                      <a:pt x="417" y="88926"/>
                      <a:pt x="0" y="88509"/>
                    </a:cubicBezTo>
                    <a:cubicBezTo>
                      <a:pt x="1335" y="87592"/>
                      <a:pt x="1752" y="86257"/>
                      <a:pt x="2252" y="85423"/>
                    </a:cubicBezTo>
                    <a:cubicBezTo>
                      <a:pt x="2753" y="84588"/>
                      <a:pt x="3170" y="83170"/>
                      <a:pt x="3587" y="82336"/>
                    </a:cubicBezTo>
                    <a:cubicBezTo>
                      <a:pt x="4005" y="81502"/>
                      <a:pt x="4005" y="80584"/>
                      <a:pt x="4505" y="80084"/>
                    </a:cubicBezTo>
                    <a:cubicBezTo>
                      <a:pt x="5423" y="78332"/>
                      <a:pt x="9844" y="77414"/>
                      <a:pt x="13348" y="76997"/>
                    </a:cubicBezTo>
                    <a:cubicBezTo>
                      <a:pt x="29283" y="74328"/>
                      <a:pt x="39961" y="68155"/>
                      <a:pt x="46135" y="58811"/>
                    </a:cubicBezTo>
                    <a:cubicBezTo>
                      <a:pt x="50557" y="51721"/>
                      <a:pt x="51474" y="44213"/>
                      <a:pt x="52809" y="37122"/>
                    </a:cubicBezTo>
                    <a:cubicBezTo>
                      <a:pt x="53226" y="34453"/>
                      <a:pt x="53727" y="32284"/>
                      <a:pt x="54144" y="29614"/>
                    </a:cubicBezTo>
                    <a:cubicBezTo>
                      <a:pt x="54561" y="28279"/>
                      <a:pt x="54561" y="28279"/>
                      <a:pt x="55479" y="27362"/>
                    </a:cubicBezTo>
                    <a:cubicBezTo>
                      <a:pt x="62153" y="25110"/>
                      <a:pt x="69244" y="25610"/>
                      <a:pt x="75835" y="27779"/>
                    </a:cubicBezTo>
                    <a:lnTo>
                      <a:pt x="78505" y="29114"/>
                    </a:lnTo>
                    <a:cubicBezTo>
                      <a:pt x="84261" y="31366"/>
                      <a:pt x="92270" y="34453"/>
                      <a:pt x="99778" y="30448"/>
                    </a:cubicBezTo>
                    <a:cubicBezTo>
                      <a:pt x="104617" y="28279"/>
                      <a:pt x="108205" y="22106"/>
                      <a:pt x="109039" y="1418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52528166" name="Полилиния 357"/>
              <p:cNvSpPr/>
              <p:nvPr/>
            </p:nvSpPr>
            <p:spPr bwMode="auto">
              <a:xfrm>
                <a:off x="1639890" y="3106566"/>
                <a:ext cx="342388" cy="512912"/>
              </a:xfrm>
              <a:custGeom>
                <a:avLst/>
                <a:gdLst>
                  <a:gd name="connsiteX0" fmla="*/ 2670 w 384514"/>
                  <a:gd name="connsiteY0" fmla="*/ 336518 h 576018"/>
                  <a:gd name="connsiteX1" fmla="*/ 0 w 384514"/>
                  <a:gd name="connsiteY1" fmla="*/ 324089 h 576018"/>
                  <a:gd name="connsiteX2" fmla="*/ 32370 w 384514"/>
                  <a:gd name="connsiteY2" fmla="*/ 306821 h 576018"/>
                  <a:gd name="connsiteX3" fmla="*/ 57648 w 384514"/>
                  <a:gd name="connsiteY3" fmla="*/ 260272 h 576018"/>
                  <a:gd name="connsiteX4" fmla="*/ 83761 w 384514"/>
                  <a:gd name="connsiteY4" fmla="*/ 216393 h 576018"/>
                  <a:gd name="connsiteX5" fmla="*/ 93521 w 384514"/>
                  <a:gd name="connsiteY5" fmla="*/ 211054 h 576018"/>
                  <a:gd name="connsiteX6" fmla="*/ 123639 w 384514"/>
                  <a:gd name="connsiteY6" fmla="*/ 177352 h 576018"/>
                  <a:gd name="connsiteX7" fmla="*/ 125891 w 384514"/>
                  <a:gd name="connsiteY7" fmla="*/ 159667 h 576018"/>
                  <a:gd name="connsiteX8" fmla="*/ 128144 w 384514"/>
                  <a:gd name="connsiteY8" fmla="*/ 143734 h 576018"/>
                  <a:gd name="connsiteX9" fmla="*/ 128144 w 384514"/>
                  <a:gd name="connsiteY9" fmla="*/ 143316 h 576018"/>
                  <a:gd name="connsiteX10" fmla="*/ 132565 w 384514"/>
                  <a:gd name="connsiteY10" fmla="*/ 133139 h 576018"/>
                  <a:gd name="connsiteX11" fmla="*/ 135652 w 384514"/>
                  <a:gd name="connsiteY11" fmla="*/ 130053 h 576018"/>
                  <a:gd name="connsiteX12" fmla="*/ 167104 w 384514"/>
                  <a:gd name="connsiteY12" fmla="*/ 121210 h 576018"/>
                  <a:gd name="connsiteX13" fmla="*/ 198139 w 384514"/>
                  <a:gd name="connsiteY13" fmla="*/ 115037 h 576018"/>
                  <a:gd name="connsiteX14" fmla="*/ 224251 w 384514"/>
                  <a:gd name="connsiteY14" fmla="*/ 85840 h 576018"/>
                  <a:gd name="connsiteX15" fmla="*/ 232260 w 384514"/>
                  <a:gd name="connsiteY15" fmla="*/ 72576 h 576018"/>
                  <a:gd name="connsiteX16" fmla="*/ 253951 w 384514"/>
                  <a:gd name="connsiteY16" fmla="*/ 54390 h 576018"/>
                  <a:gd name="connsiteX17" fmla="*/ 273473 w 384514"/>
                  <a:gd name="connsiteY17" fmla="*/ 40209 h 576018"/>
                  <a:gd name="connsiteX18" fmla="*/ 285403 w 384514"/>
                  <a:gd name="connsiteY18" fmla="*/ 23858 h 576018"/>
                  <a:gd name="connsiteX19" fmla="*/ 299586 w 384514"/>
                  <a:gd name="connsiteY19" fmla="*/ 7007 h 576018"/>
                  <a:gd name="connsiteX20" fmla="*/ 309764 w 384514"/>
                  <a:gd name="connsiteY20" fmla="*/ 6590 h 576018"/>
                  <a:gd name="connsiteX21" fmla="*/ 318190 w 384514"/>
                  <a:gd name="connsiteY21" fmla="*/ 7925 h 576018"/>
                  <a:gd name="connsiteX22" fmla="*/ 346972 w 384514"/>
                  <a:gd name="connsiteY22" fmla="*/ 1752 h 576018"/>
                  <a:gd name="connsiteX23" fmla="*/ 351811 w 384514"/>
                  <a:gd name="connsiteY23" fmla="*/ 0 h 576018"/>
                  <a:gd name="connsiteX24" fmla="*/ 350476 w 384514"/>
                  <a:gd name="connsiteY24" fmla="*/ 20855 h 576018"/>
                  <a:gd name="connsiteX25" fmla="*/ 351811 w 384514"/>
                  <a:gd name="connsiteY25" fmla="*/ 40793 h 576018"/>
                  <a:gd name="connsiteX26" fmla="*/ 366411 w 384514"/>
                  <a:gd name="connsiteY26" fmla="*/ 64734 h 576018"/>
                  <a:gd name="connsiteX27" fmla="*/ 377006 w 384514"/>
                  <a:gd name="connsiteY27" fmla="*/ 79333 h 576018"/>
                  <a:gd name="connsiteX28" fmla="*/ 380093 w 384514"/>
                  <a:gd name="connsiteY28" fmla="*/ 108530 h 576018"/>
                  <a:gd name="connsiteX29" fmla="*/ 378758 w 384514"/>
                  <a:gd name="connsiteY29" fmla="*/ 153744 h 576018"/>
                  <a:gd name="connsiteX30" fmla="*/ 381010 w 384514"/>
                  <a:gd name="connsiteY30" fmla="*/ 182941 h 576018"/>
                  <a:gd name="connsiteX31" fmla="*/ 384097 w 384514"/>
                  <a:gd name="connsiteY31" fmla="*/ 191784 h 576018"/>
                  <a:gd name="connsiteX32" fmla="*/ 384514 w 384514"/>
                  <a:gd name="connsiteY32" fmla="*/ 193118 h 576018"/>
                  <a:gd name="connsiteX33" fmla="*/ 380093 w 384514"/>
                  <a:gd name="connsiteY33" fmla="*/ 192701 h 576018"/>
                  <a:gd name="connsiteX34" fmla="*/ 346388 w 384514"/>
                  <a:gd name="connsiteY34" fmla="*/ 197540 h 576018"/>
                  <a:gd name="connsiteX35" fmla="*/ 335292 w 384514"/>
                  <a:gd name="connsiteY35" fmla="*/ 250262 h 576018"/>
                  <a:gd name="connsiteX36" fmla="*/ 338379 w 384514"/>
                  <a:gd name="connsiteY36" fmla="*/ 262691 h 576018"/>
                  <a:gd name="connsiteX37" fmla="*/ 335292 w 384514"/>
                  <a:gd name="connsiteY37" fmla="*/ 295058 h 576018"/>
                  <a:gd name="connsiteX38" fmla="*/ 298501 w 384514"/>
                  <a:gd name="connsiteY38" fmla="*/ 333182 h 576018"/>
                  <a:gd name="connsiteX39" fmla="*/ 286071 w 384514"/>
                  <a:gd name="connsiteY39" fmla="*/ 357957 h 576018"/>
                  <a:gd name="connsiteX40" fmla="*/ 281649 w 384514"/>
                  <a:gd name="connsiteY40" fmla="*/ 371722 h 576018"/>
                  <a:gd name="connsiteX41" fmla="*/ 275475 w 384514"/>
                  <a:gd name="connsiteY41" fmla="*/ 374808 h 576018"/>
                  <a:gd name="connsiteX42" fmla="*/ 263045 w 384514"/>
                  <a:gd name="connsiteY42" fmla="*/ 380981 h 576018"/>
                  <a:gd name="connsiteX43" fmla="*/ 257706 w 384514"/>
                  <a:gd name="connsiteY43" fmla="*/ 402254 h 576018"/>
                  <a:gd name="connsiteX44" fmla="*/ 257706 w 384514"/>
                  <a:gd name="connsiteY44" fmla="*/ 405340 h 576018"/>
                  <a:gd name="connsiteX45" fmla="*/ 257288 w 384514"/>
                  <a:gd name="connsiteY45" fmla="*/ 419105 h 576018"/>
                  <a:gd name="connsiteX46" fmla="*/ 229841 w 384514"/>
                  <a:gd name="connsiteY46" fmla="*/ 448803 h 576018"/>
                  <a:gd name="connsiteX47" fmla="*/ 227588 w 384514"/>
                  <a:gd name="connsiteY47" fmla="*/ 457228 h 576018"/>
                  <a:gd name="connsiteX48" fmla="*/ 218745 w 384514"/>
                  <a:gd name="connsiteY48" fmla="*/ 478500 h 576018"/>
                  <a:gd name="connsiteX49" fmla="*/ 210319 w 384514"/>
                  <a:gd name="connsiteY49" fmla="*/ 499355 h 576018"/>
                  <a:gd name="connsiteX50" fmla="*/ 207649 w 384514"/>
                  <a:gd name="connsiteY50" fmla="*/ 520210 h 576018"/>
                  <a:gd name="connsiteX51" fmla="*/ 202310 w 384514"/>
                  <a:gd name="connsiteY51" fmla="*/ 541900 h 576018"/>
                  <a:gd name="connsiteX52" fmla="*/ 185041 w 384514"/>
                  <a:gd name="connsiteY52" fmla="*/ 550742 h 576018"/>
                  <a:gd name="connsiteX53" fmla="*/ 163350 w 384514"/>
                  <a:gd name="connsiteY53" fmla="*/ 561837 h 576018"/>
                  <a:gd name="connsiteX54" fmla="*/ 154506 w 384514"/>
                  <a:gd name="connsiteY54" fmla="*/ 576019 h 576018"/>
                  <a:gd name="connsiteX55" fmla="*/ 106202 w 384514"/>
                  <a:gd name="connsiteY55" fmla="*/ 559668 h 576018"/>
                  <a:gd name="connsiteX56" fmla="*/ 97359 w 384514"/>
                  <a:gd name="connsiteY56" fmla="*/ 562338 h 576018"/>
                  <a:gd name="connsiteX57" fmla="*/ 52142 w 384514"/>
                  <a:gd name="connsiteY57" fmla="*/ 469741 h 576018"/>
                  <a:gd name="connsiteX58" fmla="*/ 39294 w 384514"/>
                  <a:gd name="connsiteY58" fmla="*/ 440043 h 576018"/>
                  <a:gd name="connsiteX59" fmla="*/ 37542 w 384514"/>
                  <a:gd name="connsiteY59" fmla="*/ 399751 h 576018"/>
                  <a:gd name="connsiteX60" fmla="*/ 34455 w 384514"/>
                  <a:gd name="connsiteY60" fmla="*/ 392243 h 576018"/>
                  <a:gd name="connsiteX61" fmla="*/ 30951 w 384514"/>
                  <a:gd name="connsiteY61" fmla="*/ 382483 h 576018"/>
                  <a:gd name="connsiteX62" fmla="*/ 18521 w 384514"/>
                  <a:gd name="connsiteY62" fmla="*/ 356789 h 576018"/>
                  <a:gd name="connsiteX63" fmla="*/ 15017 w 384514"/>
                  <a:gd name="connsiteY63" fmla="*/ 351451 h 576018"/>
                  <a:gd name="connsiteX64" fmla="*/ 2670 w 384514"/>
                  <a:gd name="connsiteY64" fmla="*/ 336518 h 576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84514" h="576018" extrusionOk="0">
                    <a:moveTo>
                      <a:pt x="2670" y="336518"/>
                    </a:moveTo>
                    <a:cubicBezTo>
                      <a:pt x="1335" y="332514"/>
                      <a:pt x="417" y="328093"/>
                      <a:pt x="0" y="324089"/>
                    </a:cubicBezTo>
                    <a:cubicBezTo>
                      <a:pt x="11930" y="321002"/>
                      <a:pt x="23026" y="315663"/>
                      <a:pt x="32370" y="306821"/>
                    </a:cubicBezTo>
                    <a:cubicBezTo>
                      <a:pt x="46552" y="293974"/>
                      <a:pt x="51891" y="277123"/>
                      <a:pt x="57648" y="260272"/>
                    </a:cubicBezTo>
                    <a:cubicBezTo>
                      <a:pt x="62987" y="242587"/>
                      <a:pt x="68744" y="225736"/>
                      <a:pt x="83761" y="216393"/>
                    </a:cubicBezTo>
                    <a:cubicBezTo>
                      <a:pt x="86847" y="214140"/>
                      <a:pt x="90435" y="212889"/>
                      <a:pt x="93521" y="211054"/>
                    </a:cubicBezTo>
                    <a:cubicBezTo>
                      <a:pt x="105952" y="204380"/>
                      <a:pt x="119217" y="197790"/>
                      <a:pt x="123639" y="177352"/>
                    </a:cubicBezTo>
                    <a:cubicBezTo>
                      <a:pt x="124973" y="171596"/>
                      <a:pt x="125391" y="165423"/>
                      <a:pt x="125891" y="159667"/>
                    </a:cubicBezTo>
                    <a:cubicBezTo>
                      <a:pt x="126308" y="153911"/>
                      <a:pt x="126809" y="148572"/>
                      <a:pt x="128144" y="143734"/>
                    </a:cubicBezTo>
                    <a:lnTo>
                      <a:pt x="128144" y="143316"/>
                    </a:lnTo>
                    <a:cubicBezTo>
                      <a:pt x="129061" y="139813"/>
                      <a:pt x="130396" y="136226"/>
                      <a:pt x="132565" y="133139"/>
                    </a:cubicBezTo>
                    <a:cubicBezTo>
                      <a:pt x="133483" y="131804"/>
                      <a:pt x="134818" y="130887"/>
                      <a:pt x="135652" y="130053"/>
                    </a:cubicBezTo>
                    <a:cubicBezTo>
                      <a:pt x="143160" y="122962"/>
                      <a:pt x="154256" y="122044"/>
                      <a:pt x="167104" y="121210"/>
                    </a:cubicBezTo>
                    <a:cubicBezTo>
                      <a:pt x="177699" y="120292"/>
                      <a:pt x="188378" y="119875"/>
                      <a:pt x="198139" y="115037"/>
                    </a:cubicBezTo>
                    <a:cubicBezTo>
                      <a:pt x="212321" y="108363"/>
                      <a:pt x="218495" y="96851"/>
                      <a:pt x="224251" y="85840"/>
                    </a:cubicBezTo>
                    <a:cubicBezTo>
                      <a:pt x="226504" y="81419"/>
                      <a:pt x="229090" y="76997"/>
                      <a:pt x="232260" y="72576"/>
                    </a:cubicBezTo>
                    <a:cubicBezTo>
                      <a:pt x="237600" y="64568"/>
                      <a:pt x="246026" y="59729"/>
                      <a:pt x="253951" y="54390"/>
                    </a:cubicBezTo>
                    <a:cubicBezTo>
                      <a:pt x="260625" y="49969"/>
                      <a:pt x="267216" y="45965"/>
                      <a:pt x="273473" y="40209"/>
                    </a:cubicBezTo>
                    <a:cubicBezTo>
                      <a:pt x="278312" y="35370"/>
                      <a:pt x="281899" y="29614"/>
                      <a:pt x="285403" y="23858"/>
                    </a:cubicBezTo>
                    <a:cubicBezTo>
                      <a:pt x="289825" y="16768"/>
                      <a:pt x="293829" y="10094"/>
                      <a:pt x="299586" y="7007"/>
                    </a:cubicBezTo>
                    <a:cubicBezTo>
                      <a:pt x="303590" y="4755"/>
                      <a:pt x="305342" y="5673"/>
                      <a:pt x="309764" y="6590"/>
                    </a:cubicBezTo>
                    <a:cubicBezTo>
                      <a:pt x="312434" y="7007"/>
                      <a:pt x="314603" y="7925"/>
                      <a:pt x="318190" y="7925"/>
                    </a:cubicBezTo>
                    <a:cubicBezTo>
                      <a:pt x="330621" y="9260"/>
                      <a:pt x="336377" y="6590"/>
                      <a:pt x="346972" y="1752"/>
                    </a:cubicBezTo>
                    <a:cubicBezTo>
                      <a:pt x="348724" y="834"/>
                      <a:pt x="350059" y="417"/>
                      <a:pt x="351811" y="0"/>
                    </a:cubicBezTo>
                    <a:lnTo>
                      <a:pt x="350476" y="20855"/>
                    </a:lnTo>
                    <a:cubicBezTo>
                      <a:pt x="350059" y="27028"/>
                      <a:pt x="349558" y="33702"/>
                      <a:pt x="351811" y="40793"/>
                    </a:cubicBezTo>
                    <a:cubicBezTo>
                      <a:pt x="354481" y="50553"/>
                      <a:pt x="360654" y="58061"/>
                      <a:pt x="366411" y="64734"/>
                    </a:cubicBezTo>
                    <a:cubicBezTo>
                      <a:pt x="370832" y="69573"/>
                      <a:pt x="374837" y="74495"/>
                      <a:pt x="377006" y="79333"/>
                    </a:cubicBezTo>
                    <a:cubicBezTo>
                      <a:pt x="380510" y="88175"/>
                      <a:pt x="380510" y="98853"/>
                      <a:pt x="380093" y="108530"/>
                    </a:cubicBezTo>
                    <a:lnTo>
                      <a:pt x="378758" y="153744"/>
                    </a:lnTo>
                    <a:cubicBezTo>
                      <a:pt x="378341" y="162587"/>
                      <a:pt x="377840" y="173264"/>
                      <a:pt x="381010" y="182941"/>
                    </a:cubicBezTo>
                    <a:cubicBezTo>
                      <a:pt x="381928" y="186028"/>
                      <a:pt x="383263" y="189114"/>
                      <a:pt x="384097" y="191784"/>
                    </a:cubicBezTo>
                    <a:cubicBezTo>
                      <a:pt x="384514" y="192201"/>
                      <a:pt x="384514" y="192701"/>
                      <a:pt x="384514" y="193118"/>
                    </a:cubicBezTo>
                    <a:cubicBezTo>
                      <a:pt x="383180" y="193118"/>
                      <a:pt x="381845" y="192701"/>
                      <a:pt x="380093" y="192701"/>
                    </a:cubicBezTo>
                    <a:cubicBezTo>
                      <a:pt x="368997" y="191367"/>
                      <a:pt x="356149" y="189615"/>
                      <a:pt x="346388" y="197540"/>
                    </a:cubicBezTo>
                    <a:cubicBezTo>
                      <a:pt x="328702" y="212138"/>
                      <a:pt x="334458" y="246674"/>
                      <a:pt x="335292" y="250262"/>
                    </a:cubicBezTo>
                    <a:cubicBezTo>
                      <a:pt x="336210" y="255100"/>
                      <a:pt x="337545" y="259104"/>
                      <a:pt x="338379" y="262691"/>
                    </a:cubicBezTo>
                    <a:cubicBezTo>
                      <a:pt x="341466" y="275538"/>
                      <a:pt x="343218" y="282629"/>
                      <a:pt x="335292" y="295058"/>
                    </a:cubicBezTo>
                    <a:cubicBezTo>
                      <a:pt x="325531" y="310575"/>
                      <a:pt x="314019" y="320752"/>
                      <a:pt x="298501" y="333182"/>
                    </a:cubicBezTo>
                    <a:cubicBezTo>
                      <a:pt x="288323" y="341607"/>
                      <a:pt x="286988" y="350867"/>
                      <a:pt x="286071" y="357957"/>
                    </a:cubicBezTo>
                    <a:cubicBezTo>
                      <a:pt x="285153" y="362796"/>
                      <a:pt x="284736" y="367301"/>
                      <a:pt x="281649" y="371722"/>
                    </a:cubicBezTo>
                    <a:cubicBezTo>
                      <a:pt x="280314" y="373974"/>
                      <a:pt x="278979" y="373974"/>
                      <a:pt x="275475" y="374808"/>
                    </a:cubicBezTo>
                    <a:cubicBezTo>
                      <a:pt x="271971" y="375643"/>
                      <a:pt x="267049" y="377061"/>
                      <a:pt x="263045" y="380981"/>
                    </a:cubicBezTo>
                    <a:cubicBezTo>
                      <a:pt x="257288" y="386737"/>
                      <a:pt x="257288" y="395580"/>
                      <a:pt x="257706" y="402254"/>
                    </a:cubicBezTo>
                    <a:lnTo>
                      <a:pt x="257706" y="405340"/>
                    </a:lnTo>
                    <a:cubicBezTo>
                      <a:pt x="257288" y="409762"/>
                      <a:pt x="257288" y="414183"/>
                      <a:pt x="257288" y="419105"/>
                    </a:cubicBezTo>
                    <a:cubicBezTo>
                      <a:pt x="236015" y="421774"/>
                      <a:pt x="232511" y="436790"/>
                      <a:pt x="229841" y="448803"/>
                    </a:cubicBezTo>
                    <a:cubicBezTo>
                      <a:pt x="228923" y="451472"/>
                      <a:pt x="228506" y="454558"/>
                      <a:pt x="227588" y="457228"/>
                    </a:cubicBezTo>
                    <a:cubicBezTo>
                      <a:pt x="225336" y="464318"/>
                      <a:pt x="222249" y="471409"/>
                      <a:pt x="218745" y="478500"/>
                    </a:cubicBezTo>
                    <a:cubicBezTo>
                      <a:pt x="215658" y="485591"/>
                      <a:pt x="212572" y="492264"/>
                      <a:pt x="210319" y="499355"/>
                    </a:cubicBezTo>
                    <a:cubicBezTo>
                      <a:pt x="207649" y="506863"/>
                      <a:pt x="207649" y="513954"/>
                      <a:pt x="207649" y="520210"/>
                    </a:cubicBezTo>
                    <a:cubicBezTo>
                      <a:pt x="207649" y="528636"/>
                      <a:pt x="207232" y="534809"/>
                      <a:pt x="202310" y="541900"/>
                    </a:cubicBezTo>
                    <a:cubicBezTo>
                      <a:pt x="197888" y="547239"/>
                      <a:pt x="191715" y="548990"/>
                      <a:pt x="185041" y="550742"/>
                    </a:cubicBezTo>
                    <a:cubicBezTo>
                      <a:pt x="177949" y="552995"/>
                      <a:pt x="169940" y="555164"/>
                      <a:pt x="163350" y="561837"/>
                    </a:cubicBezTo>
                    <a:cubicBezTo>
                      <a:pt x="159846" y="565841"/>
                      <a:pt x="156676" y="570680"/>
                      <a:pt x="154506" y="576019"/>
                    </a:cubicBezTo>
                    <a:cubicBezTo>
                      <a:pt x="140741" y="555664"/>
                      <a:pt x="121303" y="556498"/>
                      <a:pt x="106202" y="559668"/>
                    </a:cubicBezTo>
                    <a:cubicBezTo>
                      <a:pt x="103116" y="560586"/>
                      <a:pt x="100029" y="561003"/>
                      <a:pt x="97359" y="562338"/>
                    </a:cubicBezTo>
                    <a:cubicBezTo>
                      <a:pt x="107120" y="523380"/>
                      <a:pt x="90268" y="489262"/>
                      <a:pt x="52142" y="469741"/>
                    </a:cubicBezTo>
                    <a:cubicBezTo>
                      <a:pt x="35790" y="461316"/>
                      <a:pt x="33538" y="455559"/>
                      <a:pt x="39294" y="440043"/>
                    </a:cubicBezTo>
                    <a:cubicBezTo>
                      <a:pt x="46385" y="421857"/>
                      <a:pt x="43716" y="414350"/>
                      <a:pt x="37542" y="399751"/>
                    </a:cubicBezTo>
                    <a:lnTo>
                      <a:pt x="34455" y="392243"/>
                    </a:lnTo>
                    <a:cubicBezTo>
                      <a:pt x="33120" y="389157"/>
                      <a:pt x="31786" y="385570"/>
                      <a:pt x="30951" y="382483"/>
                    </a:cubicBezTo>
                    <a:cubicBezTo>
                      <a:pt x="27865" y="374058"/>
                      <a:pt x="24778" y="365632"/>
                      <a:pt x="18521" y="356789"/>
                    </a:cubicBezTo>
                    <a:lnTo>
                      <a:pt x="15017" y="351451"/>
                    </a:lnTo>
                    <a:cubicBezTo>
                      <a:pt x="7592" y="347613"/>
                      <a:pt x="4505" y="342775"/>
                      <a:pt x="2670" y="33651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11722484" name="Полилиния 358"/>
              <p:cNvSpPr/>
              <p:nvPr/>
            </p:nvSpPr>
            <p:spPr bwMode="auto">
              <a:xfrm>
                <a:off x="1593975" y="3616706"/>
                <a:ext cx="405762" cy="314757"/>
              </a:xfrm>
              <a:custGeom>
                <a:avLst/>
                <a:gdLst>
                  <a:gd name="connsiteX0" fmla="*/ 2844 w 455685"/>
                  <a:gd name="connsiteY0" fmla="*/ 248206 h 353483"/>
                  <a:gd name="connsiteX1" fmla="*/ 8601 w 455685"/>
                  <a:gd name="connsiteY1" fmla="*/ 235776 h 353483"/>
                  <a:gd name="connsiteX2" fmla="*/ 19697 w 455685"/>
                  <a:gd name="connsiteY2" fmla="*/ 193232 h 353483"/>
                  <a:gd name="connsiteX3" fmla="*/ 32127 w 455685"/>
                  <a:gd name="connsiteY3" fmla="*/ 149352 h 353483"/>
                  <a:gd name="connsiteX4" fmla="*/ 40136 w 455685"/>
                  <a:gd name="connsiteY4" fmla="*/ 132501 h 353483"/>
                  <a:gd name="connsiteX5" fmla="*/ 45475 w 455685"/>
                  <a:gd name="connsiteY5" fmla="*/ 108560 h 353483"/>
                  <a:gd name="connsiteX6" fmla="*/ 59241 w 455685"/>
                  <a:gd name="connsiteY6" fmla="*/ 78862 h 353483"/>
                  <a:gd name="connsiteX7" fmla="*/ 72089 w 455685"/>
                  <a:gd name="connsiteY7" fmla="*/ 73523 h 353483"/>
                  <a:gd name="connsiteX8" fmla="*/ 89358 w 455685"/>
                  <a:gd name="connsiteY8" fmla="*/ 65098 h 353483"/>
                  <a:gd name="connsiteX9" fmla="*/ 103541 w 455685"/>
                  <a:gd name="connsiteY9" fmla="*/ 48747 h 353483"/>
                  <a:gd name="connsiteX10" fmla="*/ 110632 w 455685"/>
                  <a:gd name="connsiteY10" fmla="*/ 38987 h 353483"/>
                  <a:gd name="connsiteX11" fmla="*/ 121227 w 455685"/>
                  <a:gd name="connsiteY11" fmla="*/ 28810 h 353483"/>
                  <a:gd name="connsiteX12" fmla="*/ 140749 w 455685"/>
                  <a:gd name="connsiteY12" fmla="*/ 6203 h 353483"/>
                  <a:gd name="connsiteX13" fmla="*/ 158435 w 455685"/>
                  <a:gd name="connsiteY13" fmla="*/ 1364 h 353483"/>
                  <a:gd name="connsiteX14" fmla="*/ 192974 w 455685"/>
                  <a:gd name="connsiteY14" fmla="*/ 12459 h 353483"/>
                  <a:gd name="connsiteX15" fmla="*/ 197813 w 455685"/>
                  <a:gd name="connsiteY15" fmla="*/ 19550 h 353483"/>
                  <a:gd name="connsiteX16" fmla="*/ 207991 w 455685"/>
                  <a:gd name="connsiteY16" fmla="*/ 32397 h 353483"/>
                  <a:gd name="connsiteX17" fmla="*/ 208909 w 455685"/>
                  <a:gd name="connsiteY17" fmla="*/ 33314 h 353483"/>
                  <a:gd name="connsiteX18" fmla="*/ 208909 w 455685"/>
                  <a:gd name="connsiteY18" fmla="*/ 33731 h 353483"/>
                  <a:gd name="connsiteX19" fmla="*/ 226178 w 455685"/>
                  <a:gd name="connsiteY19" fmla="*/ 57673 h 353483"/>
                  <a:gd name="connsiteX20" fmla="*/ 255878 w 455685"/>
                  <a:gd name="connsiteY20" fmla="*/ 98883 h 353483"/>
                  <a:gd name="connsiteX21" fmla="*/ 275400 w 455685"/>
                  <a:gd name="connsiteY21" fmla="*/ 120572 h 353483"/>
                  <a:gd name="connsiteX22" fmla="*/ 351151 w 455685"/>
                  <a:gd name="connsiteY22" fmla="*/ 157361 h 353483"/>
                  <a:gd name="connsiteX23" fmla="*/ 359160 w 455685"/>
                  <a:gd name="connsiteY23" fmla="*/ 155609 h 353483"/>
                  <a:gd name="connsiteX24" fmla="*/ 397704 w 455685"/>
                  <a:gd name="connsiteY24" fmla="*/ 159113 h 353483"/>
                  <a:gd name="connsiteX25" fmla="*/ 408299 w 455685"/>
                  <a:gd name="connsiteY25" fmla="*/ 182554 h 353483"/>
                  <a:gd name="connsiteX26" fmla="*/ 418894 w 455685"/>
                  <a:gd name="connsiteY26" fmla="*/ 210499 h 353483"/>
                  <a:gd name="connsiteX27" fmla="*/ 455685 w 455685"/>
                  <a:gd name="connsiteY27" fmla="*/ 235275 h 353483"/>
                  <a:gd name="connsiteX28" fmla="*/ 453433 w 455685"/>
                  <a:gd name="connsiteY28" fmla="*/ 241448 h 353483"/>
                  <a:gd name="connsiteX29" fmla="*/ 448594 w 455685"/>
                  <a:gd name="connsiteY29" fmla="*/ 252544 h 353483"/>
                  <a:gd name="connsiteX30" fmla="*/ 440585 w 455685"/>
                  <a:gd name="connsiteY30" fmla="*/ 257382 h 353483"/>
                  <a:gd name="connsiteX31" fmla="*/ 429990 w 455685"/>
                  <a:gd name="connsiteY31" fmla="*/ 263555 h 353483"/>
                  <a:gd name="connsiteX32" fmla="*/ 414890 w 455685"/>
                  <a:gd name="connsiteY32" fmla="*/ 285661 h 353483"/>
                  <a:gd name="connsiteX33" fmla="*/ 410468 w 455685"/>
                  <a:gd name="connsiteY33" fmla="*/ 293670 h 353483"/>
                  <a:gd name="connsiteX34" fmla="*/ 407381 w 455685"/>
                  <a:gd name="connsiteY34" fmla="*/ 299009 h 353483"/>
                  <a:gd name="connsiteX35" fmla="*/ 395868 w 455685"/>
                  <a:gd name="connsiteY35" fmla="*/ 324702 h 353483"/>
                  <a:gd name="connsiteX36" fmla="*/ 390529 w 455685"/>
                  <a:gd name="connsiteY36" fmla="*/ 327789 h 353483"/>
                  <a:gd name="connsiteX37" fmla="*/ 362581 w 455685"/>
                  <a:gd name="connsiteY37" fmla="*/ 341553 h 353483"/>
                  <a:gd name="connsiteX38" fmla="*/ 347481 w 455685"/>
                  <a:gd name="connsiteY38" fmla="*/ 341553 h 353483"/>
                  <a:gd name="connsiteX39" fmla="*/ 330211 w 455685"/>
                  <a:gd name="connsiteY39" fmla="*/ 341136 h 353483"/>
                  <a:gd name="connsiteX40" fmla="*/ 312942 w 455685"/>
                  <a:gd name="connsiteY40" fmla="*/ 347810 h 353483"/>
                  <a:gd name="connsiteX41" fmla="*/ 300094 w 455685"/>
                  <a:gd name="connsiteY41" fmla="*/ 353148 h 353483"/>
                  <a:gd name="connsiteX42" fmla="*/ 283743 w 455685"/>
                  <a:gd name="connsiteY42" fmla="*/ 349645 h 353483"/>
                  <a:gd name="connsiteX43" fmla="*/ 273564 w 455685"/>
                  <a:gd name="connsiteY43" fmla="*/ 345641 h 353483"/>
                  <a:gd name="connsiteX44" fmla="*/ 254960 w 455685"/>
                  <a:gd name="connsiteY44" fmla="*/ 347393 h 353483"/>
                  <a:gd name="connsiteX45" fmla="*/ 249621 w 455685"/>
                  <a:gd name="connsiteY45" fmla="*/ 350062 h 353483"/>
                  <a:gd name="connsiteX46" fmla="*/ 241195 w 455685"/>
                  <a:gd name="connsiteY46" fmla="*/ 350479 h 353483"/>
                  <a:gd name="connsiteX47" fmla="*/ 235021 w 455685"/>
                  <a:gd name="connsiteY47" fmla="*/ 334963 h 353483"/>
                  <a:gd name="connsiteX48" fmla="*/ 224426 w 455685"/>
                  <a:gd name="connsiteY48" fmla="*/ 310604 h 353483"/>
                  <a:gd name="connsiteX49" fmla="*/ 159270 w 455685"/>
                  <a:gd name="connsiteY49" fmla="*/ 323034 h 353483"/>
                  <a:gd name="connsiteX50" fmla="*/ 140666 w 455685"/>
                  <a:gd name="connsiteY50" fmla="*/ 334129 h 353483"/>
                  <a:gd name="connsiteX51" fmla="*/ 126483 w 455685"/>
                  <a:gd name="connsiteY51" fmla="*/ 336798 h 353483"/>
                  <a:gd name="connsiteX52" fmla="*/ 123396 w 455685"/>
                  <a:gd name="connsiteY52" fmla="*/ 337215 h 353483"/>
                  <a:gd name="connsiteX53" fmla="*/ 102122 w 455685"/>
                  <a:gd name="connsiteY53" fmla="*/ 341637 h 353483"/>
                  <a:gd name="connsiteX54" fmla="*/ 42722 w 455685"/>
                  <a:gd name="connsiteY54" fmla="*/ 351397 h 353483"/>
                  <a:gd name="connsiteX55" fmla="*/ 27622 w 455685"/>
                  <a:gd name="connsiteY55" fmla="*/ 352731 h 353483"/>
                  <a:gd name="connsiteX56" fmla="*/ 7683 w 455685"/>
                  <a:gd name="connsiteY56" fmla="*/ 353148 h 353483"/>
                  <a:gd name="connsiteX57" fmla="*/ 9936 w 455685"/>
                  <a:gd name="connsiteY57" fmla="*/ 345641 h 353483"/>
                  <a:gd name="connsiteX58" fmla="*/ 11270 w 455685"/>
                  <a:gd name="connsiteY58" fmla="*/ 339885 h 353483"/>
                  <a:gd name="connsiteX59" fmla="*/ 17444 w 455685"/>
                  <a:gd name="connsiteY59" fmla="*/ 324785 h 353483"/>
                  <a:gd name="connsiteX60" fmla="*/ 20114 w 455685"/>
                  <a:gd name="connsiteY60" fmla="*/ 278237 h 353483"/>
                  <a:gd name="connsiteX61" fmla="*/ 8184 w 455685"/>
                  <a:gd name="connsiteY61" fmla="*/ 265807 h 353483"/>
                  <a:gd name="connsiteX62" fmla="*/ 2844 w 455685"/>
                  <a:gd name="connsiteY62" fmla="*/ 248206 h 353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55685" h="353483" extrusionOk="0">
                    <a:moveTo>
                      <a:pt x="2844" y="248206"/>
                    </a:moveTo>
                    <a:cubicBezTo>
                      <a:pt x="5097" y="243367"/>
                      <a:pt x="6849" y="239363"/>
                      <a:pt x="8601" y="235776"/>
                    </a:cubicBezTo>
                    <a:cubicBezTo>
                      <a:pt x="15275" y="222929"/>
                      <a:pt x="20114" y="212752"/>
                      <a:pt x="19697" y="193232"/>
                    </a:cubicBezTo>
                    <a:cubicBezTo>
                      <a:pt x="19280" y="174629"/>
                      <a:pt x="25036" y="163534"/>
                      <a:pt x="32127" y="149352"/>
                    </a:cubicBezTo>
                    <a:cubicBezTo>
                      <a:pt x="34797" y="144514"/>
                      <a:pt x="37467" y="138758"/>
                      <a:pt x="40136" y="132501"/>
                    </a:cubicBezTo>
                    <a:cubicBezTo>
                      <a:pt x="43223" y="124493"/>
                      <a:pt x="44558" y="116568"/>
                      <a:pt x="45475" y="108560"/>
                    </a:cubicBezTo>
                    <a:cubicBezTo>
                      <a:pt x="46810" y="96130"/>
                      <a:pt x="48562" y="85953"/>
                      <a:pt x="59241" y="78862"/>
                    </a:cubicBezTo>
                    <a:cubicBezTo>
                      <a:pt x="62745" y="76609"/>
                      <a:pt x="67250" y="74858"/>
                      <a:pt x="72089" y="73523"/>
                    </a:cubicBezTo>
                    <a:cubicBezTo>
                      <a:pt x="77845" y="71271"/>
                      <a:pt x="84019" y="69102"/>
                      <a:pt x="89358" y="65098"/>
                    </a:cubicBezTo>
                    <a:cubicBezTo>
                      <a:pt x="96032" y="60259"/>
                      <a:pt x="99536" y="54503"/>
                      <a:pt x="103541" y="48747"/>
                    </a:cubicBezTo>
                    <a:cubicBezTo>
                      <a:pt x="105793" y="45661"/>
                      <a:pt x="107962" y="42073"/>
                      <a:pt x="110632" y="38987"/>
                    </a:cubicBezTo>
                    <a:cubicBezTo>
                      <a:pt x="114136" y="35483"/>
                      <a:pt x="117723" y="31896"/>
                      <a:pt x="121227" y="28810"/>
                    </a:cubicBezTo>
                    <a:cubicBezTo>
                      <a:pt x="128318" y="22637"/>
                      <a:pt x="135410" y="16380"/>
                      <a:pt x="140749" y="6203"/>
                    </a:cubicBezTo>
                    <a:cubicBezTo>
                      <a:pt x="146088" y="4451"/>
                      <a:pt x="151845" y="2699"/>
                      <a:pt x="158435" y="1364"/>
                    </a:cubicBezTo>
                    <a:cubicBezTo>
                      <a:pt x="175705" y="-2139"/>
                      <a:pt x="185466" y="947"/>
                      <a:pt x="192974" y="12459"/>
                    </a:cubicBezTo>
                    <a:cubicBezTo>
                      <a:pt x="194309" y="15129"/>
                      <a:pt x="196061" y="17298"/>
                      <a:pt x="197813" y="19550"/>
                    </a:cubicBezTo>
                    <a:cubicBezTo>
                      <a:pt x="200900" y="23971"/>
                      <a:pt x="204487" y="28393"/>
                      <a:pt x="207991" y="32397"/>
                    </a:cubicBezTo>
                    <a:cubicBezTo>
                      <a:pt x="208408" y="32814"/>
                      <a:pt x="208408" y="33314"/>
                      <a:pt x="208909" y="33314"/>
                    </a:cubicBezTo>
                    <a:lnTo>
                      <a:pt x="208909" y="33731"/>
                    </a:lnTo>
                    <a:cubicBezTo>
                      <a:pt x="215583" y="41740"/>
                      <a:pt x="221339" y="49248"/>
                      <a:pt x="226178" y="57673"/>
                    </a:cubicBezTo>
                    <a:cubicBezTo>
                      <a:pt x="235021" y="73607"/>
                      <a:pt x="241695" y="85619"/>
                      <a:pt x="255878" y="98883"/>
                    </a:cubicBezTo>
                    <a:cubicBezTo>
                      <a:pt x="262969" y="105557"/>
                      <a:pt x="268726" y="113064"/>
                      <a:pt x="275400" y="120572"/>
                    </a:cubicBezTo>
                    <a:cubicBezTo>
                      <a:pt x="293587" y="142679"/>
                      <a:pt x="312191" y="165286"/>
                      <a:pt x="351151" y="157361"/>
                    </a:cubicBezTo>
                    <a:cubicBezTo>
                      <a:pt x="353821" y="156944"/>
                      <a:pt x="356491" y="156443"/>
                      <a:pt x="359160" y="155609"/>
                    </a:cubicBezTo>
                    <a:cubicBezTo>
                      <a:pt x="374678" y="152105"/>
                      <a:pt x="385273" y="149436"/>
                      <a:pt x="397704" y="159113"/>
                    </a:cubicBezTo>
                    <a:cubicBezTo>
                      <a:pt x="404795" y="164869"/>
                      <a:pt x="406547" y="173294"/>
                      <a:pt x="408299" y="182554"/>
                    </a:cubicBezTo>
                    <a:cubicBezTo>
                      <a:pt x="410051" y="191396"/>
                      <a:pt x="411803" y="201574"/>
                      <a:pt x="418894" y="210499"/>
                    </a:cubicBezTo>
                    <a:cubicBezTo>
                      <a:pt x="429990" y="224264"/>
                      <a:pt x="442838" y="231772"/>
                      <a:pt x="455685" y="235275"/>
                    </a:cubicBezTo>
                    <a:cubicBezTo>
                      <a:pt x="454768" y="237528"/>
                      <a:pt x="454350" y="239279"/>
                      <a:pt x="453433" y="241448"/>
                    </a:cubicBezTo>
                    <a:cubicBezTo>
                      <a:pt x="452098" y="245870"/>
                      <a:pt x="450763" y="249874"/>
                      <a:pt x="448594" y="252544"/>
                    </a:cubicBezTo>
                    <a:cubicBezTo>
                      <a:pt x="446341" y="254796"/>
                      <a:pt x="444172" y="256047"/>
                      <a:pt x="440585" y="257382"/>
                    </a:cubicBezTo>
                    <a:cubicBezTo>
                      <a:pt x="437498" y="258717"/>
                      <a:pt x="433494" y="260469"/>
                      <a:pt x="429990" y="263555"/>
                    </a:cubicBezTo>
                    <a:cubicBezTo>
                      <a:pt x="423316" y="268894"/>
                      <a:pt x="418894" y="277736"/>
                      <a:pt x="414890" y="285661"/>
                    </a:cubicBezTo>
                    <a:cubicBezTo>
                      <a:pt x="413555" y="288331"/>
                      <a:pt x="411803" y="291000"/>
                      <a:pt x="410468" y="293670"/>
                    </a:cubicBezTo>
                    <a:lnTo>
                      <a:pt x="407381" y="299009"/>
                    </a:lnTo>
                    <a:cubicBezTo>
                      <a:pt x="402542" y="306516"/>
                      <a:pt x="397203" y="314942"/>
                      <a:pt x="395868" y="324702"/>
                    </a:cubicBezTo>
                    <a:cubicBezTo>
                      <a:pt x="394116" y="325620"/>
                      <a:pt x="392364" y="326955"/>
                      <a:pt x="390529" y="327789"/>
                    </a:cubicBezTo>
                    <a:cubicBezTo>
                      <a:pt x="381185" y="333962"/>
                      <a:pt x="372342" y="339301"/>
                      <a:pt x="362581" y="341553"/>
                    </a:cubicBezTo>
                    <a:cubicBezTo>
                      <a:pt x="357742" y="342471"/>
                      <a:pt x="352820" y="341970"/>
                      <a:pt x="347481" y="341553"/>
                    </a:cubicBezTo>
                    <a:cubicBezTo>
                      <a:pt x="342141" y="341136"/>
                      <a:pt x="336385" y="340218"/>
                      <a:pt x="330211" y="341136"/>
                    </a:cubicBezTo>
                    <a:cubicBezTo>
                      <a:pt x="323537" y="342471"/>
                      <a:pt x="317781" y="345558"/>
                      <a:pt x="312942" y="347810"/>
                    </a:cubicBezTo>
                    <a:cubicBezTo>
                      <a:pt x="308520" y="350479"/>
                      <a:pt x="304516" y="352648"/>
                      <a:pt x="300094" y="353148"/>
                    </a:cubicBezTo>
                    <a:cubicBezTo>
                      <a:pt x="293921" y="354066"/>
                      <a:pt x="289499" y="352231"/>
                      <a:pt x="283743" y="349645"/>
                    </a:cubicBezTo>
                    <a:cubicBezTo>
                      <a:pt x="280656" y="348310"/>
                      <a:pt x="277569" y="346558"/>
                      <a:pt x="273564" y="345641"/>
                    </a:cubicBezTo>
                    <a:cubicBezTo>
                      <a:pt x="263804" y="342554"/>
                      <a:pt x="259799" y="344723"/>
                      <a:pt x="254960" y="347393"/>
                    </a:cubicBezTo>
                    <a:cubicBezTo>
                      <a:pt x="253625" y="348310"/>
                      <a:pt x="251873" y="349144"/>
                      <a:pt x="249621" y="350062"/>
                    </a:cubicBezTo>
                    <a:cubicBezTo>
                      <a:pt x="246951" y="350980"/>
                      <a:pt x="243447" y="351397"/>
                      <a:pt x="241195" y="350479"/>
                    </a:cubicBezTo>
                    <a:cubicBezTo>
                      <a:pt x="238108" y="348727"/>
                      <a:pt x="236356" y="341637"/>
                      <a:pt x="235021" y="334963"/>
                    </a:cubicBezTo>
                    <a:cubicBezTo>
                      <a:pt x="232769" y="326537"/>
                      <a:pt x="230600" y="316777"/>
                      <a:pt x="224426" y="310604"/>
                    </a:cubicBezTo>
                    <a:cubicBezTo>
                      <a:pt x="207157" y="293753"/>
                      <a:pt x="183630" y="298174"/>
                      <a:pt x="159270" y="323034"/>
                    </a:cubicBezTo>
                    <a:cubicBezTo>
                      <a:pt x="153513" y="328790"/>
                      <a:pt x="147340" y="331876"/>
                      <a:pt x="140666" y="334129"/>
                    </a:cubicBezTo>
                    <a:cubicBezTo>
                      <a:pt x="136244" y="335464"/>
                      <a:pt x="131822" y="336381"/>
                      <a:pt x="126483" y="336798"/>
                    </a:cubicBezTo>
                    <a:cubicBezTo>
                      <a:pt x="125565" y="337215"/>
                      <a:pt x="124230" y="337215"/>
                      <a:pt x="123396" y="337215"/>
                    </a:cubicBezTo>
                    <a:cubicBezTo>
                      <a:pt x="116722" y="338550"/>
                      <a:pt x="109631" y="339468"/>
                      <a:pt x="102122" y="341637"/>
                    </a:cubicBezTo>
                    <a:cubicBezTo>
                      <a:pt x="83101" y="347393"/>
                      <a:pt x="63579" y="349645"/>
                      <a:pt x="42722" y="351397"/>
                    </a:cubicBezTo>
                    <a:lnTo>
                      <a:pt x="27622" y="352731"/>
                    </a:lnTo>
                    <a:cubicBezTo>
                      <a:pt x="20531" y="353649"/>
                      <a:pt x="13440" y="353649"/>
                      <a:pt x="7683" y="353148"/>
                    </a:cubicBezTo>
                    <a:cubicBezTo>
                      <a:pt x="8601" y="350479"/>
                      <a:pt x="9018" y="348310"/>
                      <a:pt x="9936" y="345641"/>
                    </a:cubicBezTo>
                    <a:lnTo>
                      <a:pt x="11270" y="339885"/>
                    </a:lnTo>
                    <a:cubicBezTo>
                      <a:pt x="12605" y="335046"/>
                      <a:pt x="14774" y="330125"/>
                      <a:pt x="17444" y="324785"/>
                    </a:cubicBezTo>
                    <a:cubicBezTo>
                      <a:pt x="24118" y="311522"/>
                      <a:pt x="32044" y="295088"/>
                      <a:pt x="20114" y="278237"/>
                    </a:cubicBezTo>
                    <a:cubicBezTo>
                      <a:pt x="16109" y="272898"/>
                      <a:pt x="11688" y="268894"/>
                      <a:pt x="8184" y="265807"/>
                    </a:cubicBezTo>
                    <a:cubicBezTo>
                      <a:pt x="-242" y="261553"/>
                      <a:pt x="-2411" y="259801"/>
                      <a:pt x="2844" y="24820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71943849" name="Полилиния 359"/>
              <p:cNvSpPr/>
              <p:nvPr/>
            </p:nvSpPr>
            <p:spPr bwMode="auto">
              <a:xfrm>
                <a:off x="1610770" y="5227938"/>
                <a:ext cx="396669" cy="558703"/>
              </a:xfrm>
              <a:custGeom>
                <a:avLst/>
                <a:gdLst>
                  <a:gd name="connsiteX0" fmla="*/ 325114 w 445473"/>
                  <a:gd name="connsiteY0" fmla="*/ 545024 h 627443"/>
                  <a:gd name="connsiteX1" fmla="*/ 329953 w 445473"/>
                  <a:gd name="connsiteY1" fmla="*/ 558788 h 627443"/>
                  <a:gd name="connsiteX2" fmla="*/ 306510 w 445473"/>
                  <a:gd name="connsiteY2" fmla="*/ 579143 h 627443"/>
                  <a:gd name="connsiteX3" fmla="*/ 231176 w 445473"/>
                  <a:gd name="connsiteY3" fmla="*/ 625191 h 627443"/>
                  <a:gd name="connsiteX4" fmla="*/ 193550 w 445473"/>
                  <a:gd name="connsiteY4" fmla="*/ 627443 h 627443"/>
                  <a:gd name="connsiteX5" fmla="*/ 188711 w 445473"/>
                  <a:gd name="connsiteY5" fmla="*/ 584482 h 627443"/>
                  <a:gd name="connsiteX6" fmla="*/ 159012 w 445473"/>
                  <a:gd name="connsiteY6" fmla="*/ 551280 h 627443"/>
                  <a:gd name="connsiteX7" fmla="*/ 142660 w 445473"/>
                  <a:gd name="connsiteY7" fmla="*/ 537099 h 627443"/>
                  <a:gd name="connsiteX8" fmla="*/ 137321 w 445473"/>
                  <a:gd name="connsiteY8" fmla="*/ 530926 h 627443"/>
                  <a:gd name="connsiteX9" fmla="*/ 113377 w 445473"/>
                  <a:gd name="connsiteY9" fmla="*/ 512323 h 627443"/>
                  <a:gd name="connsiteX10" fmla="*/ 113377 w 445473"/>
                  <a:gd name="connsiteY10" fmla="*/ 483126 h 627443"/>
                  <a:gd name="connsiteX11" fmla="*/ 112459 w 445473"/>
                  <a:gd name="connsiteY11" fmla="*/ 470279 h 627443"/>
                  <a:gd name="connsiteX12" fmla="*/ 104033 w 445473"/>
                  <a:gd name="connsiteY12" fmla="*/ 450758 h 627443"/>
                  <a:gd name="connsiteX13" fmla="*/ 102281 w 445473"/>
                  <a:gd name="connsiteY13" fmla="*/ 447255 h 627443"/>
                  <a:gd name="connsiteX14" fmla="*/ 86347 w 445473"/>
                  <a:gd name="connsiteY14" fmla="*/ 408715 h 627443"/>
                  <a:gd name="connsiteX15" fmla="*/ 52642 w 445473"/>
                  <a:gd name="connsiteY15" fmla="*/ 357327 h 627443"/>
                  <a:gd name="connsiteX16" fmla="*/ 49973 w 445473"/>
                  <a:gd name="connsiteY16" fmla="*/ 354658 h 627443"/>
                  <a:gd name="connsiteX17" fmla="*/ 49055 w 445473"/>
                  <a:gd name="connsiteY17" fmla="*/ 352406 h 627443"/>
                  <a:gd name="connsiteX18" fmla="*/ 48137 w 445473"/>
                  <a:gd name="connsiteY18" fmla="*/ 350153 h 627443"/>
                  <a:gd name="connsiteX19" fmla="*/ 43298 w 445473"/>
                  <a:gd name="connsiteY19" fmla="*/ 340393 h 627443"/>
                  <a:gd name="connsiteX20" fmla="*/ 41046 w 445473"/>
                  <a:gd name="connsiteY20" fmla="*/ 336889 h 627443"/>
                  <a:gd name="connsiteX21" fmla="*/ 37542 w 445473"/>
                  <a:gd name="connsiteY21" fmla="*/ 305023 h 627443"/>
                  <a:gd name="connsiteX22" fmla="*/ 38877 w 445473"/>
                  <a:gd name="connsiteY22" fmla="*/ 274908 h 627443"/>
                  <a:gd name="connsiteX23" fmla="*/ 37959 w 445473"/>
                  <a:gd name="connsiteY23" fmla="*/ 257223 h 627443"/>
                  <a:gd name="connsiteX24" fmla="*/ 29116 w 445473"/>
                  <a:gd name="connsiteY24" fmla="*/ 243458 h 627443"/>
                  <a:gd name="connsiteX25" fmla="*/ 10095 w 445473"/>
                  <a:gd name="connsiteY25" fmla="*/ 222186 h 627443"/>
                  <a:gd name="connsiteX26" fmla="*/ 4755 w 445473"/>
                  <a:gd name="connsiteY26" fmla="*/ 215513 h 627443"/>
                  <a:gd name="connsiteX27" fmla="*/ 4755 w 445473"/>
                  <a:gd name="connsiteY27" fmla="*/ 215096 h 627443"/>
                  <a:gd name="connsiteX28" fmla="*/ 1251 w 445473"/>
                  <a:gd name="connsiteY28" fmla="*/ 205336 h 627443"/>
                  <a:gd name="connsiteX29" fmla="*/ 834 w 445473"/>
                  <a:gd name="connsiteY29" fmla="*/ 204001 h 627443"/>
                  <a:gd name="connsiteX30" fmla="*/ 417 w 445473"/>
                  <a:gd name="connsiteY30" fmla="*/ 203083 h 627443"/>
                  <a:gd name="connsiteX31" fmla="*/ 0 w 445473"/>
                  <a:gd name="connsiteY31" fmla="*/ 202666 h 627443"/>
                  <a:gd name="connsiteX32" fmla="*/ 417 w 445473"/>
                  <a:gd name="connsiteY32" fmla="*/ 202666 h 627443"/>
                  <a:gd name="connsiteX33" fmla="*/ 6591 w 445473"/>
                  <a:gd name="connsiteY33" fmla="*/ 202666 h 627443"/>
                  <a:gd name="connsiteX34" fmla="*/ 10095 w 445473"/>
                  <a:gd name="connsiteY34" fmla="*/ 203083 h 627443"/>
                  <a:gd name="connsiteX35" fmla="*/ 11012 w 445473"/>
                  <a:gd name="connsiteY35" fmla="*/ 204835 h 627443"/>
                  <a:gd name="connsiteX36" fmla="*/ 14516 w 445473"/>
                  <a:gd name="connsiteY36" fmla="*/ 209256 h 627443"/>
                  <a:gd name="connsiteX37" fmla="*/ 15434 w 445473"/>
                  <a:gd name="connsiteY37" fmla="*/ 210174 h 627443"/>
                  <a:gd name="connsiteX38" fmla="*/ 26029 w 445473"/>
                  <a:gd name="connsiteY38" fmla="*/ 213260 h 627443"/>
                  <a:gd name="connsiteX39" fmla="*/ 34038 w 445473"/>
                  <a:gd name="connsiteY39" fmla="*/ 212343 h 627443"/>
                  <a:gd name="connsiteX40" fmla="*/ 51308 w 445473"/>
                  <a:gd name="connsiteY40" fmla="*/ 207004 h 627443"/>
                  <a:gd name="connsiteX41" fmla="*/ 54811 w 445473"/>
                  <a:gd name="connsiteY41" fmla="*/ 205669 h 627443"/>
                  <a:gd name="connsiteX42" fmla="*/ 60151 w 445473"/>
                  <a:gd name="connsiteY42" fmla="*/ 208338 h 627443"/>
                  <a:gd name="connsiteX43" fmla="*/ 76085 w 445473"/>
                  <a:gd name="connsiteY43" fmla="*/ 211842 h 627443"/>
                  <a:gd name="connsiteX44" fmla="*/ 84511 w 445473"/>
                  <a:gd name="connsiteY44" fmla="*/ 207004 h 627443"/>
                  <a:gd name="connsiteX45" fmla="*/ 88015 w 445473"/>
                  <a:gd name="connsiteY45" fmla="*/ 204334 h 627443"/>
                  <a:gd name="connsiteX46" fmla="*/ 98610 w 445473"/>
                  <a:gd name="connsiteY46" fmla="*/ 192405 h 627443"/>
                  <a:gd name="connsiteX47" fmla="*/ 111875 w 445473"/>
                  <a:gd name="connsiteY47" fmla="*/ 175137 h 627443"/>
                  <a:gd name="connsiteX48" fmla="*/ 123805 w 445473"/>
                  <a:gd name="connsiteY48" fmla="*/ 172885 h 627443"/>
                  <a:gd name="connsiteX49" fmla="*/ 132232 w 445473"/>
                  <a:gd name="connsiteY49" fmla="*/ 172885 h 627443"/>
                  <a:gd name="connsiteX50" fmla="*/ 151753 w 445473"/>
                  <a:gd name="connsiteY50" fmla="*/ 171550 h 627443"/>
                  <a:gd name="connsiteX51" fmla="*/ 188044 w 445473"/>
                  <a:gd name="connsiteY51" fmla="*/ 151612 h 627443"/>
                  <a:gd name="connsiteX52" fmla="*/ 211988 w 445473"/>
                  <a:gd name="connsiteY52" fmla="*/ 120580 h 627443"/>
                  <a:gd name="connsiteX53" fmla="*/ 227922 w 445473"/>
                  <a:gd name="connsiteY53" fmla="*/ 94886 h 627443"/>
                  <a:gd name="connsiteX54" fmla="*/ 230592 w 445473"/>
                  <a:gd name="connsiteY54" fmla="*/ 88713 h 627443"/>
                  <a:gd name="connsiteX55" fmla="*/ 227088 w 445473"/>
                  <a:gd name="connsiteY55" fmla="*/ 74949 h 627443"/>
                  <a:gd name="connsiteX56" fmla="*/ 200475 w 445473"/>
                  <a:gd name="connsiteY56" fmla="*/ 69610 h 627443"/>
                  <a:gd name="connsiteX57" fmla="*/ 195636 w 445473"/>
                  <a:gd name="connsiteY57" fmla="*/ 73114 h 627443"/>
                  <a:gd name="connsiteX58" fmla="*/ 194301 w 445473"/>
                  <a:gd name="connsiteY58" fmla="*/ 74031 h 627443"/>
                  <a:gd name="connsiteX59" fmla="*/ 178367 w 445473"/>
                  <a:gd name="connsiteY59" fmla="*/ 78870 h 627443"/>
                  <a:gd name="connsiteX60" fmla="*/ 173027 w 445473"/>
                  <a:gd name="connsiteY60" fmla="*/ 76200 h 627443"/>
                  <a:gd name="connsiteX61" fmla="*/ 174362 w 445473"/>
                  <a:gd name="connsiteY61" fmla="*/ 59850 h 627443"/>
                  <a:gd name="connsiteX62" fmla="*/ 174779 w 445473"/>
                  <a:gd name="connsiteY62" fmla="*/ 56346 h 627443"/>
                  <a:gd name="connsiteX63" fmla="*/ 172527 w 445473"/>
                  <a:gd name="connsiteY63" fmla="*/ 36826 h 627443"/>
                  <a:gd name="connsiteX64" fmla="*/ 194218 w 445473"/>
                  <a:gd name="connsiteY64" fmla="*/ 27066 h 627443"/>
                  <a:gd name="connsiteX65" fmla="*/ 204396 w 445473"/>
                  <a:gd name="connsiteY65" fmla="*/ 28818 h 627443"/>
                  <a:gd name="connsiteX66" fmla="*/ 215909 w 445473"/>
                  <a:gd name="connsiteY66" fmla="*/ 32822 h 627443"/>
                  <a:gd name="connsiteX67" fmla="*/ 232761 w 445473"/>
                  <a:gd name="connsiteY67" fmla="*/ 29735 h 627443"/>
                  <a:gd name="connsiteX68" fmla="*/ 241187 w 445473"/>
                  <a:gd name="connsiteY68" fmla="*/ 27066 h 627443"/>
                  <a:gd name="connsiteX69" fmla="*/ 253618 w 445473"/>
                  <a:gd name="connsiteY69" fmla="*/ 33739 h 627443"/>
                  <a:gd name="connsiteX70" fmla="*/ 281065 w 445473"/>
                  <a:gd name="connsiteY70" fmla="*/ 39912 h 627443"/>
                  <a:gd name="connsiteX71" fmla="*/ 294330 w 445473"/>
                  <a:gd name="connsiteY71" fmla="*/ 16888 h 627443"/>
                  <a:gd name="connsiteX72" fmla="*/ 306260 w 445473"/>
                  <a:gd name="connsiteY72" fmla="*/ 538 h 627443"/>
                  <a:gd name="connsiteX73" fmla="*/ 310681 w 445473"/>
                  <a:gd name="connsiteY73" fmla="*/ 16471 h 627443"/>
                  <a:gd name="connsiteX74" fmla="*/ 317773 w 445473"/>
                  <a:gd name="connsiteY74" fmla="*/ 43083 h 627443"/>
                  <a:gd name="connsiteX75" fmla="*/ 336377 w 445473"/>
                  <a:gd name="connsiteY75" fmla="*/ 49256 h 627443"/>
                  <a:gd name="connsiteX76" fmla="*/ 343051 w 445473"/>
                  <a:gd name="connsiteY76" fmla="*/ 50173 h 627443"/>
                  <a:gd name="connsiteX77" fmla="*/ 358986 w 445473"/>
                  <a:gd name="connsiteY77" fmla="*/ 63938 h 627443"/>
                  <a:gd name="connsiteX78" fmla="*/ 359403 w 445473"/>
                  <a:gd name="connsiteY78" fmla="*/ 64355 h 627443"/>
                  <a:gd name="connsiteX79" fmla="*/ 360738 w 445473"/>
                  <a:gd name="connsiteY79" fmla="*/ 66607 h 627443"/>
                  <a:gd name="connsiteX80" fmla="*/ 369164 w 445473"/>
                  <a:gd name="connsiteY80" fmla="*/ 77702 h 627443"/>
                  <a:gd name="connsiteX81" fmla="*/ 369581 w 445473"/>
                  <a:gd name="connsiteY81" fmla="*/ 78119 h 627443"/>
                  <a:gd name="connsiteX82" fmla="*/ 389520 w 445473"/>
                  <a:gd name="connsiteY82" fmla="*/ 117076 h 627443"/>
                  <a:gd name="connsiteX83" fmla="*/ 386016 w 445473"/>
                  <a:gd name="connsiteY83" fmla="*/ 125502 h 627443"/>
                  <a:gd name="connsiteX84" fmla="*/ 380677 w 445473"/>
                  <a:gd name="connsiteY84" fmla="*/ 141852 h 627443"/>
                  <a:gd name="connsiteX85" fmla="*/ 382429 w 445473"/>
                  <a:gd name="connsiteY85" fmla="*/ 160455 h 627443"/>
                  <a:gd name="connsiteX86" fmla="*/ 383763 w 445473"/>
                  <a:gd name="connsiteY86" fmla="*/ 178641 h 627443"/>
                  <a:gd name="connsiteX87" fmla="*/ 383346 w 445473"/>
                  <a:gd name="connsiteY87" fmla="*/ 182645 h 627443"/>
                  <a:gd name="connsiteX88" fmla="*/ 405955 w 445473"/>
                  <a:gd name="connsiteY88" fmla="*/ 232280 h 627443"/>
                  <a:gd name="connsiteX89" fmla="*/ 423224 w 445473"/>
                  <a:gd name="connsiteY89" fmla="*/ 234950 h 627443"/>
                  <a:gd name="connsiteX90" fmla="*/ 444915 w 445473"/>
                  <a:gd name="connsiteY90" fmla="*/ 246045 h 627443"/>
                  <a:gd name="connsiteX91" fmla="*/ 430316 w 445473"/>
                  <a:gd name="connsiteY91" fmla="*/ 265064 h 627443"/>
                  <a:gd name="connsiteX92" fmla="*/ 414798 w 445473"/>
                  <a:gd name="connsiteY92" fmla="*/ 273907 h 627443"/>
                  <a:gd name="connsiteX93" fmla="*/ 401950 w 445473"/>
                  <a:gd name="connsiteY93" fmla="*/ 334137 h 627443"/>
                  <a:gd name="connsiteX94" fmla="*/ 407707 w 445473"/>
                  <a:gd name="connsiteY94" fmla="*/ 351822 h 627443"/>
                  <a:gd name="connsiteX95" fmla="*/ 405037 w 445473"/>
                  <a:gd name="connsiteY95" fmla="*/ 372677 h 627443"/>
                  <a:gd name="connsiteX96" fmla="*/ 393941 w 445473"/>
                  <a:gd name="connsiteY96" fmla="*/ 375763 h 627443"/>
                  <a:gd name="connsiteX97" fmla="*/ 380176 w 445473"/>
                  <a:gd name="connsiteY97" fmla="*/ 378016 h 627443"/>
                  <a:gd name="connsiteX98" fmla="*/ 369080 w 445473"/>
                  <a:gd name="connsiteY98" fmla="*/ 385107 h 627443"/>
                  <a:gd name="connsiteX99" fmla="*/ 360237 w 445473"/>
                  <a:gd name="connsiteY99" fmla="*/ 389528 h 627443"/>
                  <a:gd name="connsiteX100" fmla="*/ 350059 w 445473"/>
                  <a:gd name="connsiteY100" fmla="*/ 385524 h 627443"/>
                  <a:gd name="connsiteX101" fmla="*/ 316355 w 445473"/>
                  <a:gd name="connsiteY101" fmla="*/ 379350 h 627443"/>
                  <a:gd name="connsiteX102" fmla="*/ 306594 w 445473"/>
                  <a:gd name="connsiteY102" fmla="*/ 389945 h 627443"/>
                  <a:gd name="connsiteX103" fmla="*/ 313685 w 445473"/>
                  <a:gd name="connsiteY103" fmla="*/ 411217 h 627443"/>
                  <a:gd name="connsiteX104" fmla="*/ 317189 w 445473"/>
                  <a:gd name="connsiteY104" fmla="*/ 414721 h 627443"/>
                  <a:gd name="connsiteX105" fmla="*/ 319441 w 445473"/>
                  <a:gd name="connsiteY105" fmla="*/ 426650 h 627443"/>
                  <a:gd name="connsiteX106" fmla="*/ 320776 w 445473"/>
                  <a:gd name="connsiteY106" fmla="*/ 441749 h 627443"/>
                  <a:gd name="connsiteX107" fmla="*/ 330954 w 445473"/>
                  <a:gd name="connsiteY107" fmla="*/ 453678 h 627443"/>
                  <a:gd name="connsiteX108" fmla="*/ 334458 w 445473"/>
                  <a:gd name="connsiteY108" fmla="*/ 456348 h 627443"/>
                  <a:gd name="connsiteX109" fmla="*/ 321610 w 445473"/>
                  <a:gd name="connsiteY109" fmla="*/ 467860 h 627443"/>
                  <a:gd name="connsiteX110" fmla="*/ 312767 w 445473"/>
                  <a:gd name="connsiteY110" fmla="*/ 473198 h 627443"/>
                  <a:gd name="connsiteX111" fmla="*/ 271137 w 445473"/>
                  <a:gd name="connsiteY111" fmla="*/ 516160 h 627443"/>
                  <a:gd name="connsiteX112" fmla="*/ 303924 w 445473"/>
                  <a:gd name="connsiteY112" fmla="*/ 538767 h 627443"/>
                  <a:gd name="connsiteX113" fmla="*/ 325114 w 445473"/>
                  <a:gd name="connsiteY113" fmla="*/ 545024 h 627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45473" h="627443" extrusionOk="0">
                    <a:moveTo>
                      <a:pt x="325114" y="545024"/>
                    </a:moveTo>
                    <a:cubicBezTo>
                      <a:pt x="327784" y="548110"/>
                      <a:pt x="329119" y="553032"/>
                      <a:pt x="329953" y="558788"/>
                    </a:cubicBezTo>
                    <a:cubicBezTo>
                      <a:pt x="322862" y="564961"/>
                      <a:pt x="315353" y="572552"/>
                      <a:pt x="306510" y="579143"/>
                    </a:cubicBezTo>
                    <a:cubicBezTo>
                      <a:pt x="284819" y="595493"/>
                      <a:pt x="258707" y="619936"/>
                      <a:pt x="231176" y="625191"/>
                    </a:cubicBezTo>
                    <a:cubicBezTo>
                      <a:pt x="220580" y="627443"/>
                      <a:pt x="206815" y="626526"/>
                      <a:pt x="193550" y="627443"/>
                    </a:cubicBezTo>
                    <a:cubicBezTo>
                      <a:pt x="194468" y="611927"/>
                      <a:pt x="193967" y="596411"/>
                      <a:pt x="188711" y="584482"/>
                    </a:cubicBezTo>
                    <a:cubicBezTo>
                      <a:pt x="181620" y="569883"/>
                      <a:pt x="170107" y="560540"/>
                      <a:pt x="159012" y="551280"/>
                    </a:cubicBezTo>
                    <a:cubicBezTo>
                      <a:pt x="152838" y="546442"/>
                      <a:pt x="147499" y="542438"/>
                      <a:pt x="142660" y="537099"/>
                    </a:cubicBezTo>
                    <a:cubicBezTo>
                      <a:pt x="140908" y="534847"/>
                      <a:pt x="139156" y="533095"/>
                      <a:pt x="137321" y="530926"/>
                    </a:cubicBezTo>
                    <a:cubicBezTo>
                      <a:pt x="131147" y="523835"/>
                      <a:pt x="123555" y="514992"/>
                      <a:pt x="113377" y="512323"/>
                    </a:cubicBezTo>
                    <a:lnTo>
                      <a:pt x="113377" y="483126"/>
                    </a:lnTo>
                    <a:cubicBezTo>
                      <a:pt x="113377" y="478704"/>
                      <a:pt x="113377" y="474700"/>
                      <a:pt x="112459" y="470279"/>
                    </a:cubicBezTo>
                    <a:cubicBezTo>
                      <a:pt x="111125" y="463188"/>
                      <a:pt x="107621" y="456514"/>
                      <a:pt x="104033" y="450758"/>
                    </a:cubicBezTo>
                    <a:lnTo>
                      <a:pt x="102281" y="447255"/>
                    </a:lnTo>
                    <a:cubicBezTo>
                      <a:pt x="95190" y="433991"/>
                      <a:pt x="89851" y="418892"/>
                      <a:pt x="86347" y="408715"/>
                    </a:cubicBezTo>
                    <a:cubicBezTo>
                      <a:pt x="80173" y="389194"/>
                      <a:pt x="68660" y="371509"/>
                      <a:pt x="52642" y="357327"/>
                    </a:cubicBezTo>
                    <a:cubicBezTo>
                      <a:pt x="51725" y="356410"/>
                      <a:pt x="50390" y="355075"/>
                      <a:pt x="49973" y="354658"/>
                    </a:cubicBezTo>
                    <a:cubicBezTo>
                      <a:pt x="49555" y="354241"/>
                      <a:pt x="49555" y="353323"/>
                      <a:pt x="49055" y="352406"/>
                    </a:cubicBezTo>
                    <a:lnTo>
                      <a:pt x="48137" y="350153"/>
                    </a:lnTo>
                    <a:cubicBezTo>
                      <a:pt x="47220" y="346650"/>
                      <a:pt x="45050" y="343480"/>
                      <a:pt x="43298" y="340393"/>
                    </a:cubicBezTo>
                    <a:cubicBezTo>
                      <a:pt x="42381" y="339058"/>
                      <a:pt x="41964" y="337724"/>
                      <a:pt x="41046" y="336889"/>
                    </a:cubicBezTo>
                    <a:cubicBezTo>
                      <a:pt x="36207" y="327547"/>
                      <a:pt x="36624" y="315617"/>
                      <a:pt x="37542" y="305023"/>
                    </a:cubicBezTo>
                    <a:lnTo>
                      <a:pt x="38877" y="274908"/>
                    </a:lnTo>
                    <a:cubicBezTo>
                      <a:pt x="39294" y="269569"/>
                      <a:pt x="39294" y="263396"/>
                      <a:pt x="37959" y="257223"/>
                    </a:cubicBezTo>
                    <a:cubicBezTo>
                      <a:pt x="36624" y="251050"/>
                      <a:pt x="32620" y="247046"/>
                      <a:pt x="29116" y="243458"/>
                    </a:cubicBezTo>
                    <a:lnTo>
                      <a:pt x="10095" y="222186"/>
                    </a:lnTo>
                    <a:cubicBezTo>
                      <a:pt x="7842" y="219517"/>
                      <a:pt x="6090" y="217765"/>
                      <a:pt x="4755" y="215513"/>
                    </a:cubicBezTo>
                    <a:lnTo>
                      <a:pt x="4755" y="215096"/>
                    </a:lnTo>
                    <a:cubicBezTo>
                      <a:pt x="3420" y="212426"/>
                      <a:pt x="2086" y="208922"/>
                      <a:pt x="1251" y="205336"/>
                    </a:cubicBezTo>
                    <a:cubicBezTo>
                      <a:pt x="1251" y="204918"/>
                      <a:pt x="1251" y="204418"/>
                      <a:pt x="834" y="204001"/>
                    </a:cubicBezTo>
                    <a:lnTo>
                      <a:pt x="417" y="203083"/>
                    </a:lnTo>
                    <a:cubicBezTo>
                      <a:pt x="417" y="202666"/>
                      <a:pt x="417" y="202666"/>
                      <a:pt x="0" y="202666"/>
                    </a:cubicBezTo>
                    <a:cubicBezTo>
                      <a:pt x="417" y="202666"/>
                      <a:pt x="417" y="202666"/>
                      <a:pt x="417" y="202666"/>
                    </a:cubicBezTo>
                    <a:lnTo>
                      <a:pt x="6591" y="202666"/>
                    </a:lnTo>
                    <a:cubicBezTo>
                      <a:pt x="7508" y="202666"/>
                      <a:pt x="9677" y="202666"/>
                      <a:pt x="10095" y="203083"/>
                    </a:cubicBezTo>
                    <a:cubicBezTo>
                      <a:pt x="10512" y="203500"/>
                      <a:pt x="11012" y="204418"/>
                      <a:pt x="11012" y="204835"/>
                    </a:cubicBezTo>
                    <a:cubicBezTo>
                      <a:pt x="11930" y="206170"/>
                      <a:pt x="13265" y="207504"/>
                      <a:pt x="14516" y="209256"/>
                    </a:cubicBezTo>
                    <a:cubicBezTo>
                      <a:pt x="14933" y="209673"/>
                      <a:pt x="15434" y="209673"/>
                      <a:pt x="15434" y="210174"/>
                    </a:cubicBezTo>
                    <a:cubicBezTo>
                      <a:pt x="18521" y="212843"/>
                      <a:pt x="22525" y="213260"/>
                      <a:pt x="26029" y="213260"/>
                    </a:cubicBezTo>
                    <a:cubicBezTo>
                      <a:pt x="29116" y="213260"/>
                      <a:pt x="32203" y="212843"/>
                      <a:pt x="34038" y="212343"/>
                    </a:cubicBezTo>
                    <a:cubicBezTo>
                      <a:pt x="39377" y="211425"/>
                      <a:pt x="44633" y="210090"/>
                      <a:pt x="51308" y="207004"/>
                    </a:cubicBezTo>
                    <a:cubicBezTo>
                      <a:pt x="52642" y="206587"/>
                      <a:pt x="54394" y="205669"/>
                      <a:pt x="54811" y="205669"/>
                    </a:cubicBezTo>
                    <a:cubicBezTo>
                      <a:pt x="57064" y="206086"/>
                      <a:pt x="58315" y="207004"/>
                      <a:pt x="60151" y="208338"/>
                    </a:cubicBezTo>
                    <a:cubicBezTo>
                      <a:pt x="63655" y="210591"/>
                      <a:pt x="69494" y="213678"/>
                      <a:pt x="76085" y="211842"/>
                    </a:cubicBezTo>
                    <a:cubicBezTo>
                      <a:pt x="79589" y="210924"/>
                      <a:pt x="82259" y="208755"/>
                      <a:pt x="84511" y="207004"/>
                    </a:cubicBezTo>
                    <a:cubicBezTo>
                      <a:pt x="85846" y="206086"/>
                      <a:pt x="86764" y="204751"/>
                      <a:pt x="88015" y="204334"/>
                    </a:cubicBezTo>
                    <a:cubicBezTo>
                      <a:pt x="91519" y="201248"/>
                      <a:pt x="96441" y="197661"/>
                      <a:pt x="98610" y="192405"/>
                    </a:cubicBezTo>
                    <a:cubicBezTo>
                      <a:pt x="102114" y="185315"/>
                      <a:pt x="105702" y="178224"/>
                      <a:pt x="111875" y="175137"/>
                    </a:cubicBezTo>
                    <a:cubicBezTo>
                      <a:pt x="115379" y="173802"/>
                      <a:pt x="119884" y="172885"/>
                      <a:pt x="123805" y="172885"/>
                    </a:cubicBezTo>
                    <a:lnTo>
                      <a:pt x="132232" y="172885"/>
                    </a:lnTo>
                    <a:cubicBezTo>
                      <a:pt x="138405" y="172468"/>
                      <a:pt x="145079" y="172468"/>
                      <a:pt x="151753" y="171550"/>
                    </a:cubicBezTo>
                    <a:cubicBezTo>
                      <a:pt x="164184" y="168881"/>
                      <a:pt x="177032" y="162207"/>
                      <a:pt x="188044" y="151612"/>
                    </a:cubicBezTo>
                    <a:cubicBezTo>
                      <a:pt x="197805" y="141852"/>
                      <a:pt x="205731" y="130340"/>
                      <a:pt x="211988" y="120580"/>
                    </a:cubicBezTo>
                    <a:cubicBezTo>
                      <a:pt x="217327" y="112155"/>
                      <a:pt x="223083" y="103312"/>
                      <a:pt x="227922" y="94886"/>
                    </a:cubicBezTo>
                    <a:cubicBezTo>
                      <a:pt x="228840" y="93135"/>
                      <a:pt x="230175" y="91383"/>
                      <a:pt x="230592" y="88713"/>
                    </a:cubicBezTo>
                    <a:cubicBezTo>
                      <a:pt x="231509" y="84292"/>
                      <a:pt x="230175" y="78953"/>
                      <a:pt x="227088" y="74949"/>
                    </a:cubicBezTo>
                    <a:cubicBezTo>
                      <a:pt x="220914" y="66941"/>
                      <a:pt x="209401" y="64772"/>
                      <a:pt x="200475" y="69610"/>
                    </a:cubicBezTo>
                    <a:cubicBezTo>
                      <a:pt x="198723" y="70528"/>
                      <a:pt x="197388" y="71863"/>
                      <a:pt x="195636" y="73114"/>
                    </a:cubicBezTo>
                    <a:lnTo>
                      <a:pt x="194301" y="74031"/>
                    </a:lnTo>
                    <a:cubicBezTo>
                      <a:pt x="189879" y="77535"/>
                      <a:pt x="183706" y="78870"/>
                      <a:pt x="178367" y="78870"/>
                    </a:cubicBezTo>
                    <a:cubicBezTo>
                      <a:pt x="177449" y="78453"/>
                      <a:pt x="173027" y="77952"/>
                      <a:pt x="173027" y="76200"/>
                    </a:cubicBezTo>
                    <a:cubicBezTo>
                      <a:pt x="172610" y="71362"/>
                      <a:pt x="173444" y="65606"/>
                      <a:pt x="174362" y="59850"/>
                    </a:cubicBezTo>
                    <a:lnTo>
                      <a:pt x="174779" y="56346"/>
                    </a:lnTo>
                    <a:cubicBezTo>
                      <a:pt x="176114" y="48839"/>
                      <a:pt x="175196" y="42165"/>
                      <a:pt x="172527" y="36826"/>
                    </a:cubicBezTo>
                    <a:cubicBezTo>
                      <a:pt x="180035" y="32405"/>
                      <a:pt x="187627" y="28818"/>
                      <a:pt x="194218" y="27066"/>
                    </a:cubicBezTo>
                    <a:cubicBezTo>
                      <a:pt x="199056" y="25731"/>
                      <a:pt x="200892" y="26649"/>
                      <a:pt x="204396" y="28818"/>
                    </a:cubicBezTo>
                    <a:cubicBezTo>
                      <a:pt x="207483" y="30152"/>
                      <a:pt x="211070" y="32321"/>
                      <a:pt x="215909" y="32822"/>
                    </a:cubicBezTo>
                    <a:cubicBezTo>
                      <a:pt x="223000" y="33739"/>
                      <a:pt x="228339" y="31487"/>
                      <a:pt x="232761" y="29735"/>
                    </a:cubicBezTo>
                    <a:cubicBezTo>
                      <a:pt x="235430" y="28401"/>
                      <a:pt x="238100" y="27483"/>
                      <a:pt x="241187" y="27066"/>
                    </a:cubicBezTo>
                    <a:cubicBezTo>
                      <a:pt x="245609" y="26649"/>
                      <a:pt x="248695" y="29318"/>
                      <a:pt x="253618" y="33739"/>
                    </a:cubicBezTo>
                    <a:cubicBezTo>
                      <a:pt x="259791" y="38578"/>
                      <a:pt x="268217" y="46586"/>
                      <a:pt x="281065" y="39912"/>
                    </a:cubicBezTo>
                    <a:cubicBezTo>
                      <a:pt x="288573" y="35491"/>
                      <a:pt x="291660" y="26148"/>
                      <a:pt x="294330" y="16888"/>
                    </a:cubicBezTo>
                    <a:cubicBezTo>
                      <a:pt x="299669" y="955"/>
                      <a:pt x="301421" y="-1297"/>
                      <a:pt x="306260" y="538"/>
                    </a:cubicBezTo>
                    <a:cubicBezTo>
                      <a:pt x="310264" y="1873"/>
                      <a:pt x="311099" y="4959"/>
                      <a:pt x="310681" y="16471"/>
                    </a:cubicBezTo>
                    <a:cubicBezTo>
                      <a:pt x="310264" y="25814"/>
                      <a:pt x="310264" y="35992"/>
                      <a:pt x="317773" y="43083"/>
                    </a:cubicBezTo>
                    <a:cubicBezTo>
                      <a:pt x="323529" y="48421"/>
                      <a:pt x="330620" y="48839"/>
                      <a:pt x="336377" y="49256"/>
                    </a:cubicBezTo>
                    <a:cubicBezTo>
                      <a:pt x="339047" y="49256"/>
                      <a:pt x="341216" y="49673"/>
                      <a:pt x="343051" y="50173"/>
                    </a:cubicBezTo>
                    <a:cubicBezTo>
                      <a:pt x="351477" y="52426"/>
                      <a:pt x="353646" y="55512"/>
                      <a:pt x="358986" y="63938"/>
                    </a:cubicBezTo>
                    <a:cubicBezTo>
                      <a:pt x="358986" y="64355"/>
                      <a:pt x="359403" y="64355"/>
                      <a:pt x="359403" y="64355"/>
                    </a:cubicBezTo>
                    <a:lnTo>
                      <a:pt x="360738" y="66607"/>
                    </a:lnTo>
                    <a:cubicBezTo>
                      <a:pt x="362990" y="69694"/>
                      <a:pt x="366077" y="73698"/>
                      <a:pt x="369164" y="77702"/>
                    </a:cubicBezTo>
                    <a:cubicBezTo>
                      <a:pt x="369581" y="78119"/>
                      <a:pt x="369581" y="78119"/>
                      <a:pt x="369581" y="78119"/>
                    </a:cubicBezTo>
                    <a:cubicBezTo>
                      <a:pt x="378424" y="90048"/>
                      <a:pt x="391272" y="106065"/>
                      <a:pt x="389520" y="117076"/>
                    </a:cubicBezTo>
                    <a:cubicBezTo>
                      <a:pt x="389103" y="120163"/>
                      <a:pt x="387768" y="122415"/>
                      <a:pt x="386016" y="125502"/>
                    </a:cubicBezTo>
                    <a:cubicBezTo>
                      <a:pt x="383763" y="129506"/>
                      <a:pt x="381177" y="134845"/>
                      <a:pt x="380677" y="141852"/>
                    </a:cubicBezTo>
                    <a:cubicBezTo>
                      <a:pt x="380259" y="148526"/>
                      <a:pt x="381594" y="154699"/>
                      <a:pt x="382429" y="160455"/>
                    </a:cubicBezTo>
                    <a:cubicBezTo>
                      <a:pt x="383763" y="166628"/>
                      <a:pt x="384681" y="172384"/>
                      <a:pt x="383763" y="178641"/>
                    </a:cubicBezTo>
                    <a:lnTo>
                      <a:pt x="383346" y="182645"/>
                    </a:lnTo>
                    <a:cubicBezTo>
                      <a:pt x="381094" y="200831"/>
                      <a:pt x="378508" y="222937"/>
                      <a:pt x="405955" y="232280"/>
                    </a:cubicBezTo>
                    <a:cubicBezTo>
                      <a:pt x="411294" y="234032"/>
                      <a:pt x="417468" y="234533"/>
                      <a:pt x="423224" y="234950"/>
                    </a:cubicBezTo>
                    <a:cubicBezTo>
                      <a:pt x="437407" y="235867"/>
                      <a:pt x="443163" y="237202"/>
                      <a:pt x="444915" y="246045"/>
                    </a:cubicBezTo>
                    <a:cubicBezTo>
                      <a:pt x="447168" y="255805"/>
                      <a:pt x="442663" y="258891"/>
                      <a:pt x="430316" y="265064"/>
                    </a:cubicBezTo>
                    <a:cubicBezTo>
                      <a:pt x="424976" y="267734"/>
                      <a:pt x="419720" y="270404"/>
                      <a:pt x="414798" y="273907"/>
                    </a:cubicBezTo>
                    <a:cubicBezTo>
                      <a:pt x="401950" y="285419"/>
                      <a:pt x="397529" y="304940"/>
                      <a:pt x="401950" y="334137"/>
                    </a:cubicBezTo>
                    <a:cubicBezTo>
                      <a:pt x="402868" y="340810"/>
                      <a:pt x="405454" y="346566"/>
                      <a:pt x="407707" y="351822"/>
                    </a:cubicBezTo>
                    <a:cubicBezTo>
                      <a:pt x="412546" y="362917"/>
                      <a:pt x="413881" y="366420"/>
                      <a:pt x="405037" y="372677"/>
                    </a:cubicBezTo>
                    <a:cubicBezTo>
                      <a:pt x="401533" y="375346"/>
                      <a:pt x="398363" y="375346"/>
                      <a:pt x="393941" y="375763"/>
                    </a:cubicBezTo>
                    <a:cubicBezTo>
                      <a:pt x="389937" y="375763"/>
                      <a:pt x="385515" y="376181"/>
                      <a:pt x="380176" y="378016"/>
                    </a:cubicBezTo>
                    <a:cubicBezTo>
                      <a:pt x="375337" y="380268"/>
                      <a:pt x="371750" y="382854"/>
                      <a:pt x="369080" y="385107"/>
                    </a:cubicBezTo>
                    <a:cubicBezTo>
                      <a:pt x="365576" y="388193"/>
                      <a:pt x="363741" y="389528"/>
                      <a:pt x="360237" y="389528"/>
                    </a:cubicBezTo>
                    <a:cubicBezTo>
                      <a:pt x="358902" y="389111"/>
                      <a:pt x="353563" y="387275"/>
                      <a:pt x="350059" y="385524"/>
                    </a:cubicBezTo>
                    <a:cubicBezTo>
                      <a:pt x="339464" y="381102"/>
                      <a:pt x="326616" y="375346"/>
                      <a:pt x="316355" y="379350"/>
                    </a:cubicBezTo>
                    <a:cubicBezTo>
                      <a:pt x="311933" y="381603"/>
                      <a:pt x="308346" y="384690"/>
                      <a:pt x="306594" y="389945"/>
                    </a:cubicBezTo>
                    <a:cubicBezTo>
                      <a:pt x="302589" y="401040"/>
                      <a:pt x="309680" y="407213"/>
                      <a:pt x="313685" y="411217"/>
                    </a:cubicBezTo>
                    <a:cubicBezTo>
                      <a:pt x="315020" y="412552"/>
                      <a:pt x="316355" y="413470"/>
                      <a:pt x="317189" y="414721"/>
                    </a:cubicBezTo>
                    <a:cubicBezTo>
                      <a:pt x="320276" y="419142"/>
                      <a:pt x="319858" y="421812"/>
                      <a:pt x="319441" y="426650"/>
                    </a:cubicBezTo>
                    <a:cubicBezTo>
                      <a:pt x="319024" y="430654"/>
                      <a:pt x="319024" y="435493"/>
                      <a:pt x="320776" y="441749"/>
                    </a:cubicBezTo>
                    <a:cubicBezTo>
                      <a:pt x="322528" y="447088"/>
                      <a:pt x="327450" y="450592"/>
                      <a:pt x="330954" y="453678"/>
                    </a:cubicBezTo>
                    <a:cubicBezTo>
                      <a:pt x="332289" y="454596"/>
                      <a:pt x="334458" y="456348"/>
                      <a:pt x="334458" y="456348"/>
                    </a:cubicBezTo>
                    <a:cubicBezTo>
                      <a:pt x="334041" y="457265"/>
                      <a:pt x="332706" y="460352"/>
                      <a:pt x="321610" y="467860"/>
                    </a:cubicBezTo>
                    <a:cubicBezTo>
                      <a:pt x="319358" y="469194"/>
                      <a:pt x="316271" y="470946"/>
                      <a:pt x="312767" y="473198"/>
                    </a:cubicBezTo>
                    <a:cubicBezTo>
                      <a:pt x="294163" y="483793"/>
                      <a:pt x="268468" y="498475"/>
                      <a:pt x="271137" y="516160"/>
                    </a:cubicBezTo>
                    <a:cubicBezTo>
                      <a:pt x="272889" y="529007"/>
                      <a:pt x="288824" y="534346"/>
                      <a:pt x="303924" y="538767"/>
                    </a:cubicBezTo>
                    <a:cubicBezTo>
                      <a:pt x="312684" y="538851"/>
                      <a:pt x="322445" y="541937"/>
                      <a:pt x="325114" y="54502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46037528" name="Полилиния 360"/>
              <p:cNvSpPr/>
              <p:nvPr/>
            </p:nvSpPr>
            <p:spPr bwMode="auto">
              <a:xfrm>
                <a:off x="1718753" y="3898627"/>
                <a:ext cx="310568" cy="214601"/>
              </a:xfrm>
              <a:custGeom>
                <a:avLst/>
                <a:gdLst>
                  <a:gd name="connsiteX0" fmla="*/ 10295 w 348779"/>
                  <a:gd name="connsiteY0" fmla="*/ 149576 h 241005"/>
                  <a:gd name="connsiteX1" fmla="*/ 22226 w 348779"/>
                  <a:gd name="connsiteY1" fmla="*/ 126970 h 241005"/>
                  <a:gd name="connsiteX2" fmla="*/ 14216 w 348779"/>
                  <a:gd name="connsiteY2" fmla="*/ 97272 h 241005"/>
                  <a:gd name="connsiteX3" fmla="*/ 10713 w 348779"/>
                  <a:gd name="connsiteY3" fmla="*/ 88846 h 241005"/>
                  <a:gd name="connsiteX4" fmla="*/ 4038 w 348779"/>
                  <a:gd name="connsiteY4" fmla="*/ 50306 h 241005"/>
                  <a:gd name="connsiteX5" fmla="*/ 2704 w 348779"/>
                  <a:gd name="connsiteY5" fmla="*/ 32621 h 241005"/>
                  <a:gd name="connsiteX6" fmla="*/ 28816 w 348779"/>
                  <a:gd name="connsiteY6" fmla="*/ 18022 h 241005"/>
                  <a:gd name="connsiteX7" fmla="*/ 73533 w 348779"/>
                  <a:gd name="connsiteY7" fmla="*/ 5593 h 241005"/>
                  <a:gd name="connsiteX8" fmla="*/ 80624 w 348779"/>
                  <a:gd name="connsiteY8" fmla="*/ 23278 h 241005"/>
                  <a:gd name="connsiteX9" fmla="*/ 93889 w 348779"/>
                  <a:gd name="connsiteY9" fmla="*/ 47637 h 241005"/>
                  <a:gd name="connsiteX10" fmla="*/ 113828 w 348779"/>
                  <a:gd name="connsiteY10" fmla="*/ 48054 h 241005"/>
                  <a:gd name="connsiteX11" fmla="*/ 122254 w 348779"/>
                  <a:gd name="connsiteY11" fmla="*/ 44049 h 241005"/>
                  <a:gd name="connsiteX12" fmla="*/ 129346 w 348779"/>
                  <a:gd name="connsiteY12" fmla="*/ 43632 h 241005"/>
                  <a:gd name="connsiteX13" fmla="*/ 137772 w 348779"/>
                  <a:gd name="connsiteY13" fmla="*/ 46719 h 241005"/>
                  <a:gd name="connsiteX14" fmla="*/ 161715 w 348779"/>
                  <a:gd name="connsiteY14" fmla="*/ 51557 h 241005"/>
                  <a:gd name="connsiteX15" fmla="*/ 179902 w 348779"/>
                  <a:gd name="connsiteY15" fmla="*/ 44466 h 241005"/>
                  <a:gd name="connsiteX16" fmla="*/ 192333 w 348779"/>
                  <a:gd name="connsiteY16" fmla="*/ 39128 h 241005"/>
                  <a:gd name="connsiteX17" fmla="*/ 206098 w 348779"/>
                  <a:gd name="connsiteY17" fmla="*/ 39545 h 241005"/>
                  <a:gd name="connsiteX18" fmla="*/ 225620 w 348779"/>
                  <a:gd name="connsiteY18" fmla="*/ 39128 h 241005"/>
                  <a:gd name="connsiteX19" fmla="*/ 258407 w 348779"/>
                  <a:gd name="connsiteY19" fmla="*/ 23611 h 241005"/>
                  <a:gd name="connsiteX20" fmla="*/ 262411 w 348779"/>
                  <a:gd name="connsiteY20" fmla="*/ 31119 h 241005"/>
                  <a:gd name="connsiteX21" fmla="*/ 265915 w 348779"/>
                  <a:gd name="connsiteY21" fmla="*/ 36458 h 241005"/>
                  <a:gd name="connsiteX22" fmla="*/ 289358 w 348779"/>
                  <a:gd name="connsiteY22" fmla="*/ 70160 h 241005"/>
                  <a:gd name="connsiteX23" fmla="*/ 313719 w 348779"/>
                  <a:gd name="connsiteY23" fmla="*/ 87011 h 241005"/>
                  <a:gd name="connsiteX24" fmla="*/ 327901 w 348779"/>
                  <a:gd name="connsiteY24" fmla="*/ 93184 h 241005"/>
                  <a:gd name="connsiteX25" fmla="*/ 348758 w 348779"/>
                  <a:gd name="connsiteY25" fmla="*/ 133059 h 241005"/>
                  <a:gd name="connsiteX26" fmla="*/ 337662 w 348779"/>
                  <a:gd name="connsiteY26" fmla="*/ 160505 h 241005"/>
                  <a:gd name="connsiteX27" fmla="*/ 329236 w 348779"/>
                  <a:gd name="connsiteY27" fmla="*/ 176021 h 241005"/>
                  <a:gd name="connsiteX28" fmla="*/ 322145 w 348779"/>
                  <a:gd name="connsiteY28" fmla="*/ 199045 h 241005"/>
                  <a:gd name="connsiteX29" fmla="*/ 311550 w 348779"/>
                  <a:gd name="connsiteY29" fmla="*/ 202131 h 241005"/>
                  <a:gd name="connsiteX30" fmla="*/ 291611 w 348779"/>
                  <a:gd name="connsiteY30" fmla="*/ 202548 h 241005"/>
                  <a:gd name="connsiteX31" fmla="*/ 286271 w 348779"/>
                  <a:gd name="connsiteY31" fmla="*/ 200296 h 241005"/>
                  <a:gd name="connsiteX32" fmla="*/ 258324 w 348779"/>
                  <a:gd name="connsiteY32" fmla="*/ 206469 h 241005"/>
                  <a:gd name="connsiteX33" fmla="*/ 253485 w 348779"/>
                  <a:gd name="connsiteY33" fmla="*/ 215312 h 241005"/>
                  <a:gd name="connsiteX34" fmla="*/ 249981 w 348779"/>
                  <a:gd name="connsiteY34" fmla="*/ 220651 h 241005"/>
                  <a:gd name="connsiteX35" fmla="*/ 240220 w 348779"/>
                  <a:gd name="connsiteY35" fmla="*/ 213977 h 241005"/>
                  <a:gd name="connsiteX36" fmla="*/ 236215 w 348779"/>
                  <a:gd name="connsiteY36" fmla="*/ 209556 h 241005"/>
                  <a:gd name="connsiteX37" fmla="*/ 164468 w 348779"/>
                  <a:gd name="connsiteY37" fmla="*/ 202048 h 241005"/>
                  <a:gd name="connsiteX38" fmla="*/ 152538 w 348779"/>
                  <a:gd name="connsiteY38" fmla="*/ 207387 h 241005"/>
                  <a:gd name="connsiteX39" fmla="*/ 107821 w 348779"/>
                  <a:gd name="connsiteY39" fmla="*/ 237919 h 241005"/>
                  <a:gd name="connsiteX40" fmla="*/ 106487 w 348779"/>
                  <a:gd name="connsiteY40" fmla="*/ 241005 h 241005"/>
                  <a:gd name="connsiteX41" fmla="*/ 92304 w 348779"/>
                  <a:gd name="connsiteY41" fmla="*/ 237001 h 241005"/>
                  <a:gd name="connsiteX42" fmla="*/ 88800 w 348779"/>
                  <a:gd name="connsiteY42" fmla="*/ 236584 h 241005"/>
                  <a:gd name="connsiteX43" fmla="*/ 77704 w 348779"/>
                  <a:gd name="connsiteY43" fmla="*/ 233915 h 241005"/>
                  <a:gd name="connsiteX44" fmla="*/ 74618 w 348779"/>
                  <a:gd name="connsiteY44" fmla="*/ 231662 h 241005"/>
                  <a:gd name="connsiteX45" fmla="*/ 64022 w 348779"/>
                  <a:gd name="connsiteY45" fmla="*/ 226824 h 241005"/>
                  <a:gd name="connsiteX46" fmla="*/ 40079 w 348779"/>
                  <a:gd name="connsiteY46" fmla="*/ 228576 h 241005"/>
                  <a:gd name="connsiteX47" fmla="*/ 22810 w 348779"/>
                  <a:gd name="connsiteY47" fmla="*/ 230328 h 241005"/>
                  <a:gd name="connsiteX48" fmla="*/ 10379 w 348779"/>
                  <a:gd name="connsiteY48" fmla="*/ 224572 h 241005"/>
                  <a:gd name="connsiteX49" fmla="*/ 12131 w 348779"/>
                  <a:gd name="connsiteY49" fmla="*/ 218398 h 241005"/>
                  <a:gd name="connsiteX50" fmla="*/ 5457 w 348779"/>
                  <a:gd name="connsiteY50" fmla="*/ 194957 h 241005"/>
                  <a:gd name="connsiteX51" fmla="*/ 1035 w 348779"/>
                  <a:gd name="connsiteY51" fmla="*/ 185614 h 241005"/>
                  <a:gd name="connsiteX52" fmla="*/ 6374 w 348779"/>
                  <a:gd name="connsiteY52" fmla="*/ 157668 h 241005"/>
                  <a:gd name="connsiteX53" fmla="*/ 10295 w 348779"/>
                  <a:gd name="connsiteY53" fmla="*/ 149576 h 241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348779" h="241005" extrusionOk="0">
                    <a:moveTo>
                      <a:pt x="10295" y="149576"/>
                    </a:moveTo>
                    <a:cubicBezTo>
                      <a:pt x="15134" y="143820"/>
                      <a:pt x="20891" y="137147"/>
                      <a:pt x="22226" y="126970"/>
                    </a:cubicBezTo>
                    <a:cubicBezTo>
                      <a:pt x="23560" y="115875"/>
                      <a:pt x="18722" y="105697"/>
                      <a:pt x="14216" y="97272"/>
                    </a:cubicBezTo>
                    <a:cubicBezTo>
                      <a:pt x="12882" y="94602"/>
                      <a:pt x="11547" y="91516"/>
                      <a:pt x="10713" y="88846"/>
                    </a:cubicBezTo>
                    <a:cubicBezTo>
                      <a:pt x="5874" y="76917"/>
                      <a:pt x="4956" y="64070"/>
                      <a:pt x="4038" y="50306"/>
                    </a:cubicBezTo>
                    <a:cubicBezTo>
                      <a:pt x="3621" y="44550"/>
                      <a:pt x="3121" y="38377"/>
                      <a:pt x="2704" y="32621"/>
                    </a:cubicBezTo>
                    <a:cubicBezTo>
                      <a:pt x="11547" y="30369"/>
                      <a:pt x="20891" y="25947"/>
                      <a:pt x="28816" y="18022"/>
                    </a:cubicBezTo>
                    <a:cubicBezTo>
                      <a:pt x="41664" y="5176"/>
                      <a:pt x="59851" y="-7671"/>
                      <a:pt x="73533" y="5593"/>
                    </a:cubicBezTo>
                    <a:cubicBezTo>
                      <a:pt x="77037" y="9096"/>
                      <a:pt x="78872" y="16187"/>
                      <a:pt x="80624" y="23278"/>
                    </a:cubicBezTo>
                    <a:cubicBezTo>
                      <a:pt x="82877" y="33038"/>
                      <a:pt x="85463" y="43215"/>
                      <a:pt x="93889" y="47637"/>
                    </a:cubicBezTo>
                    <a:cubicBezTo>
                      <a:pt x="99228" y="50723"/>
                      <a:pt x="105819" y="50723"/>
                      <a:pt x="113828" y="48054"/>
                    </a:cubicBezTo>
                    <a:cubicBezTo>
                      <a:pt x="117833" y="46719"/>
                      <a:pt x="120502" y="45384"/>
                      <a:pt x="122254" y="44049"/>
                    </a:cubicBezTo>
                    <a:cubicBezTo>
                      <a:pt x="124507" y="42715"/>
                      <a:pt x="124924" y="42715"/>
                      <a:pt x="129346" y="43632"/>
                    </a:cubicBezTo>
                    <a:cubicBezTo>
                      <a:pt x="132432" y="44550"/>
                      <a:pt x="135102" y="45885"/>
                      <a:pt x="137772" y="46719"/>
                    </a:cubicBezTo>
                    <a:cubicBezTo>
                      <a:pt x="144446" y="49806"/>
                      <a:pt x="151537" y="52892"/>
                      <a:pt x="161715" y="51557"/>
                    </a:cubicBezTo>
                    <a:cubicBezTo>
                      <a:pt x="168806" y="50640"/>
                      <a:pt x="174563" y="47136"/>
                      <a:pt x="179902" y="44466"/>
                    </a:cubicBezTo>
                    <a:cubicBezTo>
                      <a:pt x="183907" y="42214"/>
                      <a:pt x="187911" y="40045"/>
                      <a:pt x="192333" y="39128"/>
                    </a:cubicBezTo>
                    <a:cubicBezTo>
                      <a:pt x="196754" y="38210"/>
                      <a:pt x="201176" y="38711"/>
                      <a:pt x="206098" y="39545"/>
                    </a:cubicBezTo>
                    <a:cubicBezTo>
                      <a:pt x="212272" y="40462"/>
                      <a:pt x="218946" y="40880"/>
                      <a:pt x="225620" y="39128"/>
                    </a:cubicBezTo>
                    <a:cubicBezTo>
                      <a:pt x="238051" y="36458"/>
                      <a:pt x="248646" y="29785"/>
                      <a:pt x="258407" y="23611"/>
                    </a:cubicBezTo>
                    <a:cubicBezTo>
                      <a:pt x="259325" y="26281"/>
                      <a:pt x="260659" y="28450"/>
                      <a:pt x="262411" y="31119"/>
                    </a:cubicBezTo>
                    <a:lnTo>
                      <a:pt x="265915" y="36458"/>
                    </a:lnTo>
                    <a:cubicBezTo>
                      <a:pt x="274341" y="47553"/>
                      <a:pt x="282267" y="58148"/>
                      <a:pt x="289358" y="70160"/>
                    </a:cubicBezTo>
                    <a:cubicBezTo>
                      <a:pt x="296867" y="82590"/>
                      <a:pt x="305710" y="84759"/>
                      <a:pt x="313719" y="87011"/>
                    </a:cubicBezTo>
                    <a:cubicBezTo>
                      <a:pt x="318558" y="88346"/>
                      <a:pt x="323480" y="89681"/>
                      <a:pt x="327901" y="93184"/>
                    </a:cubicBezTo>
                    <a:cubicBezTo>
                      <a:pt x="335910" y="99357"/>
                      <a:pt x="348258" y="122882"/>
                      <a:pt x="348758" y="133059"/>
                    </a:cubicBezTo>
                    <a:cubicBezTo>
                      <a:pt x="349175" y="141485"/>
                      <a:pt x="343419" y="151245"/>
                      <a:pt x="337662" y="160505"/>
                    </a:cubicBezTo>
                    <a:cubicBezTo>
                      <a:pt x="334576" y="165343"/>
                      <a:pt x="331489" y="170682"/>
                      <a:pt x="329236" y="176021"/>
                    </a:cubicBezTo>
                    <a:cubicBezTo>
                      <a:pt x="326149" y="184029"/>
                      <a:pt x="323897" y="191537"/>
                      <a:pt x="322145" y="199045"/>
                    </a:cubicBezTo>
                    <a:cubicBezTo>
                      <a:pt x="319058" y="199462"/>
                      <a:pt x="315471" y="200797"/>
                      <a:pt x="311550" y="202131"/>
                    </a:cubicBezTo>
                    <a:cubicBezTo>
                      <a:pt x="301372" y="205635"/>
                      <a:pt x="300037" y="205635"/>
                      <a:pt x="291611" y="202548"/>
                    </a:cubicBezTo>
                    <a:lnTo>
                      <a:pt x="286271" y="200296"/>
                    </a:lnTo>
                    <a:cubicBezTo>
                      <a:pt x="273424" y="195875"/>
                      <a:pt x="268084" y="195875"/>
                      <a:pt x="258324" y="206469"/>
                    </a:cubicBezTo>
                    <a:cubicBezTo>
                      <a:pt x="255654" y="209139"/>
                      <a:pt x="254319" y="212642"/>
                      <a:pt x="253485" y="215312"/>
                    </a:cubicBezTo>
                    <a:cubicBezTo>
                      <a:pt x="252150" y="218815"/>
                      <a:pt x="251232" y="220150"/>
                      <a:pt x="249981" y="220651"/>
                    </a:cubicBezTo>
                    <a:cubicBezTo>
                      <a:pt x="247311" y="221568"/>
                      <a:pt x="245142" y="219733"/>
                      <a:pt x="240220" y="213977"/>
                    </a:cubicBezTo>
                    <a:cubicBezTo>
                      <a:pt x="238885" y="212225"/>
                      <a:pt x="237550" y="210890"/>
                      <a:pt x="236215" y="209556"/>
                    </a:cubicBezTo>
                    <a:cubicBezTo>
                      <a:pt x="210103" y="184279"/>
                      <a:pt x="186159" y="190953"/>
                      <a:pt x="164468" y="202048"/>
                    </a:cubicBezTo>
                    <a:cubicBezTo>
                      <a:pt x="161381" y="203800"/>
                      <a:pt x="156960" y="205552"/>
                      <a:pt x="152538" y="207387"/>
                    </a:cubicBezTo>
                    <a:cubicBezTo>
                      <a:pt x="135686" y="214478"/>
                      <a:pt x="114913" y="223320"/>
                      <a:pt x="107821" y="237919"/>
                    </a:cubicBezTo>
                    <a:cubicBezTo>
                      <a:pt x="107404" y="238836"/>
                      <a:pt x="106904" y="240171"/>
                      <a:pt x="106487" y="241005"/>
                    </a:cubicBezTo>
                    <a:cubicBezTo>
                      <a:pt x="100730" y="238753"/>
                      <a:pt x="95891" y="237919"/>
                      <a:pt x="92304" y="237001"/>
                    </a:cubicBezTo>
                    <a:lnTo>
                      <a:pt x="88800" y="236584"/>
                    </a:lnTo>
                    <a:cubicBezTo>
                      <a:pt x="84796" y="235666"/>
                      <a:pt x="81709" y="235249"/>
                      <a:pt x="77704" y="233915"/>
                    </a:cubicBezTo>
                    <a:cubicBezTo>
                      <a:pt x="76787" y="233497"/>
                      <a:pt x="75452" y="232997"/>
                      <a:pt x="74618" y="231662"/>
                    </a:cubicBezTo>
                    <a:cubicBezTo>
                      <a:pt x="71948" y="229911"/>
                      <a:pt x="68444" y="228159"/>
                      <a:pt x="64022" y="226824"/>
                    </a:cubicBezTo>
                    <a:cubicBezTo>
                      <a:pt x="55179" y="225072"/>
                      <a:pt x="47170" y="227241"/>
                      <a:pt x="40079" y="228576"/>
                    </a:cubicBezTo>
                    <a:cubicBezTo>
                      <a:pt x="33905" y="229911"/>
                      <a:pt x="28149" y="231245"/>
                      <a:pt x="22810" y="230328"/>
                    </a:cubicBezTo>
                    <a:cubicBezTo>
                      <a:pt x="18388" y="229410"/>
                      <a:pt x="14383" y="227241"/>
                      <a:pt x="10379" y="224572"/>
                    </a:cubicBezTo>
                    <a:cubicBezTo>
                      <a:pt x="11297" y="222820"/>
                      <a:pt x="11714" y="221068"/>
                      <a:pt x="12131" y="218398"/>
                    </a:cubicBezTo>
                    <a:cubicBezTo>
                      <a:pt x="13466" y="209556"/>
                      <a:pt x="9044" y="201548"/>
                      <a:pt x="5457" y="194957"/>
                    </a:cubicBezTo>
                    <a:cubicBezTo>
                      <a:pt x="3705" y="191871"/>
                      <a:pt x="1953" y="188784"/>
                      <a:pt x="1035" y="185614"/>
                    </a:cubicBezTo>
                    <a:cubicBezTo>
                      <a:pt x="-2052" y="175437"/>
                      <a:pt x="2370" y="165260"/>
                      <a:pt x="6374" y="157668"/>
                    </a:cubicBezTo>
                    <a:cubicBezTo>
                      <a:pt x="5790" y="154916"/>
                      <a:pt x="8043" y="152246"/>
                      <a:pt x="10295" y="1495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00968617" name="Полилиния 361"/>
              <p:cNvSpPr/>
              <p:nvPr/>
            </p:nvSpPr>
            <p:spPr bwMode="auto">
              <a:xfrm>
                <a:off x="1774944" y="4305543"/>
                <a:ext cx="262158" cy="256864"/>
              </a:xfrm>
              <a:custGeom>
                <a:avLst/>
                <a:gdLst>
                  <a:gd name="connsiteX0" fmla="*/ 214240 w 294413"/>
                  <a:gd name="connsiteY0" fmla="*/ 195371 h 288468"/>
                  <a:gd name="connsiteX1" fmla="*/ 221331 w 294413"/>
                  <a:gd name="connsiteY1" fmla="*/ 239667 h 288468"/>
                  <a:gd name="connsiteX2" fmla="*/ 226170 w 294413"/>
                  <a:gd name="connsiteY2" fmla="*/ 248510 h 288468"/>
                  <a:gd name="connsiteX3" fmla="*/ 227505 w 294413"/>
                  <a:gd name="connsiteY3" fmla="*/ 259605 h 288468"/>
                  <a:gd name="connsiteX4" fmla="*/ 215074 w 294413"/>
                  <a:gd name="connsiteY4" fmla="*/ 272034 h 288468"/>
                  <a:gd name="connsiteX5" fmla="*/ 206231 w 294413"/>
                  <a:gd name="connsiteY5" fmla="*/ 278708 h 288468"/>
                  <a:gd name="connsiteX6" fmla="*/ 197805 w 294413"/>
                  <a:gd name="connsiteY6" fmla="*/ 288468 h 288468"/>
                  <a:gd name="connsiteX7" fmla="*/ 187627 w 294413"/>
                  <a:gd name="connsiteY7" fmla="*/ 283130 h 288468"/>
                  <a:gd name="connsiteX8" fmla="*/ 173027 w 294413"/>
                  <a:gd name="connsiteY8" fmla="*/ 268948 h 288468"/>
                  <a:gd name="connsiteX9" fmla="*/ 151753 w 294413"/>
                  <a:gd name="connsiteY9" fmla="*/ 250345 h 288468"/>
                  <a:gd name="connsiteX10" fmla="*/ 141158 w 294413"/>
                  <a:gd name="connsiteY10" fmla="*/ 246842 h 288468"/>
                  <a:gd name="connsiteX11" fmla="*/ 132315 w 294413"/>
                  <a:gd name="connsiteY11" fmla="*/ 242837 h 288468"/>
                  <a:gd name="connsiteX12" fmla="*/ 127476 w 294413"/>
                  <a:gd name="connsiteY12" fmla="*/ 226904 h 288468"/>
                  <a:gd name="connsiteX13" fmla="*/ 127059 w 294413"/>
                  <a:gd name="connsiteY13" fmla="*/ 222483 h 288468"/>
                  <a:gd name="connsiteX14" fmla="*/ 97860 w 294413"/>
                  <a:gd name="connsiteY14" fmla="*/ 185694 h 288468"/>
                  <a:gd name="connsiteX15" fmla="*/ 85930 w 294413"/>
                  <a:gd name="connsiteY15" fmla="*/ 172847 h 288468"/>
                  <a:gd name="connsiteX16" fmla="*/ 74000 w 294413"/>
                  <a:gd name="connsiteY16" fmla="*/ 152493 h 288468"/>
                  <a:gd name="connsiteX17" fmla="*/ 32787 w 294413"/>
                  <a:gd name="connsiteY17" fmla="*/ 150240 h 288468"/>
                  <a:gd name="connsiteX18" fmla="*/ 32370 w 294413"/>
                  <a:gd name="connsiteY18" fmla="*/ 149823 h 288468"/>
                  <a:gd name="connsiteX19" fmla="*/ 22609 w 294413"/>
                  <a:gd name="connsiteY19" fmla="*/ 141815 h 288468"/>
                  <a:gd name="connsiteX20" fmla="*/ 11513 w 294413"/>
                  <a:gd name="connsiteY20" fmla="*/ 137811 h 288468"/>
                  <a:gd name="connsiteX21" fmla="*/ 2670 w 294413"/>
                  <a:gd name="connsiteY21" fmla="*/ 134307 h 288468"/>
                  <a:gd name="connsiteX22" fmla="*/ 0 w 294413"/>
                  <a:gd name="connsiteY22" fmla="*/ 123713 h 288468"/>
                  <a:gd name="connsiteX23" fmla="*/ 417 w 294413"/>
                  <a:gd name="connsiteY23" fmla="*/ 118374 h 288468"/>
                  <a:gd name="connsiteX24" fmla="*/ 1335 w 294413"/>
                  <a:gd name="connsiteY24" fmla="*/ 111283 h 288468"/>
                  <a:gd name="connsiteX25" fmla="*/ 5756 w 294413"/>
                  <a:gd name="connsiteY25" fmla="*/ 111700 h 288468"/>
                  <a:gd name="connsiteX26" fmla="*/ 50473 w 294413"/>
                  <a:gd name="connsiteY26" fmla="*/ 77998 h 288468"/>
                  <a:gd name="connsiteX27" fmla="*/ 112042 w 294413"/>
                  <a:gd name="connsiteY27" fmla="*/ 0 h 288468"/>
                  <a:gd name="connsiteX28" fmla="*/ 120051 w 294413"/>
                  <a:gd name="connsiteY28" fmla="*/ 8008 h 288468"/>
                  <a:gd name="connsiteX29" fmla="*/ 136403 w 294413"/>
                  <a:gd name="connsiteY29" fmla="*/ 27529 h 288468"/>
                  <a:gd name="connsiteX30" fmla="*/ 151003 w 294413"/>
                  <a:gd name="connsiteY30" fmla="*/ 45715 h 288468"/>
                  <a:gd name="connsiteX31" fmla="*/ 155841 w 294413"/>
                  <a:gd name="connsiteY31" fmla="*/ 46632 h 288468"/>
                  <a:gd name="connsiteX32" fmla="*/ 170024 w 294413"/>
                  <a:gd name="connsiteY32" fmla="*/ 42211 h 288468"/>
                  <a:gd name="connsiteX33" fmla="*/ 184206 w 294413"/>
                  <a:gd name="connsiteY33" fmla="*/ 30282 h 288468"/>
                  <a:gd name="connsiteX34" fmla="*/ 193967 w 294413"/>
                  <a:gd name="connsiteY34" fmla="*/ 21856 h 288468"/>
                  <a:gd name="connsiteX35" fmla="*/ 213906 w 294413"/>
                  <a:gd name="connsiteY35" fmla="*/ 10762 h 288468"/>
                  <a:gd name="connsiteX36" fmla="*/ 218328 w 294413"/>
                  <a:gd name="connsiteY36" fmla="*/ 8509 h 288468"/>
                  <a:gd name="connsiteX37" fmla="*/ 228089 w 294413"/>
                  <a:gd name="connsiteY37" fmla="*/ 7174 h 288468"/>
                  <a:gd name="connsiteX38" fmla="*/ 240019 w 294413"/>
                  <a:gd name="connsiteY38" fmla="*/ 6757 h 288468"/>
                  <a:gd name="connsiteX39" fmla="*/ 243523 w 294413"/>
                  <a:gd name="connsiteY39" fmla="*/ 5422 h 288468"/>
                  <a:gd name="connsiteX40" fmla="*/ 247027 w 294413"/>
                  <a:gd name="connsiteY40" fmla="*/ 12513 h 288468"/>
                  <a:gd name="connsiteX41" fmla="*/ 256788 w 294413"/>
                  <a:gd name="connsiteY41" fmla="*/ 33368 h 288468"/>
                  <a:gd name="connsiteX42" fmla="*/ 260292 w 294413"/>
                  <a:gd name="connsiteY42" fmla="*/ 46215 h 288468"/>
                  <a:gd name="connsiteX43" fmla="*/ 272222 w 294413"/>
                  <a:gd name="connsiteY43" fmla="*/ 75412 h 288468"/>
                  <a:gd name="connsiteX44" fmla="*/ 280231 w 294413"/>
                  <a:gd name="connsiteY44" fmla="*/ 85172 h 288468"/>
                  <a:gd name="connsiteX45" fmla="*/ 288240 w 294413"/>
                  <a:gd name="connsiteY45" fmla="*/ 94933 h 288468"/>
                  <a:gd name="connsiteX46" fmla="*/ 289992 w 294413"/>
                  <a:gd name="connsiteY46" fmla="*/ 98019 h 288468"/>
                  <a:gd name="connsiteX47" fmla="*/ 294413 w 294413"/>
                  <a:gd name="connsiteY47" fmla="*/ 104693 h 288468"/>
                  <a:gd name="connsiteX48" fmla="*/ 274057 w 294413"/>
                  <a:gd name="connsiteY48" fmla="*/ 137477 h 288468"/>
                  <a:gd name="connsiteX49" fmla="*/ 252783 w 294413"/>
                  <a:gd name="connsiteY49" fmla="*/ 151242 h 288468"/>
                  <a:gd name="connsiteX50" fmla="*/ 214240 w 294413"/>
                  <a:gd name="connsiteY50" fmla="*/ 195371 h 288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94413" h="288468" extrusionOk="0">
                    <a:moveTo>
                      <a:pt x="214240" y="195371"/>
                    </a:moveTo>
                    <a:cubicBezTo>
                      <a:pt x="213823" y="207300"/>
                      <a:pt x="216493" y="226821"/>
                      <a:pt x="221331" y="239667"/>
                    </a:cubicBezTo>
                    <a:cubicBezTo>
                      <a:pt x="222666" y="243171"/>
                      <a:pt x="224835" y="246341"/>
                      <a:pt x="226170" y="248510"/>
                    </a:cubicBezTo>
                    <a:cubicBezTo>
                      <a:pt x="229257" y="252931"/>
                      <a:pt x="229674" y="254266"/>
                      <a:pt x="227505" y="259605"/>
                    </a:cubicBezTo>
                    <a:cubicBezTo>
                      <a:pt x="225252" y="264443"/>
                      <a:pt x="220414" y="268447"/>
                      <a:pt x="215074" y="272034"/>
                    </a:cubicBezTo>
                    <a:cubicBezTo>
                      <a:pt x="211988" y="274287"/>
                      <a:pt x="208901" y="276456"/>
                      <a:pt x="206231" y="278708"/>
                    </a:cubicBezTo>
                    <a:cubicBezTo>
                      <a:pt x="202727" y="281795"/>
                      <a:pt x="200057" y="285382"/>
                      <a:pt x="197805" y="288468"/>
                    </a:cubicBezTo>
                    <a:cubicBezTo>
                      <a:pt x="194301" y="287134"/>
                      <a:pt x="190714" y="284965"/>
                      <a:pt x="187627" y="283130"/>
                    </a:cubicBezTo>
                    <a:cubicBezTo>
                      <a:pt x="182288" y="279626"/>
                      <a:pt x="177449" y="274287"/>
                      <a:pt x="173027" y="268948"/>
                    </a:cubicBezTo>
                    <a:cubicBezTo>
                      <a:pt x="166854" y="261857"/>
                      <a:pt x="160597" y="254767"/>
                      <a:pt x="151753" y="250345"/>
                    </a:cubicBezTo>
                    <a:cubicBezTo>
                      <a:pt x="148249" y="248093"/>
                      <a:pt x="144662" y="247259"/>
                      <a:pt x="141158" y="246842"/>
                    </a:cubicBezTo>
                    <a:cubicBezTo>
                      <a:pt x="136737" y="245924"/>
                      <a:pt x="134067" y="245090"/>
                      <a:pt x="132315" y="242837"/>
                    </a:cubicBezTo>
                    <a:cubicBezTo>
                      <a:pt x="128811" y="239334"/>
                      <a:pt x="128310" y="233077"/>
                      <a:pt x="127476" y="226904"/>
                    </a:cubicBezTo>
                    <a:lnTo>
                      <a:pt x="127059" y="222483"/>
                    </a:lnTo>
                    <a:cubicBezTo>
                      <a:pt x="124389" y="199459"/>
                      <a:pt x="119968" y="191450"/>
                      <a:pt x="97860" y="185694"/>
                    </a:cubicBezTo>
                    <a:cubicBezTo>
                      <a:pt x="89434" y="183442"/>
                      <a:pt x="88099" y="179938"/>
                      <a:pt x="85930" y="172847"/>
                    </a:cubicBezTo>
                    <a:cubicBezTo>
                      <a:pt x="83677" y="166674"/>
                      <a:pt x="81508" y="159083"/>
                      <a:pt x="74000" y="152493"/>
                    </a:cubicBezTo>
                    <a:cubicBezTo>
                      <a:pt x="61152" y="141898"/>
                      <a:pt x="45217" y="143650"/>
                      <a:pt x="32787" y="150240"/>
                    </a:cubicBezTo>
                    <a:lnTo>
                      <a:pt x="32370" y="149823"/>
                    </a:lnTo>
                    <a:cubicBezTo>
                      <a:pt x="29700" y="147154"/>
                      <a:pt x="27030" y="144067"/>
                      <a:pt x="22609" y="141815"/>
                    </a:cubicBezTo>
                    <a:cubicBezTo>
                      <a:pt x="19105" y="139563"/>
                      <a:pt x="14600" y="138729"/>
                      <a:pt x="11513" y="137811"/>
                    </a:cubicBezTo>
                    <a:cubicBezTo>
                      <a:pt x="8009" y="136893"/>
                      <a:pt x="4422" y="135558"/>
                      <a:pt x="2670" y="134307"/>
                    </a:cubicBezTo>
                    <a:cubicBezTo>
                      <a:pt x="0" y="131638"/>
                      <a:pt x="0" y="127216"/>
                      <a:pt x="0" y="123713"/>
                    </a:cubicBezTo>
                    <a:cubicBezTo>
                      <a:pt x="0" y="121961"/>
                      <a:pt x="417" y="120209"/>
                      <a:pt x="417" y="118374"/>
                    </a:cubicBezTo>
                    <a:cubicBezTo>
                      <a:pt x="834" y="115704"/>
                      <a:pt x="1335" y="113535"/>
                      <a:pt x="1335" y="111283"/>
                    </a:cubicBezTo>
                    <a:cubicBezTo>
                      <a:pt x="2670" y="111700"/>
                      <a:pt x="4422" y="111700"/>
                      <a:pt x="5756" y="111700"/>
                    </a:cubicBezTo>
                    <a:cubicBezTo>
                      <a:pt x="27447" y="111700"/>
                      <a:pt x="41213" y="101106"/>
                      <a:pt x="50473" y="77998"/>
                    </a:cubicBezTo>
                    <a:cubicBezTo>
                      <a:pt x="62403" y="47467"/>
                      <a:pt x="85930" y="22190"/>
                      <a:pt x="112042" y="0"/>
                    </a:cubicBezTo>
                    <a:cubicBezTo>
                      <a:pt x="114712" y="2670"/>
                      <a:pt x="117382" y="5339"/>
                      <a:pt x="120051" y="8008"/>
                    </a:cubicBezTo>
                    <a:cubicBezTo>
                      <a:pt x="126725" y="14181"/>
                      <a:pt x="132899" y="19938"/>
                      <a:pt x="136403" y="27529"/>
                    </a:cubicBezTo>
                    <a:cubicBezTo>
                      <a:pt x="139907" y="35954"/>
                      <a:pt x="143494" y="43045"/>
                      <a:pt x="151003" y="45715"/>
                    </a:cubicBezTo>
                    <a:cubicBezTo>
                      <a:pt x="152337" y="46132"/>
                      <a:pt x="154089" y="46632"/>
                      <a:pt x="155841" y="46632"/>
                    </a:cubicBezTo>
                    <a:cubicBezTo>
                      <a:pt x="160263" y="46632"/>
                      <a:pt x="164684" y="45298"/>
                      <a:pt x="170024" y="42211"/>
                    </a:cubicBezTo>
                    <a:cubicBezTo>
                      <a:pt x="176197" y="39125"/>
                      <a:pt x="180202" y="34703"/>
                      <a:pt x="184206" y="30282"/>
                    </a:cubicBezTo>
                    <a:cubicBezTo>
                      <a:pt x="187293" y="27195"/>
                      <a:pt x="190380" y="23608"/>
                      <a:pt x="193967" y="21856"/>
                    </a:cubicBezTo>
                    <a:cubicBezTo>
                      <a:pt x="200141" y="18353"/>
                      <a:pt x="207733" y="14348"/>
                      <a:pt x="213906" y="10762"/>
                    </a:cubicBezTo>
                    <a:lnTo>
                      <a:pt x="218328" y="8509"/>
                    </a:lnTo>
                    <a:cubicBezTo>
                      <a:pt x="221415" y="6757"/>
                      <a:pt x="224502" y="7174"/>
                      <a:pt x="228089" y="7174"/>
                    </a:cubicBezTo>
                    <a:cubicBezTo>
                      <a:pt x="231176" y="7591"/>
                      <a:pt x="235180" y="8092"/>
                      <a:pt x="240019" y="6757"/>
                    </a:cubicBezTo>
                    <a:cubicBezTo>
                      <a:pt x="241354" y="6340"/>
                      <a:pt x="242689" y="5839"/>
                      <a:pt x="243523" y="5422"/>
                    </a:cubicBezTo>
                    <a:cubicBezTo>
                      <a:pt x="244858" y="8092"/>
                      <a:pt x="245775" y="10261"/>
                      <a:pt x="247027" y="12513"/>
                    </a:cubicBezTo>
                    <a:cubicBezTo>
                      <a:pt x="250531" y="19604"/>
                      <a:pt x="254118" y="26277"/>
                      <a:pt x="256788" y="33368"/>
                    </a:cubicBezTo>
                    <a:cubicBezTo>
                      <a:pt x="258123" y="37790"/>
                      <a:pt x="259457" y="41794"/>
                      <a:pt x="260292" y="46215"/>
                    </a:cubicBezTo>
                    <a:cubicBezTo>
                      <a:pt x="262961" y="55975"/>
                      <a:pt x="265631" y="66153"/>
                      <a:pt x="272222" y="75412"/>
                    </a:cubicBezTo>
                    <a:cubicBezTo>
                      <a:pt x="274474" y="78916"/>
                      <a:pt x="277061" y="82086"/>
                      <a:pt x="280231" y="85172"/>
                    </a:cubicBezTo>
                    <a:cubicBezTo>
                      <a:pt x="283318" y="88259"/>
                      <a:pt x="286404" y="91345"/>
                      <a:pt x="288240" y="94933"/>
                    </a:cubicBezTo>
                    <a:cubicBezTo>
                      <a:pt x="288657" y="95850"/>
                      <a:pt x="289575" y="97185"/>
                      <a:pt x="289992" y="98019"/>
                    </a:cubicBezTo>
                    <a:cubicBezTo>
                      <a:pt x="290909" y="100272"/>
                      <a:pt x="292244" y="102441"/>
                      <a:pt x="294413" y="104693"/>
                    </a:cubicBezTo>
                    <a:cubicBezTo>
                      <a:pt x="289575" y="117123"/>
                      <a:pt x="283318" y="129469"/>
                      <a:pt x="274057" y="137477"/>
                    </a:cubicBezTo>
                    <a:cubicBezTo>
                      <a:pt x="268301" y="142315"/>
                      <a:pt x="261209" y="146820"/>
                      <a:pt x="252783" y="151242"/>
                    </a:cubicBezTo>
                    <a:cubicBezTo>
                      <a:pt x="235514" y="159000"/>
                      <a:pt x="215158" y="170512"/>
                      <a:pt x="214240" y="19537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82619394" name="Полилиния 362"/>
              <p:cNvSpPr/>
              <p:nvPr/>
            </p:nvSpPr>
            <p:spPr bwMode="auto">
              <a:xfrm>
                <a:off x="1654897" y="4446378"/>
                <a:ext cx="392671" cy="389088"/>
              </a:xfrm>
              <a:custGeom>
                <a:avLst/>
                <a:gdLst>
                  <a:gd name="connsiteX0" fmla="*/ 2670 w 440984"/>
                  <a:gd name="connsiteY0" fmla="*/ 318505 h 436958"/>
                  <a:gd name="connsiteX1" fmla="*/ 0 w 440984"/>
                  <a:gd name="connsiteY1" fmla="*/ 313666 h 436958"/>
                  <a:gd name="connsiteX2" fmla="*/ 10178 w 440984"/>
                  <a:gd name="connsiteY2" fmla="*/ 305657 h 436958"/>
                  <a:gd name="connsiteX3" fmla="*/ 27865 w 440984"/>
                  <a:gd name="connsiteY3" fmla="*/ 280882 h 436958"/>
                  <a:gd name="connsiteX4" fmla="*/ 35874 w 440984"/>
                  <a:gd name="connsiteY4" fmla="*/ 265783 h 436958"/>
                  <a:gd name="connsiteX5" fmla="*/ 45217 w 440984"/>
                  <a:gd name="connsiteY5" fmla="*/ 255188 h 436958"/>
                  <a:gd name="connsiteX6" fmla="*/ 72665 w 440984"/>
                  <a:gd name="connsiteY6" fmla="*/ 213144 h 436958"/>
                  <a:gd name="connsiteX7" fmla="*/ 72248 w 440984"/>
                  <a:gd name="connsiteY7" fmla="*/ 190120 h 436958"/>
                  <a:gd name="connsiteX8" fmla="*/ 74500 w 440984"/>
                  <a:gd name="connsiteY8" fmla="*/ 168848 h 436958"/>
                  <a:gd name="connsiteX9" fmla="*/ 83844 w 440984"/>
                  <a:gd name="connsiteY9" fmla="*/ 160840 h 436958"/>
                  <a:gd name="connsiteX10" fmla="*/ 95774 w 440984"/>
                  <a:gd name="connsiteY10" fmla="*/ 128055 h 436958"/>
                  <a:gd name="connsiteX11" fmla="*/ 86013 w 440984"/>
                  <a:gd name="connsiteY11" fmla="*/ 117461 h 436958"/>
                  <a:gd name="connsiteX12" fmla="*/ 81591 w 440984"/>
                  <a:gd name="connsiteY12" fmla="*/ 107701 h 436958"/>
                  <a:gd name="connsiteX13" fmla="*/ 86430 w 440984"/>
                  <a:gd name="connsiteY13" fmla="*/ 102362 h 436958"/>
                  <a:gd name="connsiteX14" fmla="*/ 96608 w 440984"/>
                  <a:gd name="connsiteY14" fmla="*/ 89515 h 436958"/>
                  <a:gd name="connsiteX15" fmla="*/ 97526 w 440984"/>
                  <a:gd name="connsiteY15" fmla="*/ 85094 h 436958"/>
                  <a:gd name="connsiteX16" fmla="*/ 96191 w 440984"/>
                  <a:gd name="connsiteY16" fmla="*/ 72664 h 436958"/>
                  <a:gd name="connsiteX17" fmla="*/ 95274 w 440984"/>
                  <a:gd name="connsiteY17" fmla="*/ 68243 h 436958"/>
                  <a:gd name="connsiteX18" fmla="*/ 94856 w 440984"/>
                  <a:gd name="connsiteY18" fmla="*/ 65991 h 436958"/>
                  <a:gd name="connsiteX19" fmla="*/ 101531 w 440984"/>
                  <a:gd name="connsiteY19" fmla="*/ 52226 h 436958"/>
                  <a:gd name="connsiteX20" fmla="*/ 111709 w 440984"/>
                  <a:gd name="connsiteY20" fmla="*/ 36293 h 436958"/>
                  <a:gd name="connsiteX21" fmla="*/ 113043 w 440984"/>
                  <a:gd name="connsiteY21" fmla="*/ 33206 h 436958"/>
                  <a:gd name="connsiteX22" fmla="*/ 118383 w 440984"/>
                  <a:gd name="connsiteY22" fmla="*/ 22111 h 436958"/>
                  <a:gd name="connsiteX23" fmla="*/ 126392 w 440984"/>
                  <a:gd name="connsiteY23" fmla="*/ 24781 h 436958"/>
                  <a:gd name="connsiteX24" fmla="*/ 131230 w 440984"/>
                  <a:gd name="connsiteY24" fmla="*/ 28284 h 436958"/>
                  <a:gd name="connsiteX25" fmla="*/ 151169 w 440984"/>
                  <a:gd name="connsiteY25" fmla="*/ 30954 h 436958"/>
                  <a:gd name="connsiteX26" fmla="*/ 162265 w 440984"/>
                  <a:gd name="connsiteY26" fmla="*/ 16355 h 436958"/>
                  <a:gd name="connsiteX27" fmla="*/ 164935 w 440984"/>
                  <a:gd name="connsiteY27" fmla="*/ 11016 h 436958"/>
                  <a:gd name="connsiteX28" fmla="*/ 166270 w 440984"/>
                  <a:gd name="connsiteY28" fmla="*/ 8764 h 436958"/>
                  <a:gd name="connsiteX29" fmla="*/ 176031 w 440984"/>
                  <a:gd name="connsiteY29" fmla="*/ 2090 h 436958"/>
                  <a:gd name="connsiteX30" fmla="*/ 198639 w 440984"/>
                  <a:gd name="connsiteY30" fmla="*/ 4343 h 436958"/>
                  <a:gd name="connsiteX31" fmla="*/ 206648 w 440984"/>
                  <a:gd name="connsiteY31" fmla="*/ 17607 h 436958"/>
                  <a:gd name="connsiteX32" fmla="*/ 228339 w 440984"/>
                  <a:gd name="connsiteY32" fmla="*/ 40214 h 436958"/>
                  <a:gd name="connsiteX33" fmla="*/ 246943 w 440984"/>
                  <a:gd name="connsiteY33" fmla="*/ 64572 h 436958"/>
                  <a:gd name="connsiteX34" fmla="*/ 247361 w 440984"/>
                  <a:gd name="connsiteY34" fmla="*/ 68994 h 436958"/>
                  <a:gd name="connsiteX35" fmla="*/ 255787 w 440984"/>
                  <a:gd name="connsiteY35" fmla="*/ 93352 h 436958"/>
                  <a:gd name="connsiteX36" fmla="*/ 271721 w 440984"/>
                  <a:gd name="connsiteY36" fmla="*/ 101361 h 436958"/>
                  <a:gd name="connsiteX37" fmla="*/ 278813 w 440984"/>
                  <a:gd name="connsiteY37" fmla="*/ 104030 h 436958"/>
                  <a:gd name="connsiteX38" fmla="*/ 296082 w 440984"/>
                  <a:gd name="connsiteY38" fmla="*/ 119547 h 436958"/>
                  <a:gd name="connsiteX39" fmla="*/ 313351 w 440984"/>
                  <a:gd name="connsiteY39" fmla="*/ 135897 h 436958"/>
                  <a:gd name="connsiteX40" fmla="*/ 327117 w 440984"/>
                  <a:gd name="connsiteY40" fmla="*/ 142987 h 436958"/>
                  <a:gd name="connsiteX41" fmla="*/ 331955 w 440984"/>
                  <a:gd name="connsiteY41" fmla="*/ 164260 h 436958"/>
                  <a:gd name="connsiteX42" fmla="*/ 334625 w 440984"/>
                  <a:gd name="connsiteY42" fmla="*/ 180193 h 436958"/>
                  <a:gd name="connsiteX43" fmla="*/ 333707 w 440984"/>
                  <a:gd name="connsiteY43" fmla="*/ 186867 h 436958"/>
                  <a:gd name="connsiteX44" fmla="*/ 333290 w 440984"/>
                  <a:gd name="connsiteY44" fmla="*/ 189119 h 436958"/>
                  <a:gd name="connsiteX45" fmla="*/ 351894 w 440984"/>
                  <a:gd name="connsiteY45" fmla="*/ 216565 h 436958"/>
                  <a:gd name="connsiteX46" fmla="*/ 356733 w 440984"/>
                  <a:gd name="connsiteY46" fmla="*/ 218316 h 436958"/>
                  <a:gd name="connsiteX47" fmla="*/ 377089 w 440984"/>
                  <a:gd name="connsiteY47" fmla="*/ 231163 h 436958"/>
                  <a:gd name="connsiteX48" fmla="*/ 383763 w 440984"/>
                  <a:gd name="connsiteY48" fmla="*/ 247514 h 436958"/>
                  <a:gd name="connsiteX49" fmla="*/ 389520 w 440984"/>
                  <a:gd name="connsiteY49" fmla="*/ 263864 h 436958"/>
                  <a:gd name="connsiteX50" fmla="*/ 439576 w 440984"/>
                  <a:gd name="connsiteY50" fmla="*/ 314334 h 436958"/>
                  <a:gd name="connsiteX51" fmla="*/ 439576 w 440984"/>
                  <a:gd name="connsiteY51" fmla="*/ 314751 h 436958"/>
                  <a:gd name="connsiteX52" fmla="*/ 440494 w 440984"/>
                  <a:gd name="connsiteY52" fmla="*/ 324928 h 436958"/>
                  <a:gd name="connsiteX53" fmla="*/ 434320 w 440984"/>
                  <a:gd name="connsiteY53" fmla="*/ 365220 h 436958"/>
                  <a:gd name="connsiteX54" fmla="*/ 429899 w 440984"/>
                  <a:gd name="connsiteY54" fmla="*/ 371393 h 436958"/>
                  <a:gd name="connsiteX55" fmla="*/ 421890 w 440984"/>
                  <a:gd name="connsiteY55" fmla="*/ 366054 h 436958"/>
                  <a:gd name="connsiteX56" fmla="*/ 412546 w 440984"/>
                  <a:gd name="connsiteY56" fmla="*/ 360715 h 436958"/>
                  <a:gd name="connsiteX57" fmla="*/ 393024 w 440984"/>
                  <a:gd name="connsiteY57" fmla="*/ 350538 h 436958"/>
                  <a:gd name="connsiteX58" fmla="*/ 384181 w 440984"/>
                  <a:gd name="connsiteY58" fmla="*/ 347451 h 436958"/>
                  <a:gd name="connsiteX59" fmla="*/ 371750 w 440984"/>
                  <a:gd name="connsiteY59" fmla="*/ 342613 h 436958"/>
                  <a:gd name="connsiteX60" fmla="*/ 367746 w 440984"/>
                  <a:gd name="connsiteY60" fmla="*/ 335522 h 436958"/>
                  <a:gd name="connsiteX61" fmla="*/ 358902 w 440984"/>
                  <a:gd name="connsiteY61" fmla="*/ 321758 h 436958"/>
                  <a:gd name="connsiteX62" fmla="*/ 333624 w 440984"/>
                  <a:gd name="connsiteY62" fmla="*/ 322175 h 436958"/>
                  <a:gd name="connsiteX63" fmla="*/ 326533 w 440984"/>
                  <a:gd name="connsiteY63" fmla="*/ 324844 h 436958"/>
                  <a:gd name="connsiteX64" fmla="*/ 304842 w 440984"/>
                  <a:gd name="connsiteY64" fmla="*/ 329266 h 436958"/>
                  <a:gd name="connsiteX65" fmla="*/ 295998 w 440984"/>
                  <a:gd name="connsiteY65" fmla="*/ 328348 h 436958"/>
                  <a:gd name="connsiteX66" fmla="*/ 271221 w 440984"/>
                  <a:gd name="connsiteY66" fmla="*/ 328765 h 436958"/>
                  <a:gd name="connsiteX67" fmla="*/ 251282 w 440984"/>
                  <a:gd name="connsiteY67" fmla="*/ 358463 h 436958"/>
                  <a:gd name="connsiteX68" fmla="*/ 247778 w 440984"/>
                  <a:gd name="connsiteY68" fmla="*/ 374396 h 436958"/>
                  <a:gd name="connsiteX69" fmla="*/ 241104 w 440984"/>
                  <a:gd name="connsiteY69" fmla="*/ 380569 h 436958"/>
                  <a:gd name="connsiteX70" fmla="*/ 232677 w 440984"/>
                  <a:gd name="connsiteY70" fmla="*/ 389412 h 436958"/>
                  <a:gd name="connsiteX71" fmla="*/ 229591 w 440984"/>
                  <a:gd name="connsiteY71" fmla="*/ 393833 h 436958"/>
                  <a:gd name="connsiteX72" fmla="*/ 218495 w 440984"/>
                  <a:gd name="connsiteY72" fmla="*/ 404011 h 436958"/>
                  <a:gd name="connsiteX73" fmla="*/ 208317 w 440984"/>
                  <a:gd name="connsiteY73" fmla="*/ 410184 h 436958"/>
                  <a:gd name="connsiteX74" fmla="*/ 206565 w 440984"/>
                  <a:gd name="connsiteY74" fmla="*/ 411101 h 436958"/>
                  <a:gd name="connsiteX75" fmla="*/ 195970 w 440984"/>
                  <a:gd name="connsiteY75" fmla="*/ 417775 h 436958"/>
                  <a:gd name="connsiteX76" fmla="*/ 191131 w 440984"/>
                  <a:gd name="connsiteY76" fmla="*/ 420027 h 436958"/>
                  <a:gd name="connsiteX77" fmla="*/ 178283 w 440984"/>
                  <a:gd name="connsiteY77" fmla="*/ 420444 h 436958"/>
                  <a:gd name="connsiteX78" fmla="*/ 161932 w 440984"/>
                  <a:gd name="connsiteY78" fmla="*/ 420861 h 436958"/>
                  <a:gd name="connsiteX79" fmla="*/ 145079 w 440984"/>
                  <a:gd name="connsiteY79" fmla="*/ 429704 h 436958"/>
                  <a:gd name="connsiteX80" fmla="*/ 135318 w 440984"/>
                  <a:gd name="connsiteY80" fmla="*/ 435877 h 436958"/>
                  <a:gd name="connsiteX81" fmla="*/ 112710 w 440984"/>
                  <a:gd name="connsiteY81" fmla="*/ 435460 h 436958"/>
                  <a:gd name="connsiteX82" fmla="*/ 75084 w 440984"/>
                  <a:gd name="connsiteY82" fmla="*/ 417775 h 436958"/>
                  <a:gd name="connsiteX83" fmla="*/ 54728 w 440984"/>
                  <a:gd name="connsiteY83" fmla="*/ 405345 h 436958"/>
                  <a:gd name="connsiteX84" fmla="*/ 48972 w 440984"/>
                  <a:gd name="connsiteY84" fmla="*/ 403093 h 436958"/>
                  <a:gd name="connsiteX85" fmla="*/ 46719 w 440984"/>
                  <a:gd name="connsiteY85" fmla="*/ 398254 h 436958"/>
                  <a:gd name="connsiteX86" fmla="*/ 29033 w 440984"/>
                  <a:gd name="connsiteY86" fmla="*/ 387159 h 436958"/>
                  <a:gd name="connsiteX87" fmla="*/ 19689 w 440984"/>
                  <a:gd name="connsiteY87" fmla="*/ 383155 h 436958"/>
                  <a:gd name="connsiteX88" fmla="*/ 7759 w 440984"/>
                  <a:gd name="connsiteY88" fmla="*/ 348202 h 436958"/>
                  <a:gd name="connsiteX89" fmla="*/ 2670 w 440984"/>
                  <a:gd name="connsiteY89" fmla="*/ 318505 h 436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440984" h="436958" extrusionOk="0">
                    <a:moveTo>
                      <a:pt x="2670" y="318505"/>
                    </a:moveTo>
                    <a:cubicBezTo>
                      <a:pt x="1752" y="316753"/>
                      <a:pt x="1335" y="315418"/>
                      <a:pt x="0" y="313666"/>
                    </a:cubicBezTo>
                    <a:cubicBezTo>
                      <a:pt x="3087" y="310997"/>
                      <a:pt x="6674" y="308327"/>
                      <a:pt x="10178" y="305657"/>
                    </a:cubicBezTo>
                    <a:cubicBezTo>
                      <a:pt x="21691" y="298150"/>
                      <a:pt x="24778" y="288807"/>
                      <a:pt x="27865" y="280882"/>
                    </a:cubicBezTo>
                    <a:cubicBezTo>
                      <a:pt x="30117" y="275543"/>
                      <a:pt x="31369" y="270704"/>
                      <a:pt x="35874" y="265783"/>
                    </a:cubicBezTo>
                    <a:cubicBezTo>
                      <a:pt x="38960" y="262279"/>
                      <a:pt x="42047" y="258692"/>
                      <a:pt x="45217" y="255188"/>
                    </a:cubicBezTo>
                    <a:cubicBezTo>
                      <a:pt x="55813" y="243676"/>
                      <a:pt x="68243" y="230830"/>
                      <a:pt x="72665" y="213144"/>
                    </a:cubicBezTo>
                    <a:cubicBezTo>
                      <a:pt x="74917" y="204719"/>
                      <a:pt x="73583" y="196794"/>
                      <a:pt x="72248" y="190120"/>
                    </a:cubicBezTo>
                    <a:cubicBezTo>
                      <a:pt x="70496" y="180777"/>
                      <a:pt x="69578" y="175521"/>
                      <a:pt x="74500" y="168848"/>
                    </a:cubicBezTo>
                    <a:cubicBezTo>
                      <a:pt x="76753" y="166179"/>
                      <a:pt x="80257" y="163509"/>
                      <a:pt x="83844" y="160840"/>
                    </a:cubicBezTo>
                    <a:cubicBezTo>
                      <a:pt x="92270" y="154666"/>
                      <a:pt x="105118" y="145324"/>
                      <a:pt x="95774" y="128055"/>
                    </a:cubicBezTo>
                    <a:cubicBezTo>
                      <a:pt x="93104" y="123217"/>
                      <a:pt x="89100" y="120047"/>
                      <a:pt x="86013" y="117461"/>
                    </a:cubicBezTo>
                    <a:cubicBezTo>
                      <a:pt x="79840" y="112622"/>
                      <a:pt x="79339" y="112122"/>
                      <a:pt x="81591" y="107701"/>
                    </a:cubicBezTo>
                    <a:cubicBezTo>
                      <a:pt x="82509" y="105448"/>
                      <a:pt x="84261" y="104614"/>
                      <a:pt x="86430" y="102362"/>
                    </a:cubicBezTo>
                    <a:cubicBezTo>
                      <a:pt x="89934" y="99692"/>
                      <a:pt x="94439" y="96189"/>
                      <a:pt x="96608" y="89515"/>
                    </a:cubicBezTo>
                    <a:cubicBezTo>
                      <a:pt x="97025" y="88180"/>
                      <a:pt x="97526" y="86429"/>
                      <a:pt x="97526" y="85094"/>
                    </a:cubicBezTo>
                    <a:cubicBezTo>
                      <a:pt x="98444" y="80673"/>
                      <a:pt x="97109" y="76251"/>
                      <a:pt x="96191" y="72664"/>
                    </a:cubicBezTo>
                    <a:cubicBezTo>
                      <a:pt x="95774" y="71329"/>
                      <a:pt x="95274" y="69577"/>
                      <a:pt x="95274" y="68243"/>
                    </a:cubicBezTo>
                    <a:cubicBezTo>
                      <a:pt x="94856" y="67325"/>
                      <a:pt x="94856" y="66908"/>
                      <a:pt x="94856" y="65991"/>
                    </a:cubicBezTo>
                    <a:cubicBezTo>
                      <a:pt x="95274" y="59317"/>
                      <a:pt x="97526" y="56647"/>
                      <a:pt x="101531" y="52226"/>
                    </a:cubicBezTo>
                    <a:cubicBezTo>
                      <a:pt x="104617" y="48722"/>
                      <a:pt x="109039" y="43801"/>
                      <a:pt x="111709" y="36293"/>
                    </a:cubicBezTo>
                    <a:lnTo>
                      <a:pt x="113043" y="33206"/>
                    </a:lnTo>
                    <a:cubicBezTo>
                      <a:pt x="114378" y="28785"/>
                      <a:pt x="116130" y="22612"/>
                      <a:pt x="118383" y="22111"/>
                    </a:cubicBezTo>
                    <a:cubicBezTo>
                      <a:pt x="119300" y="21694"/>
                      <a:pt x="121887" y="22111"/>
                      <a:pt x="126392" y="24781"/>
                    </a:cubicBezTo>
                    <a:cubicBezTo>
                      <a:pt x="128644" y="25699"/>
                      <a:pt x="129896" y="27033"/>
                      <a:pt x="131230" y="28284"/>
                    </a:cubicBezTo>
                    <a:cubicBezTo>
                      <a:pt x="135652" y="32706"/>
                      <a:pt x="140991" y="36293"/>
                      <a:pt x="151169" y="30954"/>
                    </a:cubicBezTo>
                    <a:cubicBezTo>
                      <a:pt x="156509" y="28284"/>
                      <a:pt x="159596" y="22111"/>
                      <a:pt x="162265" y="16355"/>
                    </a:cubicBezTo>
                    <a:cubicBezTo>
                      <a:pt x="163183" y="14603"/>
                      <a:pt x="164518" y="12851"/>
                      <a:pt x="164935" y="11016"/>
                    </a:cubicBezTo>
                    <a:cubicBezTo>
                      <a:pt x="165853" y="10099"/>
                      <a:pt x="165853" y="9265"/>
                      <a:pt x="166270" y="8764"/>
                    </a:cubicBezTo>
                    <a:cubicBezTo>
                      <a:pt x="168939" y="6095"/>
                      <a:pt x="172443" y="3926"/>
                      <a:pt x="176031" y="2090"/>
                    </a:cubicBezTo>
                    <a:cubicBezTo>
                      <a:pt x="183539" y="-996"/>
                      <a:pt x="191965" y="-996"/>
                      <a:pt x="198639" y="4343"/>
                    </a:cubicBezTo>
                    <a:cubicBezTo>
                      <a:pt x="203478" y="7846"/>
                      <a:pt x="204813" y="12768"/>
                      <a:pt x="206648" y="17607"/>
                    </a:cubicBezTo>
                    <a:cubicBezTo>
                      <a:pt x="209318" y="26032"/>
                      <a:pt x="211988" y="36209"/>
                      <a:pt x="228339" y="40214"/>
                    </a:cubicBezTo>
                    <a:cubicBezTo>
                      <a:pt x="243440" y="43717"/>
                      <a:pt x="244691" y="46387"/>
                      <a:pt x="246943" y="64572"/>
                    </a:cubicBezTo>
                    <a:lnTo>
                      <a:pt x="247361" y="68994"/>
                    </a:lnTo>
                    <a:cubicBezTo>
                      <a:pt x="248278" y="77002"/>
                      <a:pt x="248695" y="86262"/>
                      <a:pt x="255787" y="93352"/>
                    </a:cubicBezTo>
                    <a:cubicBezTo>
                      <a:pt x="260625" y="98692"/>
                      <a:pt x="266882" y="100026"/>
                      <a:pt x="271721" y="101361"/>
                    </a:cubicBezTo>
                    <a:cubicBezTo>
                      <a:pt x="274391" y="102278"/>
                      <a:pt x="277061" y="102696"/>
                      <a:pt x="278813" y="104030"/>
                    </a:cubicBezTo>
                    <a:cubicBezTo>
                      <a:pt x="285487" y="107534"/>
                      <a:pt x="290743" y="113373"/>
                      <a:pt x="296082" y="119547"/>
                    </a:cubicBezTo>
                    <a:cubicBezTo>
                      <a:pt x="300921" y="125303"/>
                      <a:pt x="306677" y="131476"/>
                      <a:pt x="313351" y="135897"/>
                    </a:cubicBezTo>
                    <a:cubicBezTo>
                      <a:pt x="317773" y="138566"/>
                      <a:pt x="322195" y="141236"/>
                      <a:pt x="327117" y="142987"/>
                    </a:cubicBezTo>
                    <a:cubicBezTo>
                      <a:pt x="326700" y="149661"/>
                      <a:pt x="329369" y="156252"/>
                      <a:pt x="331955" y="164260"/>
                    </a:cubicBezTo>
                    <a:cubicBezTo>
                      <a:pt x="335459" y="173102"/>
                      <a:pt x="335459" y="173102"/>
                      <a:pt x="334625" y="180193"/>
                    </a:cubicBezTo>
                    <a:cubicBezTo>
                      <a:pt x="334208" y="181945"/>
                      <a:pt x="334208" y="183697"/>
                      <a:pt x="333707" y="186867"/>
                    </a:cubicBezTo>
                    <a:lnTo>
                      <a:pt x="333290" y="189119"/>
                    </a:lnTo>
                    <a:cubicBezTo>
                      <a:pt x="331538" y="205053"/>
                      <a:pt x="333707" y="209974"/>
                      <a:pt x="351894" y="216565"/>
                    </a:cubicBezTo>
                    <a:lnTo>
                      <a:pt x="356733" y="218316"/>
                    </a:lnTo>
                    <a:cubicBezTo>
                      <a:pt x="365576" y="221403"/>
                      <a:pt x="371333" y="223155"/>
                      <a:pt x="377089" y="231163"/>
                    </a:cubicBezTo>
                    <a:cubicBezTo>
                      <a:pt x="380593" y="236001"/>
                      <a:pt x="381928" y="241758"/>
                      <a:pt x="383763" y="247514"/>
                    </a:cubicBezTo>
                    <a:cubicBezTo>
                      <a:pt x="385098" y="252852"/>
                      <a:pt x="386433" y="258608"/>
                      <a:pt x="389520" y="263864"/>
                    </a:cubicBezTo>
                    <a:cubicBezTo>
                      <a:pt x="395694" y="274959"/>
                      <a:pt x="416550" y="310830"/>
                      <a:pt x="439576" y="314334"/>
                    </a:cubicBezTo>
                    <a:cubicBezTo>
                      <a:pt x="439576" y="314751"/>
                      <a:pt x="439576" y="314751"/>
                      <a:pt x="439576" y="314751"/>
                    </a:cubicBezTo>
                    <a:cubicBezTo>
                      <a:pt x="439993" y="317837"/>
                      <a:pt x="440494" y="321424"/>
                      <a:pt x="440494" y="324928"/>
                    </a:cubicBezTo>
                    <a:cubicBezTo>
                      <a:pt x="441411" y="336023"/>
                      <a:pt x="441829" y="352874"/>
                      <a:pt x="434320" y="365220"/>
                    </a:cubicBezTo>
                    <a:cubicBezTo>
                      <a:pt x="432985" y="367472"/>
                      <a:pt x="431650" y="369224"/>
                      <a:pt x="429899" y="371393"/>
                    </a:cubicBezTo>
                    <a:cubicBezTo>
                      <a:pt x="427646" y="369141"/>
                      <a:pt x="425060" y="367889"/>
                      <a:pt x="421890" y="366054"/>
                    </a:cubicBezTo>
                    <a:cubicBezTo>
                      <a:pt x="418803" y="364302"/>
                      <a:pt x="415716" y="362550"/>
                      <a:pt x="412546" y="360715"/>
                    </a:cubicBezTo>
                    <a:cubicBezTo>
                      <a:pt x="406372" y="357212"/>
                      <a:pt x="400115" y="353624"/>
                      <a:pt x="393024" y="350538"/>
                    </a:cubicBezTo>
                    <a:cubicBezTo>
                      <a:pt x="390354" y="349203"/>
                      <a:pt x="387267" y="348285"/>
                      <a:pt x="384181" y="347451"/>
                    </a:cubicBezTo>
                    <a:cubicBezTo>
                      <a:pt x="379342" y="346116"/>
                      <a:pt x="374837" y="344782"/>
                      <a:pt x="371750" y="342613"/>
                    </a:cubicBezTo>
                    <a:cubicBezTo>
                      <a:pt x="369998" y="341278"/>
                      <a:pt x="369080" y="338191"/>
                      <a:pt x="367746" y="335522"/>
                    </a:cubicBezTo>
                    <a:cubicBezTo>
                      <a:pt x="366411" y="331101"/>
                      <a:pt x="364242" y="325762"/>
                      <a:pt x="358902" y="321758"/>
                    </a:cubicBezTo>
                    <a:cubicBezTo>
                      <a:pt x="350059" y="315585"/>
                      <a:pt x="340298" y="319505"/>
                      <a:pt x="333624" y="322175"/>
                    </a:cubicBezTo>
                    <a:lnTo>
                      <a:pt x="326533" y="324844"/>
                    </a:lnTo>
                    <a:cubicBezTo>
                      <a:pt x="318524" y="327931"/>
                      <a:pt x="313685" y="330183"/>
                      <a:pt x="304842" y="329266"/>
                    </a:cubicBezTo>
                    <a:cubicBezTo>
                      <a:pt x="301755" y="329266"/>
                      <a:pt x="298668" y="328849"/>
                      <a:pt x="295998" y="328348"/>
                    </a:cubicBezTo>
                    <a:cubicBezTo>
                      <a:pt x="288490" y="327013"/>
                      <a:pt x="280064" y="326096"/>
                      <a:pt x="271221" y="328765"/>
                    </a:cubicBezTo>
                    <a:cubicBezTo>
                      <a:pt x="252616" y="334938"/>
                      <a:pt x="251699" y="348285"/>
                      <a:pt x="251282" y="358463"/>
                    </a:cubicBezTo>
                    <a:cubicBezTo>
                      <a:pt x="250865" y="364219"/>
                      <a:pt x="250865" y="369558"/>
                      <a:pt x="247778" y="374396"/>
                    </a:cubicBezTo>
                    <a:cubicBezTo>
                      <a:pt x="246443" y="376648"/>
                      <a:pt x="243773" y="378400"/>
                      <a:pt x="241104" y="380569"/>
                    </a:cubicBezTo>
                    <a:cubicBezTo>
                      <a:pt x="238017" y="383239"/>
                      <a:pt x="234930" y="385908"/>
                      <a:pt x="232677" y="389412"/>
                    </a:cubicBezTo>
                    <a:cubicBezTo>
                      <a:pt x="231343" y="391164"/>
                      <a:pt x="230425" y="392498"/>
                      <a:pt x="229591" y="393833"/>
                    </a:cubicBezTo>
                    <a:cubicBezTo>
                      <a:pt x="226087" y="398671"/>
                      <a:pt x="224752" y="400924"/>
                      <a:pt x="218495" y="404011"/>
                    </a:cubicBezTo>
                    <a:cubicBezTo>
                      <a:pt x="214991" y="405762"/>
                      <a:pt x="211821" y="408015"/>
                      <a:pt x="208317" y="410184"/>
                    </a:cubicBezTo>
                    <a:cubicBezTo>
                      <a:pt x="207900" y="410601"/>
                      <a:pt x="206982" y="411101"/>
                      <a:pt x="206565" y="411101"/>
                    </a:cubicBezTo>
                    <a:cubicBezTo>
                      <a:pt x="203061" y="413353"/>
                      <a:pt x="199474" y="415940"/>
                      <a:pt x="195970" y="417775"/>
                    </a:cubicBezTo>
                    <a:cubicBezTo>
                      <a:pt x="194218" y="418692"/>
                      <a:pt x="192883" y="419526"/>
                      <a:pt x="191131" y="420027"/>
                    </a:cubicBezTo>
                    <a:cubicBezTo>
                      <a:pt x="187627" y="420945"/>
                      <a:pt x="182705" y="420945"/>
                      <a:pt x="178283" y="420444"/>
                    </a:cubicBezTo>
                    <a:cubicBezTo>
                      <a:pt x="173444" y="420027"/>
                      <a:pt x="167688" y="419526"/>
                      <a:pt x="161932" y="420861"/>
                    </a:cubicBezTo>
                    <a:cubicBezTo>
                      <a:pt x="154840" y="422196"/>
                      <a:pt x="149501" y="426200"/>
                      <a:pt x="145079" y="429704"/>
                    </a:cubicBezTo>
                    <a:cubicBezTo>
                      <a:pt x="141575" y="432374"/>
                      <a:pt x="138906" y="434542"/>
                      <a:pt x="135318" y="435877"/>
                    </a:cubicBezTo>
                    <a:cubicBezTo>
                      <a:pt x="129145" y="438129"/>
                      <a:pt x="119384" y="436294"/>
                      <a:pt x="112710" y="435460"/>
                    </a:cubicBezTo>
                    <a:cubicBezTo>
                      <a:pt x="97192" y="432791"/>
                      <a:pt x="87014" y="425700"/>
                      <a:pt x="75084" y="417775"/>
                    </a:cubicBezTo>
                    <a:cubicBezTo>
                      <a:pt x="68911" y="413353"/>
                      <a:pt x="62237" y="409349"/>
                      <a:pt x="54728" y="405345"/>
                    </a:cubicBezTo>
                    <a:cubicBezTo>
                      <a:pt x="52476" y="404428"/>
                      <a:pt x="51224" y="403593"/>
                      <a:pt x="48972" y="403093"/>
                    </a:cubicBezTo>
                    <a:cubicBezTo>
                      <a:pt x="48554" y="401341"/>
                      <a:pt x="47637" y="400006"/>
                      <a:pt x="46719" y="398254"/>
                    </a:cubicBezTo>
                    <a:cubicBezTo>
                      <a:pt x="42715" y="391581"/>
                      <a:pt x="35623" y="388911"/>
                      <a:pt x="29033" y="387159"/>
                    </a:cubicBezTo>
                    <a:cubicBezTo>
                      <a:pt x="25529" y="385825"/>
                      <a:pt x="21524" y="384907"/>
                      <a:pt x="19689" y="383155"/>
                    </a:cubicBezTo>
                    <a:cubicBezTo>
                      <a:pt x="11263" y="375147"/>
                      <a:pt x="9511" y="361883"/>
                      <a:pt x="7759" y="348202"/>
                    </a:cubicBezTo>
                    <a:cubicBezTo>
                      <a:pt x="8009" y="337524"/>
                      <a:pt x="6674" y="326930"/>
                      <a:pt x="2670" y="3185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79479349" name="Полилиния 363"/>
              <p:cNvSpPr/>
              <p:nvPr/>
            </p:nvSpPr>
            <p:spPr bwMode="auto">
              <a:xfrm>
                <a:off x="1823161" y="4082773"/>
                <a:ext cx="236800" cy="251384"/>
              </a:xfrm>
              <a:custGeom>
                <a:avLst/>
                <a:gdLst>
                  <a:gd name="connsiteX0" fmla="*/ 59979 w 265935"/>
                  <a:gd name="connsiteY0" fmla="*/ 228489 h 282313"/>
                  <a:gd name="connsiteX1" fmla="*/ 59979 w 265935"/>
                  <a:gd name="connsiteY1" fmla="*/ 228489 h 282313"/>
                  <a:gd name="connsiteX2" fmla="*/ 58227 w 265935"/>
                  <a:gd name="connsiteY2" fmla="*/ 204130 h 282313"/>
                  <a:gd name="connsiteX3" fmla="*/ 46297 w 265935"/>
                  <a:gd name="connsiteY3" fmla="*/ 160751 h 282313"/>
                  <a:gd name="connsiteX4" fmla="*/ 42793 w 265935"/>
                  <a:gd name="connsiteY4" fmla="*/ 157248 h 282313"/>
                  <a:gd name="connsiteX5" fmla="*/ 14845 w 265935"/>
                  <a:gd name="connsiteY5" fmla="*/ 115204 h 282313"/>
                  <a:gd name="connsiteX6" fmla="*/ 11341 w 265935"/>
                  <a:gd name="connsiteY6" fmla="*/ 102357 h 282313"/>
                  <a:gd name="connsiteX7" fmla="*/ 246 w 265935"/>
                  <a:gd name="connsiteY7" fmla="*/ 54974 h 282313"/>
                  <a:gd name="connsiteX8" fmla="*/ 1163 w 265935"/>
                  <a:gd name="connsiteY8" fmla="*/ 39458 h 282313"/>
                  <a:gd name="connsiteX9" fmla="*/ 2081 w 265935"/>
                  <a:gd name="connsiteY9" fmla="*/ 37206 h 282313"/>
                  <a:gd name="connsiteX10" fmla="*/ 39289 w 265935"/>
                  <a:gd name="connsiteY10" fmla="*/ 13764 h 282313"/>
                  <a:gd name="connsiteX11" fmla="*/ 52137 w 265935"/>
                  <a:gd name="connsiteY11" fmla="*/ 8426 h 282313"/>
                  <a:gd name="connsiteX12" fmla="*/ 80085 w 265935"/>
                  <a:gd name="connsiteY12" fmla="*/ 0 h 282313"/>
                  <a:gd name="connsiteX13" fmla="*/ 108033 w 265935"/>
                  <a:gd name="connsiteY13" fmla="*/ 13264 h 282313"/>
                  <a:gd name="connsiteX14" fmla="*/ 111120 w 265935"/>
                  <a:gd name="connsiteY14" fmla="*/ 16768 h 282313"/>
                  <a:gd name="connsiteX15" fmla="*/ 135898 w 265935"/>
                  <a:gd name="connsiteY15" fmla="*/ 27362 h 282313"/>
                  <a:gd name="connsiteX16" fmla="*/ 148328 w 265935"/>
                  <a:gd name="connsiteY16" fmla="*/ 13598 h 282313"/>
                  <a:gd name="connsiteX17" fmla="*/ 150581 w 265935"/>
                  <a:gd name="connsiteY17" fmla="*/ 9176 h 282313"/>
                  <a:gd name="connsiteX18" fmla="*/ 163428 w 265935"/>
                  <a:gd name="connsiteY18" fmla="*/ 6507 h 282313"/>
                  <a:gd name="connsiteX19" fmla="*/ 168768 w 265935"/>
                  <a:gd name="connsiteY19" fmla="*/ 8759 h 282313"/>
                  <a:gd name="connsiteX20" fmla="*/ 198468 w 265935"/>
                  <a:gd name="connsiteY20" fmla="*/ 8342 h 282313"/>
                  <a:gd name="connsiteX21" fmla="*/ 201137 w 265935"/>
                  <a:gd name="connsiteY21" fmla="*/ 7424 h 282313"/>
                  <a:gd name="connsiteX22" fmla="*/ 215320 w 265935"/>
                  <a:gd name="connsiteY22" fmla="*/ 8342 h 282313"/>
                  <a:gd name="connsiteX23" fmla="*/ 216655 w 265935"/>
                  <a:gd name="connsiteY23" fmla="*/ 10094 h 282313"/>
                  <a:gd name="connsiteX24" fmla="*/ 227250 w 265935"/>
                  <a:gd name="connsiteY24" fmla="*/ 23858 h 282313"/>
                  <a:gd name="connsiteX25" fmla="*/ 248524 w 265935"/>
                  <a:gd name="connsiteY25" fmla="*/ 32284 h 282313"/>
                  <a:gd name="connsiteX26" fmla="*/ 257367 w 265935"/>
                  <a:gd name="connsiteY26" fmla="*/ 34536 h 282313"/>
                  <a:gd name="connsiteX27" fmla="*/ 264041 w 265935"/>
                  <a:gd name="connsiteY27" fmla="*/ 57143 h 282313"/>
                  <a:gd name="connsiteX28" fmla="*/ 264458 w 265935"/>
                  <a:gd name="connsiteY28" fmla="*/ 63817 h 282313"/>
                  <a:gd name="connsiteX29" fmla="*/ 264875 w 265935"/>
                  <a:gd name="connsiteY29" fmla="*/ 66069 h 282313"/>
                  <a:gd name="connsiteX30" fmla="*/ 262206 w 265935"/>
                  <a:gd name="connsiteY30" fmla="*/ 94432 h 282313"/>
                  <a:gd name="connsiteX31" fmla="*/ 255532 w 265935"/>
                  <a:gd name="connsiteY31" fmla="*/ 104609 h 282313"/>
                  <a:gd name="connsiteX32" fmla="*/ 243602 w 265935"/>
                  <a:gd name="connsiteY32" fmla="*/ 126299 h 282313"/>
                  <a:gd name="connsiteX33" fmla="*/ 241349 w 265935"/>
                  <a:gd name="connsiteY33" fmla="*/ 149323 h 282313"/>
                  <a:gd name="connsiteX34" fmla="*/ 228501 w 265935"/>
                  <a:gd name="connsiteY34" fmla="*/ 171930 h 282313"/>
                  <a:gd name="connsiteX35" fmla="*/ 224080 w 265935"/>
                  <a:gd name="connsiteY35" fmla="*/ 181690 h 282313"/>
                  <a:gd name="connsiteX36" fmla="*/ 217906 w 265935"/>
                  <a:gd name="connsiteY36" fmla="*/ 194120 h 282313"/>
                  <a:gd name="connsiteX37" fmla="*/ 196632 w 265935"/>
                  <a:gd name="connsiteY37" fmla="*/ 232660 h 282313"/>
                  <a:gd name="connsiteX38" fmla="*/ 184702 w 265935"/>
                  <a:gd name="connsiteY38" fmla="*/ 242837 h 282313"/>
                  <a:gd name="connsiteX39" fmla="*/ 183785 w 265935"/>
                  <a:gd name="connsiteY39" fmla="*/ 243254 h 282313"/>
                  <a:gd name="connsiteX40" fmla="*/ 175776 w 265935"/>
                  <a:gd name="connsiteY40" fmla="*/ 243671 h 282313"/>
                  <a:gd name="connsiteX41" fmla="*/ 158089 w 265935"/>
                  <a:gd name="connsiteY41" fmla="*/ 246341 h 282313"/>
                  <a:gd name="connsiteX42" fmla="*/ 154085 w 265935"/>
                  <a:gd name="connsiteY42" fmla="*/ 248593 h 282313"/>
                  <a:gd name="connsiteX43" fmla="*/ 133228 w 265935"/>
                  <a:gd name="connsiteY43" fmla="*/ 259688 h 282313"/>
                  <a:gd name="connsiteX44" fmla="*/ 120380 w 265935"/>
                  <a:gd name="connsiteY44" fmla="*/ 270783 h 282313"/>
                  <a:gd name="connsiteX45" fmla="*/ 109785 w 265935"/>
                  <a:gd name="connsiteY45" fmla="*/ 279626 h 282313"/>
                  <a:gd name="connsiteX46" fmla="*/ 101359 w 265935"/>
                  <a:gd name="connsiteY46" fmla="*/ 282295 h 282313"/>
                  <a:gd name="connsiteX47" fmla="*/ 95185 w 265935"/>
                  <a:gd name="connsiteY47" fmla="*/ 271701 h 282313"/>
                  <a:gd name="connsiteX48" fmla="*/ 75246 w 265935"/>
                  <a:gd name="connsiteY48" fmla="*/ 247759 h 282313"/>
                  <a:gd name="connsiteX49" fmla="*/ 68572 w 265935"/>
                  <a:gd name="connsiteY49" fmla="*/ 241085 h 282313"/>
                  <a:gd name="connsiteX50" fmla="*/ 59979 w 265935"/>
                  <a:gd name="connsiteY50" fmla="*/ 228489 h 282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65935" h="282313" extrusionOk="0">
                    <a:moveTo>
                      <a:pt x="59979" y="228489"/>
                    </a:moveTo>
                    <a:lnTo>
                      <a:pt x="59979" y="228489"/>
                    </a:lnTo>
                    <a:cubicBezTo>
                      <a:pt x="56892" y="220481"/>
                      <a:pt x="57309" y="212556"/>
                      <a:pt x="58227" y="204130"/>
                    </a:cubicBezTo>
                    <a:cubicBezTo>
                      <a:pt x="59562" y="190366"/>
                      <a:pt x="61314" y="175350"/>
                      <a:pt x="46297" y="160751"/>
                    </a:cubicBezTo>
                    <a:lnTo>
                      <a:pt x="42793" y="157248"/>
                    </a:lnTo>
                    <a:cubicBezTo>
                      <a:pt x="28194" y="143066"/>
                      <a:pt x="20185" y="135141"/>
                      <a:pt x="14845" y="115204"/>
                    </a:cubicBezTo>
                    <a:cubicBezTo>
                      <a:pt x="13928" y="111700"/>
                      <a:pt x="12593" y="107195"/>
                      <a:pt x="11341" y="102357"/>
                    </a:cubicBezTo>
                    <a:cubicBezTo>
                      <a:pt x="7337" y="89510"/>
                      <a:pt x="1580" y="69990"/>
                      <a:pt x="246" y="54974"/>
                    </a:cubicBezTo>
                    <a:cubicBezTo>
                      <a:pt x="-172" y="48801"/>
                      <a:pt x="-172" y="43879"/>
                      <a:pt x="1163" y="39458"/>
                    </a:cubicBezTo>
                    <a:cubicBezTo>
                      <a:pt x="1163" y="38540"/>
                      <a:pt x="1580" y="38123"/>
                      <a:pt x="2081" y="37206"/>
                    </a:cubicBezTo>
                    <a:cubicBezTo>
                      <a:pt x="6920" y="27445"/>
                      <a:pt x="26442" y="19520"/>
                      <a:pt x="39289" y="13764"/>
                    </a:cubicBezTo>
                    <a:cubicBezTo>
                      <a:pt x="44128" y="11512"/>
                      <a:pt x="48633" y="10261"/>
                      <a:pt x="52137" y="8426"/>
                    </a:cubicBezTo>
                    <a:cubicBezTo>
                      <a:pt x="63233" y="3087"/>
                      <a:pt x="72076" y="0"/>
                      <a:pt x="80085" y="0"/>
                    </a:cubicBezTo>
                    <a:cubicBezTo>
                      <a:pt x="90263" y="0"/>
                      <a:pt x="98689" y="4422"/>
                      <a:pt x="108033" y="13264"/>
                    </a:cubicBezTo>
                    <a:cubicBezTo>
                      <a:pt x="109368" y="14599"/>
                      <a:pt x="110286" y="15933"/>
                      <a:pt x="111120" y="16768"/>
                    </a:cubicBezTo>
                    <a:cubicBezTo>
                      <a:pt x="115958" y="22106"/>
                      <a:pt x="123968" y="31366"/>
                      <a:pt x="135898" y="27362"/>
                    </a:cubicBezTo>
                    <a:cubicBezTo>
                      <a:pt x="143906" y="24693"/>
                      <a:pt x="146493" y="18520"/>
                      <a:pt x="148328" y="13598"/>
                    </a:cubicBezTo>
                    <a:cubicBezTo>
                      <a:pt x="149246" y="11846"/>
                      <a:pt x="149663" y="10094"/>
                      <a:pt x="150581" y="9176"/>
                    </a:cubicBezTo>
                    <a:cubicBezTo>
                      <a:pt x="155419" y="3837"/>
                      <a:pt x="155419" y="3837"/>
                      <a:pt x="163428" y="6507"/>
                    </a:cubicBezTo>
                    <a:lnTo>
                      <a:pt x="168768" y="8759"/>
                    </a:lnTo>
                    <a:cubicBezTo>
                      <a:pt x="178946" y="12263"/>
                      <a:pt x="183868" y="14098"/>
                      <a:pt x="198468" y="8342"/>
                    </a:cubicBezTo>
                    <a:cubicBezTo>
                      <a:pt x="199385" y="7925"/>
                      <a:pt x="200720" y="7424"/>
                      <a:pt x="201137" y="7424"/>
                    </a:cubicBezTo>
                    <a:cubicBezTo>
                      <a:pt x="211315" y="3921"/>
                      <a:pt x="212650" y="3921"/>
                      <a:pt x="215320" y="8342"/>
                    </a:cubicBezTo>
                    <a:cubicBezTo>
                      <a:pt x="215737" y="8759"/>
                      <a:pt x="216238" y="9260"/>
                      <a:pt x="216655" y="10094"/>
                    </a:cubicBezTo>
                    <a:cubicBezTo>
                      <a:pt x="218907" y="13598"/>
                      <a:pt x="221994" y="18520"/>
                      <a:pt x="227250" y="23858"/>
                    </a:cubicBezTo>
                    <a:cubicBezTo>
                      <a:pt x="234758" y="31867"/>
                      <a:pt x="242767" y="32284"/>
                      <a:pt x="248524" y="32284"/>
                    </a:cubicBezTo>
                    <a:cubicBezTo>
                      <a:pt x="252528" y="32701"/>
                      <a:pt x="255198" y="32701"/>
                      <a:pt x="257367" y="34536"/>
                    </a:cubicBezTo>
                    <a:cubicBezTo>
                      <a:pt x="262706" y="37623"/>
                      <a:pt x="263541" y="48717"/>
                      <a:pt x="264041" y="57143"/>
                    </a:cubicBezTo>
                    <a:cubicBezTo>
                      <a:pt x="264458" y="59396"/>
                      <a:pt x="264458" y="61565"/>
                      <a:pt x="264458" y="63817"/>
                    </a:cubicBezTo>
                    <a:lnTo>
                      <a:pt x="264875" y="66069"/>
                    </a:lnTo>
                    <a:cubicBezTo>
                      <a:pt x="266210" y="77581"/>
                      <a:pt x="267128" y="85089"/>
                      <a:pt x="262206" y="94432"/>
                    </a:cubicBezTo>
                    <a:cubicBezTo>
                      <a:pt x="259953" y="97936"/>
                      <a:pt x="257784" y="101106"/>
                      <a:pt x="255532" y="104609"/>
                    </a:cubicBezTo>
                    <a:cubicBezTo>
                      <a:pt x="250693" y="110783"/>
                      <a:pt x="246188" y="117039"/>
                      <a:pt x="243602" y="126299"/>
                    </a:cubicBezTo>
                    <a:cubicBezTo>
                      <a:pt x="241349" y="133806"/>
                      <a:pt x="240932" y="141815"/>
                      <a:pt x="241349" y="149323"/>
                    </a:cubicBezTo>
                    <a:cubicBezTo>
                      <a:pt x="236010" y="155496"/>
                      <a:pt x="232005" y="164422"/>
                      <a:pt x="228501" y="171930"/>
                    </a:cubicBezTo>
                    <a:cubicBezTo>
                      <a:pt x="227167" y="175434"/>
                      <a:pt x="225415" y="178603"/>
                      <a:pt x="224080" y="181690"/>
                    </a:cubicBezTo>
                    <a:cubicBezTo>
                      <a:pt x="222328" y="184776"/>
                      <a:pt x="220576" y="189698"/>
                      <a:pt x="217906" y="194120"/>
                    </a:cubicBezTo>
                    <a:cubicBezTo>
                      <a:pt x="213067" y="204714"/>
                      <a:pt x="205058" y="221565"/>
                      <a:pt x="196632" y="232660"/>
                    </a:cubicBezTo>
                    <a:cubicBezTo>
                      <a:pt x="192628" y="237498"/>
                      <a:pt x="188623" y="241502"/>
                      <a:pt x="184702" y="242837"/>
                    </a:cubicBezTo>
                    <a:cubicBezTo>
                      <a:pt x="184285" y="242837"/>
                      <a:pt x="183785" y="243254"/>
                      <a:pt x="183785" y="243254"/>
                    </a:cubicBezTo>
                    <a:cubicBezTo>
                      <a:pt x="181115" y="243671"/>
                      <a:pt x="178445" y="243671"/>
                      <a:pt x="175776" y="243671"/>
                    </a:cubicBezTo>
                    <a:cubicBezTo>
                      <a:pt x="171354" y="243254"/>
                      <a:pt x="165180" y="242754"/>
                      <a:pt x="158089" y="246341"/>
                    </a:cubicBezTo>
                    <a:lnTo>
                      <a:pt x="154085" y="248593"/>
                    </a:lnTo>
                    <a:cubicBezTo>
                      <a:pt x="146993" y="252097"/>
                      <a:pt x="139485" y="256101"/>
                      <a:pt x="133228" y="259688"/>
                    </a:cubicBezTo>
                    <a:cubicBezTo>
                      <a:pt x="128389" y="262775"/>
                      <a:pt x="124385" y="266779"/>
                      <a:pt x="120380" y="270783"/>
                    </a:cubicBezTo>
                    <a:cubicBezTo>
                      <a:pt x="116876" y="274287"/>
                      <a:pt x="113706" y="277874"/>
                      <a:pt x="109785" y="279626"/>
                    </a:cubicBezTo>
                    <a:cubicBezTo>
                      <a:pt x="103611" y="282712"/>
                      <a:pt x="101776" y="282295"/>
                      <a:pt x="101359" y="282295"/>
                    </a:cubicBezTo>
                    <a:cubicBezTo>
                      <a:pt x="99607" y="281878"/>
                      <a:pt x="96937" y="276539"/>
                      <a:pt x="95185" y="271701"/>
                    </a:cubicBezTo>
                    <a:cubicBezTo>
                      <a:pt x="90764" y="261940"/>
                      <a:pt x="82755" y="254850"/>
                      <a:pt x="75246" y="247759"/>
                    </a:cubicBezTo>
                    <a:cubicBezTo>
                      <a:pt x="72577" y="245507"/>
                      <a:pt x="70407" y="243338"/>
                      <a:pt x="68572" y="241085"/>
                    </a:cubicBezTo>
                    <a:cubicBezTo>
                      <a:pt x="64484" y="236414"/>
                      <a:pt x="61815" y="232493"/>
                      <a:pt x="59979" y="22848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31071060" name="Полилиния 364"/>
              <p:cNvSpPr/>
              <p:nvPr/>
            </p:nvSpPr>
            <p:spPr bwMode="auto">
              <a:xfrm>
                <a:off x="1865457" y="5245719"/>
                <a:ext cx="273189" cy="510883"/>
              </a:xfrm>
              <a:custGeom>
                <a:avLst/>
                <a:gdLst>
                  <a:gd name="connsiteX0" fmla="*/ 304891 w 306801"/>
                  <a:gd name="connsiteY0" fmla="*/ 326597 h 573739"/>
                  <a:gd name="connsiteX1" fmla="*/ 303556 w 306801"/>
                  <a:gd name="connsiteY1" fmla="*/ 361133 h 573739"/>
                  <a:gd name="connsiteX2" fmla="*/ 292460 w 306801"/>
                  <a:gd name="connsiteY2" fmla="*/ 428037 h 573739"/>
                  <a:gd name="connsiteX3" fmla="*/ 277861 w 306801"/>
                  <a:gd name="connsiteY3" fmla="*/ 447557 h 573739"/>
                  <a:gd name="connsiteX4" fmla="*/ 259257 w 306801"/>
                  <a:gd name="connsiteY4" fmla="*/ 507787 h 573739"/>
                  <a:gd name="connsiteX5" fmla="*/ 274774 w 306801"/>
                  <a:gd name="connsiteY5" fmla="*/ 535733 h 573739"/>
                  <a:gd name="connsiteX6" fmla="*/ 279613 w 306801"/>
                  <a:gd name="connsiteY6" fmla="*/ 543741 h 573739"/>
                  <a:gd name="connsiteX7" fmla="*/ 259674 w 306801"/>
                  <a:gd name="connsiteY7" fmla="*/ 552166 h 573739"/>
                  <a:gd name="connsiteX8" fmla="*/ 216292 w 306801"/>
                  <a:gd name="connsiteY8" fmla="*/ 549080 h 573739"/>
                  <a:gd name="connsiteX9" fmla="*/ 203444 w 306801"/>
                  <a:gd name="connsiteY9" fmla="*/ 567265 h 573739"/>
                  <a:gd name="connsiteX10" fmla="*/ 184840 w 306801"/>
                  <a:gd name="connsiteY10" fmla="*/ 565931 h 573739"/>
                  <a:gd name="connsiteX11" fmla="*/ 179501 w 306801"/>
                  <a:gd name="connsiteY11" fmla="*/ 551332 h 573739"/>
                  <a:gd name="connsiteX12" fmla="*/ 167070 w 306801"/>
                  <a:gd name="connsiteY12" fmla="*/ 549080 h 573739"/>
                  <a:gd name="connsiteX13" fmla="*/ 118766 w 306801"/>
                  <a:gd name="connsiteY13" fmla="*/ 553501 h 573739"/>
                  <a:gd name="connsiteX14" fmla="*/ 81140 w 306801"/>
                  <a:gd name="connsiteY14" fmla="*/ 533981 h 573739"/>
                  <a:gd name="connsiteX15" fmla="*/ 57197 w 306801"/>
                  <a:gd name="connsiteY15" fmla="*/ 531311 h 573739"/>
                  <a:gd name="connsiteX16" fmla="*/ 50523 w 306801"/>
                  <a:gd name="connsiteY16" fmla="*/ 515795 h 573739"/>
                  <a:gd name="connsiteX17" fmla="*/ 23075 w 306801"/>
                  <a:gd name="connsiteY17" fmla="*/ 502030 h 573739"/>
                  <a:gd name="connsiteX18" fmla="*/ 49 w 306801"/>
                  <a:gd name="connsiteY18" fmla="*/ 491436 h 573739"/>
                  <a:gd name="connsiteX19" fmla="*/ 34588 w 306801"/>
                  <a:gd name="connsiteY19" fmla="*/ 462656 h 573739"/>
                  <a:gd name="connsiteX20" fmla="*/ 44766 w 306801"/>
                  <a:gd name="connsiteY20" fmla="*/ 456483 h 573739"/>
                  <a:gd name="connsiteX21" fmla="*/ 63787 w 306801"/>
                  <a:gd name="connsiteY21" fmla="*/ 432124 h 573739"/>
                  <a:gd name="connsiteX22" fmla="*/ 54944 w 306801"/>
                  <a:gd name="connsiteY22" fmla="*/ 419695 h 573739"/>
                  <a:gd name="connsiteX23" fmla="*/ 49605 w 306801"/>
                  <a:gd name="connsiteY23" fmla="*/ 414356 h 573739"/>
                  <a:gd name="connsiteX24" fmla="*/ 49188 w 306801"/>
                  <a:gd name="connsiteY24" fmla="*/ 405012 h 573739"/>
                  <a:gd name="connsiteX25" fmla="*/ 43848 w 306801"/>
                  <a:gd name="connsiteY25" fmla="*/ 383740 h 573739"/>
                  <a:gd name="connsiteX26" fmla="*/ 38092 w 306801"/>
                  <a:gd name="connsiteY26" fmla="*/ 377567 h 573739"/>
                  <a:gd name="connsiteX27" fmla="*/ 35005 w 306801"/>
                  <a:gd name="connsiteY27" fmla="*/ 372228 h 573739"/>
                  <a:gd name="connsiteX28" fmla="*/ 37258 w 306801"/>
                  <a:gd name="connsiteY28" fmla="*/ 369976 h 573739"/>
                  <a:gd name="connsiteX29" fmla="*/ 59366 w 306801"/>
                  <a:gd name="connsiteY29" fmla="*/ 375732 h 573739"/>
                  <a:gd name="connsiteX30" fmla="*/ 74883 w 306801"/>
                  <a:gd name="connsiteY30" fmla="*/ 380570 h 573739"/>
                  <a:gd name="connsiteX31" fmla="*/ 93487 w 306801"/>
                  <a:gd name="connsiteY31" fmla="*/ 373480 h 573739"/>
                  <a:gd name="connsiteX32" fmla="*/ 100162 w 306801"/>
                  <a:gd name="connsiteY32" fmla="*/ 369058 h 573739"/>
                  <a:gd name="connsiteX33" fmla="*/ 109505 w 306801"/>
                  <a:gd name="connsiteY33" fmla="*/ 367723 h 573739"/>
                  <a:gd name="connsiteX34" fmla="*/ 129027 w 306801"/>
                  <a:gd name="connsiteY34" fmla="*/ 362385 h 573739"/>
                  <a:gd name="connsiteX35" fmla="*/ 136119 w 306801"/>
                  <a:gd name="connsiteY35" fmla="*/ 324762 h 573739"/>
                  <a:gd name="connsiteX36" fmla="*/ 131280 w 306801"/>
                  <a:gd name="connsiteY36" fmla="*/ 310580 h 573739"/>
                  <a:gd name="connsiteX37" fmla="*/ 139706 w 306801"/>
                  <a:gd name="connsiteY37" fmla="*/ 263615 h 573739"/>
                  <a:gd name="connsiteX38" fmla="*/ 151636 w 306801"/>
                  <a:gd name="connsiteY38" fmla="*/ 256524 h 573739"/>
                  <a:gd name="connsiteX39" fmla="*/ 174245 w 306801"/>
                  <a:gd name="connsiteY39" fmla="*/ 221571 h 573739"/>
                  <a:gd name="connsiteX40" fmla="*/ 139289 w 306801"/>
                  <a:gd name="connsiteY40" fmla="*/ 199464 h 573739"/>
                  <a:gd name="connsiteX41" fmla="*/ 125523 w 306801"/>
                  <a:gd name="connsiteY41" fmla="*/ 197713 h 573739"/>
                  <a:gd name="connsiteX42" fmla="*/ 112676 w 306801"/>
                  <a:gd name="connsiteY42" fmla="*/ 163594 h 573739"/>
                  <a:gd name="connsiteX43" fmla="*/ 113093 w 306801"/>
                  <a:gd name="connsiteY43" fmla="*/ 159172 h 573739"/>
                  <a:gd name="connsiteX44" fmla="*/ 111758 w 306801"/>
                  <a:gd name="connsiteY44" fmla="*/ 137066 h 573739"/>
                  <a:gd name="connsiteX45" fmla="*/ 110423 w 306801"/>
                  <a:gd name="connsiteY45" fmla="*/ 121550 h 573739"/>
                  <a:gd name="connsiteX46" fmla="*/ 113927 w 306801"/>
                  <a:gd name="connsiteY46" fmla="*/ 111372 h 573739"/>
                  <a:gd name="connsiteX47" fmla="*/ 118766 w 306801"/>
                  <a:gd name="connsiteY47" fmla="*/ 98108 h 573739"/>
                  <a:gd name="connsiteX48" fmla="*/ 95740 w 306801"/>
                  <a:gd name="connsiteY48" fmla="*/ 48473 h 573739"/>
                  <a:gd name="connsiteX49" fmla="*/ 89566 w 306801"/>
                  <a:gd name="connsiteY49" fmla="*/ 40048 h 573739"/>
                  <a:gd name="connsiteX50" fmla="*/ 92236 w 306801"/>
                  <a:gd name="connsiteY50" fmla="*/ 24949 h 573739"/>
                  <a:gd name="connsiteX51" fmla="*/ 91819 w 306801"/>
                  <a:gd name="connsiteY51" fmla="*/ 16523 h 573739"/>
                  <a:gd name="connsiteX52" fmla="*/ 98910 w 306801"/>
                  <a:gd name="connsiteY52" fmla="*/ 6763 h 573739"/>
                  <a:gd name="connsiteX53" fmla="*/ 109088 w 306801"/>
                  <a:gd name="connsiteY53" fmla="*/ 7180 h 573739"/>
                  <a:gd name="connsiteX54" fmla="*/ 123271 w 306801"/>
                  <a:gd name="connsiteY54" fmla="*/ 7597 h 573739"/>
                  <a:gd name="connsiteX55" fmla="*/ 132114 w 306801"/>
                  <a:gd name="connsiteY55" fmla="*/ 4928 h 573739"/>
                  <a:gd name="connsiteX56" fmla="*/ 141458 w 306801"/>
                  <a:gd name="connsiteY56" fmla="*/ 3176 h 573739"/>
                  <a:gd name="connsiteX57" fmla="*/ 156058 w 306801"/>
                  <a:gd name="connsiteY57" fmla="*/ 8932 h 573739"/>
                  <a:gd name="connsiteX58" fmla="*/ 179501 w 306801"/>
                  <a:gd name="connsiteY58" fmla="*/ 16940 h 573739"/>
                  <a:gd name="connsiteX59" fmla="*/ 179918 w 306801"/>
                  <a:gd name="connsiteY59" fmla="*/ 16940 h 573739"/>
                  <a:gd name="connsiteX60" fmla="*/ 202943 w 306801"/>
                  <a:gd name="connsiteY60" fmla="*/ 6763 h 573739"/>
                  <a:gd name="connsiteX61" fmla="*/ 215374 w 306801"/>
                  <a:gd name="connsiteY61" fmla="*/ 89 h 573739"/>
                  <a:gd name="connsiteX62" fmla="*/ 243322 w 306801"/>
                  <a:gd name="connsiteY62" fmla="*/ 13854 h 573739"/>
                  <a:gd name="connsiteX63" fmla="*/ 249496 w 306801"/>
                  <a:gd name="connsiteY63" fmla="*/ 35960 h 573739"/>
                  <a:gd name="connsiteX64" fmla="*/ 253500 w 306801"/>
                  <a:gd name="connsiteY64" fmla="*/ 55481 h 573739"/>
                  <a:gd name="connsiteX65" fmla="*/ 243322 w 306801"/>
                  <a:gd name="connsiteY65" fmla="*/ 108202 h 573739"/>
                  <a:gd name="connsiteX66" fmla="*/ 247326 w 306801"/>
                  <a:gd name="connsiteY66" fmla="*/ 118797 h 573739"/>
                  <a:gd name="connsiteX67" fmla="*/ 252165 w 306801"/>
                  <a:gd name="connsiteY67" fmla="*/ 155085 h 573739"/>
                  <a:gd name="connsiteX68" fmla="*/ 243739 w 306801"/>
                  <a:gd name="connsiteY68" fmla="*/ 171018 h 573739"/>
                  <a:gd name="connsiteX69" fmla="*/ 231809 w 306801"/>
                  <a:gd name="connsiteY69" fmla="*/ 200215 h 573739"/>
                  <a:gd name="connsiteX70" fmla="*/ 268600 w 306801"/>
                  <a:gd name="connsiteY70" fmla="*/ 242259 h 573739"/>
                  <a:gd name="connsiteX71" fmla="*/ 284535 w 306801"/>
                  <a:gd name="connsiteY71" fmla="*/ 250685 h 573739"/>
                  <a:gd name="connsiteX72" fmla="*/ 304891 w 306801"/>
                  <a:gd name="connsiteY72" fmla="*/ 326597 h 57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306801" h="573739" extrusionOk="0">
                    <a:moveTo>
                      <a:pt x="304891" y="326597"/>
                    </a:moveTo>
                    <a:cubicBezTo>
                      <a:pt x="303556" y="337692"/>
                      <a:pt x="303556" y="349621"/>
                      <a:pt x="303556" y="361133"/>
                    </a:cubicBezTo>
                    <a:cubicBezTo>
                      <a:pt x="303556" y="384574"/>
                      <a:pt x="303556" y="408516"/>
                      <a:pt x="292460" y="428037"/>
                    </a:cubicBezTo>
                    <a:cubicBezTo>
                      <a:pt x="288456" y="435127"/>
                      <a:pt x="282700" y="441300"/>
                      <a:pt x="277861" y="447557"/>
                    </a:cubicBezTo>
                    <a:cubicBezTo>
                      <a:pt x="264596" y="463073"/>
                      <a:pt x="249496" y="480341"/>
                      <a:pt x="259257" y="507787"/>
                    </a:cubicBezTo>
                    <a:cubicBezTo>
                      <a:pt x="262760" y="518381"/>
                      <a:pt x="269017" y="527307"/>
                      <a:pt x="274774" y="535733"/>
                    </a:cubicBezTo>
                    <a:cubicBezTo>
                      <a:pt x="276526" y="538402"/>
                      <a:pt x="278278" y="541071"/>
                      <a:pt x="279613" y="543741"/>
                    </a:cubicBezTo>
                    <a:cubicBezTo>
                      <a:pt x="274273" y="548162"/>
                      <a:pt x="267683" y="551749"/>
                      <a:pt x="259674" y="552166"/>
                    </a:cubicBezTo>
                    <a:cubicBezTo>
                      <a:pt x="245908" y="553084"/>
                      <a:pt x="229140" y="543324"/>
                      <a:pt x="216292" y="549080"/>
                    </a:cubicBezTo>
                    <a:cubicBezTo>
                      <a:pt x="207449" y="553084"/>
                      <a:pt x="208783" y="561009"/>
                      <a:pt x="203444" y="567265"/>
                    </a:cubicBezTo>
                    <a:cubicBezTo>
                      <a:pt x="195936" y="576108"/>
                      <a:pt x="191931" y="576108"/>
                      <a:pt x="184840" y="565931"/>
                    </a:cubicBezTo>
                    <a:cubicBezTo>
                      <a:pt x="181753" y="561927"/>
                      <a:pt x="182587" y="555336"/>
                      <a:pt x="179501" y="551332"/>
                    </a:cubicBezTo>
                    <a:cubicBezTo>
                      <a:pt x="172826" y="544658"/>
                      <a:pt x="175079" y="549080"/>
                      <a:pt x="167070" y="549080"/>
                    </a:cubicBezTo>
                    <a:cubicBezTo>
                      <a:pt x="148883" y="549997"/>
                      <a:pt x="137370" y="561009"/>
                      <a:pt x="118766" y="553501"/>
                    </a:cubicBezTo>
                    <a:cubicBezTo>
                      <a:pt x="105918" y="548162"/>
                      <a:pt x="93487" y="540237"/>
                      <a:pt x="81140" y="533981"/>
                    </a:cubicBezTo>
                    <a:cubicBezTo>
                      <a:pt x="71379" y="529142"/>
                      <a:pt x="63871" y="528642"/>
                      <a:pt x="57197" y="531311"/>
                    </a:cubicBezTo>
                    <a:cubicBezTo>
                      <a:pt x="56279" y="525555"/>
                      <a:pt x="54110" y="520216"/>
                      <a:pt x="50523" y="515795"/>
                    </a:cubicBezTo>
                    <a:cubicBezTo>
                      <a:pt x="45183" y="509121"/>
                      <a:pt x="34588" y="505618"/>
                      <a:pt x="23075" y="502030"/>
                    </a:cubicBezTo>
                    <a:cubicBezTo>
                      <a:pt x="15066" y="499361"/>
                      <a:pt x="967" y="495357"/>
                      <a:pt x="49" y="491436"/>
                    </a:cubicBezTo>
                    <a:cubicBezTo>
                      <a:pt x="-1285" y="483011"/>
                      <a:pt x="24827" y="468412"/>
                      <a:pt x="34588" y="462656"/>
                    </a:cubicBezTo>
                    <a:cubicBezTo>
                      <a:pt x="38593" y="460404"/>
                      <a:pt x="42096" y="458235"/>
                      <a:pt x="44766" y="456483"/>
                    </a:cubicBezTo>
                    <a:cubicBezTo>
                      <a:pt x="55361" y="449392"/>
                      <a:pt x="65122" y="441885"/>
                      <a:pt x="63787" y="432124"/>
                    </a:cubicBezTo>
                    <a:cubicBezTo>
                      <a:pt x="63370" y="426785"/>
                      <a:pt x="58949" y="423281"/>
                      <a:pt x="54944" y="419695"/>
                    </a:cubicBezTo>
                    <a:cubicBezTo>
                      <a:pt x="52692" y="418360"/>
                      <a:pt x="50105" y="416191"/>
                      <a:pt x="49605" y="414356"/>
                    </a:cubicBezTo>
                    <a:cubicBezTo>
                      <a:pt x="48687" y="411269"/>
                      <a:pt x="48687" y="408599"/>
                      <a:pt x="49188" y="405012"/>
                    </a:cubicBezTo>
                    <a:cubicBezTo>
                      <a:pt x="49605" y="399257"/>
                      <a:pt x="50105" y="392166"/>
                      <a:pt x="43848" y="383740"/>
                    </a:cubicBezTo>
                    <a:cubicBezTo>
                      <a:pt x="42096" y="381071"/>
                      <a:pt x="40345" y="379319"/>
                      <a:pt x="38092" y="377567"/>
                    </a:cubicBezTo>
                    <a:cubicBezTo>
                      <a:pt x="34088" y="374063"/>
                      <a:pt x="34588" y="374063"/>
                      <a:pt x="35005" y="372228"/>
                    </a:cubicBezTo>
                    <a:cubicBezTo>
                      <a:pt x="35923" y="370476"/>
                      <a:pt x="36340" y="369976"/>
                      <a:pt x="37258" y="369976"/>
                    </a:cubicBezTo>
                    <a:cubicBezTo>
                      <a:pt x="41679" y="367723"/>
                      <a:pt x="52775" y="373063"/>
                      <a:pt x="59366" y="375732"/>
                    </a:cubicBezTo>
                    <a:cubicBezTo>
                      <a:pt x="65539" y="378401"/>
                      <a:pt x="70462" y="380570"/>
                      <a:pt x="74883" y="380570"/>
                    </a:cubicBezTo>
                    <a:cubicBezTo>
                      <a:pt x="83726" y="381488"/>
                      <a:pt x="89066" y="376566"/>
                      <a:pt x="93487" y="373480"/>
                    </a:cubicBezTo>
                    <a:cubicBezTo>
                      <a:pt x="95740" y="371227"/>
                      <a:pt x="97909" y="369976"/>
                      <a:pt x="100162" y="369058"/>
                    </a:cubicBezTo>
                    <a:cubicBezTo>
                      <a:pt x="103248" y="367723"/>
                      <a:pt x="106335" y="367723"/>
                      <a:pt x="109505" y="367723"/>
                    </a:cubicBezTo>
                    <a:cubicBezTo>
                      <a:pt x="114845" y="367723"/>
                      <a:pt x="121435" y="367306"/>
                      <a:pt x="129027" y="362385"/>
                    </a:cubicBezTo>
                    <a:cubicBezTo>
                      <a:pt x="147214" y="349538"/>
                      <a:pt x="140957" y="334939"/>
                      <a:pt x="136119" y="324762"/>
                    </a:cubicBezTo>
                    <a:cubicBezTo>
                      <a:pt x="133866" y="319924"/>
                      <a:pt x="132114" y="315419"/>
                      <a:pt x="131280" y="310580"/>
                    </a:cubicBezTo>
                    <a:cubicBezTo>
                      <a:pt x="128193" y="287139"/>
                      <a:pt x="130362" y="271123"/>
                      <a:pt x="139706" y="263615"/>
                    </a:cubicBezTo>
                    <a:cubicBezTo>
                      <a:pt x="142793" y="260945"/>
                      <a:pt x="146797" y="258776"/>
                      <a:pt x="151636" y="256524"/>
                    </a:cubicBezTo>
                    <a:cubicBezTo>
                      <a:pt x="163149" y="250768"/>
                      <a:pt x="179083" y="243260"/>
                      <a:pt x="174245" y="221571"/>
                    </a:cubicBezTo>
                    <a:cubicBezTo>
                      <a:pt x="169406" y="201216"/>
                      <a:pt x="152136" y="200299"/>
                      <a:pt x="139289" y="199464"/>
                    </a:cubicBezTo>
                    <a:cubicBezTo>
                      <a:pt x="133949" y="199047"/>
                      <a:pt x="129111" y="199047"/>
                      <a:pt x="125523" y="197713"/>
                    </a:cubicBezTo>
                    <a:cubicBezTo>
                      <a:pt x="109589" y="192374"/>
                      <a:pt x="110006" y="183114"/>
                      <a:pt x="112676" y="163594"/>
                    </a:cubicBezTo>
                    <a:lnTo>
                      <a:pt x="113093" y="159172"/>
                    </a:lnTo>
                    <a:cubicBezTo>
                      <a:pt x="114010" y="151164"/>
                      <a:pt x="112676" y="144073"/>
                      <a:pt x="111758" y="137066"/>
                    </a:cubicBezTo>
                    <a:cubicBezTo>
                      <a:pt x="110840" y="131727"/>
                      <a:pt x="110006" y="126889"/>
                      <a:pt x="110423" y="121550"/>
                    </a:cubicBezTo>
                    <a:cubicBezTo>
                      <a:pt x="110840" y="117545"/>
                      <a:pt x="112175" y="114876"/>
                      <a:pt x="113927" y="111372"/>
                    </a:cubicBezTo>
                    <a:cubicBezTo>
                      <a:pt x="116180" y="107868"/>
                      <a:pt x="118349" y="103364"/>
                      <a:pt x="118766" y="98108"/>
                    </a:cubicBezTo>
                    <a:cubicBezTo>
                      <a:pt x="121435" y="81257"/>
                      <a:pt x="107253" y="63155"/>
                      <a:pt x="95740" y="48473"/>
                    </a:cubicBezTo>
                    <a:cubicBezTo>
                      <a:pt x="93070" y="45387"/>
                      <a:pt x="91318" y="42717"/>
                      <a:pt x="89566" y="40048"/>
                    </a:cubicBezTo>
                    <a:cubicBezTo>
                      <a:pt x="90901" y="35210"/>
                      <a:pt x="92236" y="29870"/>
                      <a:pt x="92236" y="24949"/>
                    </a:cubicBezTo>
                    <a:cubicBezTo>
                      <a:pt x="92236" y="21862"/>
                      <a:pt x="91819" y="18776"/>
                      <a:pt x="91819" y="16523"/>
                    </a:cubicBezTo>
                    <a:cubicBezTo>
                      <a:pt x="90901" y="8098"/>
                      <a:pt x="90901" y="8098"/>
                      <a:pt x="98910" y="6763"/>
                    </a:cubicBezTo>
                    <a:cubicBezTo>
                      <a:pt x="101997" y="5845"/>
                      <a:pt x="105084" y="6346"/>
                      <a:pt x="109088" y="7180"/>
                    </a:cubicBezTo>
                    <a:cubicBezTo>
                      <a:pt x="113510" y="7597"/>
                      <a:pt x="117931" y="8098"/>
                      <a:pt x="123271" y="7597"/>
                    </a:cubicBezTo>
                    <a:cubicBezTo>
                      <a:pt x="126358" y="7180"/>
                      <a:pt x="129027" y="6262"/>
                      <a:pt x="132114" y="4928"/>
                    </a:cubicBezTo>
                    <a:cubicBezTo>
                      <a:pt x="135618" y="4010"/>
                      <a:pt x="138288" y="2676"/>
                      <a:pt x="141458" y="3176"/>
                    </a:cubicBezTo>
                    <a:cubicBezTo>
                      <a:pt x="146297" y="3593"/>
                      <a:pt x="151219" y="6262"/>
                      <a:pt x="156058" y="8932"/>
                    </a:cubicBezTo>
                    <a:cubicBezTo>
                      <a:pt x="162732" y="12435"/>
                      <a:pt x="170240" y="16940"/>
                      <a:pt x="179501" y="16940"/>
                    </a:cubicBezTo>
                    <a:cubicBezTo>
                      <a:pt x="179918" y="16940"/>
                      <a:pt x="179918" y="16940"/>
                      <a:pt x="179918" y="16940"/>
                    </a:cubicBezTo>
                    <a:cubicBezTo>
                      <a:pt x="190513" y="16940"/>
                      <a:pt x="197604" y="11601"/>
                      <a:pt x="202943" y="6763"/>
                    </a:cubicBezTo>
                    <a:cubicBezTo>
                      <a:pt x="207365" y="3259"/>
                      <a:pt x="210952" y="590"/>
                      <a:pt x="215374" y="89"/>
                    </a:cubicBezTo>
                    <a:cubicBezTo>
                      <a:pt x="225135" y="-828"/>
                      <a:pt x="237983" y="5428"/>
                      <a:pt x="243322" y="13854"/>
                    </a:cubicBezTo>
                    <a:cubicBezTo>
                      <a:pt x="247326" y="20027"/>
                      <a:pt x="248161" y="28035"/>
                      <a:pt x="249496" y="35960"/>
                    </a:cubicBezTo>
                    <a:cubicBezTo>
                      <a:pt x="250413" y="42133"/>
                      <a:pt x="250830" y="48807"/>
                      <a:pt x="253500" y="55481"/>
                    </a:cubicBezTo>
                    <a:cubicBezTo>
                      <a:pt x="239318" y="69662"/>
                      <a:pt x="236231" y="87347"/>
                      <a:pt x="243322" y="108202"/>
                    </a:cubicBezTo>
                    <a:cubicBezTo>
                      <a:pt x="244657" y="111706"/>
                      <a:pt x="245992" y="115293"/>
                      <a:pt x="247326" y="118797"/>
                    </a:cubicBezTo>
                    <a:cubicBezTo>
                      <a:pt x="252666" y="131643"/>
                      <a:pt x="256670" y="142238"/>
                      <a:pt x="252165" y="155085"/>
                    </a:cubicBezTo>
                    <a:cubicBezTo>
                      <a:pt x="250413" y="160423"/>
                      <a:pt x="247326" y="165262"/>
                      <a:pt x="243739" y="171018"/>
                    </a:cubicBezTo>
                    <a:cubicBezTo>
                      <a:pt x="237983" y="179861"/>
                      <a:pt x="232226" y="188703"/>
                      <a:pt x="231809" y="200215"/>
                    </a:cubicBezTo>
                    <a:cubicBezTo>
                      <a:pt x="230474" y="224574"/>
                      <a:pt x="251748" y="234334"/>
                      <a:pt x="268600" y="242259"/>
                    </a:cubicBezTo>
                    <a:cubicBezTo>
                      <a:pt x="274774" y="244929"/>
                      <a:pt x="280530" y="247598"/>
                      <a:pt x="284535" y="250685"/>
                    </a:cubicBezTo>
                    <a:cubicBezTo>
                      <a:pt x="309730" y="267702"/>
                      <a:pt x="308395" y="295148"/>
                      <a:pt x="304891" y="3265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46803640" name="Полилиния 365"/>
              <p:cNvSpPr/>
              <p:nvPr/>
            </p:nvSpPr>
            <p:spPr bwMode="auto">
              <a:xfrm>
                <a:off x="1959854" y="4403818"/>
                <a:ext cx="260070" cy="310792"/>
              </a:xfrm>
              <a:custGeom>
                <a:avLst/>
                <a:gdLst>
                  <a:gd name="connsiteX0" fmla="*/ 101855 w 292068"/>
                  <a:gd name="connsiteY0" fmla="*/ 349031 h 349031"/>
                  <a:gd name="connsiteX1" fmla="*/ 97016 w 292068"/>
                  <a:gd name="connsiteY1" fmla="*/ 347697 h 349031"/>
                  <a:gd name="connsiteX2" fmla="*/ 61143 w 292068"/>
                  <a:gd name="connsiteY2" fmla="*/ 305653 h 349031"/>
                  <a:gd name="connsiteX3" fmla="*/ 56304 w 292068"/>
                  <a:gd name="connsiteY3" fmla="*/ 292389 h 349031"/>
                  <a:gd name="connsiteX4" fmla="*/ 47461 w 292068"/>
                  <a:gd name="connsiteY4" fmla="*/ 271117 h 349031"/>
                  <a:gd name="connsiteX5" fmla="*/ 20013 w 292068"/>
                  <a:gd name="connsiteY5" fmla="*/ 252931 h 349031"/>
                  <a:gd name="connsiteX6" fmla="*/ 15592 w 292068"/>
                  <a:gd name="connsiteY6" fmla="*/ 251596 h 349031"/>
                  <a:gd name="connsiteX7" fmla="*/ 6248 w 292068"/>
                  <a:gd name="connsiteY7" fmla="*/ 239166 h 349031"/>
                  <a:gd name="connsiteX8" fmla="*/ 7166 w 292068"/>
                  <a:gd name="connsiteY8" fmla="*/ 230741 h 349031"/>
                  <a:gd name="connsiteX9" fmla="*/ 4079 w 292068"/>
                  <a:gd name="connsiteY9" fmla="*/ 207717 h 349031"/>
                  <a:gd name="connsiteX10" fmla="*/ 575 w 292068"/>
                  <a:gd name="connsiteY10" fmla="*/ 197123 h 349031"/>
                  <a:gd name="connsiteX11" fmla="*/ 4079 w 292068"/>
                  <a:gd name="connsiteY11" fmla="*/ 183358 h 349031"/>
                  <a:gd name="connsiteX12" fmla="*/ 8501 w 292068"/>
                  <a:gd name="connsiteY12" fmla="*/ 178937 h 349031"/>
                  <a:gd name="connsiteX13" fmla="*/ 16009 w 292068"/>
                  <a:gd name="connsiteY13" fmla="*/ 173181 h 349031"/>
                  <a:gd name="connsiteX14" fmla="*/ 33278 w 292068"/>
                  <a:gd name="connsiteY14" fmla="*/ 154995 h 349031"/>
                  <a:gd name="connsiteX15" fmla="*/ 30609 w 292068"/>
                  <a:gd name="connsiteY15" fmla="*/ 130219 h 349031"/>
                  <a:gd name="connsiteX16" fmla="*/ 27105 w 292068"/>
                  <a:gd name="connsiteY16" fmla="*/ 124046 h 349031"/>
                  <a:gd name="connsiteX17" fmla="*/ 21348 w 292068"/>
                  <a:gd name="connsiteY17" fmla="*/ 85506 h 349031"/>
                  <a:gd name="connsiteX18" fmla="*/ 52800 w 292068"/>
                  <a:gd name="connsiteY18" fmla="*/ 50970 h 349031"/>
                  <a:gd name="connsiteX19" fmla="*/ 76243 w 292068"/>
                  <a:gd name="connsiteY19" fmla="*/ 35454 h 349031"/>
                  <a:gd name="connsiteX20" fmla="*/ 99269 w 292068"/>
                  <a:gd name="connsiteY20" fmla="*/ 0 h 349031"/>
                  <a:gd name="connsiteX21" fmla="*/ 107278 w 292068"/>
                  <a:gd name="connsiteY21" fmla="*/ 2669 h 349031"/>
                  <a:gd name="connsiteX22" fmla="*/ 131639 w 292068"/>
                  <a:gd name="connsiteY22" fmla="*/ 5339 h 349031"/>
                  <a:gd name="connsiteX23" fmla="*/ 136978 w 292068"/>
                  <a:gd name="connsiteY23" fmla="*/ 4004 h 349031"/>
                  <a:gd name="connsiteX24" fmla="*/ 142317 w 292068"/>
                  <a:gd name="connsiteY24" fmla="*/ 2669 h 349031"/>
                  <a:gd name="connsiteX25" fmla="*/ 160921 w 292068"/>
                  <a:gd name="connsiteY25" fmla="*/ 14599 h 349031"/>
                  <a:gd name="connsiteX26" fmla="*/ 165760 w 292068"/>
                  <a:gd name="connsiteY26" fmla="*/ 21689 h 349031"/>
                  <a:gd name="connsiteX27" fmla="*/ 181278 w 292068"/>
                  <a:gd name="connsiteY27" fmla="*/ 39875 h 349031"/>
                  <a:gd name="connsiteX28" fmla="*/ 211395 w 292068"/>
                  <a:gd name="connsiteY28" fmla="*/ 47383 h 349031"/>
                  <a:gd name="connsiteX29" fmla="*/ 239343 w 292068"/>
                  <a:gd name="connsiteY29" fmla="*/ 31032 h 349031"/>
                  <a:gd name="connsiteX30" fmla="*/ 241095 w 292068"/>
                  <a:gd name="connsiteY30" fmla="*/ 28780 h 349031"/>
                  <a:gd name="connsiteX31" fmla="*/ 245516 w 292068"/>
                  <a:gd name="connsiteY31" fmla="*/ 30115 h 349031"/>
                  <a:gd name="connsiteX32" fmla="*/ 292068 w 292068"/>
                  <a:gd name="connsiteY32" fmla="*/ 57143 h 349031"/>
                  <a:gd name="connsiteX33" fmla="*/ 262869 w 292068"/>
                  <a:gd name="connsiteY33" fmla="*/ 110782 h 349031"/>
                  <a:gd name="connsiteX34" fmla="*/ 263787 w 292068"/>
                  <a:gd name="connsiteY34" fmla="*/ 126299 h 349031"/>
                  <a:gd name="connsiteX35" fmla="*/ 261534 w 292068"/>
                  <a:gd name="connsiteY35" fmla="*/ 151575 h 349031"/>
                  <a:gd name="connsiteX36" fmla="*/ 261951 w 292068"/>
                  <a:gd name="connsiteY36" fmla="*/ 196288 h 349031"/>
                  <a:gd name="connsiteX37" fmla="*/ 263703 w 292068"/>
                  <a:gd name="connsiteY37" fmla="*/ 201127 h 349031"/>
                  <a:gd name="connsiteX38" fmla="*/ 264120 w 292068"/>
                  <a:gd name="connsiteY38" fmla="*/ 252931 h 349031"/>
                  <a:gd name="connsiteX39" fmla="*/ 240677 w 292068"/>
                  <a:gd name="connsiteY39" fmla="*/ 271534 h 349031"/>
                  <a:gd name="connsiteX40" fmla="*/ 222073 w 292068"/>
                  <a:gd name="connsiteY40" fmla="*/ 282629 h 349031"/>
                  <a:gd name="connsiteX41" fmla="*/ 213647 w 292068"/>
                  <a:gd name="connsiteY41" fmla="*/ 288384 h 349031"/>
                  <a:gd name="connsiteX42" fmla="*/ 210143 w 292068"/>
                  <a:gd name="connsiteY42" fmla="*/ 291054 h 349031"/>
                  <a:gd name="connsiteX43" fmla="*/ 208391 w 292068"/>
                  <a:gd name="connsiteY43" fmla="*/ 292389 h 349031"/>
                  <a:gd name="connsiteX44" fmla="*/ 184948 w 292068"/>
                  <a:gd name="connsiteY44" fmla="*/ 302566 h 349031"/>
                  <a:gd name="connsiteX45" fmla="*/ 150827 w 292068"/>
                  <a:gd name="connsiteY45" fmla="*/ 320752 h 349031"/>
                  <a:gd name="connsiteX46" fmla="*/ 129553 w 292068"/>
                  <a:gd name="connsiteY46" fmla="*/ 335350 h 349031"/>
                  <a:gd name="connsiteX47" fmla="*/ 126466 w 292068"/>
                  <a:gd name="connsiteY47" fmla="*/ 336685 h 349031"/>
                  <a:gd name="connsiteX48" fmla="*/ 116288 w 292068"/>
                  <a:gd name="connsiteY48" fmla="*/ 342858 h 349031"/>
                  <a:gd name="connsiteX49" fmla="*/ 110949 w 292068"/>
                  <a:gd name="connsiteY49" fmla="*/ 345945 h 349031"/>
                  <a:gd name="connsiteX50" fmla="*/ 101855 w 292068"/>
                  <a:gd name="connsiteY50" fmla="*/ 349031 h 34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92068" h="349031" extrusionOk="0">
                    <a:moveTo>
                      <a:pt x="101855" y="349031"/>
                    </a:moveTo>
                    <a:cubicBezTo>
                      <a:pt x="100103" y="349031"/>
                      <a:pt x="98768" y="348614"/>
                      <a:pt x="97016" y="347697"/>
                    </a:cubicBezTo>
                    <a:cubicBezTo>
                      <a:pt x="85086" y="342858"/>
                      <a:pt x="70904" y="323338"/>
                      <a:pt x="61143" y="305653"/>
                    </a:cubicBezTo>
                    <a:cubicBezTo>
                      <a:pt x="58890" y="301649"/>
                      <a:pt x="57639" y="297227"/>
                      <a:pt x="56304" y="292389"/>
                    </a:cubicBezTo>
                    <a:cubicBezTo>
                      <a:pt x="54552" y="285715"/>
                      <a:pt x="52800" y="278207"/>
                      <a:pt x="47461" y="271117"/>
                    </a:cubicBezTo>
                    <a:cubicBezTo>
                      <a:pt x="39035" y="259604"/>
                      <a:pt x="30192" y="256518"/>
                      <a:pt x="20013" y="252931"/>
                    </a:cubicBezTo>
                    <a:lnTo>
                      <a:pt x="15592" y="251596"/>
                    </a:lnTo>
                    <a:cubicBezTo>
                      <a:pt x="5414" y="248093"/>
                      <a:pt x="5414" y="248093"/>
                      <a:pt x="6248" y="239166"/>
                    </a:cubicBezTo>
                    <a:lnTo>
                      <a:pt x="7166" y="230741"/>
                    </a:lnTo>
                    <a:cubicBezTo>
                      <a:pt x="8501" y="222316"/>
                      <a:pt x="8501" y="219646"/>
                      <a:pt x="4079" y="207717"/>
                    </a:cubicBezTo>
                    <a:cubicBezTo>
                      <a:pt x="2327" y="203296"/>
                      <a:pt x="992" y="199709"/>
                      <a:pt x="575" y="197123"/>
                    </a:cubicBezTo>
                    <a:cubicBezTo>
                      <a:pt x="-760" y="191784"/>
                      <a:pt x="158" y="188280"/>
                      <a:pt x="4079" y="183358"/>
                    </a:cubicBezTo>
                    <a:cubicBezTo>
                      <a:pt x="4997" y="182023"/>
                      <a:pt x="6749" y="180689"/>
                      <a:pt x="8501" y="178937"/>
                    </a:cubicBezTo>
                    <a:cubicBezTo>
                      <a:pt x="10753" y="176684"/>
                      <a:pt x="13339" y="174933"/>
                      <a:pt x="16009" y="173181"/>
                    </a:cubicBezTo>
                    <a:cubicBezTo>
                      <a:pt x="22183" y="168760"/>
                      <a:pt x="29774" y="163421"/>
                      <a:pt x="33278" y="154995"/>
                    </a:cubicBezTo>
                    <a:cubicBezTo>
                      <a:pt x="39035" y="142566"/>
                      <a:pt x="34196" y="135475"/>
                      <a:pt x="30609" y="130219"/>
                    </a:cubicBezTo>
                    <a:cubicBezTo>
                      <a:pt x="29274" y="127967"/>
                      <a:pt x="27939" y="126716"/>
                      <a:pt x="27105" y="124046"/>
                    </a:cubicBezTo>
                    <a:cubicBezTo>
                      <a:pt x="23100" y="113869"/>
                      <a:pt x="20931" y="96100"/>
                      <a:pt x="21348" y="85506"/>
                    </a:cubicBezTo>
                    <a:cubicBezTo>
                      <a:pt x="21765" y="68238"/>
                      <a:pt x="36449" y="60229"/>
                      <a:pt x="52800" y="50970"/>
                    </a:cubicBezTo>
                    <a:cubicBezTo>
                      <a:pt x="61226" y="46548"/>
                      <a:pt x="69152" y="41627"/>
                      <a:pt x="76243" y="35454"/>
                    </a:cubicBezTo>
                    <a:cubicBezTo>
                      <a:pt x="86421" y="26611"/>
                      <a:pt x="93930" y="14181"/>
                      <a:pt x="99269" y="0"/>
                    </a:cubicBezTo>
                    <a:cubicBezTo>
                      <a:pt x="101939" y="1335"/>
                      <a:pt x="104608" y="1752"/>
                      <a:pt x="107278" y="2669"/>
                    </a:cubicBezTo>
                    <a:cubicBezTo>
                      <a:pt x="114369" y="4922"/>
                      <a:pt x="122795" y="6674"/>
                      <a:pt x="131639" y="5339"/>
                    </a:cubicBezTo>
                    <a:cubicBezTo>
                      <a:pt x="133391" y="4922"/>
                      <a:pt x="135142" y="4421"/>
                      <a:pt x="136978" y="4004"/>
                    </a:cubicBezTo>
                    <a:cubicBezTo>
                      <a:pt x="138730" y="3587"/>
                      <a:pt x="140482" y="3086"/>
                      <a:pt x="142317" y="2669"/>
                    </a:cubicBezTo>
                    <a:cubicBezTo>
                      <a:pt x="150743" y="1752"/>
                      <a:pt x="158252" y="10678"/>
                      <a:pt x="160921" y="14599"/>
                    </a:cubicBezTo>
                    <a:cubicBezTo>
                      <a:pt x="162673" y="16851"/>
                      <a:pt x="164008" y="19437"/>
                      <a:pt x="165760" y="21689"/>
                    </a:cubicBezTo>
                    <a:cubicBezTo>
                      <a:pt x="170182" y="28363"/>
                      <a:pt x="174186" y="34536"/>
                      <a:pt x="181278" y="39875"/>
                    </a:cubicBezTo>
                    <a:cubicBezTo>
                      <a:pt x="189287" y="46548"/>
                      <a:pt x="200299" y="49218"/>
                      <a:pt x="211395" y="47383"/>
                    </a:cubicBezTo>
                    <a:cubicBezTo>
                      <a:pt x="222490" y="46048"/>
                      <a:pt x="232251" y="40292"/>
                      <a:pt x="239343" y="31032"/>
                    </a:cubicBezTo>
                    <a:cubicBezTo>
                      <a:pt x="239760" y="30115"/>
                      <a:pt x="240677" y="28780"/>
                      <a:pt x="241095" y="28780"/>
                    </a:cubicBezTo>
                    <a:cubicBezTo>
                      <a:pt x="241512" y="28363"/>
                      <a:pt x="242429" y="28780"/>
                      <a:pt x="245516" y="30115"/>
                    </a:cubicBezTo>
                    <a:cubicBezTo>
                      <a:pt x="262368" y="38123"/>
                      <a:pt x="277886" y="47383"/>
                      <a:pt x="292068" y="57143"/>
                    </a:cubicBezTo>
                    <a:cubicBezTo>
                      <a:pt x="273881" y="65569"/>
                      <a:pt x="262869" y="85089"/>
                      <a:pt x="262869" y="110782"/>
                    </a:cubicBezTo>
                    <a:cubicBezTo>
                      <a:pt x="262869" y="116538"/>
                      <a:pt x="263286" y="121377"/>
                      <a:pt x="263787" y="126299"/>
                    </a:cubicBezTo>
                    <a:cubicBezTo>
                      <a:pt x="264704" y="135141"/>
                      <a:pt x="265122" y="142232"/>
                      <a:pt x="261534" y="151575"/>
                    </a:cubicBezTo>
                    <a:cubicBezTo>
                      <a:pt x="255778" y="167508"/>
                      <a:pt x="256195" y="178603"/>
                      <a:pt x="261951" y="196288"/>
                    </a:cubicBezTo>
                    <a:lnTo>
                      <a:pt x="263703" y="201127"/>
                    </a:lnTo>
                    <a:cubicBezTo>
                      <a:pt x="270377" y="221064"/>
                      <a:pt x="274298" y="232993"/>
                      <a:pt x="264120" y="252931"/>
                    </a:cubicBezTo>
                    <a:cubicBezTo>
                      <a:pt x="259282" y="263108"/>
                      <a:pt x="252190" y="266195"/>
                      <a:pt x="240677" y="271534"/>
                    </a:cubicBezTo>
                    <a:cubicBezTo>
                      <a:pt x="233586" y="274620"/>
                      <a:pt x="227830" y="278625"/>
                      <a:pt x="222073" y="282629"/>
                    </a:cubicBezTo>
                    <a:cubicBezTo>
                      <a:pt x="219404" y="284380"/>
                      <a:pt x="216734" y="286132"/>
                      <a:pt x="213647" y="288384"/>
                    </a:cubicBezTo>
                    <a:lnTo>
                      <a:pt x="210143" y="291054"/>
                    </a:lnTo>
                    <a:lnTo>
                      <a:pt x="208391" y="292389"/>
                    </a:lnTo>
                    <a:cubicBezTo>
                      <a:pt x="201717" y="297227"/>
                      <a:pt x="193792" y="299480"/>
                      <a:pt x="184948" y="302566"/>
                    </a:cubicBezTo>
                    <a:cubicBezTo>
                      <a:pt x="173018" y="306070"/>
                      <a:pt x="160588" y="310574"/>
                      <a:pt x="150827" y="320752"/>
                    </a:cubicBezTo>
                    <a:cubicBezTo>
                      <a:pt x="142818" y="329595"/>
                      <a:pt x="140232" y="330929"/>
                      <a:pt x="129553" y="335350"/>
                    </a:cubicBezTo>
                    <a:lnTo>
                      <a:pt x="126466" y="336685"/>
                    </a:lnTo>
                    <a:cubicBezTo>
                      <a:pt x="122962" y="338020"/>
                      <a:pt x="119375" y="340189"/>
                      <a:pt x="116288" y="342858"/>
                    </a:cubicBezTo>
                    <a:cubicBezTo>
                      <a:pt x="114536" y="344193"/>
                      <a:pt x="112784" y="345110"/>
                      <a:pt x="110949" y="345945"/>
                    </a:cubicBezTo>
                    <a:cubicBezTo>
                      <a:pt x="108029" y="347697"/>
                      <a:pt x="104525" y="348531"/>
                      <a:pt x="101855" y="34903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73079865" name="Полилиния 366"/>
              <p:cNvSpPr/>
              <p:nvPr/>
            </p:nvSpPr>
            <p:spPr bwMode="auto">
              <a:xfrm>
                <a:off x="1959697" y="3816803"/>
                <a:ext cx="302446" cy="388311"/>
              </a:xfrm>
              <a:custGeom>
                <a:avLst/>
                <a:gdLst>
                  <a:gd name="connsiteX0" fmla="*/ 34706 w 339658"/>
                  <a:gd name="connsiteY0" fmla="*/ 46597 h 436087"/>
                  <a:gd name="connsiteX1" fmla="*/ 47553 w 339658"/>
                  <a:gd name="connsiteY1" fmla="*/ 37754 h 436087"/>
                  <a:gd name="connsiteX2" fmla="*/ 55562 w 339658"/>
                  <a:gd name="connsiteY2" fmla="*/ 22238 h 436087"/>
                  <a:gd name="connsiteX3" fmla="*/ 58649 w 339658"/>
                  <a:gd name="connsiteY3" fmla="*/ 13812 h 436087"/>
                  <a:gd name="connsiteX4" fmla="*/ 58649 w 339658"/>
                  <a:gd name="connsiteY4" fmla="*/ 13395 h 436087"/>
                  <a:gd name="connsiteX5" fmla="*/ 59066 w 339658"/>
                  <a:gd name="connsiteY5" fmla="*/ 13395 h 436087"/>
                  <a:gd name="connsiteX6" fmla="*/ 104284 w 339658"/>
                  <a:gd name="connsiteY6" fmla="*/ 5887 h 436087"/>
                  <a:gd name="connsiteX7" fmla="*/ 109623 w 339658"/>
                  <a:gd name="connsiteY7" fmla="*/ 4135 h 436087"/>
                  <a:gd name="connsiteX8" fmla="*/ 136653 w 339658"/>
                  <a:gd name="connsiteY8" fmla="*/ 4552 h 436087"/>
                  <a:gd name="connsiteX9" fmla="*/ 145997 w 339658"/>
                  <a:gd name="connsiteY9" fmla="*/ 17817 h 436087"/>
                  <a:gd name="connsiteX10" fmla="*/ 167688 w 339658"/>
                  <a:gd name="connsiteY10" fmla="*/ 39506 h 436087"/>
                  <a:gd name="connsiteX11" fmla="*/ 177866 w 339658"/>
                  <a:gd name="connsiteY11" fmla="*/ 43009 h 436087"/>
                  <a:gd name="connsiteX12" fmla="*/ 192466 w 339658"/>
                  <a:gd name="connsiteY12" fmla="*/ 49182 h 436087"/>
                  <a:gd name="connsiteX13" fmla="*/ 199140 w 339658"/>
                  <a:gd name="connsiteY13" fmla="*/ 53604 h 436087"/>
                  <a:gd name="connsiteX14" fmla="*/ 221248 w 339658"/>
                  <a:gd name="connsiteY14" fmla="*/ 64699 h 436087"/>
                  <a:gd name="connsiteX15" fmla="*/ 246526 w 339658"/>
                  <a:gd name="connsiteY15" fmla="*/ 67368 h 436087"/>
                  <a:gd name="connsiteX16" fmla="*/ 272639 w 339658"/>
                  <a:gd name="connsiteY16" fmla="*/ 70872 h 436087"/>
                  <a:gd name="connsiteX17" fmla="*/ 291243 w 339658"/>
                  <a:gd name="connsiteY17" fmla="*/ 76211 h 436087"/>
                  <a:gd name="connsiteX18" fmla="*/ 319608 w 339658"/>
                  <a:gd name="connsiteY18" fmla="*/ 88641 h 436087"/>
                  <a:gd name="connsiteX19" fmla="*/ 330203 w 339658"/>
                  <a:gd name="connsiteY19" fmla="*/ 108578 h 436087"/>
                  <a:gd name="connsiteX20" fmla="*/ 337295 w 339658"/>
                  <a:gd name="connsiteY20" fmla="*/ 124929 h 436087"/>
                  <a:gd name="connsiteX21" fmla="*/ 337295 w 339658"/>
                  <a:gd name="connsiteY21" fmla="*/ 125346 h 436087"/>
                  <a:gd name="connsiteX22" fmla="*/ 337295 w 339658"/>
                  <a:gd name="connsiteY22" fmla="*/ 128015 h 436087"/>
                  <a:gd name="connsiteX23" fmla="*/ 337295 w 339658"/>
                  <a:gd name="connsiteY23" fmla="*/ 128432 h 436087"/>
                  <a:gd name="connsiteX24" fmla="*/ 304091 w 339658"/>
                  <a:gd name="connsiteY24" fmla="*/ 169642 h 436087"/>
                  <a:gd name="connsiteX25" fmla="*/ 297417 w 339658"/>
                  <a:gd name="connsiteY25" fmla="*/ 181571 h 436087"/>
                  <a:gd name="connsiteX26" fmla="*/ 280147 w 339658"/>
                  <a:gd name="connsiteY26" fmla="*/ 244887 h 436087"/>
                  <a:gd name="connsiteX27" fmla="*/ 288573 w 339658"/>
                  <a:gd name="connsiteY27" fmla="*/ 259486 h 436087"/>
                  <a:gd name="connsiteX28" fmla="*/ 294330 w 339658"/>
                  <a:gd name="connsiteY28" fmla="*/ 267911 h 436087"/>
                  <a:gd name="connsiteX29" fmla="*/ 295247 w 339658"/>
                  <a:gd name="connsiteY29" fmla="*/ 273250 h 436087"/>
                  <a:gd name="connsiteX30" fmla="*/ 297917 w 339658"/>
                  <a:gd name="connsiteY30" fmla="*/ 285680 h 436087"/>
                  <a:gd name="connsiteX31" fmla="*/ 304591 w 339658"/>
                  <a:gd name="connsiteY31" fmla="*/ 292770 h 436087"/>
                  <a:gd name="connsiteX32" fmla="*/ 306844 w 339658"/>
                  <a:gd name="connsiteY32" fmla="*/ 294105 h 436087"/>
                  <a:gd name="connsiteX33" fmla="*/ 310348 w 339658"/>
                  <a:gd name="connsiteY33" fmla="*/ 301613 h 436087"/>
                  <a:gd name="connsiteX34" fmla="*/ 320943 w 339658"/>
                  <a:gd name="connsiteY34" fmla="*/ 318464 h 436087"/>
                  <a:gd name="connsiteX35" fmla="*/ 331538 w 339658"/>
                  <a:gd name="connsiteY35" fmla="*/ 325555 h 436087"/>
                  <a:gd name="connsiteX36" fmla="*/ 339547 w 339658"/>
                  <a:gd name="connsiteY36" fmla="*/ 337484 h 436087"/>
                  <a:gd name="connsiteX37" fmla="*/ 330704 w 339658"/>
                  <a:gd name="connsiteY37" fmla="*/ 369351 h 436087"/>
                  <a:gd name="connsiteX38" fmla="*/ 320943 w 339658"/>
                  <a:gd name="connsiteY38" fmla="*/ 398548 h 436087"/>
                  <a:gd name="connsiteX39" fmla="*/ 276643 w 339658"/>
                  <a:gd name="connsiteY39" fmla="*/ 403386 h 436087"/>
                  <a:gd name="connsiteX40" fmla="*/ 267300 w 339658"/>
                  <a:gd name="connsiteY40" fmla="*/ 410060 h 436087"/>
                  <a:gd name="connsiteX41" fmla="*/ 260208 w 339658"/>
                  <a:gd name="connsiteY41" fmla="*/ 414481 h 436087"/>
                  <a:gd name="connsiteX42" fmla="*/ 250030 w 339658"/>
                  <a:gd name="connsiteY42" fmla="*/ 410060 h 436087"/>
                  <a:gd name="connsiteX43" fmla="*/ 228339 w 339658"/>
                  <a:gd name="connsiteY43" fmla="*/ 403386 h 436087"/>
                  <a:gd name="connsiteX44" fmla="*/ 207983 w 339658"/>
                  <a:gd name="connsiteY44" fmla="*/ 410894 h 436087"/>
                  <a:gd name="connsiteX45" fmla="*/ 196887 w 339658"/>
                  <a:gd name="connsiteY45" fmla="*/ 416233 h 436087"/>
                  <a:gd name="connsiteX46" fmla="*/ 167688 w 339658"/>
                  <a:gd name="connsiteY46" fmla="*/ 413564 h 436087"/>
                  <a:gd name="connsiteX47" fmla="*/ 162349 w 339658"/>
                  <a:gd name="connsiteY47" fmla="*/ 411311 h 436087"/>
                  <a:gd name="connsiteX48" fmla="*/ 133566 w 339658"/>
                  <a:gd name="connsiteY48" fmla="*/ 409059 h 436087"/>
                  <a:gd name="connsiteX49" fmla="*/ 121636 w 339658"/>
                  <a:gd name="connsiteY49" fmla="*/ 422323 h 436087"/>
                  <a:gd name="connsiteX50" fmla="*/ 112793 w 339658"/>
                  <a:gd name="connsiteY50" fmla="*/ 432083 h 436087"/>
                  <a:gd name="connsiteX51" fmla="*/ 106119 w 339658"/>
                  <a:gd name="connsiteY51" fmla="*/ 434752 h 436087"/>
                  <a:gd name="connsiteX52" fmla="*/ 101697 w 339658"/>
                  <a:gd name="connsiteY52" fmla="*/ 436087 h 436087"/>
                  <a:gd name="connsiteX53" fmla="*/ 103032 w 339658"/>
                  <a:gd name="connsiteY53" fmla="*/ 426327 h 436087"/>
                  <a:gd name="connsiteX54" fmla="*/ 112793 w 339658"/>
                  <a:gd name="connsiteY54" fmla="*/ 409476 h 436087"/>
                  <a:gd name="connsiteX55" fmla="*/ 120802 w 339658"/>
                  <a:gd name="connsiteY55" fmla="*/ 397547 h 436087"/>
                  <a:gd name="connsiteX56" fmla="*/ 125224 w 339658"/>
                  <a:gd name="connsiteY56" fmla="*/ 360758 h 436087"/>
                  <a:gd name="connsiteX57" fmla="*/ 124807 w 339658"/>
                  <a:gd name="connsiteY57" fmla="*/ 359007 h 436087"/>
                  <a:gd name="connsiteX58" fmla="*/ 124389 w 339658"/>
                  <a:gd name="connsiteY58" fmla="*/ 352833 h 436087"/>
                  <a:gd name="connsiteX59" fmla="*/ 111542 w 339658"/>
                  <a:gd name="connsiteY59" fmla="*/ 319131 h 436087"/>
                  <a:gd name="connsiteX60" fmla="*/ 95190 w 339658"/>
                  <a:gd name="connsiteY60" fmla="*/ 315127 h 436087"/>
                  <a:gd name="connsiteX61" fmla="*/ 84094 w 339658"/>
                  <a:gd name="connsiteY61" fmla="*/ 311123 h 436087"/>
                  <a:gd name="connsiteX62" fmla="*/ 75251 w 339658"/>
                  <a:gd name="connsiteY62" fmla="*/ 299611 h 436087"/>
                  <a:gd name="connsiteX63" fmla="*/ 65073 w 339658"/>
                  <a:gd name="connsiteY63" fmla="*/ 289434 h 436087"/>
                  <a:gd name="connsiteX64" fmla="*/ 70829 w 339658"/>
                  <a:gd name="connsiteY64" fmla="*/ 271749 h 436087"/>
                  <a:gd name="connsiteX65" fmla="*/ 78338 w 339658"/>
                  <a:gd name="connsiteY65" fmla="*/ 257984 h 436087"/>
                  <a:gd name="connsiteX66" fmla="*/ 91603 w 339658"/>
                  <a:gd name="connsiteY66" fmla="*/ 223031 h 436087"/>
                  <a:gd name="connsiteX67" fmla="*/ 65490 w 339658"/>
                  <a:gd name="connsiteY67" fmla="*/ 172562 h 436087"/>
                  <a:gd name="connsiteX68" fmla="*/ 46469 w 339658"/>
                  <a:gd name="connsiteY68" fmla="*/ 164136 h 436087"/>
                  <a:gd name="connsiteX69" fmla="*/ 30534 w 339658"/>
                  <a:gd name="connsiteY69" fmla="*/ 153542 h 436087"/>
                  <a:gd name="connsiteX70" fmla="*/ 6591 w 339658"/>
                  <a:gd name="connsiteY70" fmla="*/ 119006 h 436087"/>
                  <a:gd name="connsiteX71" fmla="*/ 3087 w 339658"/>
                  <a:gd name="connsiteY71" fmla="*/ 114167 h 436087"/>
                  <a:gd name="connsiteX72" fmla="*/ 0 w 339658"/>
                  <a:gd name="connsiteY72" fmla="*/ 107494 h 436087"/>
                  <a:gd name="connsiteX73" fmla="*/ 3504 w 339658"/>
                  <a:gd name="connsiteY73" fmla="*/ 90226 h 436087"/>
                  <a:gd name="connsiteX74" fmla="*/ 8843 w 339658"/>
                  <a:gd name="connsiteY74" fmla="*/ 81383 h 436087"/>
                  <a:gd name="connsiteX75" fmla="*/ 11930 w 339658"/>
                  <a:gd name="connsiteY75" fmla="*/ 76044 h 436087"/>
                  <a:gd name="connsiteX76" fmla="*/ 16769 w 339658"/>
                  <a:gd name="connsiteY76" fmla="*/ 67618 h 436087"/>
                  <a:gd name="connsiteX77" fmla="*/ 28282 w 339658"/>
                  <a:gd name="connsiteY77" fmla="*/ 49934 h 436087"/>
                  <a:gd name="connsiteX78" fmla="*/ 34706 w 339658"/>
                  <a:gd name="connsiteY78" fmla="*/ 46597 h 436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39658" h="436087" extrusionOk="0">
                    <a:moveTo>
                      <a:pt x="34706" y="46597"/>
                    </a:moveTo>
                    <a:cubicBezTo>
                      <a:pt x="39127" y="44344"/>
                      <a:pt x="43549" y="42592"/>
                      <a:pt x="47553" y="37754"/>
                    </a:cubicBezTo>
                    <a:cubicBezTo>
                      <a:pt x="51558" y="33333"/>
                      <a:pt x="53727" y="27160"/>
                      <a:pt x="55562" y="22238"/>
                    </a:cubicBezTo>
                    <a:cubicBezTo>
                      <a:pt x="56480" y="19151"/>
                      <a:pt x="57815" y="16482"/>
                      <a:pt x="58649" y="13812"/>
                    </a:cubicBezTo>
                    <a:lnTo>
                      <a:pt x="58649" y="13395"/>
                    </a:lnTo>
                    <a:lnTo>
                      <a:pt x="59066" y="13395"/>
                    </a:lnTo>
                    <a:cubicBezTo>
                      <a:pt x="75418" y="14313"/>
                      <a:pt x="91436" y="10309"/>
                      <a:pt x="104284" y="5887"/>
                    </a:cubicBezTo>
                    <a:lnTo>
                      <a:pt x="109623" y="4135"/>
                    </a:lnTo>
                    <a:cubicBezTo>
                      <a:pt x="122054" y="-286"/>
                      <a:pt x="129145" y="-2538"/>
                      <a:pt x="136653" y="4552"/>
                    </a:cubicBezTo>
                    <a:cubicBezTo>
                      <a:pt x="141075" y="8974"/>
                      <a:pt x="143327" y="13395"/>
                      <a:pt x="145997" y="17817"/>
                    </a:cubicBezTo>
                    <a:cubicBezTo>
                      <a:pt x="150001" y="25325"/>
                      <a:pt x="154423" y="33750"/>
                      <a:pt x="167688" y="39506"/>
                    </a:cubicBezTo>
                    <a:cubicBezTo>
                      <a:pt x="171192" y="40840"/>
                      <a:pt x="174779" y="42175"/>
                      <a:pt x="177866" y="43009"/>
                    </a:cubicBezTo>
                    <a:cubicBezTo>
                      <a:pt x="183205" y="44761"/>
                      <a:pt x="187627" y="46096"/>
                      <a:pt x="192466" y="49182"/>
                    </a:cubicBezTo>
                    <a:cubicBezTo>
                      <a:pt x="194718" y="50517"/>
                      <a:pt x="196887" y="52269"/>
                      <a:pt x="199140" y="53604"/>
                    </a:cubicBezTo>
                    <a:cubicBezTo>
                      <a:pt x="205313" y="58025"/>
                      <a:pt x="211988" y="62447"/>
                      <a:pt x="221248" y="64699"/>
                    </a:cubicBezTo>
                    <a:cubicBezTo>
                      <a:pt x="230091" y="66951"/>
                      <a:pt x="238517" y="66951"/>
                      <a:pt x="246526" y="67368"/>
                    </a:cubicBezTo>
                    <a:cubicBezTo>
                      <a:pt x="255370" y="67368"/>
                      <a:pt x="264213" y="67368"/>
                      <a:pt x="272639" y="70872"/>
                    </a:cubicBezTo>
                    <a:cubicBezTo>
                      <a:pt x="278812" y="73541"/>
                      <a:pt x="285069" y="74376"/>
                      <a:pt x="291243" y="76211"/>
                    </a:cubicBezTo>
                    <a:cubicBezTo>
                      <a:pt x="302339" y="78880"/>
                      <a:pt x="312517" y="81550"/>
                      <a:pt x="319608" y="88641"/>
                    </a:cubicBezTo>
                    <a:cubicBezTo>
                      <a:pt x="324948" y="93979"/>
                      <a:pt x="327617" y="101070"/>
                      <a:pt x="330203" y="108578"/>
                    </a:cubicBezTo>
                    <a:cubicBezTo>
                      <a:pt x="332456" y="113917"/>
                      <a:pt x="334208" y="119673"/>
                      <a:pt x="337295" y="124929"/>
                    </a:cubicBezTo>
                    <a:lnTo>
                      <a:pt x="337295" y="125346"/>
                    </a:lnTo>
                    <a:cubicBezTo>
                      <a:pt x="337295" y="126263"/>
                      <a:pt x="336878" y="127098"/>
                      <a:pt x="337295" y="128015"/>
                    </a:cubicBezTo>
                    <a:lnTo>
                      <a:pt x="337295" y="128432"/>
                    </a:lnTo>
                    <a:cubicBezTo>
                      <a:pt x="321777" y="137775"/>
                      <a:pt x="311182" y="155461"/>
                      <a:pt x="304091" y="169642"/>
                    </a:cubicBezTo>
                    <a:cubicBezTo>
                      <a:pt x="302339" y="173145"/>
                      <a:pt x="300086" y="177150"/>
                      <a:pt x="297417" y="181571"/>
                    </a:cubicBezTo>
                    <a:cubicBezTo>
                      <a:pt x="286822" y="200174"/>
                      <a:pt x="273974" y="224115"/>
                      <a:pt x="280147" y="244887"/>
                    </a:cubicBezTo>
                    <a:cubicBezTo>
                      <a:pt x="281899" y="251060"/>
                      <a:pt x="285487" y="255482"/>
                      <a:pt x="288573" y="259486"/>
                    </a:cubicBezTo>
                    <a:cubicBezTo>
                      <a:pt x="290826" y="262155"/>
                      <a:pt x="292995" y="264824"/>
                      <a:pt x="294330" y="267911"/>
                    </a:cubicBezTo>
                    <a:cubicBezTo>
                      <a:pt x="294747" y="269246"/>
                      <a:pt x="295247" y="270998"/>
                      <a:pt x="295247" y="273250"/>
                    </a:cubicBezTo>
                    <a:cubicBezTo>
                      <a:pt x="295247" y="276754"/>
                      <a:pt x="295247" y="281259"/>
                      <a:pt x="297917" y="285680"/>
                    </a:cubicBezTo>
                    <a:cubicBezTo>
                      <a:pt x="299252" y="289183"/>
                      <a:pt x="302339" y="291019"/>
                      <a:pt x="304591" y="292770"/>
                    </a:cubicBezTo>
                    <a:cubicBezTo>
                      <a:pt x="305509" y="293187"/>
                      <a:pt x="306343" y="294105"/>
                      <a:pt x="306844" y="294105"/>
                    </a:cubicBezTo>
                    <a:cubicBezTo>
                      <a:pt x="308179" y="296775"/>
                      <a:pt x="309514" y="298944"/>
                      <a:pt x="310348" y="301613"/>
                    </a:cubicBezTo>
                    <a:cubicBezTo>
                      <a:pt x="312600" y="306952"/>
                      <a:pt x="315187" y="312708"/>
                      <a:pt x="320943" y="318464"/>
                    </a:cubicBezTo>
                    <a:cubicBezTo>
                      <a:pt x="324948" y="321968"/>
                      <a:pt x="328451" y="323803"/>
                      <a:pt x="331538" y="325555"/>
                    </a:cubicBezTo>
                    <a:cubicBezTo>
                      <a:pt x="336878" y="328224"/>
                      <a:pt x="338629" y="329058"/>
                      <a:pt x="339547" y="337484"/>
                    </a:cubicBezTo>
                    <a:cubicBezTo>
                      <a:pt x="340465" y="347661"/>
                      <a:pt x="335543" y="358339"/>
                      <a:pt x="330704" y="369351"/>
                    </a:cubicBezTo>
                    <a:cubicBezTo>
                      <a:pt x="326700" y="379111"/>
                      <a:pt x="322278" y="388370"/>
                      <a:pt x="320943" y="398548"/>
                    </a:cubicBezTo>
                    <a:cubicBezTo>
                      <a:pt x="305426" y="397630"/>
                      <a:pt x="289491" y="397630"/>
                      <a:pt x="276643" y="403386"/>
                    </a:cubicBezTo>
                    <a:cubicBezTo>
                      <a:pt x="273139" y="405138"/>
                      <a:pt x="269969" y="407808"/>
                      <a:pt x="267300" y="410060"/>
                    </a:cubicBezTo>
                    <a:cubicBezTo>
                      <a:pt x="264213" y="412729"/>
                      <a:pt x="262461" y="414898"/>
                      <a:pt x="260208" y="414481"/>
                    </a:cubicBezTo>
                    <a:cubicBezTo>
                      <a:pt x="257121" y="414064"/>
                      <a:pt x="254035" y="412229"/>
                      <a:pt x="250030" y="410060"/>
                    </a:cubicBezTo>
                    <a:cubicBezTo>
                      <a:pt x="244691" y="406973"/>
                      <a:pt x="238100" y="402552"/>
                      <a:pt x="228339" y="403386"/>
                    </a:cubicBezTo>
                    <a:cubicBezTo>
                      <a:pt x="220330" y="404304"/>
                      <a:pt x="213740" y="407808"/>
                      <a:pt x="207983" y="410894"/>
                    </a:cubicBezTo>
                    <a:cubicBezTo>
                      <a:pt x="204479" y="413146"/>
                      <a:pt x="200475" y="414898"/>
                      <a:pt x="196887" y="416233"/>
                    </a:cubicBezTo>
                    <a:cubicBezTo>
                      <a:pt x="185792" y="419319"/>
                      <a:pt x="179201" y="417568"/>
                      <a:pt x="167688" y="413564"/>
                    </a:cubicBezTo>
                    <a:cubicBezTo>
                      <a:pt x="165936" y="413146"/>
                      <a:pt x="164184" y="412229"/>
                      <a:pt x="162349" y="411311"/>
                    </a:cubicBezTo>
                    <a:cubicBezTo>
                      <a:pt x="154340" y="408225"/>
                      <a:pt x="143744" y="403803"/>
                      <a:pt x="133566" y="409059"/>
                    </a:cubicBezTo>
                    <a:cubicBezTo>
                      <a:pt x="127393" y="412562"/>
                      <a:pt x="124223" y="417484"/>
                      <a:pt x="121636" y="422323"/>
                    </a:cubicBezTo>
                    <a:cubicBezTo>
                      <a:pt x="118967" y="426744"/>
                      <a:pt x="116798" y="429831"/>
                      <a:pt x="112793" y="432083"/>
                    </a:cubicBezTo>
                    <a:cubicBezTo>
                      <a:pt x="110541" y="433000"/>
                      <a:pt x="108371" y="433835"/>
                      <a:pt x="106119" y="434752"/>
                    </a:cubicBezTo>
                    <a:cubicBezTo>
                      <a:pt x="104784" y="435169"/>
                      <a:pt x="103449" y="435670"/>
                      <a:pt x="101697" y="436087"/>
                    </a:cubicBezTo>
                    <a:cubicBezTo>
                      <a:pt x="102114" y="433000"/>
                      <a:pt x="102615" y="429914"/>
                      <a:pt x="103032" y="426327"/>
                    </a:cubicBezTo>
                    <a:cubicBezTo>
                      <a:pt x="104784" y="419653"/>
                      <a:pt x="108371" y="415232"/>
                      <a:pt x="112793" y="409476"/>
                    </a:cubicBezTo>
                    <a:cubicBezTo>
                      <a:pt x="115463" y="405972"/>
                      <a:pt x="118132" y="402385"/>
                      <a:pt x="120802" y="397547"/>
                    </a:cubicBezTo>
                    <a:cubicBezTo>
                      <a:pt x="127893" y="384700"/>
                      <a:pt x="126558" y="373605"/>
                      <a:pt x="125224" y="360758"/>
                    </a:cubicBezTo>
                    <a:lnTo>
                      <a:pt x="124807" y="359007"/>
                    </a:lnTo>
                    <a:cubicBezTo>
                      <a:pt x="124389" y="357255"/>
                      <a:pt x="124389" y="355002"/>
                      <a:pt x="124389" y="352833"/>
                    </a:cubicBezTo>
                    <a:cubicBezTo>
                      <a:pt x="123472" y="341738"/>
                      <a:pt x="122637" y="326222"/>
                      <a:pt x="111542" y="319131"/>
                    </a:cubicBezTo>
                    <a:cubicBezTo>
                      <a:pt x="105368" y="315127"/>
                      <a:pt x="99612" y="315127"/>
                      <a:pt x="95190" y="315127"/>
                    </a:cubicBezTo>
                    <a:cubicBezTo>
                      <a:pt x="90351" y="314710"/>
                      <a:pt x="87682" y="314710"/>
                      <a:pt x="84094" y="311123"/>
                    </a:cubicBezTo>
                    <a:cubicBezTo>
                      <a:pt x="79673" y="306702"/>
                      <a:pt x="77420" y="302698"/>
                      <a:pt x="75251" y="299611"/>
                    </a:cubicBezTo>
                    <a:cubicBezTo>
                      <a:pt x="72164" y="294272"/>
                      <a:pt x="69077" y="290768"/>
                      <a:pt x="65073" y="289434"/>
                    </a:cubicBezTo>
                    <a:cubicBezTo>
                      <a:pt x="66408" y="283261"/>
                      <a:pt x="68160" y="277505"/>
                      <a:pt x="70829" y="271749"/>
                    </a:cubicBezTo>
                    <a:cubicBezTo>
                      <a:pt x="73082" y="267327"/>
                      <a:pt x="75668" y="262906"/>
                      <a:pt x="78338" y="257984"/>
                    </a:cubicBezTo>
                    <a:cubicBezTo>
                      <a:pt x="85012" y="247390"/>
                      <a:pt x="92520" y="235377"/>
                      <a:pt x="91603" y="223031"/>
                    </a:cubicBezTo>
                    <a:cubicBezTo>
                      <a:pt x="91186" y="208433"/>
                      <a:pt x="77003" y="180987"/>
                      <a:pt x="65490" y="172562"/>
                    </a:cubicBezTo>
                    <a:cubicBezTo>
                      <a:pt x="58399" y="167222"/>
                      <a:pt x="51725" y="165471"/>
                      <a:pt x="46469" y="164136"/>
                    </a:cubicBezTo>
                    <a:cubicBezTo>
                      <a:pt x="39377" y="162384"/>
                      <a:pt x="34956" y="161049"/>
                      <a:pt x="30534" y="153542"/>
                    </a:cubicBezTo>
                    <a:cubicBezTo>
                      <a:pt x="23026" y="141112"/>
                      <a:pt x="15017" y="130517"/>
                      <a:pt x="6591" y="119006"/>
                    </a:cubicBezTo>
                    <a:lnTo>
                      <a:pt x="3087" y="114167"/>
                    </a:lnTo>
                    <a:cubicBezTo>
                      <a:pt x="1335" y="111915"/>
                      <a:pt x="417" y="109746"/>
                      <a:pt x="0" y="107494"/>
                    </a:cubicBezTo>
                    <a:lnTo>
                      <a:pt x="3504" y="90226"/>
                    </a:lnTo>
                    <a:cubicBezTo>
                      <a:pt x="4839" y="87556"/>
                      <a:pt x="6591" y="84887"/>
                      <a:pt x="8843" y="81383"/>
                    </a:cubicBezTo>
                    <a:lnTo>
                      <a:pt x="11930" y="76044"/>
                    </a:lnTo>
                    <a:cubicBezTo>
                      <a:pt x="13265" y="73374"/>
                      <a:pt x="15017" y="70705"/>
                      <a:pt x="16769" y="67618"/>
                    </a:cubicBezTo>
                    <a:cubicBezTo>
                      <a:pt x="20273" y="60945"/>
                      <a:pt x="23860" y="53437"/>
                      <a:pt x="28282" y="49934"/>
                    </a:cubicBezTo>
                    <a:cubicBezTo>
                      <a:pt x="29366" y="48765"/>
                      <a:pt x="32036" y="47931"/>
                      <a:pt x="34706" y="465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3275521" name="Полилиния 367"/>
              <p:cNvSpPr/>
              <p:nvPr/>
            </p:nvSpPr>
            <p:spPr bwMode="auto">
              <a:xfrm>
                <a:off x="1696126" y="4741972"/>
                <a:ext cx="595038" cy="544160"/>
              </a:xfrm>
              <a:custGeom>
                <a:avLst/>
                <a:gdLst>
                  <a:gd name="connsiteX0" fmla="*/ 665579 w 668248"/>
                  <a:gd name="connsiteY0" fmla="*/ 434343 h 611111"/>
                  <a:gd name="connsiteX1" fmla="*/ 668249 w 668248"/>
                  <a:gd name="connsiteY1" fmla="*/ 446773 h 611111"/>
                  <a:gd name="connsiteX2" fmla="*/ 662910 w 668248"/>
                  <a:gd name="connsiteY2" fmla="*/ 452529 h 611111"/>
                  <a:gd name="connsiteX3" fmla="*/ 656236 w 668248"/>
                  <a:gd name="connsiteY3" fmla="*/ 462289 h 611111"/>
                  <a:gd name="connsiteX4" fmla="*/ 633210 w 668248"/>
                  <a:gd name="connsiteY4" fmla="*/ 480474 h 611111"/>
                  <a:gd name="connsiteX5" fmla="*/ 589327 w 668248"/>
                  <a:gd name="connsiteY5" fmla="*/ 484479 h 611111"/>
                  <a:gd name="connsiteX6" fmla="*/ 538854 w 668248"/>
                  <a:gd name="connsiteY6" fmla="*/ 546043 h 611111"/>
                  <a:gd name="connsiteX7" fmla="*/ 534432 w 668248"/>
                  <a:gd name="connsiteY7" fmla="*/ 557138 h 611111"/>
                  <a:gd name="connsiteX8" fmla="*/ 482124 w 668248"/>
                  <a:gd name="connsiteY8" fmla="*/ 597430 h 611111"/>
                  <a:gd name="connsiteX9" fmla="*/ 477285 w 668248"/>
                  <a:gd name="connsiteY9" fmla="*/ 599182 h 611111"/>
                  <a:gd name="connsiteX10" fmla="*/ 454259 w 668248"/>
                  <a:gd name="connsiteY10" fmla="*/ 611111 h 611111"/>
                  <a:gd name="connsiteX11" fmla="*/ 452007 w 668248"/>
                  <a:gd name="connsiteY11" fmla="*/ 600016 h 611111"/>
                  <a:gd name="connsiteX12" fmla="*/ 443581 w 668248"/>
                  <a:gd name="connsiteY12" fmla="*/ 571653 h 611111"/>
                  <a:gd name="connsiteX13" fmla="*/ 402368 w 668248"/>
                  <a:gd name="connsiteY13" fmla="*/ 551716 h 611111"/>
                  <a:gd name="connsiteX14" fmla="*/ 382429 w 668248"/>
                  <a:gd name="connsiteY14" fmla="*/ 561476 h 611111"/>
                  <a:gd name="connsiteX15" fmla="*/ 368663 w 668248"/>
                  <a:gd name="connsiteY15" fmla="*/ 568149 h 611111"/>
                  <a:gd name="connsiteX16" fmla="*/ 351811 w 668248"/>
                  <a:gd name="connsiteY16" fmla="*/ 561976 h 611111"/>
                  <a:gd name="connsiteX17" fmla="*/ 331872 w 668248"/>
                  <a:gd name="connsiteY17" fmla="*/ 554886 h 611111"/>
                  <a:gd name="connsiteX18" fmla="*/ 316355 w 668248"/>
                  <a:gd name="connsiteY18" fmla="*/ 557555 h 611111"/>
                  <a:gd name="connsiteX19" fmla="*/ 310181 w 668248"/>
                  <a:gd name="connsiteY19" fmla="*/ 559307 h 611111"/>
                  <a:gd name="connsiteX20" fmla="*/ 300003 w 668248"/>
                  <a:gd name="connsiteY20" fmla="*/ 558890 h 611111"/>
                  <a:gd name="connsiteX21" fmla="*/ 285820 w 668248"/>
                  <a:gd name="connsiteY21" fmla="*/ 558473 h 611111"/>
                  <a:gd name="connsiteX22" fmla="*/ 266799 w 668248"/>
                  <a:gd name="connsiteY22" fmla="*/ 583249 h 611111"/>
                  <a:gd name="connsiteX23" fmla="*/ 267216 w 668248"/>
                  <a:gd name="connsiteY23" fmla="*/ 589922 h 611111"/>
                  <a:gd name="connsiteX24" fmla="*/ 251282 w 668248"/>
                  <a:gd name="connsiteY24" fmla="*/ 581080 h 611111"/>
                  <a:gd name="connsiteX25" fmla="*/ 241521 w 668248"/>
                  <a:gd name="connsiteY25" fmla="*/ 579745 h 611111"/>
                  <a:gd name="connsiteX26" fmla="*/ 231343 w 668248"/>
                  <a:gd name="connsiteY26" fmla="*/ 577076 h 611111"/>
                  <a:gd name="connsiteX27" fmla="*/ 229090 w 668248"/>
                  <a:gd name="connsiteY27" fmla="*/ 561559 h 611111"/>
                  <a:gd name="connsiteX28" fmla="*/ 214490 w 668248"/>
                  <a:gd name="connsiteY28" fmla="*/ 531444 h 611111"/>
                  <a:gd name="connsiteX29" fmla="*/ 184790 w 668248"/>
                  <a:gd name="connsiteY29" fmla="*/ 557138 h 611111"/>
                  <a:gd name="connsiteX30" fmla="*/ 178116 w 668248"/>
                  <a:gd name="connsiteY30" fmla="*/ 571737 h 611111"/>
                  <a:gd name="connsiteX31" fmla="*/ 166603 w 668248"/>
                  <a:gd name="connsiteY31" fmla="*/ 567315 h 611111"/>
                  <a:gd name="connsiteX32" fmla="*/ 143995 w 668248"/>
                  <a:gd name="connsiteY32" fmla="*/ 557555 h 611111"/>
                  <a:gd name="connsiteX33" fmla="*/ 131147 w 668248"/>
                  <a:gd name="connsiteY33" fmla="*/ 561059 h 611111"/>
                  <a:gd name="connsiteX34" fmla="*/ 121386 w 668248"/>
                  <a:gd name="connsiteY34" fmla="*/ 563311 h 611111"/>
                  <a:gd name="connsiteX35" fmla="*/ 114712 w 668248"/>
                  <a:gd name="connsiteY35" fmla="*/ 560642 h 611111"/>
                  <a:gd name="connsiteX36" fmla="*/ 94356 w 668248"/>
                  <a:gd name="connsiteY36" fmla="*/ 557555 h 611111"/>
                  <a:gd name="connsiteX37" fmla="*/ 65991 w 668248"/>
                  <a:gd name="connsiteY37" fmla="*/ 570402 h 611111"/>
                  <a:gd name="connsiteX38" fmla="*/ 53143 w 668248"/>
                  <a:gd name="connsiteY38" fmla="*/ 566898 h 611111"/>
                  <a:gd name="connsiteX39" fmla="*/ 42548 w 668248"/>
                  <a:gd name="connsiteY39" fmla="*/ 562894 h 611111"/>
                  <a:gd name="connsiteX40" fmla="*/ 39878 w 668248"/>
                  <a:gd name="connsiteY40" fmla="*/ 554886 h 611111"/>
                  <a:gd name="connsiteX41" fmla="*/ 35039 w 668248"/>
                  <a:gd name="connsiteY41" fmla="*/ 541121 h 611111"/>
                  <a:gd name="connsiteX42" fmla="*/ 30618 w 668248"/>
                  <a:gd name="connsiteY42" fmla="*/ 536283 h 611111"/>
                  <a:gd name="connsiteX43" fmla="*/ 27948 w 668248"/>
                  <a:gd name="connsiteY43" fmla="*/ 534031 h 611111"/>
                  <a:gd name="connsiteX44" fmla="*/ 25278 w 668248"/>
                  <a:gd name="connsiteY44" fmla="*/ 522102 h 611111"/>
                  <a:gd name="connsiteX45" fmla="*/ 29283 w 668248"/>
                  <a:gd name="connsiteY45" fmla="*/ 480892 h 611111"/>
                  <a:gd name="connsiteX46" fmla="*/ 30618 w 668248"/>
                  <a:gd name="connsiteY46" fmla="*/ 476053 h 611111"/>
                  <a:gd name="connsiteX47" fmla="*/ 33704 w 668248"/>
                  <a:gd name="connsiteY47" fmla="*/ 457451 h 611111"/>
                  <a:gd name="connsiteX48" fmla="*/ 14183 w 668248"/>
                  <a:gd name="connsiteY48" fmla="*/ 419327 h 611111"/>
                  <a:gd name="connsiteX49" fmla="*/ 1752 w 668248"/>
                  <a:gd name="connsiteY49" fmla="*/ 403394 h 611111"/>
                  <a:gd name="connsiteX50" fmla="*/ 0 w 668248"/>
                  <a:gd name="connsiteY50" fmla="*/ 399891 h 611111"/>
                  <a:gd name="connsiteX51" fmla="*/ 3087 w 668248"/>
                  <a:gd name="connsiteY51" fmla="*/ 397221 h 611111"/>
                  <a:gd name="connsiteX52" fmla="*/ 34122 w 668248"/>
                  <a:gd name="connsiteY52" fmla="*/ 377284 h 611111"/>
                  <a:gd name="connsiteX53" fmla="*/ 51808 w 668248"/>
                  <a:gd name="connsiteY53" fmla="*/ 370193 h 611111"/>
                  <a:gd name="connsiteX54" fmla="*/ 62904 w 668248"/>
                  <a:gd name="connsiteY54" fmla="*/ 375031 h 611111"/>
                  <a:gd name="connsiteX55" fmla="*/ 93438 w 668248"/>
                  <a:gd name="connsiteY55" fmla="*/ 383457 h 611111"/>
                  <a:gd name="connsiteX56" fmla="*/ 119134 w 668248"/>
                  <a:gd name="connsiteY56" fmla="*/ 369692 h 611111"/>
                  <a:gd name="connsiteX57" fmla="*/ 133733 w 668248"/>
                  <a:gd name="connsiteY57" fmla="*/ 347586 h 611111"/>
                  <a:gd name="connsiteX58" fmla="*/ 141742 w 668248"/>
                  <a:gd name="connsiteY58" fmla="*/ 319640 h 611111"/>
                  <a:gd name="connsiteX59" fmla="*/ 136904 w 668248"/>
                  <a:gd name="connsiteY59" fmla="*/ 304124 h 611111"/>
                  <a:gd name="connsiteX60" fmla="*/ 133400 w 668248"/>
                  <a:gd name="connsiteY60" fmla="*/ 293529 h 611111"/>
                  <a:gd name="connsiteX61" fmla="*/ 132982 w 668248"/>
                  <a:gd name="connsiteY61" fmla="*/ 288691 h 611111"/>
                  <a:gd name="connsiteX62" fmla="*/ 132065 w 668248"/>
                  <a:gd name="connsiteY62" fmla="*/ 281600 h 611111"/>
                  <a:gd name="connsiteX63" fmla="*/ 127226 w 668248"/>
                  <a:gd name="connsiteY63" fmla="*/ 267836 h 611111"/>
                  <a:gd name="connsiteX64" fmla="*/ 125474 w 668248"/>
                  <a:gd name="connsiteY64" fmla="*/ 264332 h 611111"/>
                  <a:gd name="connsiteX65" fmla="*/ 123722 w 668248"/>
                  <a:gd name="connsiteY65" fmla="*/ 252820 h 611111"/>
                  <a:gd name="connsiteX66" fmla="*/ 131230 w 668248"/>
                  <a:gd name="connsiteY66" fmla="*/ 246146 h 611111"/>
                  <a:gd name="connsiteX67" fmla="*/ 135235 w 668248"/>
                  <a:gd name="connsiteY67" fmla="*/ 243894 h 611111"/>
                  <a:gd name="connsiteX68" fmla="*/ 146748 w 668248"/>
                  <a:gd name="connsiteY68" fmla="*/ 233717 h 611111"/>
                  <a:gd name="connsiteX69" fmla="*/ 152504 w 668248"/>
                  <a:gd name="connsiteY69" fmla="*/ 227961 h 611111"/>
                  <a:gd name="connsiteX70" fmla="*/ 160513 w 668248"/>
                  <a:gd name="connsiteY70" fmla="*/ 222205 h 611111"/>
                  <a:gd name="connsiteX71" fmla="*/ 172944 w 668248"/>
                  <a:gd name="connsiteY71" fmla="*/ 212027 h 611111"/>
                  <a:gd name="connsiteX72" fmla="*/ 180452 w 668248"/>
                  <a:gd name="connsiteY72" fmla="*/ 200098 h 611111"/>
                  <a:gd name="connsiteX73" fmla="*/ 181787 w 668248"/>
                  <a:gd name="connsiteY73" fmla="*/ 189003 h 611111"/>
                  <a:gd name="connsiteX74" fmla="*/ 179117 w 668248"/>
                  <a:gd name="connsiteY74" fmla="*/ 163310 h 611111"/>
                  <a:gd name="connsiteX75" fmla="*/ 174279 w 668248"/>
                  <a:gd name="connsiteY75" fmla="*/ 147377 h 611111"/>
                  <a:gd name="connsiteX76" fmla="*/ 169857 w 668248"/>
                  <a:gd name="connsiteY76" fmla="*/ 140286 h 611111"/>
                  <a:gd name="connsiteX77" fmla="*/ 167605 w 668248"/>
                  <a:gd name="connsiteY77" fmla="*/ 136282 h 611111"/>
                  <a:gd name="connsiteX78" fmla="*/ 162766 w 668248"/>
                  <a:gd name="connsiteY78" fmla="*/ 112340 h 611111"/>
                  <a:gd name="connsiteX79" fmla="*/ 164101 w 668248"/>
                  <a:gd name="connsiteY79" fmla="*/ 105249 h 611111"/>
                  <a:gd name="connsiteX80" fmla="*/ 165435 w 668248"/>
                  <a:gd name="connsiteY80" fmla="*/ 92820 h 611111"/>
                  <a:gd name="connsiteX81" fmla="*/ 165435 w 668248"/>
                  <a:gd name="connsiteY81" fmla="*/ 92402 h 611111"/>
                  <a:gd name="connsiteX82" fmla="*/ 168939 w 668248"/>
                  <a:gd name="connsiteY82" fmla="*/ 90150 h 611111"/>
                  <a:gd name="connsiteX83" fmla="*/ 179535 w 668248"/>
                  <a:gd name="connsiteY83" fmla="*/ 83476 h 611111"/>
                  <a:gd name="connsiteX84" fmla="*/ 195469 w 668248"/>
                  <a:gd name="connsiteY84" fmla="*/ 68878 h 611111"/>
                  <a:gd name="connsiteX85" fmla="*/ 198556 w 668248"/>
                  <a:gd name="connsiteY85" fmla="*/ 64457 h 611111"/>
                  <a:gd name="connsiteX86" fmla="*/ 205230 w 668248"/>
                  <a:gd name="connsiteY86" fmla="*/ 57783 h 611111"/>
                  <a:gd name="connsiteX87" fmla="*/ 213656 w 668248"/>
                  <a:gd name="connsiteY87" fmla="*/ 48940 h 611111"/>
                  <a:gd name="connsiteX88" fmla="*/ 219830 w 668248"/>
                  <a:gd name="connsiteY88" fmla="*/ 25916 h 611111"/>
                  <a:gd name="connsiteX89" fmla="*/ 230008 w 668248"/>
                  <a:gd name="connsiteY89" fmla="*/ 9065 h 611111"/>
                  <a:gd name="connsiteX90" fmla="*/ 248195 w 668248"/>
                  <a:gd name="connsiteY90" fmla="*/ 9065 h 611111"/>
                  <a:gd name="connsiteX91" fmla="*/ 258790 w 668248"/>
                  <a:gd name="connsiteY91" fmla="*/ 10400 h 611111"/>
                  <a:gd name="connsiteX92" fmla="*/ 286238 w 668248"/>
                  <a:gd name="connsiteY92" fmla="*/ 5061 h 611111"/>
                  <a:gd name="connsiteX93" fmla="*/ 292912 w 668248"/>
                  <a:gd name="connsiteY93" fmla="*/ 2392 h 611111"/>
                  <a:gd name="connsiteX94" fmla="*/ 304842 w 668248"/>
                  <a:gd name="connsiteY94" fmla="*/ 640 h 611111"/>
                  <a:gd name="connsiteX95" fmla="*/ 308346 w 668248"/>
                  <a:gd name="connsiteY95" fmla="*/ 7731 h 611111"/>
                  <a:gd name="connsiteX96" fmla="*/ 316355 w 668248"/>
                  <a:gd name="connsiteY96" fmla="*/ 20994 h 611111"/>
                  <a:gd name="connsiteX97" fmla="*/ 334041 w 668248"/>
                  <a:gd name="connsiteY97" fmla="*/ 29003 h 611111"/>
                  <a:gd name="connsiteX98" fmla="*/ 341549 w 668248"/>
                  <a:gd name="connsiteY98" fmla="*/ 31255 h 611111"/>
                  <a:gd name="connsiteX99" fmla="*/ 359236 w 668248"/>
                  <a:gd name="connsiteY99" fmla="*/ 40598 h 611111"/>
                  <a:gd name="connsiteX100" fmla="*/ 369414 w 668248"/>
                  <a:gd name="connsiteY100" fmla="*/ 46354 h 611111"/>
                  <a:gd name="connsiteX101" fmla="*/ 374753 w 668248"/>
                  <a:gd name="connsiteY101" fmla="*/ 49858 h 611111"/>
                  <a:gd name="connsiteX102" fmla="*/ 383597 w 668248"/>
                  <a:gd name="connsiteY102" fmla="*/ 60953 h 611111"/>
                  <a:gd name="connsiteX103" fmla="*/ 388936 w 668248"/>
                  <a:gd name="connsiteY103" fmla="*/ 78638 h 611111"/>
                  <a:gd name="connsiteX104" fmla="*/ 393775 w 668248"/>
                  <a:gd name="connsiteY104" fmla="*/ 94571 h 611111"/>
                  <a:gd name="connsiteX105" fmla="*/ 429231 w 668248"/>
                  <a:gd name="connsiteY105" fmla="*/ 124686 h 611111"/>
                  <a:gd name="connsiteX106" fmla="*/ 447418 w 668248"/>
                  <a:gd name="connsiteY106" fmla="*/ 130025 h 611111"/>
                  <a:gd name="connsiteX107" fmla="*/ 461184 w 668248"/>
                  <a:gd name="connsiteY107" fmla="*/ 138450 h 611111"/>
                  <a:gd name="connsiteX108" fmla="*/ 470944 w 668248"/>
                  <a:gd name="connsiteY108" fmla="*/ 144624 h 611111"/>
                  <a:gd name="connsiteX109" fmla="*/ 491301 w 668248"/>
                  <a:gd name="connsiteY109" fmla="*/ 151297 h 611111"/>
                  <a:gd name="connsiteX110" fmla="*/ 501896 w 668248"/>
                  <a:gd name="connsiteY110" fmla="*/ 153967 h 611111"/>
                  <a:gd name="connsiteX111" fmla="*/ 522753 w 668248"/>
                  <a:gd name="connsiteY111" fmla="*/ 176991 h 611111"/>
                  <a:gd name="connsiteX112" fmla="*/ 532931 w 668248"/>
                  <a:gd name="connsiteY112" fmla="*/ 192507 h 611111"/>
                  <a:gd name="connsiteX113" fmla="*/ 541357 w 668248"/>
                  <a:gd name="connsiteY113" fmla="*/ 242142 h 611111"/>
                  <a:gd name="connsiteX114" fmla="*/ 532931 w 668248"/>
                  <a:gd name="connsiteY114" fmla="*/ 253237 h 611111"/>
                  <a:gd name="connsiteX115" fmla="*/ 520083 w 668248"/>
                  <a:gd name="connsiteY115" fmla="*/ 286439 h 611111"/>
                  <a:gd name="connsiteX116" fmla="*/ 542191 w 668248"/>
                  <a:gd name="connsiteY116" fmla="*/ 313467 h 611111"/>
                  <a:gd name="connsiteX117" fmla="*/ 564299 w 668248"/>
                  <a:gd name="connsiteY117" fmla="*/ 305959 h 611111"/>
                  <a:gd name="connsiteX118" fmla="*/ 572308 w 668248"/>
                  <a:gd name="connsiteY118" fmla="*/ 301120 h 611111"/>
                  <a:gd name="connsiteX119" fmla="*/ 578065 w 668248"/>
                  <a:gd name="connsiteY119" fmla="*/ 302872 h 611111"/>
                  <a:gd name="connsiteX120" fmla="*/ 578982 w 668248"/>
                  <a:gd name="connsiteY120" fmla="*/ 324144 h 611111"/>
                  <a:gd name="connsiteX121" fmla="*/ 579900 w 668248"/>
                  <a:gd name="connsiteY121" fmla="*/ 346251 h 611111"/>
                  <a:gd name="connsiteX122" fmla="*/ 608682 w 668248"/>
                  <a:gd name="connsiteY122" fmla="*/ 370193 h 611111"/>
                  <a:gd name="connsiteX123" fmla="*/ 625534 w 668248"/>
                  <a:gd name="connsiteY123" fmla="*/ 365354 h 611111"/>
                  <a:gd name="connsiteX124" fmla="*/ 633043 w 668248"/>
                  <a:gd name="connsiteY124" fmla="*/ 362268 h 611111"/>
                  <a:gd name="connsiteX125" fmla="*/ 641886 w 668248"/>
                  <a:gd name="connsiteY125" fmla="*/ 364520 h 611111"/>
                  <a:gd name="connsiteX126" fmla="*/ 646308 w 668248"/>
                  <a:gd name="connsiteY126" fmla="*/ 383123 h 611111"/>
                  <a:gd name="connsiteX127" fmla="*/ 652064 w 668248"/>
                  <a:gd name="connsiteY127" fmla="*/ 407482 h 611111"/>
                  <a:gd name="connsiteX128" fmla="*/ 658238 w 668248"/>
                  <a:gd name="connsiteY128" fmla="*/ 412821 h 611111"/>
                  <a:gd name="connsiteX129" fmla="*/ 659573 w 668248"/>
                  <a:gd name="connsiteY129" fmla="*/ 413738 h 611111"/>
                  <a:gd name="connsiteX130" fmla="*/ 662242 w 668248"/>
                  <a:gd name="connsiteY130" fmla="*/ 426585 h 611111"/>
                  <a:gd name="connsiteX131" fmla="*/ 665579 w 668248"/>
                  <a:gd name="connsiteY131" fmla="*/ 434343 h 611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</a:cxnLst>
                <a:rect l="l" t="t" r="r" b="b"/>
                <a:pathLst>
                  <a:path w="668248" h="611111" extrusionOk="0">
                    <a:moveTo>
                      <a:pt x="665579" y="434343"/>
                    </a:moveTo>
                    <a:cubicBezTo>
                      <a:pt x="666497" y="438347"/>
                      <a:pt x="666914" y="442769"/>
                      <a:pt x="668249" y="446773"/>
                    </a:cubicBezTo>
                    <a:cubicBezTo>
                      <a:pt x="665996" y="448525"/>
                      <a:pt x="664745" y="450276"/>
                      <a:pt x="662910" y="452529"/>
                    </a:cubicBezTo>
                    <a:cubicBezTo>
                      <a:pt x="660240" y="455615"/>
                      <a:pt x="658071" y="458702"/>
                      <a:pt x="656236" y="462289"/>
                    </a:cubicBezTo>
                    <a:cubicBezTo>
                      <a:pt x="649561" y="471632"/>
                      <a:pt x="644723" y="478222"/>
                      <a:pt x="633210" y="480474"/>
                    </a:cubicBezTo>
                    <a:cubicBezTo>
                      <a:pt x="619945" y="483144"/>
                      <a:pt x="605262" y="479557"/>
                      <a:pt x="589327" y="484479"/>
                    </a:cubicBezTo>
                    <a:cubicBezTo>
                      <a:pt x="558292" y="494656"/>
                      <a:pt x="548114" y="520767"/>
                      <a:pt x="538854" y="546043"/>
                    </a:cubicBezTo>
                    <a:cubicBezTo>
                      <a:pt x="537519" y="549547"/>
                      <a:pt x="536184" y="553134"/>
                      <a:pt x="534432" y="557138"/>
                    </a:cubicBezTo>
                    <a:cubicBezTo>
                      <a:pt x="524671" y="580579"/>
                      <a:pt x="506067" y="588170"/>
                      <a:pt x="482124" y="597430"/>
                    </a:cubicBezTo>
                    <a:lnTo>
                      <a:pt x="477285" y="599182"/>
                    </a:lnTo>
                    <a:cubicBezTo>
                      <a:pt x="468442" y="602686"/>
                      <a:pt x="460933" y="606273"/>
                      <a:pt x="454259" y="611111"/>
                    </a:cubicBezTo>
                    <a:cubicBezTo>
                      <a:pt x="453341" y="607608"/>
                      <a:pt x="452924" y="604020"/>
                      <a:pt x="452007" y="600016"/>
                    </a:cubicBezTo>
                    <a:cubicBezTo>
                      <a:pt x="450672" y="590256"/>
                      <a:pt x="449337" y="580496"/>
                      <a:pt x="443581" y="571653"/>
                    </a:cubicBezTo>
                    <a:cubicBezTo>
                      <a:pt x="435154" y="558807"/>
                      <a:pt x="417468" y="549964"/>
                      <a:pt x="402368" y="551716"/>
                    </a:cubicBezTo>
                    <a:cubicBezTo>
                      <a:pt x="393524" y="552633"/>
                      <a:pt x="387267" y="557889"/>
                      <a:pt x="382429" y="561476"/>
                    </a:cubicBezTo>
                    <a:cubicBezTo>
                      <a:pt x="377089" y="565897"/>
                      <a:pt x="374003" y="568149"/>
                      <a:pt x="368663" y="568149"/>
                    </a:cubicBezTo>
                    <a:cubicBezTo>
                      <a:pt x="362907" y="568149"/>
                      <a:pt x="357568" y="565480"/>
                      <a:pt x="351811" y="561976"/>
                    </a:cubicBezTo>
                    <a:cubicBezTo>
                      <a:pt x="345637" y="558890"/>
                      <a:pt x="339380" y="555303"/>
                      <a:pt x="331872" y="554886"/>
                    </a:cubicBezTo>
                    <a:cubicBezTo>
                      <a:pt x="325698" y="553968"/>
                      <a:pt x="320776" y="555803"/>
                      <a:pt x="316355" y="557555"/>
                    </a:cubicBezTo>
                    <a:cubicBezTo>
                      <a:pt x="314102" y="558473"/>
                      <a:pt x="312350" y="558890"/>
                      <a:pt x="310181" y="559307"/>
                    </a:cubicBezTo>
                    <a:cubicBezTo>
                      <a:pt x="307094" y="559724"/>
                      <a:pt x="303507" y="559307"/>
                      <a:pt x="300003" y="558890"/>
                    </a:cubicBezTo>
                    <a:cubicBezTo>
                      <a:pt x="295581" y="558473"/>
                      <a:pt x="290659" y="557555"/>
                      <a:pt x="285820" y="558473"/>
                    </a:cubicBezTo>
                    <a:cubicBezTo>
                      <a:pt x="264964" y="561976"/>
                      <a:pt x="265881" y="574406"/>
                      <a:pt x="266799" y="583249"/>
                    </a:cubicBezTo>
                    <a:cubicBezTo>
                      <a:pt x="267216" y="585501"/>
                      <a:pt x="267216" y="587253"/>
                      <a:pt x="267216" y="589922"/>
                    </a:cubicBezTo>
                    <a:cubicBezTo>
                      <a:pt x="263212" y="586419"/>
                      <a:pt x="258373" y="583249"/>
                      <a:pt x="251282" y="581080"/>
                    </a:cubicBezTo>
                    <a:cubicBezTo>
                      <a:pt x="248195" y="580162"/>
                      <a:pt x="244608" y="580162"/>
                      <a:pt x="241521" y="579745"/>
                    </a:cubicBezTo>
                    <a:cubicBezTo>
                      <a:pt x="236682" y="579328"/>
                      <a:pt x="233512" y="579328"/>
                      <a:pt x="231343" y="577076"/>
                    </a:cubicBezTo>
                    <a:cubicBezTo>
                      <a:pt x="228673" y="574406"/>
                      <a:pt x="228673" y="567732"/>
                      <a:pt x="229090" y="561559"/>
                    </a:cubicBezTo>
                    <a:cubicBezTo>
                      <a:pt x="229507" y="551382"/>
                      <a:pt x="229507" y="535866"/>
                      <a:pt x="214490" y="531444"/>
                    </a:cubicBezTo>
                    <a:cubicBezTo>
                      <a:pt x="194969" y="525271"/>
                      <a:pt x="188795" y="545209"/>
                      <a:pt x="184790" y="557138"/>
                    </a:cubicBezTo>
                    <a:cubicBezTo>
                      <a:pt x="183456" y="562477"/>
                      <a:pt x="180369" y="570903"/>
                      <a:pt x="178116" y="571737"/>
                    </a:cubicBezTo>
                    <a:cubicBezTo>
                      <a:pt x="174612" y="573488"/>
                      <a:pt x="173278" y="573071"/>
                      <a:pt x="166603" y="567315"/>
                    </a:cubicBezTo>
                    <a:cubicBezTo>
                      <a:pt x="161765" y="562894"/>
                      <a:pt x="154173" y="557138"/>
                      <a:pt x="143995" y="557555"/>
                    </a:cubicBezTo>
                    <a:cubicBezTo>
                      <a:pt x="138655" y="557972"/>
                      <a:pt x="134234" y="559807"/>
                      <a:pt x="131147" y="561059"/>
                    </a:cubicBezTo>
                    <a:cubicBezTo>
                      <a:pt x="127643" y="562394"/>
                      <a:pt x="124973" y="563728"/>
                      <a:pt x="121386" y="563311"/>
                    </a:cubicBezTo>
                    <a:cubicBezTo>
                      <a:pt x="118716" y="562894"/>
                      <a:pt x="116964" y="561976"/>
                      <a:pt x="114712" y="560642"/>
                    </a:cubicBezTo>
                    <a:cubicBezTo>
                      <a:pt x="110290" y="558390"/>
                      <a:pt x="104534" y="555303"/>
                      <a:pt x="94356" y="557555"/>
                    </a:cubicBezTo>
                    <a:cubicBezTo>
                      <a:pt x="85012" y="560225"/>
                      <a:pt x="75334" y="564646"/>
                      <a:pt x="65991" y="570402"/>
                    </a:cubicBezTo>
                    <a:cubicBezTo>
                      <a:pt x="61569" y="568149"/>
                      <a:pt x="57147" y="567315"/>
                      <a:pt x="53143" y="566898"/>
                    </a:cubicBezTo>
                    <a:cubicBezTo>
                      <a:pt x="48304" y="565980"/>
                      <a:pt x="44300" y="565563"/>
                      <a:pt x="42548" y="562894"/>
                    </a:cubicBezTo>
                    <a:cubicBezTo>
                      <a:pt x="41213" y="561142"/>
                      <a:pt x="40295" y="558056"/>
                      <a:pt x="39878" y="554886"/>
                    </a:cubicBezTo>
                    <a:cubicBezTo>
                      <a:pt x="38960" y="550465"/>
                      <a:pt x="38543" y="545125"/>
                      <a:pt x="35039" y="541121"/>
                    </a:cubicBezTo>
                    <a:cubicBezTo>
                      <a:pt x="33704" y="539369"/>
                      <a:pt x="32370" y="538035"/>
                      <a:pt x="30618" y="536283"/>
                    </a:cubicBezTo>
                    <a:cubicBezTo>
                      <a:pt x="29700" y="535365"/>
                      <a:pt x="28866" y="534948"/>
                      <a:pt x="27948" y="534031"/>
                    </a:cubicBezTo>
                    <a:cubicBezTo>
                      <a:pt x="25696" y="531361"/>
                      <a:pt x="25278" y="526940"/>
                      <a:pt x="25278" y="522102"/>
                    </a:cubicBezTo>
                    <a:cubicBezTo>
                      <a:pt x="24861" y="507920"/>
                      <a:pt x="26196" y="494156"/>
                      <a:pt x="29283" y="480892"/>
                    </a:cubicBezTo>
                    <a:lnTo>
                      <a:pt x="30618" y="476053"/>
                    </a:lnTo>
                    <a:cubicBezTo>
                      <a:pt x="31953" y="470297"/>
                      <a:pt x="33704" y="464124"/>
                      <a:pt x="33704" y="457451"/>
                    </a:cubicBezTo>
                    <a:cubicBezTo>
                      <a:pt x="34622" y="439765"/>
                      <a:pt x="24861" y="430005"/>
                      <a:pt x="14183" y="419327"/>
                    </a:cubicBezTo>
                    <a:cubicBezTo>
                      <a:pt x="9344" y="414489"/>
                      <a:pt x="5339" y="409150"/>
                      <a:pt x="1752" y="403394"/>
                    </a:cubicBezTo>
                    <a:cubicBezTo>
                      <a:pt x="0" y="400308"/>
                      <a:pt x="0" y="399891"/>
                      <a:pt x="0" y="399891"/>
                    </a:cubicBezTo>
                    <a:cubicBezTo>
                      <a:pt x="417" y="398973"/>
                      <a:pt x="2253" y="397638"/>
                      <a:pt x="3087" y="397221"/>
                    </a:cubicBezTo>
                    <a:lnTo>
                      <a:pt x="34122" y="377284"/>
                    </a:lnTo>
                    <a:cubicBezTo>
                      <a:pt x="40295" y="373279"/>
                      <a:pt x="46552" y="369776"/>
                      <a:pt x="51808" y="370193"/>
                    </a:cubicBezTo>
                    <a:cubicBezTo>
                      <a:pt x="54895" y="370610"/>
                      <a:pt x="57982" y="372445"/>
                      <a:pt x="62904" y="375031"/>
                    </a:cubicBezTo>
                    <a:cubicBezTo>
                      <a:pt x="70913" y="379453"/>
                      <a:pt x="81508" y="384791"/>
                      <a:pt x="93438" y="383457"/>
                    </a:cubicBezTo>
                    <a:cubicBezTo>
                      <a:pt x="102281" y="382539"/>
                      <a:pt x="111625" y="377701"/>
                      <a:pt x="119134" y="369692"/>
                    </a:cubicBezTo>
                    <a:cubicBezTo>
                      <a:pt x="125808" y="362601"/>
                      <a:pt x="130229" y="354593"/>
                      <a:pt x="133733" y="347586"/>
                    </a:cubicBezTo>
                    <a:cubicBezTo>
                      <a:pt x="138155" y="339577"/>
                      <a:pt x="142576" y="329900"/>
                      <a:pt x="141742" y="319640"/>
                    </a:cubicBezTo>
                    <a:cubicBezTo>
                      <a:pt x="140825" y="313884"/>
                      <a:pt x="138655" y="309045"/>
                      <a:pt x="136904" y="304124"/>
                    </a:cubicBezTo>
                    <a:cubicBezTo>
                      <a:pt x="135569" y="300620"/>
                      <a:pt x="133817" y="297033"/>
                      <a:pt x="133400" y="293529"/>
                    </a:cubicBezTo>
                    <a:cubicBezTo>
                      <a:pt x="132982" y="292195"/>
                      <a:pt x="132982" y="290443"/>
                      <a:pt x="132982" y="288691"/>
                    </a:cubicBezTo>
                    <a:cubicBezTo>
                      <a:pt x="132565" y="286439"/>
                      <a:pt x="132565" y="283853"/>
                      <a:pt x="132065" y="281600"/>
                    </a:cubicBezTo>
                    <a:cubicBezTo>
                      <a:pt x="131147" y="276762"/>
                      <a:pt x="129395" y="271840"/>
                      <a:pt x="127226" y="267836"/>
                    </a:cubicBezTo>
                    <a:lnTo>
                      <a:pt x="125474" y="264332"/>
                    </a:lnTo>
                    <a:cubicBezTo>
                      <a:pt x="123221" y="259494"/>
                      <a:pt x="122804" y="255490"/>
                      <a:pt x="123722" y="252820"/>
                    </a:cubicBezTo>
                    <a:cubicBezTo>
                      <a:pt x="124640" y="249734"/>
                      <a:pt x="126809" y="248399"/>
                      <a:pt x="131230" y="246146"/>
                    </a:cubicBezTo>
                    <a:cubicBezTo>
                      <a:pt x="132565" y="245229"/>
                      <a:pt x="133900" y="244812"/>
                      <a:pt x="135235" y="243894"/>
                    </a:cubicBezTo>
                    <a:cubicBezTo>
                      <a:pt x="139657" y="241225"/>
                      <a:pt x="143244" y="237221"/>
                      <a:pt x="146748" y="233717"/>
                    </a:cubicBezTo>
                    <a:cubicBezTo>
                      <a:pt x="149000" y="231464"/>
                      <a:pt x="150252" y="229713"/>
                      <a:pt x="152504" y="227961"/>
                    </a:cubicBezTo>
                    <a:cubicBezTo>
                      <a:pt x="155174" y="225708"/>
                      <a:pt x="157844" y="224457"/>
                      <a:pt x="160513" y="222205"/>
                    </a:cubicBezTo>
                    <a:cubicBezTo>
                      <a:pt x="164935" y="219118"/>
                      <a:pt x="168939" y="216031"/>
                      <a:pt x="172944" y="212027"/>
                    </a:cubicBezTo>
                    <a:cubicBezTo>
                      <a:pt x="176448" y="208524"/>
                      <a:pt x="179117" y="204520"/>
                      <a:pt x="180452" y="200098"/>
                    </a:cubicBezTo>
                    <a:cubicBezTo>
                      <a:pt x="181787" y="196595"/>
                      <a:pt x="181787" y="192090"/>
                      <a:pt x="181787" y="189003"/>
                    </a:cubicBezTo>
                    <a:cubicBezTo>
                      <a:pt x="181370" y="180578"/>
                      <a:pt x="180452" y="171735"/>
                      <a:pt x="179117" y="163310"/>
                    </a:cubicBezTo>
                    <a:cubicBezTo>
                      <a:pt x="178200" y="158471"/>
                      <a:pt x="176865" y="152715"/>
                      <a:pt x="174279" y="147377"/>
                    </a:cubicBezTo>
                    <a:cubicBezTo>
                      <a:pt x="172944" y="145124"/>
                      <a:pt x="171609" y="142538"/>
                      <a:pt x="169857" y="140286"/>
                    </a:cubicBezTo>
                    <a:cubicBezTo>
                      <a:pt x="168939" y="138951"/>
                      <a:pt x="168522" y="137616"/>
                      <a:pt x="167605" y="136282"/>
                    </a:cubicBezTo>
                    <a:cubicBezTo>
                      <a:pt x="163183" y="129191"/>
                      <a:pt x="161431" y="120348"/>
                      <a:pt x="162766" y="112340"/>
                    </a:cubicBezTo>
                    <a:cubicBezTo>
                      <a:pt x="163183" y="110087"/>
                      <a:pt x="163684" y="107502"/>
                      <a:pt x="164101" y="105249"/>
                    </a:cubicBezTo>
                    <a:cubicBezTo>
                      <a:pt x="165018" y="101245"/>
                      <a:pt x="165435" y="96824"/>
                      <a:pt x="165435" y="92820"/>
                    </a:cubicBezTo>
                    <a:cubicBezTo>
                      <a:pt x="165435" y="92402"/>
                      <a:pt x="165435" y="92402"/>
                      <a:pt x="165435" y="92402"/>
                    </a:cubicBezTo>
                    <a:cubicBezTo>
                      <a:pt x="166770" y="91485"/>
                      <a:pt x="167688" y="91068"/>
                      <a:pt x="168939" y="90150"/>
                    </a:cubicBezTo>
                    <a:cubicBezTo>
                      <a:pt x="172443" y="87481"/>
                      <a:pt x="176031" y="85312"/>
                      <a:pt x="179535" y="83476"/>
                    </a:cubicBezTo>
                    <a:cubicBezTo>
                      <a:pt x="188878" y="78638"/>
                      <a:pt x="191965" y="74133"/>
                      <a:pt x="195469" y="68878"/>
                    </a:cubicBezTo>
                    <a:lnTo>
                      <a:pt x="198556" y="64457"/>
                    </a:lnTo>
                    <a:cubicBezTo>
                      <a:pt x="200308" y="62204"/>
                      <a:pt x="202978" y="60035"/>
                      <a:pt x="205230" y="57783"/>
                    </a:cubicBezTo>
                    <a:cubicBezTo>
                      <a:pt x="208317" y="55113"/>
                      <a:pt x="211404" y="52027"/>
                      <a:pt x="213656" y="48940"/>
                    </a:cubicBezTo>
                    <a:cubicBezTo>
                      <a:pt x="218995" y="40932"/>
                      <a:pt x="219413" y="32590"/>
                      <a:pt x="219830" y="25916"/>
                    </a:cubicBezTo>
                    <a:cubicBezTo>
                      <a:pt x="220247" y="16156"/>
                      <a:pt x="220747" y="12152"/>
                      <a:pt x="230008" y="9065"/>
                    </a:cubicBezTo>
                    <a:cubicBezTo>
                      <a:pt x="235347" y="7314"/>
                      <a:pt x="241521" y="8148"/>
                      <a:pt x="248195" y="9065"/>
                    </a:cubicBezTo>
                    <a:cubicBezTo>
                      <a:pt x="251699" y="9483"/>
                      <a:pt x="255286" y="9983"/>
                      <a:pt x="258790" y="10400"/>
                    </a:cubicBezTo>
                    <a:cubicBezTo>
                      <a:pt x="269886" y="10817"/>
                      <a:pt x="277394" y="8148"/>
                      <a:pt x="286238" y="5061"/>
                    </a:cubicBezTo>
                    <a:lnTo>
                      <a:pt x="292912" y="2392"/>
                    </a:lnTo>
                    <a:cubicBezTo>
                      <a:pt x="298668" y="139"/>
                      <a:pt x="302673" y="-695"/>
                      <a:pt x="304842" y="640"/>
                    </a:cubicBezTo>
                    <a:cubicBezTo>
                      <a:pt x="306176" y="1975"/>
                      <a:pt x="307511" y="4143"/>
                      <a:pt x="308346" y="7731"/>
                    </a:cubicBezTo>
                    <a:cubicBezTo>
                      <a:pt x="309680" y="11735"/>
                      <a:pt x="311850" y="17074"/>
                      <a:pt x="316355" y="20994"/>
                    </a:cubicBezTo>
                    <a:cubicBezTo>
                      <a:pt x="321694" y="25416"/>
                      <a:pt x="328285" y="27167"/>
                      <a:pt x="334041" y="29003"/>
                    </a:cubicBezTo>
                    <a:cubicBezTo>
                      <a:pt x="336711" y="29921"/>
                      <a:pt x="339380" y="30338"/>
                      <a:pt x="341549" y="31255"/>
                    </a:cubicBezTo>
                    <a:cubicBezTo>
                      <a:pt x="347723" y="33925"/>
                      <a:pt x="353062" y="37011"/>
                      <a:pt x="359236" y="40598"/>
                    </a:cubicBezTo>
                    <a:cubicBezTo>
                      <a:pt x="362323" y="42851"/>
                      <a:pt x="365910" y="44602"/>
                      <a:pt x="369414" y="46354"/>
                    </a:cubicBezTo>
                    <a:cubicBezTo>
                      <a:pt x="371667" y="47272"/>
                      <a:pt x="373419" y="48607"/>
                      <a:pt x="374753" y="49858"/>
                    </a:cubicBezTo>
                    <a:cubicBezTo>
                      <a:pt x="378758" y="52944"/>
                      <a:pt x="381428" y="56949"/>
                      <a:pt x="383597" y="60953"/>
                    </a:cubicBezTo>
                    <a:cubicBezTo>
                      <a:pt x="385849" y="66292"/>
                      <a:pt x="387101" y="72048"/>
                      <a:pt x="388936" y="78638"/>
                    </a:cubicBezTo>
                    <a:cubicBezTo>
                      <a:pt x="390271" y="83476"/>
                      <a:pt x="391606" y="89232"/>
                      <a:pt x="393775" y="94571"/>
                    </a:cubicBezTo>
                    <a:cubicBezTo>
                      <a:pt x="401784" y="118513"/>
                      <a:pt x="415049" y="121600"/>
                      <a:pt x="429231" y="124686"/>
                    </a:cubicBezTo>
                    <a:cubicBezTo>
                      <a:pt x="434988" y="126021"/>
                      <a:pt x="440744" y="127356"/>
                      <a:pt x="447418" y="130025"/>
                    </a:cubicBezTo>
                    <a:cubicBezTo>
                      <a:pt x="451840" y="132277"/>
                      <a:pt x="456261" y="134863"/>
                      <a:pt x="461184" y="138450"/>
                    </a:cubicBezTo>
                    <a:cubicBezTo>
                      <a:pt x="464270" y="140703"/>
                      <a:pt x="467858" y="142872"/>
                      <a:pt x="470944" y="144624"/>
                    </a:cubicBezTo>
                    <a:cubicBezTo>
                      <a:pt x="478453" y="149045"/>
                      <a:pt x="485127" y="149963"/>
                      <a:pt x="491301" y="151297"/>
                    </a:cubicBezTo>
                    <a:cubicBezTo>
                      <a:pt x="494805" y="152215"/>
                      <a:pt x="498392" y="152632"/>
                      <a:pt x="501896" y="153967"/>
                    </a:cubicBezTo>
                    <a:cubicBezTo>
                      <a:pt x="510322" y="156636"/>
                      <a:pt x="516496" y="166813"/>
                      <a:pt x="522753" y="176991"/>
                    </a:cubicBezTo>
                    <a:cubicBezTo>
                      <a:pt x="525839" y="182330"/>
                      <a:pt x="529427" y="187585"/>
                      <a:pt x="532931" y="192507"/>
                    </a:cubicBezTo>
                    <a:cubicBezTo>
                      <a:pt x="539104" y="200015"/>
                      <a:pt x="552453" y="219952"/>
                      <a:pt x="541357" y="242142"/>
                    </a:cubicBezTo>
                    <a:cubicBezTo>
                      <a:pt x="539104" y="245646"/>
                      <a:pt x="536518" y="249233"/>
                      <a:pt x="532931" y="253237"/>
                    </a:cubicBezTo>
                    <a:cubicBezTo>
                      <a:pt x="525839" y="261663"/>
                      <a:pt x="516996" y="271423"/>
                      <a:pt x="520083" y="286439"/>
                    </a:cubicBezTo>
                    <a:cubicBezTo>
                      <a:pt x="521835" y="296199"/>
                      <a:pt x="531179" y="310797"/>
                      <a:pt x="542191" y="313467"/>
                    </a:cubicBezTo>
                    <a:cubicBezTo>
                      <a:pt x="552786" y="316136"/>
                      <a:pt x="559460" y="310380"/>
                      <a:pt x="564299" y="305959"/>
                    </a:cubicBezTo>
                    <a:cubicBezTo>
                      <a:pt x="567386" y="302872"/>
                      <a:pt x="569638" y="301537"/>
                      <a:pt x="572308" y="301120"/>
                    </a:cubicBezTo>
                    <a:cubicBezTo>
                      <a:pt x="574978" y="301120"/>
                      <a:pt x="577147" y="302038"/>
                      <a:pt x="578065" y="302872"/>
                    </a:cubicBezTo>
                    <a:cubicBezTo>
                      <a:pt x="581151" y="306376"/>
                      <a:pt x="579817" y="316136"/>
                      <a:pt x="578982" y="324144"/>
                    </a:cubicBezTo>
                    <a:cubicBezTo>
                      <a:pt x="578065" y="332570"/>
                      <a:pt x="577230" y="340495"/>
                      <a:pt x="579900" y="346251"/>
                    </a:cubicBezTo>
                    <a:cubicBezTo>
                      <a:pt x="583404" y="355094"/>
                      <a:pt x="596252" y="369275"/>
                      <a:pt x="608682" y="370193"/>
                    </a:cubicBezTo>
                    <a:cubicBezTo>
                      <a:pt x="616191" y="371110"/>
                      <a:pt x="621113" y="367523"/>
                      <a:pt x="625534" y="365354"/>
                    </a:cubicBezTo>
                    <a:cubicBezTo>
                      <a:pt x="628204" y="363603"/>
                      <a:pt x="630373" y="362268"/>
                      <a:pt x="633043" y="362268"/>
                    </a:cubicBezTo>
                    <a:cubicBezTo>
                      <a:pt x="637047" y="361851"/>
                      <a:pt x="640134" y="362685"/>
                      <a:pt x="641886" y="364520"/>
                    </a:cubicBezTo>
                    <a:cubicBezTo>
                      <a:pt x="645390" y="367607"/>
                      <a:pt x="645891" y="375615"/>
                      <a:pt x="646308" y="383123"/>
                    </a:cubicBezTo>
                    <a:cubicBezTo>
                      <a:pt x="646725" y="391966"/>
                      <a:pt x="647643" y="400808"/>
                      <a:pt x="652064" y="407482"/>
                    </a:cubicBezTo>
                    <a:cubicBezTo>
                      <a:pt x="653816" y="410151"/>
                      <a:pt x="656486" y="411486"/>
                      <a:pt x="658238" y="412821"/>
                    </a:cubicBezTo>
                    <a:cubicBezTo>
                      <a:pt x="658655" y="413238"/>
                      <a:pt x="659573" y="413738"/>
                      <a:pt x="659573" y="413738"/>
                    </a:cubicBezTo>
                    <a:cubicBezTo>
                      <a:pt x="661825" y="416825"/>
                      <a:pt x="661825" y="421746"/>
                      <a:pt x="662242" y="426585"/>
                    </a:cubicBezTo>
                    <a:cubicBezTo>
                      <a:pt x="664745" y="429922"/>
                      <a:pt x="665162" y="432091"/>
                      <a:pt x="665579" y="43434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51913068" name="Полилиния 368"/>
              <p:cNvSpPr/>
              <p:nvPr/>
            </p:nvSpPr>
            <p:spPr bwMode="auto">
              <a:xfrm>
                <a:off x="1878278" y="3273504"/>
                <a:ext cx="454300" cy="343820"/>
              </a:xfrm>
              <a:custGeom>
                <a:avLst/>
                <a:gdLst>
                  <a:gd name="connsiteX0" fmla="*/ 77837 w 510195"/>
                  <a:gd name="connsiteY0" fmla="*/ 116257 h 386122"/>
                  <a:gd name="connsiteX1" fmla="*/ 82676 w 510195"/>
                  <a:gd name="connsiteY1" fmla="*/ 73295 h 386122"/>
                  <a:gd name="connsiteX2" fmla="*/ 80006 w 510195"/>
                  <a:gd name="connsiteY2" fmla="*/ 61366 h 386122"/>
                  <a:gd name="connsiteX3" fmla="*/ 86180 w 510195"/>
                  <a:gd name="connsiteY3" fmla="*/ 21908 h 386122"/>
                  <a:gd name="connsiteX4" fmla="*/ 109206 w 510195"/>
                  <a:gd name="connsiteY4" fmla="*/ 19656 h 386122"/>
                  <a:gd name="connsiteX5" fmla="*/ 119384 w 510195"/>
                  <a:gd name="connsiteY5" fmla="*/ 20991 h 386122"/>
                  <a:gd name="connsiteX6" fmla="*/ 124223 w 510195"/>
                  <a:gd name="connsiteY6" fmla="*/ 20991 h 386122"/>
                  <a:gd name="connsiteX7" fmla="*/ 133066 w 510195"/>
                  <a:gd name="connsiteY7" fmla="*/ 19656 h 386122"/>
                  <a:gd name="connsiteX8" fmla="*/ 152588 w 510195"/>
                  <a:gd name="connsiteY8" fmla="*/ 9062 h 386122"/>
                  <a:gd name="connsiteX9" fmla="*/ 168939 w 510195"/>
                  <a:gd name="connsiteY9" fmla="*/ 219 h 386122"/>
                  <a:gd name="connsiteX10" fmla="*/ 180452 w 510195"/>
                  <a:gd name="connsiteY10" fmla="*/ 8227 h 386122"/>
                  <a:gd name="connsiteX11" fmla="*/ 190630 w 510195"/>
                  <a:gd name="connsiteY11" fmla="*/ 20657 h 386122"/>
                  <a:gd name="connsiteX12" fmla="*/ 227839 w 510195"/>
                  <a:gd name="connsiteY12" fmla="*/ 25495 h 386122"/>
                  <a:gd name="connsiteX13" fmla="*/ 233595 w 510195"/>
                  <a:gd name="connsiteY13" fmla="*/ 24578 h 386122"/>
                  <a:gd name="connsiteX14" fmla="*/ 264630 w 510195"/>
                  <a:gd name="connsiteY14" fmla="*/ 32086 h 386122"/>
                  <a:gd name="connsiteX15" fmla="*/ 303173 w 510195"/>
                  <a:gd name="connsiteY15" fmla="*/ 34338 h 386122"/>
                  <a:gd name="connsiteX16" fmla="*/ 317356 w 510195"/>
                  <a:gd name="connsiteY16" fmla="*/ 28999 h 386122"/>
                  <a:gd name="connsiteX17" fmla="*/ 335543 w 510195"/>
                  <a:gd name="connsiteY17" fmla="*/ 34755 h 386122"/>
                  <a:gd name="connsiteX18" fmla="*/ 346138 w 510195"/>
                  <a:gd name="connsiteY18" fmla="*/ 40928 h 386122"/>
                  <a:gd name="connsiteX19" fmla="*/ 351477 w 510195"/>
                  <a:gd name="connsiteY19" fmla="*/ 43180 h 386122"/>
                  <a:gd name="connsiteX20" fmla="*/ 353730 w 510195"/>
                  <a:gd name="connsiteY20" fmla="*/ 44098 h 386122"/>
                  <a:gd name="connsiteX21" fmla="*/ 355065 w 510195"/>
                  <a:gd name="connsiteY21" fmla="*/ 47185 h 386122"/>
                  <a:gd name="connsiteX22" fmla="*/ 352812 w 510195"/>
                  <a:gd name="connsiteY22" fmla="*/ 63118 h 386122"/>
                  <a:gd name="connsiteX23" fmla="*/ 350142 w 510195"/>
                  <a:gd name="connsiteY23" fmla="*/ 79468 h 386122"/>
                  <a:gd name="connsiteX24" fmla="*/ 358151 w 510195"/>
                  <a:gd name="connsiteY24" fmla="*/ 99406 h 386122"/>
                  <a:gd name="connsiteX25" fmla="*/ 391355 w 510195"/>
                  <a:gd name="connsiteY25" fmla="*/ 103827 h 386122"/>
                  <a:gd name="connsiteX26" fmla="*/ 398029 w 510195"/>
                  <a:gd name="connsiteY26" fmla="*/ 102910 h 386122"/>
                  <a:gd name="connsiteX27" fmla="*/ 413964 w 510195"/>
                  <a:gd name="connsiteY27" fmla="*/ 115339 h 386122"/>
                  <a:gd name="connsiteX28" fmla="*/ 429898 w 510195"/>
                  <a:gd name="connsiteY28" fmla="*/ 136194 h 386122"/>
                  <a:gd name="connsiteX29" fmla="*/ 437407 w 510195"/>
                  <a:gd name="connsiteY29" fmla="*/ 145037 h 386122"/>
                  <a:gd name="connsiteX30" fmla="*/ 437824 w 510195"/>
                  <a:gd name="connsiteY30" fmla="*/ 155214 h 386122"/>
                  <a:gd name="connsiteX31" fmla="*/ 447585 w 510195"/>
                  <a:gd name="connsiteY31" fmla="*/ 196007 h 386122"/>
                  <a:gd name="connsiteX32" fmla="*/ 458681 w 510195"/>
                  <a:gd name="connsiteY32" fmla="*/ 207936 h 386122"/>
                  <a:gd name="connsiteX33" fmla="*/ 465355 w 510195"/>
                  <a:gd name="connsiteY33" fmla="*/ 214109 h 386122"/>
                  <a:gd name="connsiteX34" fmla="*/ 471529 w 510195"/>
                  <a:gd name="connsiteY34" fmla="*/ 228291 h 386122"/>
                  <a:gd name="connsiteX35" fmla="*/ 475032 w 510195"/>
                  <a:gd name="connsiteY35" fmla="*/ 238468 h 386122"/>
                  <a:gd name="connsiteX36" fmla="*/ 480789 w 510195"/>
                  <a:gd name="connsiteY36" fmla="*/ 248228 h 386122"/>
                  <a:gd name="connsiteX37" fmla="*/ 480789 w 510195"/>
                  <a:gd name="connsiteY37" fmla="*/ 248645 h 386122"/>
                  <a:gd name="connsiteX38" fmla="*/ 463519 w 510195"/>
                  <a:gd name="connsiteY38" fmla="*/ 289855 h 386122"/>
                  <a:gd name="connsiteX39" fmla="*/ 479037 w 510195"/>
                  <a:gd name="connsiteY39" fmla="*/ 316466 h 386122"/>
                  <a:gd name="connsiteX40" fmla="*/ 485210 w 510195"/>
                  <a:gd name="connsiteY40" fmla="*/ 318718 h 386122"/>
                  <a:gd name="connsiteX41" fmla="*/ 495388 w 510195"/>
                  <a:gd name="connsiteY41" fmla="*/ 328062 h 386122"/>
                  <a:gd name="connsiteX42" fmla="*/ 499393 w 510195"/>
                  <a:gd name="connsiteY42" fmla="*/ 334735 h 386122"/>
                  <a:gd name="connsiteX43" fmla="*/ 509988 w 510195"/>
                  <a:gd name="connsiteY43" fmla="*/ 356008 h 386122"/>
                  <a:gd name="connsiteX44" fmla="*/ 505567 w 510195"/>
                  <a:gd name="connsiteY44" fmla="*/ 379448 h 386122"/>
                  <a:gd name="connsiteX45" fmla="*/ 503314 w 510195"/>
                  <a:gd name="connsiteY45" fmla="*/ 386122 h 386122"/>
                  <a:gd name="connsiteX46" fmla="*/ 502897 w 510195"/>
                  <a:gd name="connsiteY46" fmla="*/ 385705 h 386122"/>
                  <a:gd name="connsiteX47" fmla="*/ 474115 w 510195"/>
                  <a:gd name="connsiteY47" fmla="*/ 370189 h 386122"/>
                  <a:gd name="connsiteX48" fmla="*/ 464354 w 510195"/>
                  <a:gd name="connsiteY48" fmla="*/ 363098 h 386122"/>
                  <a:gd name="connsiteX49" fmla="*/ 445750 w 510195"/>
                  <a:gd name="connsiteY49" fmla="*/ 350668 h 386122"/>
                  <a:gd name="connsiteX50" fmla="*/ 421389 w 510195"/>
                  <a:gd name="connsiteY50" fmla="*/ 350668 h 386122"/>
                  <a:gd name="connsiteX51" fmla="*/ 404120 w 510195"/>
                  <a:gd name="connsiteY51" fmla="*/ 350251 h 386122"/>
                  <a:gd name="connsiteX52" fmla="*/ 397445 w 510195"/>
                  <a:gd name="connsiteY52" fmla="*/ 345830 h 386122"/>
                  <a:gd name="connsiteX53" fmla="*/ 380176 w 510195"/>
                  <a:gd name="connsiteY53" fmla="*/ 337405 h 386122"/>
                  <a:gd name="connsiteX54" fmla="*/ 370832 w 510195"/>
                  <a:gd name="connsiteY54" fmla="*/ 336487 h 386122"/>
                  <a:gd name="connsiteX55" fmla="*/ 361488 w 510195"/>
                  <a:gd name="connsiteY55" fmla="*/ 331649 h 386122"/>
                  <a:gd name="connsiteX56" fmla="*/ 356650 w 510195"/>
                  <a:gd name="connsiteY56" fmla="*/ 320137 h 386122"/>
                  <a:gd name="connsiteX57" fmla="*/ 344219 w 510195"/>
                  <a:gd name="connsiteY57" fmla="*/ 299782 h 386122"/>
                  <a:gd name="connsiteX58" fmla="*/ 340715 w 510195"/>
                  <a:gd name="connsiteY58" fmla="*/ 296696 h 386122"/>
                  <a:gd name="connsiteX59" fmla="*/ 305259 w 510195"/>
                  <a:gd name="connsiteY59" fmla="*/ 276341 h 386122"/>
                  <a:gd name="connsiteX60" fmla="*/ 278229 w 510195"/>
                  <a:gd name="connsiteY60" fmla="*/ 294944 h 386122"/>
                  <a:gd name="connsiteX61" fmla="*/ 271137 w 510195"/>
                  <a:gd name="connsiteY61" fmla="*/ 306873 h 386122"/>
                  <a:gd name="connsiteX62" fmla="*/ 241437 w 510195"/>
                  <a:gd name="connsiteY62" fmla="*/ 313963 h 386122"/>
                  <a:gd name="connsiteX63" fmla="*/ 221915 w 510195"/>
                  <a:gd name="connsiteY63" fmla="*/ 316216 h 386122"/>
                  <a:gd name="connsiteX64" fmla="*/ 185124 w 510195"/>
                  <a:gd name="connsiteY64" fmla="*/ 310043 h 386122"/>
                  <a:gd name="connsiteX65" fmla="*/ 177115 w 510195"/>
                  <a:gd name="connsiteY65" fmla="*/ 305204 h 386122"/>
                  <a:gd name="connsiteX66" fmla="*/ 146998 w 510195"/>
                  <a:gd name="connsiteY66" fmla="*/ 296362 h 386122"/>
                  <a:gd name="connsiteX67" fmla="*/ 129729 w 510195"/>
                  <a:gd name="connsiteY67" fmla="*/ 292858 h 386122"/>
                  <a:gd name="connsiteX68" fmla="*/ 100529 w 510195"/>
                  <a:gd name="connsiteY68" fmla="*/ 284850 h 386122"/>
                  <a:gd name="connsiteX69" fmla="*/ 73499 w 510195"/>
                  <a:gd name="connsiteY69" fmla="*/ 277759 h 386122"/>
                  <a:gd name="connsiteX70" fmla="*/ 56230 w 510195"/>
                  <a:gd name="connsiteY70" fmla="*/ 275090 h 386122"/>
                  <a:gd name="connsiteX71" fmla="*/ 38543 w 510195"/>
                  <a:gd name="connsiteY71" fmla="*/ 271586 h 386122"/>
                  <a:gd name="connsiteX72" fmla="*/ 24778 w 510195"/>
                  <a:gd name="connsiteY72" fmla="*/ 257404 h 386122"/>
                  <a:gd name="connsiteX73" fmla="*/ 0 w 510195"/>
                  <a:gd name="connsiteY73" fmla="*/ 236549 h 386122"/>
                  <a:gd name="connsiteX74" fmla="*/ 0 w 510195"/>
                  <a:gd name="connsiteY74" fmla="*/ 218364 h 386122"/>
                  <a:gd name="connsiteX75" fmla="*/ 1335 w 510195"/>
                  <a:gd name="connsiteY75" fmla="*/ 207269 h 386122"/>
                  <a:gd name="connsiteX76" fmla="*/ 7091 w 510195"/>
                  <a:gd name="connsiteY76" fmla="*/ 204599 h 386122"/>
                  <a:gd name="connsiteX77" fmla="*/ 21691 w 510195"/>
                  <a:gd name="connsiteY77" fmla="*/ 195757 h 386122"/>
                  <a:gd name="connsiteX78" fmla="*/ 28365 w 510195"/>
                  <a:gd name="connsiteY78" fmla="*/ 176236 h 386122"/>
                  <a:gd name="connsiteX79" fmla="*/ 35874 w 510195"/>
                  <a:gd name="connsiteY79" fmla="*/ 160303 h 386122"/>
                  <a:gd name="connsiteX80" fmla="*/ 77837 w 510195"/>
                  <a:gd name="connsiteY80" fmla="*/ 116257 h 386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510195" h="386122" extrusionOk="0">
                    <a:moveTo>
                      <a:pt x="77837" y="116257"/>
                    </a:moveTo>
                    <a:cubicBezTo>
                      <a:pt x="88933" y="98572"/>
                      <a:pt x="86263" y="86559"/>
                      <a:pt x="82676" y="73295"/>
                    </a:cubicBezTo>
                    <a:cubicBezTo>
                      <a:pt x="81758" y="69792"/>
                      <a:pt x="80924" y="65788"/>
                      <a:pt x="80006" y="61366"/>
                    </a:cubicBezTo>
                    <a:cubicBezTo>
                      <a:pt x="77337" y="47185"/>
                      <a:pt x="78671" y="28165"/>
                      <a:pt x="86180" y="21908"/>
                    </a:cubicBezTo>
                    <a:cubicBezTo>
                      <a:pt x="91019" y="17487"/>
                      <a:pt x="99945" y="18822"/>
                      <a:pt x="109206" y="19656"/>
                    </a:cubicBezTo>
                    <a:cubicBezTo>
                      <a:pt x="112293" y="20073"/>
                      <a:pt x="115880" y="20574"/>
                      <a:pt x="119384" y="20991"/>
                    </a:cubicBezTo>
                    <a:lnTo>
                      <a:pt x="124223" y="20991"/>
                    </a:lnTo>
                    <a:cubicBezTo>
                      <a:pt x="127309" y="20574"/>
                      <a:pt x="130396" y="20073"/>
                      <a:pt x="133066" y="19656"/>
                    </a:cubicBezTo>
                    <a:cubicBezTo>
                      <a:pt x="141075" y="17404"/>
                      <a:pt x="147248" y="12982"/>
                      <a:pt x="152588" y="9062"/>
                    </a:cubicBezTo>
                    <a:cubicBezTo>
                      <a:pt x="157927" y="5057"/>
                      <a:pt x="162766" y="1554"/>
                      <a:pt x="168939" y="219"/>
                    </a:cubicBezTo>
                    <a:cubicBezTo>
                      <a:pt x="175113" y="-699"/>
                      <a:pt x="176031" y="1137"/>
                      <a:pt x="180452" y="8227"/>
                    </a:cubicBezTo>
                    <a:cubicBezTo>
                      <a:pt x="183122" y="12649"/>
                      <a:pt x="185792" y="17070"/>
                      <a:pt x="190630" y="20657"/>
                    </a:cubicBezTo>
                    <a:cubicBezTo>
                      <a:pt x="203061" y="30417"/>
                      <a:pt x="216326" y="27748"/>
                      <a:pt x="227839" y="25495"/>
                    </a:cubicBezTo>
                    <a:lnTo>
                      <a:pt x="233595" y="24578"/>
                    </a:lnTo>
                    <a:cubicBezTo>
                      <a:pt x="249947" y="21908"/>
                      <a:pt x="253117" y="22826"/>
                      <a:pt x="264630" y="32086"/>
                    </a:cubicBezTo>
                    <a:cubicBezTo>
                      <a:pt x="280982" y="44515"/>
                      <a:pt x="292578" y="38759"/>
                      <a:pt x="303173" y="34338"/>
                    </a:cubicBezTo>
                    <a:cubicBezTo>
                      <a:pt x="307595" y="32086"/>
                      <a:pt x="312016" y="30334"/>
                      <a:pt x="317356" y="28999"/>
                    </a:cubicBezTo>
                    <a:cubicBezTo>
                      <a:pt x="324030" y="27664"/>
                      <a:pt x="328451" y="30334"/>
                      <a:pt x="335543" y="34755"/>
                    </a:cubicBezTo>
                    <a:cubicBezTo>
                      <a:pt x="338630" y="37007"/>
                      <a:pt x="342217" y="39176"/>
                      <a:pt x="346138" y="40928"/>
                    </a:cubicBezTo>
                    <a:cubicBezTo>
                      <a:pt x="348390" y="41846"/>
                      <a:pt x="349642" y="42263"/>
                      <a:pt x="351477" y="43180"/>
                    </a:cubicBezTo>
                    <a:cubicBezTo>
                      <a:pt x="352395" y="43598"/>
                      <a:pt x="353229" y="44098"/>
                      <a:pt x="353730" y="44098"/>
                    </a:cubicBezTo>
                    <a:cubicBezTo>
                      <a:pt x="353730" y="44098"/>
                      <a:pt x="354147" y="44515"/>
                      <a:pt x="355065" y="47185"/>
                    </a:cubicBezTo>
                    <a:cubicBezTo>
                      <a:pt x="355982" y="50271"/>
                      <a:pt x="354147" y="57362"/>
                      <a:pt x="352812" y="63118"/>
                    </a:cubicBezTo>
                    <a:cubicBezTo>
                      <a:pt x="351477" y="68874"/>
                      <a:pt x="350142" y="74630"/>
                      <a:pt x="350142" y="79468"/>
                    </a:cubicBezTo>
                    <a:cubicBezTo>
                      <a:pt x="350560" y="88311"/>
                      <a:pt x="353229" y="94985"/>
                      <a:pt x="358151" y="99406"/>
                    </a:cubicBezTo>
                    <a:cubicBezTo>
                      <a:pt x="366578" y="106497"/>
                      <a:pt x="379425" y="105162"/>
                      <a:pt x="391355" y="103827"/>
                    </a:cubicBezTo>
                    <a:lnTo>
                      <a:pt x="398029" y="102910"/>
                    </a:lnTo>
                    <a:cubicBezTo>
                      <a:pt x="412212" y="101575"/>
                      <a:pt x="412212" y="101575"/>
                      <a:pt x="413964" y="115339"/>
                    </a:cubicBezTo>
                    <a:cubicBezTo>
                      <a:pt x="415299" y="129521"/>
                      <a:pt x="424142" y="133525"/>
                      <a:pt x="429898" y="136194"/>
                    </a:cubicBezTo>
                    <a:cubicBezTo>
                      <a:pt x="435238" y="138447"/>
                      <a:pt x="436990" y="139281"/>
                      <a:pt x="437407" y="145037"/>
                    </a:cubicBezTo>
                    <a:cubicBezTo>
                      <a:pt x="437824" y="148541"/>
                      <a:pt x="437824" y="151711"/>
                      <a:pt x="437824" y="155214"/>
                    </a:cubicBezTo>
                    <a:cubicBezTo>
                      <a:pt x="438742" y="168478"/>
                      <a:pt x="439159" y="182242"/>
                      <a:pt x="447585" y="196007"/>
                    </a:cubicBezTo>
                    <a:cubicBezTo>
                      <a:pt x="451089" y="201346"/>
                      <a:pt x="455093" y="204849"/>
                      <a:pt x="458681" y="207936"/>
                    </a:cubicBezTo>
                    <a:cubicBezTo>
                      <a:pt x="460933" y="209688"/>
                      <a:pt x="463519" y="211440"/>
                      <a:pt x="465355" y="214109"/>
                    </a:cubicBezTo>
                    <a:cubicBezTo>
                      <a:pt x="468442" y="217613"/>
                      <a:pt x="470194" y="222535"/>
                      <a:pt x="471529" y="228291"/>
                    </a:cubicBezTo>
                    <a:cubicBezTo>
                      <a:pt x="472446" y="231377"/>
                      <a:pt x="473781" y="234964"/>
                      <a:pt x="475032" y="238468"/>
                    </a:cubicBezTo>
                    <a:cubicBezTo>
                      <a:pt x="476367" y="241972"/>
                      <a:pt x="478536" y="245141"/>
                      <a:pt x="480789" y="248228"/>
                    </a:cubicBezTo>
                    <a:lnTo>
                      <a:pt x="480789" y="248645"/>
                    </a:lnTo>
                    <a:cubicBezTo>
                      <a:pt x="475950" y="257071"/>
                      <a:pt x="466189" y="277842"/>
                      <a:pt x="463519" y="289855"/>
                    </a:cubicBezTo>
                    <a:cubicBezTo>
                      <a:pt x="460016" y="305788"/>
                      <a:pt x="463102" y="310710"/>
                      <a:pt x="479037" y="316466"/>
                    </a:cubicBezTo>
                    <a:lnTo>
                      <a:pt x="485210" y="318718"/>
                    </a:lnTo>
                    <a:cubicBezTo>
                      <a:pt x="490550" y="320470"/>
                      <a:pt x="490550" y="320470"/>
                      <a:pt x="495388" y="328062"/>
                    </a:cubicBezTo>
                    <a:cubicBezTo>
                      <a:pt x="496306" y="330314"/>
                      <a:pt x="498058" y="332066"/>
                      <a:pt x="499393" y="334735"/>
                    </a:cubicBezTo>
                    <a:cubicBezTo>
                      <a:pt x="503815" y="341409"/>
                      <a:pt x="509154" y="350251"/>
                      <a:pt x="509988" y="356008"/>
                    </a:cubicBezTo>
                    <a:cubicBezTo>
                      <a:pt x="510906" y="363098"/>
                      <a:pt x="508653" y="371523"/>
                      <a:pt x="505567" y="379448"/>
                    </a:cubicBezTo>
                    <a:cubicBezTo>
                      <a:pt x="504649" y="381701"/>
                      <a:pt x="504232" y="383870"/>
                      <a:pt x="503314" y="386122"/>
                    </a:cubicBezTo>
                    <a:cubicBezTo>
                      <a:pt x="502897" y="386122"/>
                      <a:pt x="502897" y="385705"/>
                      <a:pt x="502897" y="385705"/>
                    </a:cubicBezTo>
                    <a:cubicBezTo>
                      <a:pt x="492302" y="380366"/>
                      <a:pt x="482958" y="375945"/>
                      <a:pt x="474115" y="370189"/>
                    </a:cubicBezTo>
                    <a:cubicBezTo>
                      <a:pt x="471028" y="367937"/>
                      <a:pt x="467941" y="365350"/>
                      <a:pt x="464354" y="363098"/>
                    </a:cubicBezTo>
                    <a:cubicBezTo>
                      <a:pt x="458597" y="358260"/>
                      <a:pt x="452424" y="353338"/>
                      <a:pt x="445750" y="350668"/>
                    </a:cubicBezTo>
                    <a:cubicBezTo>
                      <a:pt x="435989" y="346664"/>
                      <a:pt x="427562" y="348917"/>
                      <a:pt x="421389" y="350668"/>
                    </a:cubicBezTo>
                    <a:cubicBezTo>
                      <a:pt x="415215" y="352420"/>
                      <a:pt x="410293" y="353755"/>
                      <a:pt x="404120" y="350251"/>
                    </a:cubicBezTo>
                    <a:cubicBezTo>
                      <a:pt x="401450" y="348917"/>
                      <a:pt x="399281" y="347165"/>
                      <a:pt x="397445" y="345830"/>
                    </a:cubicBezTo>
                    <a:cubicBezTo>
                      <a:pt x="393024" y="342743"/>
                      <a:pt x="388602" y="339157"/>
                      <a:pt x="380176" y="337405"/>
                    </a:cubicBezTo>
                    <a:cubicBezTo>
                      <a:pt x="376672" y="336487"/>
                      <a:pt x="373502" y="336487"/>
                      <a:pt x="370832" y="336487"/>
                    </a:cubicBezTo>
                    <a:cubicBezTo>
                      <a:pt x="365493" y="336070"/>
                      <a:pt x="364659" y="336070"/>
                      <a:pt x="361488" y="331649"/>
                    </a:cubicBezTo>
                    <a:cubicBezTo>
                      <a:pt x="358819" y="327228"/>
                      <a:pt x="357985" y="323640"/>
                      <a:pt x="356650" y="320137"/>
                    </a:cubicBezTo>
                    <a:cubicBezTo>
                      <a:pt x="355315" y="313963"/>
                      <a:pt x="353146" y="306873"/>
                      <a:pt x="344219" y="299782"/>
                    </a:cubicBezTo>
                    <a:lnTo>
                      <a:pt x="340715" y="296696"/>
                    </a:lnTo>
                    <a:cubicBezTo>
                      <a:pt x="330537" y="288270"/>
                      <a:pt x="318607" y="278093"/>
                      <a:pt x="305259" y="276341"/>
                    </a:cubicBezTo>
                    <a:cubicBezTo>
                      <a:pt x="287072" y="274089"/>
                      <a:pt x="281816" y="286518"/>
                      <a:pt x="278229" y="294944"/>
                    </a:cubicBezTo>
                    <a:cubicBezTo>
                      <a:pt x="275976" y="299782"/>
                      <a:pt x="274725" y="304287"/>
                      <a:pt x="271137" y="306873"/>
                    </a:cubicBezTo>
                    <a:cubicBezTo>
                      <a:pt x="264046" y="312629"/>
                      <a:pt x="252950" y="313546"/>
                      <a:pt x="241437" y="313963"/>
                    </a:cubicBezTo>
                    <a:cubicBezTo>
                      <a:pt x="234763" y="314380"/>
                      <a:pt x="228172" y="314881"/>
                      <a:pt x="221915" y="316216"/>
                    </a:cubicBezTo>
                    <a:cubicBezTo>
                      <a:pt x="202393" y="320637"/>
                      <a:pt x="198890" y="318468"/>
                      <a:pt x="185124" y="310043"/>
                    </a:cubicBezTo>
                    <a:lnTo>
                      <a:pt x="177115" y="305204"/>
                    </a:lnTo>
                    <a:cubicBezTo>
                      <a:pt x="166937" y="299448"/>
                      <a:pt x="156759" y="297696"/>
                      <a:pt x="146998" y="296362"/>
                    </a:cubicBezTo>
                    <a:cubicBezTo>
                      <a:pt x="140824" y="295444"/>
                      <a:pt x="135068" y="294610"/>
                      <a:pt x="129729" y="292858"/>
                    </a:cubicBezTo>
                    <a:cubicBezTo>
                      <a:pt x="119968" y="289771"/>
                      <a:pt x="110207" y="287519"/>
                      <a:pt x="100529" y="284850"/>
                    </a:cubicBezTo>
                    <a:cubicBezTo>
                      <a:pt x="91686" y="282598"/>
                      <a:pt x="82843" y="280429"/>
                      <a:pt x="73499" y="277759"/>
                    </a:cubicBezTo>
                    <a:cubicBezTo>
                      <a:pt x="67325" y="275507"/>
                      <a:pt x="61569" y="275507"/>
                      <a:pt x="56230" y="275090"/>
                    </a:cubicBezTo>
                    <a:cubicBezTo>
                      <a:pt x="49556" y="274673"/>
                      <a:pt x="43799" y="274673"/>
                      <a:pt x="38543" y="271586"/>
                    </a:cubicBezTo>
                    <a:cubicBezTo>
                      <a:pt x="33704" y="268499"/>
                      <a:pt x="29199" y="263160"/>
                      <a:pt x="24778" y="257404"/>
                    </a:cubicBezTo>
                    <a:cubicBezTo>
                      <a:pt x="18604" y="249396"/>
                      <a:pt x="10595" y="240136"/>
                      <a:pt x="0" y="236549"/>
                    </a:cubicBezTo>
                    <a:lnTo>
                      <a:pt x="0" y="218364"/>
                    </a:lnTo>
                    <a:cubicBezTo>
                      <a:pt x="0" y="215277"/>
                      <a:pt x="0" y="208603"/>
                      <a:pt x="1335" y="207269"/>
                    </a:cubicBezTo>
                    <a:cubicBezTo>
                      <a:pt x="2670" y="205934"/>
                      <a:pt x="4422" y="205517"/>
                      <a:pt x="7091" y="204599"/>
                    </a:cubicBezTo>
                    <a:cubicBezTo>
                      <a:pt x="11513" y="203682"/>
                      <a:pt x="17269" y="201930"/>
                      <a:pt x="21691" y="195757"/>
                    </a:cubicBezTo>
                    <a:cubicBezTo>
                      <a:pt x="26530" y="188666"/>
                      <a:pt x="27447" y="181992"/>
                      <a:pt x="28365" y="176236"/>
                    </a:cubicBezTo>
                    <a:cubicBezTo>
                      <a:pt x="29283" y="169563"/>
                      <a:pt x="30117" y="165141"/>
                      <a:pt x="35874" y="160303"/>
                    </a:cubicBezTo>
                    <a:cubicBezTo>
                      <a:pt x="53894" y="145120"/>
                      <a:pt x="66741" y="133608"/>
                      <a:pt x="77837" y="11625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2066364" name="Полилиния 369"/>
              <p:cNvSpPr/>
              <p:nvPr/>
            </p:nvSpPr>
            <p:spPr bwMode="auto">
              <a:xfrm>
                <a:off x="2002412" y="4184776"/>
                <a:ext cx="344224" cy="265986"/>
              </a:xfrm>
              <a:custGeom>
                <a:avLst/>
                <a:gdLst>
                  <a:gd name="connsiteX0" fmla="*/ 45217 w 386576"/>
                  <a:gd name="connsiteY0" fmla="*/ 220714 h 298712"/>
                  <a:gd name="connsiteX1" fmla="*/ 35456 w 386576"/>
                  <a:gd name="connsiteY1" fmla="*/ 208785 h 298712"/>
                  <a:gd name="connsiteX2" fmla="*/ 28782 w 386576"/>
                  <a:gd name="connsiteY2" fmla="*/ 200777 h 298712"/>
                  <a:gd name="connsiteX3" fmla="*/ 19021 w 386576"/>
                  <a:gd name="connsiteY3" fmla="*/ 176418 h 298712"/>
                  <a:gd name="connsiteX4" fmla="*/ 14600 w 386576"/>
                  <a:gd name="connsiteY4" fmla="*/ 162654 h 298712"/>
                  <a:gd name="connsiteX5" fmla="*/ 4422 w 386576"/>
                  <a:gd name="connsiteY5" fmla="*/ 140047 h 298712"/>
                  <a:gd name="connsiteX6" fmla="*/ 0 w 386576"/>
                  <a:gd name="connsiteY6" fmla="*/ 131622 h 298712"/>
                  <a:gd name="connsiteX7" fmla="*/ 27948 w 386576"/>
                  <a:gd name="connsiteY7" fmla="*/ 84656 h 298712"/>
                  <a:gd name="connsiteX8" fmla="*/ 33704 w 386576"/>
                  <a:gd name="connsiteY8" fmla="*/ 72727 h 298712"/>
                  <a:gd name="connsiteX9" fmla="*/ 38543 w 386576"/>
                  <a:gd name="connsiteY9" fmla="*/ 62549 h 298712"/>
                  <a:gd name="connsiteX10" fmla="*/ 42047 w 386576"/>
                  <a:gd name="connsiteY10" fmla="*/ 54541 h 298712"/>
                  <a:gd name="connsiteX11" fmla="*/ 53143 w 386576"/>
                  <a:gd name="connsiteY11" fmla="*/ 39442 h 298712"/>
                  <a:gd name="connsiteX12" fmla="*/ 61569 w 386576"/>
                  <a:gd name="connsiteY12" fmla="*/ 35938 h 298712"/>
                  <a:gd name="connsiteX13" fmla="*/ 69995 w 386576"/>
                  <a:gd name="connsiteY13" fmla="*/ 32852 h 298712"/>
                  <a:gd name="connsiteX14" fmla="*/ 84595 w 386576"/>
                  <a:gd name="connsiteY14" fmla="*/ 17753 h 298712"/>
                  <a:gd name="connsiteX15" fmla="*/ 91686 w 386576"/>
                  <a:gd name="connsiteY15" fmla="*/ 9744 h 298712"/>
                  <a:gd name="connsiteX16" fmla="*/ 108038 w 386576"/>
                  <a:gd name="connsiteY16" fmla="*/ 12414 h 298712"/>
                  <a:gd name="connsiteX17" fmla="*/ 114211 w 386576"/>
                  <a:gd name="connsiteY17" fmla="*/ 14666 h 298712"/>
                  <a:gd name="connsiteX18" fmla="*/ 151837 w 386576"/>
                  <a:gd name="connsiteY18" fmla="*/ 17335 h 298712"/>
                  <a:gd name="connsiteX19" fmla="*/ 165602 w 386576"/>
                  <a:gd name="connsiteY19" fmla="*/ 11162 h 298712"/>
                  <a:gd name="connsiteX20" fmla="*/ 181120 w 386576"/>
                  <a:gd name="connsiteY20" fmla="*/ 4989 h 298712"/>
                  <a:gd name="connsiteX21" fmla="*/ 193550 w 386576"/>
                  <a:gd name="connsiteY21" fmla="*/ 9828 h 298712"/>
                  <a:gd name="connsiteX22" fmla="*/ 210820 w 386576"/>
                  <a:gd name="connsiteY22" fmla="*/ 16001 h 298712"/>
                  <a:gd name="connsiteX23" fmla="*/ 228089 w 386576"/>
                  <a:gd name="connsiteY23" fmla="*/ 7992 h 298712"/>
                  <a:gd name="connsiteX24" fmla="*/ 233428 w 386576"/>
                  <a:gd name="connsiteY24" fmla="*/ 3988 h 298712"/>
                  <a:gd name="connsiteX25" fmla="*/ 272389 w 386576"/>
                  <a:gd name="connsiteY25" fmla="*/ 484 h 298712"/>
                  <a:gd name="connsiteX26" fmla="*/ 282984 w 386576"/>
                  <a:gd name="connsiteY26" fmla="*/ 15083 h 298712"/>
                  <a:gd name="connsiteX27" fmla="*/ 287823 w 386576"/>
                  <a:gd name="connsiteY27" fmla="*/ 19922 h 298712"/>
                  <a:gd name="connsiteX28" fmla="*/ 288740 w 386576"/>
                  <a:gd name="connsiteY28" fmla="*/ 26595 h 298712"/>
                  <a:gd name="connsiteX29" fmla="*/ 298501 w 386576"/>
                  <a:gd name="connsiteY29" fmla="*/ 45198 h 298712"/>
                  <a:gd name="connsiteX30" fmla="*/ 310014 w 386576"/>
                  <a:gd name="connsiteY30" fmla="*/ 49619 h 298712"/>
                  <a:gd name="connsiteX31" fmla="*/ 318023 w 386576"/>
                  <a:gd name="connsiteY31" fmla="*/ 53123 h 298712"/>
                  <a:gd name="connsiteX32" fmla="*/ 322445 w 386576"/>
                  <a:gd name="connsiteY32" fmla="*/ 65552 h 298712"/>
                  <a:gd name="connsiteX33" fmla="*/ 329536 w 386576"/>
                  <a:gd name="connsiteY33" fmla="*/ 83738 h 298712"/>
                  <a:gd name="connsiteX34" fmla="*/ 360988 w 386576"/>
                  <a:gd name="connsiteY34" fmla="*/ 117440 h 298712"/>
                  <a:gd name="connsiteX35" fmla="*/ 357901 w 386576"/>
                  <a:gd name="connsiteY35" fmla="*/ 131204 h 298712"/>
                  <a:gd name="connsiteX36" fmla="*/ 375170 w 386576"/>
                  <a:gd name="connsiteY36" fmla="*/ 159984 h 298712"/>
                  <a:gd name="connsiteX37" fmla="*/ 383597 w 386576"/>
                  <a:gd name="connsiteY37" fmla="*/ 167993 h 298712"/>
                  <a:gd name="connsiteX38" fmla="*/ 386266 w 386576"/>
                  <a:gd name="connsiteY38" fmla="*/ 175084 h 298712"/>
                  <a:gd name="connsiteX39" fmla="*/ 378758 w 386576"/>
                  <a:gd name="connsiteY39" fmla="*/ 183509 h 298712"/>
                  <a:gd name="connsiteX40" fmla="*/ 375671 w 386576"/>
                  <a:gd name="connsiteY40" fmla="*/ 186596 h 298712"/>
                  <a:gd name="connsiteX41" fmla="*/ 373419 w 386576"/>
                  <a:gd name="connsiteY41" fmla="*/ 188848 h 298712"/>
                  <a:gd name="connsiteX42" fmla="*/ 360988 w 386576"/>
                  <a:gd name="connsiteY42" fmla="*/ 210537 h 298712"/>
                  <a:gd name="connsiteX43" fmla="*/ 355649 w 386576"/>
                  <a:gd name="connsiteY43" fmla="*/ 222466 h 298712"/>
                  <a:gd name="connsiteX44" fmla="*/ 333958 w 386576"/>
                  <a:gd name="connsiteY44" fmla="*/ 240652 h 298712"/>
                  <a:gd name="connsiteX45" fmla="*/ 310515 w 386576"/>
                  <a:gd name="connsiteY45" fmla="*/ 258838 h 298712"/>
                  <a:gd name="connsiteX46" fmla="*/ 300337 w 386576"/>
                  <a:gd name="connsiteY46" fmla="*/ 273019 h 298712"/>
                  <a:gd name="connsiteX47" fmla="*/ 286154 w 386576"/>
                  <a:gd name="connsiteY47" fmla="*/ 291622 h 298712"/>
                  <a:gd name="connsiteX48" fmla="*/ 266632 w 386576"/>
                  <a:gd name="connsiteY48" fmla="*/ 298296 h 298712"/>
                  <a:gd name="connsiteX49" fmla="*/ 260459 w 386576"/>
                  <a:gd name="connsiteY49" fmla="*/ 298713 h 298712"/>
                  <a:gd name="connsiteX50" fmla="*/ 260041 w 386576"/>
                  <a:gd name="connsiteY50" fmla="*/ 298713 h 298712"/>
                  <a:gd name="connsiteX51" fmla="*/ 201976 w 386576"/>
                  <a:gd name="connsiteY51" fmla="*/ 263259 h 298712"/>
                  <a:gd name="connsiteX52" fmla="*/ 186042 w 386576"/>
                  <a:gd name="connsiteY52" fmla="*/ 261507 h 298712"/>
                  <a:gd name="connsiteX53" fmla="*/ 177616 w 386576"/>
                  <a:gd name="connsiteY53" fmla="*/ 269933 h 298712"/>
                  <a:gd name="connsiteX54" fmla="*/ 159929 w 386576"/>
                  <a:gd name="connsiteY54" fmla="*/ 279693 h 298712"/>
                  <a:gd name="connsiteX55" fmla="*/ 140407 w 386576"/>
                  <a:gd name="connsiteY55" fmla="*/ 274855 h 298712"/>
                  <a:gd name="connsiteX56" fmla="*/ 128477 w 386576"/>
                  <a:gd name="connsiteY56" fmla="*/ 260256 h 298712"/>
                  <a:gd name="connsiteX57" fmla="*/ 123138 w 386576"/>
                  <a:gd name="connsiteY57" fmla="*/ 252248 h 298712"/>
                  <a:gd name="connsiteX58" fmla="*/ 91269 w 386576"/>
                  <a:gd name="connsiteY58" fmla="*/ 234979 h 298712"/>
                  <a:gd name="connsiteX59" fmla="*/ 83260 w 386576"/>
                  <a:gd name="connsiteY59" fmla="*/ 236731 h 298712"/>
                  <a:gd name="connsiteX60" fmla="*/ 78838 w 386576"/>
                  <a:gd name="connsiteY60" fmla="*/ 237649 h 298712"/>
                  <a:gd name="connsiteX61" fmla="*/ 61152 w 386576"/>
                  <a:gd name="connsiteY61" fmla="*/ 235397 h 298712"/>
                  <a:gd name="connsiteX62" fmla="*/ 54478 w 386576"/>
                  <a:gd name="connsiteY62" fmla="*/ 233144 h 298712"/>
                  <a:gd name="connsiteX63" fmla="*/ 49138 w 386576"/>
                  <a:gd name="connsiteY63" fmla="*/ 230058 h 298712"/>
                  <a:gd name="connsiteX64" fmla="*/ 46052 w 386576"/>
                  <a:gd name="connsiteY64" fmla="*/ 224719 h 298712"/>
                  <a:gd name="connsiteX65" fmla="*/ 45217 w 386576"/>
                  <a:gd name="connsiteY65" fmla="*/ 220714 h 298712"/>
                  <a:gd name="connsiteX66" fmla="*/ 45217 w 386576"/>
                  <a:gd name="connsiteY66" fmla="*/ 220714 h 29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86576" h="298712" extrusionOk="0">
                    <a:moveTo>
                      <a:pt x="45217" y="220714"/>
                    </a:moveTo>
                    <a:cubicBezTo>
                      <a:pt x="42548" y="215876"/>
                      <a:pt x="39044" y="212289"/>
                      <a:pt x="35456" y="208785"/>
                    </a:cubicBezTo>
                    <a:cubicBezTo>
                      <a:pt x="32787" y="206533"/>
                      <a:pt x="30618" y="203947"/>
                      <a:pt x="28782" y="200777"/>
                    </a:cubicBezTo>
                    <a:cubicBezTo>
                      <a:pt x="23943" y="194103"/>
                      <a:pt x="21691" y="185261"/>
                      <a:pt x="19021" y="176418"/>
                    </a:cubicBezTo>
                    <a:cubicBezTo>
                      <a:pt x="17686" y="171580"/>
                      <a:pt x="16352" y="167075"/>
                      <a:pt x="14600" y="162654"/>
                    </a:cubicBezTo>
                    <a:cubicBezTo>
                      <a:pt x="11930" y="154646"/>
                      <a:pt x="7926" y="147138"/>
                      <a:pt x="4422" y="140047"/>
                    </a:cubicBezTo>
                    <a:cubicBezTo>
                      <a:pt x="3087" y="136960"/>
                      <a:pt x="1335" y="134291"/>
                      <a:pt x="0" y="131622"/>
                    </a:cubicBezTo>
                    <a:cubicBezTo>
                      <a:pt x="11513" y="120110"/>
                      <a:pt x="20857" y="100172"/>
                      <a:pt x="27948" y="84656"/>
                    </a:cubicBezTo>
                    <a:cubicBezTo>
                      <a:pt x="30200" y="80234"/>
                      <a:pt x="31953" y="75813"/>
                      <a:pt x="33704" y="72727"/>
                    </a:cubicBezTo>
                    <a:cubicBezTo>
                      <a:pt x="35039" y="69640"/>
                      <a:pt x="36791" y="66053"/>
                      <a:pt x="38543" y="62549"/>
                    </a:cubicBezTo>
                    <a:cubicBezTo>
                      <a:pt x="39878" y="59880"/>
                      <a:pt x="41213" y="57210"/>
                      <a:pt x="42047" y="54541"/>
                    </a:cubicBezTo>
                    <a:cubicBezTo>
                      <a:pt x="45551" y="49202"/>
                      <a:pt x="47386" y="46533"/>
                      <a:pt x="53143" y="39442"/>
                    </a:cubicBezTo>
                    <a:cubicBezTo>
                      <a:pt x="55813" y="38107"/>
                      <a:pt x="57982" y="37189"/>
                      <a:pt x="61569" y="35938"/>
                    </a:cubicBezTo>
                    <a:cubicBezTo>
                      <a:pt x="64239" y="35021"/>
                      <a:pt x="66908" y="34187"/>
                      <a:pt x="69995" y="32852"/>
                    </a:cubicBezTo>
                    <a:cubicBezTo>
                      <a:pt x="78004" y="29348"/>
                      <a:pt x="81925" y="22674"/>
                      <a:pt x="84595" y="17753"/>
                    </a:cubicBezTo>
                    <a:cubicBezTo>
                      <a:pt x="86847" y="14249"/>
                      <a:pt x="88599" y="11079"/>
                      <a:pt x="91686" y="9744"/>
                    </a:cubicBezTo>
                    <a:cubicBezTo>
                      <a:pt x="95691" y="7492"/>
                      <a:pt x="102281" y="10161"/>
                      <a:pt x="108038" y="12414"/>
                    </a:cubicBezTo>
                    <a:cubicBezTo>
                      <a:pt x="110290" y="13331"/>
                      <a:pt x="112459" y="14166"/>
                      <a:pt x="114211" y="14666"/>
                    </a:cubicBezTo>
                    <a:cubicBezTo>
                      <a:pt x="127977" y="19087"/>
                      <a:pt x="137237" y="21757"/>
                      <a:pt x="151837" y="17335"/>
                    </a:cubicBezTo>
                    <a:cubicBezTo>
                      <a:pt x="156676" y="16001"/>
                      <a:pt x="161181" y="13331"/>
                      <a:pt x="165602" y="11162"/>
                    </a:cubicBezTo>
                    <a:cubicBezTo>
                      <a:pt x="170942" y="8493"/>
                      <a:pt x="175780" y="5824"/>
                      <a:pt x="181120" y="4989"/>
                    </a:cubicBezTo>
                    <a:cubicBezTo>
                      <a:pt x="185541" y="4572"/>
                      <a:pt x="189129" y="6324"/>
                      <a:pt x="193550" y="9828"/>
                    </a:cubicBezTo>
                    <a:cubicBezTo>
                      <a:pt x="198389" y="12497"/>
                      <a:pt x="203728" y="16001"/>
                      <a:pt x="210820" y="16001"/>
                    </a:cubicBezTo>
                    <a:cubicBezTo>
                      <a:pt x="218328" y="16418"/>
                      <a:pt x="224084" y="11579"/>
                      <a:pt x="228089" y="7992"/>
                    </a:cubicBezTo>
                    <a:cubicBezTo>
                      <a:pt x="230341" y="6658"/>
                      <a:pt x="231593" y="4906"/>
                      <a:pt x="233428" y="3988"/>
                    </a:cubicBezTo>
                    <a:cubicBezTo>
                      <a:pt x="243606" y="-433"/>
                      <a:pt x="257789" y="-433"/>
                      <a:pt x="272389" y="484"/>
                    </a:cubicBezTo>
                    <a:cubicBezTo>
                      <a:pt x="274141" y="9327"/>
                      <a:pt x="279480" y="12914"/>
                      <a:pt x="282984" y="15083"/>
                    </a:cubicBezTo>
                    <a:cubicBezTo>
                      <a:pt x="285653" y="16418"/>
                      <a:pt x="286988" y="17753"/>
                      <a:pt x="287823" y="19922"/>
                    </a:cubicBezTo>
                    <a:cubicBezTo>
                      <a:pt x="289158" y="22174"/>
                      <a:pt x="288740" y="23926"/>
                      <a:pt x="288740" y="26595"/>
                    </a:cubicBezTo>
                    <a:cubicBezTo>
                      <a:pt x="288323" y="32768"/>
                      <a:pt x="289158" y="39025"/>
                      <a:pt x="298501" y="45198"/>
                    </a:cubicBezTo>
                    <a:cubicBezTo>
                      <a:pt x="302005" y="47867"/>
                      <a:pt x="306510" y="48702"/>
                      <a:pt x="310014" y="49619"/>
                    </a:cubicBezTo>
                    <a:cubicBezTo>
                      <a:pt x="314019" y="50537"/>
                      <a:pt x="316688" y="51371"/>
                      <a:pt x="318023" y="53123"/>
                    </a:cubicBezTo>
                    <a:cubicBezTo>
                      <a:pt x="320276" y="56209"/>
                      <a:pt x="321110" y="60631"/>
                      <a:pt x="322445" y="65552"/>
                    </a:cubicBezTo>
                    <a:cubicBezTo>
                      <a:pt x="323780" y="71309"/>
                      <a:pt x="325531" y="77982"/>
                      <a:pt x="329536" y="83738"/>
                    </a:cubicBezTo>
                    <a:cubicBezTo>
                      <a:pt x="338379" y="96168"/>
                      <a:pt x="349475" y="107680"/>
                      <a:pt x="360988" y="117440"/>
                    </a:cubicBezTo>
                    <a:cubicBezTo>
                      <a:pt x="358735" y="120944"/>
                      <a:pt x="357901" y="125448"/>
                      <a:pt x="357901" y="131204"/>
                    </a:cubicBezTo>
                    <a:cubicBezTo>
                      <a:pt x="358819" y="146304"/>
                      <a:pt x="368079" y="153811"/>
                      <a:pt x="375170" y="159984"/>
                    </a:cubicBezTo>
                    <a:cubicBezTo>
                      <a:pt x="378257" y="162654"/>
                      <a:pt x="381344" y="164823"/>
                      <a:pt x="383597" y="167993"/>
                    </a:cubicBezTo>
                    <a:cubicBezTo>
                      <a:pt x="386266" y="171079"/>
                      <a:pt x="387101" y="172831"/>
                      <a:pt x="386266" y="175084"/>
                    </a:cubicBezTo>
                    <a:cubicBezTo>
                      <a:pt x="385348" y="177336"/>
                      <a:pt x="383180" y="179505"/>
                      <a:pt x="378758" y="183509"/>
                    </a:cubicBezTo>
                    <a:cubicBezTo>
                      <a:pt x="377840" y="184427"/>
                      <a:pt x="376505" y="185761"/>
                      <a:pt x="375671" y="186596"/>
                    </a:cubicBezTo>
                    <a:cubicBezTo>
                      <a:pt x="374753" y="187013"/>
                      <a:pt x="374336" y="187930"/>
                      <a:pt x="373419" y="188848"/>
                    </a:cubicBezTo>
                    <a:cubicBezTo>
                      <a:pt x="366327" y="195939"/>
                      <a:pt x="363657" y="203447"/>
                      <a:pt x="360988" y="210537"/>
                    </a:cubicBezTo>
                    <a:cubicBezTo>
                      <a:pt x="359653" y="214959"/>
                      <a:pt x="357901" y="218546"/>
                      <a:pt x="355649" y="222466"/>
                    </a:cubicBezTo>
                    <a:cubicBezTo>
                      <a:pt x="350810" y="230892"/>
                      <a:pt x="342801" y="235313"/>
                      <a:pt x="333958" y="240652"/>
                    </a:cubicBezTo>
                    <a:cubicBezTo>
                      <a:pt x="325531" y="245491"/>
                      <a:pt x="316688" y="250412"/>
                      <a:pt x="310515" y="258838"/>
                    </a:cubicBezTo>
                    <a:cubicBezTo>
                      <a:pt x="307011" y="263259"/>
                      <a:pt x="303841" y="268598"/>
                      <a:pt x="300337" y="273019"/>
                    </a:cubicBezTo>
                    <a:cubicBezTo>
                      <a:pt x="295915" y="280110"/>
                      <a:pt x="291493" y="286784"/>
                      <a:pt x="286154" y="291622"/>
                    </a:cubicBezTo>
                    <a:cubicBezTo>
                      <a:pt x="280815" y="296961"/>
                      <a:pt x="275058" y="297795"/>
                      <a:pt x="266632" y="298296"/>
                    </a:cubicBezTo>
                    <a:cubicBezTo>
                      <a:pt x="264380" y="298296"/>
                      <a:pt x="262628" y="298713"/>
                      <a:pt x="260459" y="298713"/>
                    </a:cubicBezTo>
                    <a:lnTo>
                      <a:pt x="260041" y="298713"/>
                    </a:lnTo>
                    <a:cubicBezTo>
                      <a:pt x="242772" y="285449"/>
                      <a:pt x="223250" y="273436"/>
                      <a:pt x="201976" y="263259"/>
                    </a:cubicBezTo>
                    <a:cubicBezTo>
                      <a:pt x="198890" y="261925"/>
                      <a:pt x="192633" y="258838"/>
                      <a:pt x="186042" y="261507"/>
                    </a:cubicBezTo>
                    <a:cubicBezTo>
                      <a:pt x="182037" y="263259"/>
                      <a:pt x="179868" y="266346"/>
                      <a:pt x="177616" y="269933"/>
                    </a:cubicBezTo>
                    <a:cubicBezTo>
                      <a:pt x="174112" y="275272"/>
                      <a:pt x="167438" y="278775"/>
                      <a:pt x="159929" y="279693"/>
                    </a:cubicBezTo>
                    <a:cubicBezTo>
                      <a:pt x="152838" y="281028"/>
                      <a:pt x="145747" y="279276"/>
                      <a:pt x="140407" y="274855"/>
                    </a:cubicBezTo>
                    <a:cubicBezTo>
                      <a:pt x="135569" y="271351"/>
                      <a:pt x="131981" y="266012"/>
                      <a:pt x="128477" y="260256"/>
                    </a:cubicBezTo>
                    <a:cubicBezTo>
                      <a:pt x="126725" y="257586"/>
                      <a:pt x="124973" y="254917"/>
                      <a:pt x="123138" y="252248"/>
                    </a:cubicBezTo>
                    <a:cubicBezTo>
                      <a:pt x="113794" y="239818"/>
                      <a:pt x="102782" y="233645"/>
                      <a:pt x="91269" y="234979"/>
                    </a:cubicBezTo>
                    <a:cubicBezTo>
                      <a:pt x="88599" y="235397"/>
                      <a:pt x="85930" y="235897"/>
                      <a:pt x="83260" y="236731"/>
                    </a:cubicBezTo>
                    <a:cubicBezTo>
                      <a:pt x="81925" y="237148"/>
                      <a:pt x="80590" y="237649"/>
                      <a:pt x="78838" y="237649"/>
                    </a:cubicBezTo>
                    <a:cubicBezTo>
                      <a:pt x="73499" y="238567"/>
                      <a:pt x="66908" y="237232"/>
                      <a:pt x="61152" y="235397"/>
                    </a:cubicBezTo>
                    <a:cubicBezTo>
                      <a:pt x="58899" y="234979"/>
                      <a:pt x="56730" y="234062"/>
                      <a:pt x="54478" y="233144"/>
                    </a:cubicBezTo>
                    <a:cubicBezTo>
                      <a:pt x="52225" y="232227"/>
                      <a:pt x="50473" y="230892"/>
                      <a:pt x="49138" y="230058"/>
                    </a:cubicBezTo>
                    <a:cubicBezTo>
                      <a:pt x="47804" y="228723"/>
                      <a:pt x="46886" y="226971"/>
                      <a:pt x="46052" y="224719"/>
                    </a:cubicBezTo>
                    <a:cubicBezTo>
                      <a:pt x="46969" y="223301"/>
                      <a:pt x="46135" y="222049"/>
                      <a:pt x="45217" y="220714"/>
                    </a:cubicBezTo>
                    <a:lnTo>
                      <a:pt x="45217" y="220714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13235801" name="Полилиния 370"/>
              <p:cNvSpPr/>
              <p:nvPr/>
            </p:nvSpPr>
            <p:spPr bwMode="auto">
              <a:xfrm>
                <a:off x="1785494" y="3492985"/>
                <a:ext cx="619507" cy="417157"/>
              </a:xfrm>
              <a:custGeom>
                <a:avLst/>
                <a:gdLst>
                  <a:gd name="connsiteX0" fmla="*/ 93939 w 695728"/>
                  <a:gd name="connsiteY0" fmla="*/ 76 h 468482"/>
                  <a:gd name="connsiteX1" fmla="*/ 106369 w 695728"/>
                  <a:gd name="connsiteY1" fmla="*/ 3163 h 468482"/>
                  <a:gd name="connsiteX2" fmla="*/ 120135 w 695728"/>
                  <a:gd name="connsiteY2" fmla="*/ 17344 h 468482"/>
                  <a:gd name="connsiteX3" fmla="*/ 137404 w 695728"/>
                  <a:gd name="connsiteY3" fmla="*/ 34612 h 468482"/>
                  <a:gd name="connsiteX4" fmla="*/ 161765 w 695728"/>
                  <a:gd name="connsiteY4" fmla="*/ 40785 h 468482"/>
                  <a:gd name="connsiteX5" fmla="*/ 175530 w 695728"/>
                  <a:gd name="connsiteY5" fmla="*/ 42537 h 468482"/>
                  <a:gd name="connsiteX6" fmla="*/ 202978 w 695728"/>
                  <a:gd name="connsiteY6" fmla="*/ 49628 h 468482"/>
                  <a:gd name="connsiteX7" fmla="*/ 231760 w 695728"/>
                  <a:gd name="connsiteY7" fmla="*/ 57636 h 468482"/>
                  <a:gd name="connsiteX8" fmla="*/ 251282 w 695728"/>
                  <a:gd name="connsiteY8" fmla="*/ 61640 h 468482"/>
                  <a:gd name="connsiteX9" fmla="*/ 276560 w 695728"/>
                  <a:gd name="connsiteY9" fmla="*/ 68731 h 468482"/>
                  <a:gd name="connsiteX10" fmla="*/ 284068 w 695728"/>
                  <a:gd name="connsiteY10" fmla="*/ 73153 h 468482"/>
                  <a:gd name="connsiteX11" fmla="*/ 331038 w 695728"/>
                  <a:gd name="connsiteY11" fmla="*/ 81161 h 468482"/>
                  <a:gd name="connsiteX12" fmla="*/ 348307 w 695728"/>
                  <a:gd name="connsiteY12" fmla="*/ 79409 h 468482"/>
                  <a:gd name="connsiteX13" fmla="*/ 386433 w 695728"/>
                  <a:gd name="connsiteY13" fmla="*/ 69232 h 468482"/>
                  <a:gd name="connsiteX14" fmla="*/ 397946 w 695728"/>
                  <a:gd name="connsiteY14" fmla="*/ 51547 h 468482"/>
                  <a:gd name="connsiteX15" fmla="*/ 409876 w 695728"/>
                  <a:gd name="connsiteY15" fmla="*/ 41369 h 468482"/>
                  <a:gd name="connsiteX16" fmla="*/ 437824 w 695728"/>
                  <a:gd name="connsiteY16" fmla="*/ 58637 h 468482"/>
                  <a:gd name="connsiteX17" fmla="*/ 441829 w 695728"/>
                  <a:gd name="connsiteY17" fmla="*/ 61724 h 468482"/>
                  <a:gd name="connsiteX18" fmla="*/ 449837 w 695728"/>
                  <a:gd name="connsiteY18" fmla="*/ 75488 h 468482"/>
                  <a:gd name="connsiteX19" fmla="*/ 456512 w 695728"/>
                  <a:gd name="connsiteY19" fmla="*/ 91422 h 468482"/>
                  <a:gd name="connsiteX20" fmla="*/ 476868 w 695728"/>
                  <a:gd name="connsiteY20" fmla="*/ 102516 h 468482"/>
                  <a:gd name="connsiteX21" fmla="*/ 483959 w 695728"/>
                  <a:gd name="connsiteY21" fmla="*/ 103434 h 468482"/>
                  <a:gd name="connsiteX22" fmla="*/ 495472 w 695728"/>
                  <a:gd name="connsiteY22" fmla="*/ 109190 h 468482"/>
                  <a:gd name="connsiteX23" fmla="*/ 503481 w 695728"/>
                  <a:gd name="connsiteY23" fmla="*/ 114529 h 468482"/>
                  <a:gd name="connsiteX24" fmla="*/ 531429 w 695728"/>
                  <a:gd name="connsiteY24" fmla="*/ 116281 h 468482"/>
                  <a:gd name="connsiteX25" fmla="*/ 546946 w 695728"/>
                  <a:gd name="connsiteY25" fmla="*/ 115864 h 468482"/>
                  <a:gd name="connsiteX26" fmla="*/ 561546 w 695728"/>
                  <a:gd name="connsiteY26" fmla="*/ 126041 h 468482"/>
                  <a:gd name="connsiteX27" fmla="*/ 572642 w 695728"/>
                  <a:gd name="connsiteY27" fmla="*/ 134467 h 468482"/>
                  <a:gd name="connsiteX28" fmla="*/ 602342 w 695728"/>
                  <a:gd name="connsiteY28" fmla="*/ 150400 h 468482"/>
                  <a:gd name="connsiteX29" fmla="*/ 606763 w 695728"/>
                  <a:gd name="connsiteY29" fmla="*/ 152652 h 468482"/>
                  <a:gd name="connsiteX30" fmla="*/ 620529 w 695728"/>
                  <a:gd name="connsiteY30" fmla="*/ 157491 h 468482"/>
                  <a:gd name="connsiteX31" fmla="*/ 667915 w 695728"/>
                  <a:gd name="connsiteY31" fmla="*/ 161912 h 468482"/>
                  <a:gd name="connsiteX32" fmla="*/ 672337 w 695728"/>
                  <a:gd name="connsiteY32" fmla="*/ 161912 h 468482"/>
                  <a:gd name="connsiteX33" fmla="*/ 694445 w 695728"/>
                  <a:gd name="connsiteY33" fmla="*/ 179180 h 468482"/>
                  <a:gd name="connsiteX34" fmla="*/ 695363 w 695728"/>
                  <a:gd name="connsiteY34" fmla="*/ 221725 h 468482"/>
                  <a:gd name="connsiteX35" fmla="*/ 690524 w 695728"/>
                  <a:gd name="connsiteY35" fmla="*/ 224811 h 468482"/>
                  <a:gd name="connsiteX36" fmla="*/ 681681 w 695728"/>
                  <a:gd name="connsiteY36" fmla="*/ 229650 h 468482"/>
                  <a:gd name="connsiteX37" fmla="*/ 671503 w 695728"/>
                  <a:gd name="connsiteY37" fmla="*/ 233654 h 468482"/>
                  <a:gd name="connsiteX38" fmla="*/ 641803 w 695728"/>
                  <a:gd name="connsiteY38" fmla="*/ 268190 h 468482"/>
                  <a:gd name="connsiteX39" fmla="*/ 626285 w 695728"/>
                  <a:gd name="connsiteY39" fmla="*/ 281954 h 468482"/>
                  <a:gd name="connsiteX40" fmla="*/ 605011 w 695728"/>
                  <a:gd name="connsiteY40" fmla="*/ 293883 h 468482"/>
                  <a:gd name="connsiteX41" fmla="*/ 593081 w 695728"/>
                  <a:gd name="connsiteY41" fmla="*/ 328002 h 468482"/>
                  <a:gd name="connsiteX42" fmla="*/ 594833 w 695728"/>
                  <a:gd name="connsiteY42" fmla="*/ 343101 h 468482"/>
                  <a:gd name="connsiteX43" fmla="*/ 595751 w 695728"/>
                  <a:gd name="connsiteY43" fmla="*/ 355531 h 468482"/>
                  <a:gd name="connsiteX44" fmla="*/ 591329 w 695728"/>
                  <a:gd name="connsiteY44" fmla="*/ 362622 h 468482"/>
                  <a:gd name="connsiteX45" fmla="*/ 583320 w 695728"/>
                  <a:gd name="connsiteY45" fmla="*/ 377721 h 468482"/>
                  <a:gd name="connsiteX46" fmla="*/ 592164 w 695728"/>
                  <a:gd name="connsiteY46" fmla="*/ 402079 h 468482"/>
                  <a:gd name="connsiteX47" fmla="*/ 597003 w 695728"/>
                  <a:gd name="connsiteY47" fmla="*/ 409587 h 468482"/>
                  <a:gd name="connsiteX48" fmla="*/ 597920 w 695728"/>
                  <a:gd name="connsiteY48" fmla="*/ 445875 h 468482"/>
                  <a:gd name="connsiteX49" fmla="*/ 591747 w 695728"/>
                  <a:gd name="connsiteY49" fmla="*/ 452048 h 468482"/>
                  <a:gd name="connsiteX50" fmla="*/ 585072 w 695728"/>
                  <a:gd name="connsiteY50" fmla="*/ 449379 h 468482"/>
                  <a:gd name="connsiteX51" fmla="*/ 572225 w 695728"/>
                  <a:gd name="connsiteY51" fmla="*/ 445875 h 468482"/>
                  <a:gd name="connsiteX52" fmla="*/ 541190 w 695728"/>
                  <a:gd name="connsiteY52" fmla="*/ 467147 h 468482"/>
                  <a:gd name="connsiteX53" fmla="*/ 540272 w 695728"/>
                  <a:gd name="connsiteY53" fmla="*/ 468482 h 468482"/>
                  <a:gd name="connsiteX54" fmla="*/ 526507 w 695728"/>
                  <a:gd name="connsiteY54" fmla="*/ 444123 h 468482"/>
                  <a:gd name="connsiteX55" fmla="*/ 491050 w 695728"/>
                  <a:gd name="connsiteY55" fmla="*/ 427773 h 468482"/>
                  <a:gd name="connsiteX56" fmla="*/ 474699 w 695728"/>
                  <a:gd name="connsiteY56" fmla="*/ 422935 h 468482"/>
                  <a:gd name="connsiteX57" fmla="*/ 443247 w 695728"/>
                  <a:gd name="connsiteY57" fmla="*/ 418513 h 468482"/>
                  <a:gd name="connsiteX58" fmla="*/ 421556 w 695728"/>
                  <a:gd name="connsiteY58" fmla="*/ 416261 h 468482"/>
                  <a:gd name="connsiteX59" fmla="*/ 403869 w 695728"/>
                  <a:gd name="connsiteY59" fmla="*/ 406918 h 468482"/>
                  <a:gd name="connsiteX60" fmla="*/ 396778 w 695728"/>
                  <a:gd name="connsiteY60" fmla="*/ 402497 h 468482"/>
                  <a:gd name="connsiteX61" fmla="*/ 379509 w 695728"/>
                  <a:gd name="connsiteY61" fmla="*/ 394989 h 468482"/>
                  <a:gd name="connsiteX62" fmla="*/ 370665 w 695728"/>
                  <a:gd name="connsiteY62" fmla="*/ 391485 h 468482"/>
                  <a:gd name="connsiteX63" fmla="*/ 355565 w 695728"/>
                  <a:gd name="connsiteY63" fmla="*/ 375969 h 468482"/>
                  <a:gd name="connsiteX64" fmla="*/ 343635 w 695728"/>
                  <a:gd name="connsiteY64" fmla="*/ 359118 h 468482"/>
                  <a:gd name="connsiteX65" fmla="*/ 301588 w 695728"/>
                  <a:gd name="connsiteY65" fmla="*/ 355614 h 468482"/>
                  <a:gd name="connsiteX66" fmla="*/ 296749 w 695728"/>
                  <a:gd name="connsiteY66" fmla="*/ 357366 h 468482"/>
                  <a:gd name="connsiteX67" fmla="*/ 265714 w 695728"/>
                  <a:gd name="connsiteY67" fmla="*/ 364457 h 468482"/>
                  <a:gd name="connsiteX68" fmla="*/ 248445 w 695728"/>
                  <a:gd name="connsiteY68" fmla="*/ 363539 h 468482"/>
                  <a:gd name="connsiteX69" fmla="*/ 215241 w 695728"/>
                  <a:gd name="connsiteY69" fmla="*/ 342267 h 468482"/>
                  <a:gd name="connsiteX70" fmla="*/ 207232 w 695728"/>
                  <a:gd name="connsiteY70" fmla="*/ 320995 h 468482"/>
                  <a:gd name="connsiteX71" fmla="*/ 191298 w 695728"/>
                  <a:gd name="connsiteY71" fmla="*/ 289128 h 468482"/>
                  <a:gd name="connsiteX72" fmla="*/ 140825 w 695728"/>
                  <a:gd name="connsiteY72" fmla="*/ 282955 h 468482"/>
                  <a:gd name="connsiteX73" fmla="*/ 133316 w 695728"/>
                  <a:gd name="connsiteY73" fmla="*/ 284707 h 468482"/>
                  <a:gd name="connsiteX74" fmla="*/ 71330 w 695728"/>
                  <a:gd name="connsiteY74" fmla="*/ 252840 h 468482"/>
                  <a:gd name="connsiteX75" fmla="*/ 50974 w 695728"/>
                  <a:gd name="connsiteY75" fmla="*/ 229816 h 468482"/>
                  <a:gd name="connsiteX76" fmla="*/ 23943 w 695728"/>
                  <a:gd name="connsiteY76" fmla="*/ 191276 h 468482"/>
                  <a:gd name="connsiteX77" fmla="*/ 5339 w 695728"/>
                  <a:gd name="connsiteY77" fmla="*/ 164248 h 468482"/>
                  <a:gd name="connsiteX78" fmla="*/ 0 w 695728"/>
                  <a:gd name="connsiteY78" fmla="*/ 157157 h 468482"/>
                  <a:gd name="connsiteX79" fmla="*/ 9761 w 695728"/>
                  <a:gd name="connsiteY79" fmla="*/ 139472 h 468482"/>
                  <a:gd name="connsiteX80" fmla="*/ 24861 w 695728"/>
                  <a:gd name="connsiteY80" fmla="*/ 132381 h 468482"/>
                  <a:gd name="connsiteX81" fmla="*/ 49222 w 695728"/>
                  <a:gd name="connsiteY81" fmla="*/ 118617 h 468482"/>
                  <a:gd name="connsiteX82" fmla="*/ 58065 w 695728"/>
                  <a:gd name="connsiteY82" fmla="*/ 88085 h 468482"/>
                  <a:gd name="connsiteX83" fmla="*/ 60318 w 695728"/>
                  <a:gd name="connsiteY83" fmla="*/ 71734 h 468482"/>
                  <a:gd name="connsiteX84" fmla="*/ 68327 w 695728"/>
                  <a:gd name="connsiteY84" fmla="*/ 52214 h 468482"/>
                  <a:gd name="connsiteX85" fmla="*/ 77670 w 695728"/>
                  <a:gd name="connsiteY85" fmla="*/ 29190 h 468482"/>
                  <a:gd name="connsiteX86" fmla="*/ 80340 w 695728"/>
                  <a:gd name="connsiteY86" fmla="*/ 19430 h 468482"/>
                  <a:gd name="connsiteX87" fmla="*/ 94106 w 695728"/>
                  <a:gd name="connsiteY87" fmla="*/ 1244 h 468482"/>
                  <a:gd name="connsiteX88" fmla="*/ 93939 w 695728"/>
                  <a:gd name="connsiteY88" fmla="*/ 76 h 468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95728" h="468482" extrusionOk="0">
                    <a:moveTo>
                      <a:pt x="93939" y="76"/>
                    </a:moveTo>
                    <a:cubicBezTo>
                      <a:pt x="98777" y="-341"/>
                      <a:pt x="102365" y="994"/>
                      <a:pt x="106369" y="3163"/>
                    </a:cubicBezTo>
                    <a:cubicBezTo>
                      <a:pt x="110791" y="6249"/>
                      <a:pt x="114795" y="11171"/>
                      <a:pt x="120135" y="17344"/>
                    </a:cubicBezTo>
                    <a:cubicBezTo>
                      <a:pt x="124973" y="23517"/>
                      <a:pt x="130313" y="29774"/>
                      <a:pt x="137404" y="34612"/>
                    </a:cubicBezTo>
                    <a:cubicBezTo>
                      <a:pt x="145830" y="39951"/>
                      <a:pt x="154673" y="40368"/>
                      <a:pt x="161765" y="40785"/>
                    </a:cubicBezTo>
                    <a:cubicBezTo>
                      <a:pt x="166603" y="41202"/>
                      <a:pt x="171526" y="41202"/>
                      <a:pt x="175530" y="42537"/>
                    </a:cubicBezTo>
                    <a:cubicBezTo>
                      <a:pt x="184874" y="45207"/>
                      <a:pt x="194134" y="47376"/>
                      <a:pt x="202978" y="49628"/>
                    </a:cubicBezTo>
                    <a:cubicBezTo>
                      <a:pt x="212738" y="52297"/>
                      <a:pt x="221999" y="54466"/>
                      <a:pt x="231760" y="57636"/>
                    </a:cubicBezTo>
                    <a:cubicBezTo>
                      <a:pt x="238434" y="59889"/>
                      <a:pt x="244607" y="60723"/>
                      <a:pt x="251282" y="61640"/>
                    </a:cubicBezTo>
                    <a:cubicBezTo>
                      <a:pt x="260125" y="62975"/>
                      <a:pt x="268968" y="64310"/>
                      <a:pt x="276560" y="68731"/>
                    </a:cubicBezTo>
                    <a:lnTo>
                      <a:pt x="284068" y="73153"/>
                    </a:lnTo>
                    <a:cubicBezTo>
                      <a:pt x="300420" y="83330"/>
                      <a:pt x="307511" y="86416"/>
                      <a:pt x="331038" y="81161"/>
                    </a:cubicBezTo>
                    <a:cubicBezTo>
                      <a:pt x="335876" y="79826"/>
                      <a:pt x="341633" y="79826"/>
                      <a:pt x="348307" y="79409"/>
                    </a:cubicBezTo>
                    <a:cubicBezTo>
                      <a:pt x="361155" y="78491"/>
                      <a:pt x="375337" y="78074"/>
                      <a:pt x="386433" y="69232"/>
                    </a:cubicBezTo>
                    <a:cubicBezTo>
                      <a:pt x="392607" y="64393"/>
                      <a:pt x="395276" y="57303"/>
                      <a:pt x="397946" y="51547"/>
                    </a:cubicBezTo>
                    <a:cubicBezTo>
                      <a:pt x="401450" y="43121"/>
                      <a:pt x="402785" y="40952"/>
                      <a:pt x="409876" y="41369"/>
                    </a:cubicBezTo>
                    <a:cubicBezTo>
                      <a:pt x="418719" y="42704"/>
                      <a:pt x="429815" y="51964"/>
                      <a:pt x="437824" y="58637"/>
                    </a:cubicBezTo>
                    <a:lnTo>
                      <a:pt x="441829" y="61724"/>
                    </a:lnTo>
                    <a:cubicBezTo>
                      <a:pt x="447168" y="66145"/>
                      <a:pt x="448503" y="69732"/>
                      <a:pt x="449837" y="75488"/>
                    </a:cubicBezTo>
                    <a:cubicBezTo>
                      <a:pt x="450755" y="79910"/>
                      <a:pt x="452507" y="85249"/>
                      <a:pt x="456512" y="91422"/>
                    </a:cubicBezTo>
                    <a:cubicBezTo>
                      <a:pt x="463603" y="102016"/>
                      <a:pt x="470277" y="102016"/>
                      <a:pt x="476868" y="102516"/>
                    </a:cubicBezTo>
                    <a:cubicBezTo>
                      <a:pt x="479120" y="102933"/>
                      <a:pt x="481289" y="102933"/>
                      <a:pt x="483959" y="103434"/>
                    </a:cubicBezTo>
                    <a:cubicBezTo>
                      <a:pt x="488798" y="104352"/>
                      <a:pt x="491968" y="106521"/>
                      <a:pt x="495472" y="109190"/>
                    </a:cubicBezTo>
                    <a:cubicBezTo>
                      <a:pt x="498142" y="110942"/>
                      <a:pt x="500311" y="112694"/>
                      <a:pt x="503481" y="114529"/>
                    </a:cubicBezTo>
                    <a:cubicBezTo>
                      <a:pt x="514577" y="120702"/>
                      <a:pt x="523837" y="118033"/>
                      <a:pt x="531429" y="116281"/>
                    </a:cubicBezTo>
                    <a:cubicBezTo>
                      <a:pt x="536768" y="114946"/>
                      <a:pt x="541607" y="113612"/>
                      <a:pt x="546946" y="115864"/>
                    </a:cubicBezTo>
                    <a:cubicBezTo>
                      <a:pt x="551785" y="117616"/>
                      <a:pt x="557124" y="122037"/>
                      <a:pt x="561546" y="126041"/>
                    </a:cubicBezTo>
                    <a:cubicBezTo>
                      <a:pt x="565050" y="129128"/>
                      <a:pt x="569055" y="132214"/>
                      <a:pt x="572642" y="134467"/>
                    </a:cubicBezTo>
                    <a:cubicBezTo>
                      <a:pt x="581986" y="140223"/>
                      <a:pt x="591663" y="145061"/>
                      <a:pt x="602342" y="150400"/>
                    </a:cubicBezTo>
                    <a:cubicBezTo>
                      <a:pt x="603677" y="151317"/>
                      <a:pt x="605429" y="151734"/>
                      <a:pt x="606763" y="152652"/>
                    </a:cubicBezTo>
                    <a:cubicBezTo>
                      <a:pt x="611602" y="154905"/>
                      <a:pt x="616107" y="156156"/>
                      <a:pt x="620529" y="157491"/>
                    </a:cubicBezTo>
                    <a:cubicBezTo>
                      <a:pt x="636463" y="161912"/>
                      <a:pt x="650229" y="161912"/>
                      <a:pt x="667915" y="161912"/>
                    </a:cubicBezTo>
                    <a:lnTo>
                      <a:pt x="672337" y="161912"/>
                    </a:lnTo>
                    <a:cubicBezTo>
                      <a:pt x="686936" y="160994"/>
                      <a:pt x="692693" y="166333"/>
                      <a:pt x="694445" y="179180"/>
                    </a:cubicBezTo>
                    <a:cubicBezTo>
                      <a:pt x="696197" y="192944"/>
                      <a:pt x="695780" y="206625"/>
                      <a:pt x="695363" y="221725"/>
                    </a:cubicBezTo>
                    <a:cubicBezTo>
                      <a:pt x="693611" y="222642"/>
                      <a:pt x="692276" y="223977"/>
                      <a:pt x="690524" y="224811"/>
                    </a:cubicBezTo>
                    <a:cubicBezTo>
                      <a:pt x="687854" y="226563"/>
                      <a:pt x="685185" y="228315"/>
                      <a:pt x="681681" y="229650"/>
                    </a:cubicBezTo>
                    <a:cubicBezTo>
                      <a:pt x="678177" y="230984"/>
                      <a:pt x="674589" y="232319"/>
                      <a:pt x="671503" y="233654"/>
                    </a:cubicBezTo>
                    <a:cubicBezTo>
                      <a:pt x="654650" y="239827"/>
                      <a:pt x="647559" y="243414"/>
                      <a:pt x="641803" y="268190"/>
                    </a:cubicBezTo>
                    <a:cubicBezTo>
                      <a:pt x="639133" y="277950"/>
                      <a:pt x="634711" y="279285"/>
                      <a:pt x="626285" y="281954"/>
                    </a:cubicBezTo>
                    <a:cubicBezTo>
                      <a:pt x="619611" y="284206"/>
                      <a:pt x="611686" y="286375"/>
                      <a:pt x="605011" y="293883"/>
                    </a:cubicBezTo>
                    <a:cubicBezTo>
                      <a:pt x="595250" y="304477"/>
                      <a:pt x="593081" y="325333"/>
                      <a:pt x="593081" y="328002"/>
                    </a:cubicBezTo>
                    <a:cubicBezTo>
                      <a:pt x="592664" y="333341"/>
                      <a:pt x="593999" y="338179"/>
                      <a:pt x="594833" y="343101"/>
                    </a:cubicBezTo>
                    <a:cubicBezTo>
                      <a:pt x="595751" y="347940"/>
                      <a:pt x="596585" y="352444"/>
                      <a:pt x="595751" y="355531"/>
                    </a:cubicBezTo>
                    <a:cubicBezTo>
                      <a:pt x="595334" y="357783"/>
                      <a:pt x="593081" y="359952"/>
                      <a:pt x="591329" y="362622"/>
                    </a:cubicBezTo>
                    <a:cubicBezTo>
                      <a:pt x="588243" y="366626"/>
                      <a:pt x="584238" y="371047"/>
                      <a:pt x="583320" y="377721"/>
                    </a:cubicBezTo>
                    <a:cubicBezTo>
                      <a:pt x="581986" y="387898"/>
                      <a:pt x="587742" y="395906"/>
                      <a:pt x="592164" y="402079"/>
                    </a:cubicBezTo>
                    <a:cubicBezTo>
                      <a:pt x="593916" y="404749"/>
                      <a:pt x="595668" y="406918"/>
                      <a:pt x="597003" y="409587"/>
                    </a:cubicBezTo>
                    <a:cubicBezTo>
                      <a:pt x="600506" y="416678"/>
                      <a:pt x="603176" y="435281"/>
                      <a:pt x="597920" y="445875"/>
                    </a:cubicBezTo>
                    <a:cubicBezTo>
                      <a:pt x="595668" y="450297"/>
                      <a:pt x="593498" y="451214"/>
                      <a:pt x="591747" y="452048"/>
                    </a:cubicBezTo>
                    <a:cubicBezTo>
                      <a:pt x="590412" y="452048"/>
                      <a:pt x="587325" y="450714"/>
                      <a:pt x="585072" y="449379"/>
                    </a:cubicBezTo>
                    <a:cubicBezTo>
                      <a:pt x="581569" y="447627"/>
                      <a:pt x="576646" y="445375"/>
                      <a:pt x="572225" y="445875"/>
                    </a:cubicBezTo>
                    <a:cubicBezTo>
                      <a:pt x="559794" y="445875"/>
                      <a:pt x="547864" y="453884"/>
                      <a:pt x="541190" y="467147"/>
                    </a:cubicBezTo>
                    <a:lnTo>
                      <a:pt x="540272" y="468482"/>
                    </a:lnTo>
                    <a:cubicBezTo>
                      <a:pt x="537185" y="460474"/>
                      <a:pt x="534099" y="451214"/>
                      <a:pt x="526507" y="444123"/>
                    </a:cubicBezTo>
                    <a:cubicBezTo>
                      <a:pt x="516329" y="433529"/>
                      <a:pt x="503481" y="430359"/>
                      <a:pt x="491050" y="427773"/>
                    </a:cubicBezTo>
                    <a:cubicBezTo>
                      <a:pt x="485294" y="426438"/>
                      <a:pt x="479955" y="425104"/>
                      <a:pt x="474699" y="422935"/>
                    </a:cubicBezTo>
                    <a:cubicBezTo>
                      <a:pt x="463603" y="418513"/>
                      <a:pt x="453008" y="418513"/>
                      <a:pt x="443247" y="418513"/>
                    </a:cubicBezTo>
                    <a:cubicBezTo>
                      <a:pt x="435738" y="418513"/>
                      <a:pt x="428647" y="418096"/>
                      <a:pt x="421556" y="416261"/>
                    </a:cubicBezTo>
                    <a:cubicBezTo>
                      <a:pt x="414465" y="414509"/>
                      <a:pt x="409626" y="410922"/>
                      <a:pt x="403869" y="406918"/>
                    </a:cubicBezTo>
                    <a:cubicBezTo>
                      <a:pt x="401200" y="405583"/>
                      <a:pt x="399031" y="403831"/>
                      <a:pt x="396778" y="402497"/>
                    </a:cubicBezTo>
                    <a:cubicBezTo>
                      <a:pt x="390604" y="398993"/>
                      <a:pt x="384848" y="396741"/>
                      <a:pt x="379509" y="394989"/>
                    </a:cubicBezTo>
                    <a:cubicBezTo>
                      <a:pt x="376422" y="394071"/>
                      <a:pt x="373335" y="392737"/>
                      <a:pt x="370665" y="391485"/>
                    </a:cubicBezTo>
                    <a:cubicBezTo>
                      <a:pt x="361822" y="387981"/>
                      <a:pt x="359153" y="383060"/>
                      <a:pt x="355565" y="375969"/>
                    </a:cubicBezTo>
                    <a:cubicBezTo>
                      <a:pt x="352896" y="371130"/>
                      <a:pt x="349809" y="365374"/>
                      <a:pt x="343635" y="359118"/>
                    </a:cubicBezTo>
                    <a:cubicBezTo>
                      <a:pt x="329453" y="345854"/>
                      <a:pt x="314436" y="351109"/>
                      <a:pt x="301588" y="355614"/>
                    </a:cubicBezTo>
                    <a:lnTo>
                      <a:pt x="296749" y="357366"/>
                    </a:lnTo>
                    <a:cubicBezTo>
                      <a:pt x="285236" y="361370"/>
                      <a:pt x="275058" y="363539"/>
                      <a:pt x="265714" y="364457"/>
                    </a:cubicBezTo>
                    <a:cubicBezTo>
                      <a:pt x="259541" y="364874"/>
                      <a:pt x="253784" y="364874"/>
                      <a:pt x="248445" y="363539"/>
                    </a:cubicBezTo>
                    <a:cubicBezTo>
                      <a:pt x="235180" y="360870"/>
                      <a:pt x="224502" y="353779"/>
                      <a:pt x="215241" y="342267"/>
                    </a:cubicBezTo>
                    <a:cubicBezTo>
                      <a:pt x="210402" y="336094"/>
                      <a:pt x="209068" y="329003"/>
                      <a:pt x="207232" y="320995"/>
                    </a:cubicBezTo>
                    <a:cubicBezTo>
                      <a:pt x="204980" y="310400"/>
                      <a:pt x="202811" y="297971"/>
                      <a:pt x="191298" y="289128"/>
                    </a:cubicBezTo>
                    <a:cubicBezTo>
                      <a:pt x="173611" y="274947"/>
                      <a:pt x="156759" y="278951"/>
                      <a:pt x="140825" y="282955"/>
                    </a:cubicBezTo>
                    <a:lnTo>
                      <a:pt x="133316" y="284707"/>
                    </a:lnTo>
                    <a:cubicBezTo>
                      <a:pt x="102782" y="290880"/>
                      <a:pt x="89016" y="274112"/>
                      <a:pt x="71330" y="252840"/>
                    </a:cubicBezTo>
                    <a:cubicBezTo>
                      <a:pt x="65156" y="244832"/>
                      <a:pt x="58482" y="236907"/>
                      <a:pt x="50974" y="229816"/>
                    </a:cubicBezTo>
                    <a:cubicBezTo>
                      <a:pt x="38543" y="217887"/>
                      <a:pt x="32787" y="207710"/>
                      <a:pt x="23943" y="191276"/>
                    </a:cubicBezTo>
                    <a:cubicBezTo>
                      <a:pt x="18604" y="181516"/>
                      <a:pt x="11513" y="173090"/>
                      <a:pt x="5339" y="164248"/>
                    </a:cubicBezTo>
                    <a:cubicBezTo>
                      <a:pt x="3087" y="161578"/>
                      <a:pt x="1835" y="159409"/>
                      <a:pt x="0" y="157157"/>
                    </a:cubicBezTo>
                    <a:cubicBezTo>
                      <a:pt x="2252" y="150066"/>
                      <a:pt x="5339" y="143893"/>
                      <a:pt x="9761" y="139472"/>
                    </a:cubicBezTo>
                    <a:cubicBezTo>
                      <a:pt x="13265" y="135467"/>
                      <a:pt x="18604" y="134133"/>
                      <a:pt x="24861" y="132381"/>
                    </a:cubicBezTo>
                    <a:cubicBezTo>
                      <a:pt x="32870" y="130129"/>
                      <a:pt x="42131" y="127542"/>
                      <a:pt x="49222" y="118617"/>
                    </a:cubicBezTo>
                    <a:cubicBezTo>
                      <a:pt x="57648" y="108022"/>
                      <a:pt x="57648" y="97345"/>
                      <a:pt x="58065" y="88085"/>
                    </a:cubicBezTo>
                    <a:cubicBezTo>
                      <a:pt x="58065" y="82329"/>
                      <a:pt x="58482" y="76990"/>
                      <a:pt x="60318" y="71734"/>
                    </a:cubicBezTo>
                    <a:cubicBezTo>
                      <a:pt x="62570" y="65061"/>
                      <a:pt x="65657" y="58888"/>
                      <a:pt x="68327" y="52214"/>
                    </a:cubicBezTo>
                    <a:cubicBezTo>
                      <a:pt x="71413" y="44706"/>
                      <a:pt x="75001" y="37115"/>
                      <a:pt x="77670" y="29190"/>
                    </a:cubicBezTo>
                    <a:cubicBezTo>
                      <a:pt x="78588" y="26103"/>
                      <a:pt x="79422" y="22516"/>
                      <a:pt x="80340" y="19430"/>
                    </a:cubicBezTo>
                    <a:cubicBezTo>
                      <a:pt x="83010" y="7500"/>
                      <a:pt x="84762" y="2579"/>
                      <a:pt x="94106" y="1244"/>
                    </a:cubicBezTo>
                    <a:cubicBezTo>
                      <a:pt x="92604" y="493"/>
                      <a:pt x="93438" y="76"/>
                      <a:pt x="93939" y="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22196605" name="Полилиния 371"/>
              <p:cNvSpPr/>
              <p:nvPr/>
            </p:nvSpPr>
            <p:spPr bwMode="auto">
              <a:xfrm>
                <a:off x="2219798" y="3946318"/>
                <a:ext cx="279965" cy="334339"/>
              </a:xfrm>
              <a:custGeom>
                <a:avLst/>
                <a:gdLst>
                  <a:gd name="connsiteX0" fmla="*/ 51366 w 314411"/>
                  <a:gd name="connsiteY0" fmla="*/ 229323 h 375475"/>
                  <a:gd name="connsiteX1" fmla="*/ 61127 w 314411"/>
                  <a:gd name="connsiteY1" fmla="*/ 190365 h 375475"/>
                  <a:gd name="connsiteX2" fmla="*/ 46027 w 314411"/>
                  <a:gd name="connsiteY2" fmla="*/ 167341 h 375475"/>
                  <a:gd name="connsiteX3" fmla="*/ 38018 w 314411"/>
                  <a:gd name="connsiteY3" fmla="*/ 162002 h 375475"/>
                  <a:gd name="connsiteX4" fmla="*/ 30927 w 314411"/>
                  <a:gd name="connsiteY4" fmla="*/ 150073 h 375475"/>
                  <a:gd name="connsiteX5" fmla="*/ 26922 w 314411"/>
                  <a:gd name="connsiteY5" fmla="*/ 141231 h 375475"/>
                  <a:gd name="connsiteX6" fmla="*/ 20749 w 314411"/>
                  <a:gd name="connsiteY6" fmla="*/ 135058 h 375475"/>
                  <a:gd name="connsiteX7" fmla="*/ 18496 w 314411"/>
                  <a:gd name="connsiteY7" fmla="*/ 133723 h 375475"/>
                  <a:gd name="connsiteX8" fmla="*/ 17578 w 314411"/>
                  <a:gd name="connsiteY8" fmla="*/ 127550 h 375475"/>
                  <a:gd name="connsiteX9" fmla="*/ 15326 w 314411"/>
                  <a:gd name="connsiteY9" fmla="*/ 116955 h 375475"/>
                  <a:gd name="connsiteX10" fmla="*/ 7317 w 314411"/>
                  <a:gd name="connsiteY10" fmla="*/ 105026 h 375475"/>
                  <a:gd name="connsiteX11" fmla="*/ 1143 w 314411"/>
                  <a:gd name="connsiteY11" fmla="*/ 95266 h 375475"/>
                  <a:gd name="connsiteX12" fmla="*/ 17078 w 314411"/>
                  <a:gd name="connsiteY12" fmla="*/ 43462 h 375475"/>
                  <a:gd name="connsiteX13" fmla="*/ 23752 w 314411"/>
                  <a:gd name="connsiteY13" fmla="*/ 31032 h 375475"/>
                  <a:gd name="connsiteX14" fmla="*/ 45443 w 314411"/>
                  <a:gd name="connsiteY14" fmla="*/ 0 h 375475"/>
                  <a:gd name="connsiteX15" fmla="*/ 59209 w 314411"/>
                  <a:gd name="connsiteY15" fmla="*/ 23941 h 375475"/>
                  <a:gd name="connsiteX16" fmla="*/ 68552 w 314411"/>
                  <a:gd name="connsiteY16" fmla="*/ 35037 h 375475"/>
                  <a:gd name="connsiteX17" fmla="*/ 106178 w 314411"/>
                  <a:gd name="connsiteY17" fmla="*/ 60730 h 375475"/>
                  <a:gd name="connsiteX18" fmla="*/ 122112 w 314411"/>
                  <a:gd name="connsiteY18" fmla="*/ 50135 h 375475"/>
                  <a:gd name="connsiteX19" fmla="*/ 126534 w 314411"/>
                  <a:gd name="connsiteY19" fmla="*/ 45297 h 375475"/>
                  <a:gd name="connsiteX20" fmla="*/ 137129 w 314411"/>
                  <a:gd name="connsiteY20" fmla="*/ 41793 h 375475"/>
                  <a:gd name="connsiteX21" fmla="*/ 140633 w 314411"/>
                  <a:gd name="connsiteY21" fmla="*/ 40876 h 375475"/>
                  <a:gd name="connsiteX22" fmla="*/ 141968 w 314411"/>
                  <a:gd name="connsiteY22" fmla="*/ 78498 h 375475"/>
                  <a:gd name="connsiteX23" fmla="*/ 136211 w 314411"/>
                  <a:gd name="connsiteY23" fmla="*/ 109030 h 375475"/>
                  <a:gd name="connsiteX24" fmla="*/ 169916 w 314411"/>
                  <a:gd name="connsiteY24" fmla="*/ 132472 h 375475"/>
                  <a:gd name="connsiteX25" fmla="*/ 178759 w 314411"/>
                  <a:gd name="connsiteY25" fmla="*/ 134724 h 375475"/>
                  <a:gd name="connsiteX26" fmla="*/ 195111 w 314411"/>
                  <a:gd name="connsiteY26" fmla="*/ 143566 h 375475"/>
                  <a:gd name="connsiteX27" fmla="*/ 200867 w 314411"/>
                  <a:gd name="connsiteY27" fmla="*/ 155496 h 375475"/>
                  <a:gd name="connsiteX28" fmla="*/ 214633 w 314411"/>
                  <a:gd name="connsiteY28" fmla="*/ 177602 h 375475"/>
                  <a:gd name="connsiteX29" fmla="*/ 249589 w 314411"/>
                  <a:gd name="connsiteY29" fmla="*/ 206382 h 375475"/>
                  <a:gd name="connsiteX30" fmla="*/ 262019 w 314411"/>
                  <a:gd name="connsiteY30" fmla="*/ 226737 h 375475"/>
                  <a:gd name="connsiteX31" fmla="*/ 262937 w 314411"/>
                  <a:gd name="connsiteY31" fmla="*/ 231575 h 375475"/>
                  <a:gd name="connsiteX32" fmla="*/ 279288 w 314411"/>
                  <a:gd name="connsiteY32" fmla="*/ 250595 h 375475"/>
                  <a:gd name="connsiteX33" fmla="*/ 286380 w 314411"/>
                  <a:gd name="connsiteY33" fmla="*/ 253264 h 375475"/>
                  <a:gd name="connsiteX34" fmla="*/ 294389 w 314411"/>
                  <a:gd name="connsiteY34" fmla="*/ 256351 h 375475"/>
                  <a:gd name="connsiteX35" fmla="*/ 296641 w 314411"/>
                  <a:gd name="connsiteY35" fmla="*/ 259021 h 375475"/>
                  <a:gd name="connsiteX36" fmla="*/ 303315 w 314411"/>
                  <a:gd name="connsiteY36" fmla="*/ 265194 h 375475"/>
                  <a:gd name="connsiteX37" fmla="*/ 314411 w 314411"/>
                  <a:gd name="connsiteY37" fmla="*/ 270032 h 375475"/>
                  <a:gd name="connsiteX38" fmla="*/ 296725 w 314411"/>
                  <a:gd name="connsiteY38" fmla="*/ 296143 h 375475"/>
                  <a:gd name="connsiteX39" fmla="*/ 259933 w 314411"/>
                  <a:gd name="connsiteY39" fmla="*/ 317415 h 375475"/>
                  <a:gd name="connsiteX40" fmla="*/ 233821 w 314411"/>
                  <a:gd name="connsiteY40" fmla="*/ 321836 h 375475"/>
                  <a:gd name="connsiteX41" fmla="*/ 210378 w 314411"/>
                  <a:gd name="connsiteY41" fmla="*/ 324923 h 375475"/>
                  <a:gd name="connsiteX42" fmla="*/ 186434 w 314411"/>
                  <a:gd name="connsiteY42" fmla="*/ 340439 h 375475"/>
                  <a:gd name="connsiteX43" fmla="*/ 178008 w 314411"/>
                  <a:gd name="connsiteY43" fmla="*/ 348447 h 375475"/>
                  <a:gd name="connsiteX44" fmla="*/ 155900 w 314411"/>
                  <a:gd name="connsiteY44" fmla="*/ 360377 h 375475"/>
                  <a:gd name="connsiteX45" fmla="*/ 138631 w 314411"/>
                  <a:gd name="connsiteY45" fmla="*/ 368802 h 375475"/>
                  <a:gd name="connsiteX46" fmla="*/ 134626 w 314411"/>
                  <a:gd name="connsiteY46" fmla="*/ 371054 h 375475"/>
                  <a:gd name="connsiteX47" fmla="*/ 127118 w 314411"/>
                  <a:gd name="connsiteY47" fmla="*/ 375475 h 375475"/>
                  <a:gd name="connsiteX48" fmla="*/ 97418 w 314411"/>
                  <a:gd name="connsiteY48" fmla="*/ 344026 h 375475"/>
                  <a:gd name="connsiteX49" fmla="*/ 92579 w 314411"/>
                  <a:gd name="connsiteY49" fmla="*/ 330762 h 375475"/>
                  <a:gd name="connsiteX50" fmla="*/ 85905 w 314411"/>
                  <a:gd name="connsiteY50" fmla="*/ 313077 h 375475"/>
                  <a:gd name="connsiteX51" fmla="*/ 69553 w 314411"/>
                  <a:gd name="connsiteY51" fmla="*/ 304234 h 375475"/>
                  <a:gd name="connsiteX52" fmla="*/ 62462 w 314411"/>
                  <a:gd name="connsiteY52" fmla="*/ 301982 h 375475"/>
                  <a:gd name="connsiteX53" fmla="*/ 59375 w 314411"/>
                  <a:gd name="connsiteY53" fmla="*/ 295809 h 375475"/>
                  <a:gd name="connsiteX54" fmla="*/ 57123 w 314411"/>
                  <a:gd name="connsiteY54" fmla="*/ 283379 h 375475"/>
                  <a:gd name="connsiteX55" fmla="*/ 46528 w 314411"/>
                  <a:gd name="connsiteY55" fmla="*/ 271867 h 375475"/>
                  <a:gd name="connsiteX56" fmla="*/ 43858 w 314411"/>
                  <a:gd name="connsiteY56" fmla="*/ 269615 h 375475"/>
                  <a:gd name="connsiteX57" fmla="*/ 42106 w 314411"/>
                  <a:gd name="connsiteY57" fmla="*/ 265194 h 375475"/>
                  <a:gd name="connsiteX58" fmla="*/ 42523 w 314411"/>
                  <a:gd name="connsiteY58" fmla="*/ 255433 h 375475"/>
                  <a:gd name="connsiteX59" fmla="*/ 51366 w 314411"/>
                  <a:gd name="connsiteY59" fmla="*/ 229323 h 37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14411" h="375475" extrusionOk="0">
                    <a:moveTo>
                      <a:pt x="51366" y="229323"/>
                    </a:moveTo>
                    <a:cubicBezTo>
                      <a:pt x="56706" y="216893"/>
                      <a:pt x="62462" y="204046"/>
                      <a:pt x="61127" y="190365"/>
                    </a:cubicBezTo>
                    <a:cubicBezTo>
                      <a:pt x="59793" y="174849"/>
                      <a:pt x="52284" y="170845"/>
                      <a:pt x="46027" y="167341"/>
                    </a:cubicBezTo>
                    <a:cubicBezTo>
                      <a:pt x="43357" y="166007"/>
                      <a:pt x="40688" y="164255"/>
                      <a:pt x="38018" y="162002"/>
                    </a:cubicBezTo>
                    <a:cubicBezTo>
                      <a:pt x="34514" y="158916"/>
                      <a:pt x="32679" y="154912"/>
                      <a:pt x="30927" y="150073"/>
                    </a:cubicBezTo>
                    <a:cubicBezTo>
                      <a:pt x="29592" y="147404"/>
                      <a:pt x="28257" y="144317"/>
                      <a:pt x="26922" y="141231"/>
                    </a:cubicBezTo>
                    <a:cubicBezTo>
                      <a:pt x="25170" y="138144"/>
                      <a:pt x="22501" y="136393"/>
                      <a:pt x="20749" y="135058"/>
                    </a:cubicBezTo>
                    <a:cubicBezTo>
                      <a:pt x="19831" y="134641"/>
                      <a:pt x="18496" y="133723"/>
                      <a:pt x="18496" y="133723"/>
                    </a:cubicBezTo>
                    <a:cubicBezTo>
                      <a:pt x="17578" y="132388"/>
                      <a:pt x="17578" y="130219"/>
                      <a:pt x="17578" y="127550"/>
                    </a:cubicBezTo>
                    <a:cubicBezTo>
                      <a:pt x="17161" y="124463"/>
                      <a:pt x="17161" y="120876"/>
                      <a:pt x="15326" y="116955"/>
                    </a:cubicBezTo>
                    <a:cubicBezTo>
                      <a:pt x="13073" y="112117"/>
                      <a:pt x="10487" y="108113"/>
                      <a:pt x="7317" y="105026"/>
                    </a:cubicBezTo>
                    <a:cubicBezTo>
                      <a:pt x="4647" y="101940"/>
                      <a:pt x="2478" y="98853"/>
                      <a:pt x="1143" y="95266"/>
                    </a:cubicBezTo>
                    <a:cubicBezTo>
                      <a:pt x="-3695" y="80167"/>
                      <a:pt x="7818" y="59812"/>
                      <a:pt x="17078" y="43462"/>
                    </a:cubicBezTo>
                    <a:cubicBezTo>
                      <a:pt x="19748" y="39041"/>
                      <a:pt x="21917" y="34620"/>
                      <a:pt x="23752" y="31032"/>
                    </a:cubicBezTo>
                    <a:cubicBezTo>
                      <a:pt x="29091" y="19937"/>
                      <a:pt x="36183" y="8008"/>
                      <a:pt x="45443" y="0"/>
                    </a:cubicBezTo>
                    <a:cubicBezTo>
                      <a:pt x="47696" y="8842"/>
                      <a:pt x="52117" y="17685"/>
                      <a:pt x="59209" y="23941"/>
                    </a:cubicBezTo>
                    <a:cubicBezTo>
                      <a:pt x="61878" y="26611"/>
                      <a:pt x="64965" y="30615"/>
                      <a:pt x="68552" y="35037"/>
                    </a:cubicBezTo>
                    <a:cubicBezTo>
                      <a:pt x="78313" y="47466"/>
                      <a:pt x="90243" y="62982"/>
                      <a:pt x="106178" y="60730"/>
                    </a:cubicBezTo>
                    <a:cubicBezTo>
                      <a:pt x="115021" y="59395"/>
                      <a:pt x="119026" y="54056"/>
                      <a:pt x="122112" y="50135"/>
                    </a:cubicBezTo>
                    <a:cubicBezTo>
                      <a:pt x="123447" y="47883"/>
                      <a:pt x="124782" y="46632"/>
                      <a:pt x="126534" y="45297"/>
                    </a:cubicBezTo>
                    <a:cubicBezTo>
                      <a:pt x="129621" y="43045"/>
                      <a:pt x="133208" y="42628"/>
                      <a:pt x="137129" y="41793"/>
                    </a:cubicBezTo>
                    <a:cubicBezTo>
                      <a:pt x="138464" y="41376"/>
                      <a:pt x="139382" y="41376"/>
                      <a:pt x="140633" y="40876"/>
                    </a:cubicBezTo>
                    <a:cubicBezTo>
                      <a:pt x="149476" y="54640"/>
                      <a:pt x="152563" y="62982"/>
                      <a:pt x="141968" y="78498"/>
                    </a:cubicBezTo>
                    <a:cubicBezTo>
                      <a:pt x="134877" y="89594"/>
                      <a:pt x="133125" y="99771"/>
                      <a:pt x="136211" y="109030"/>
                    </a:cubicBezTo>
                    <a:cubicBezTo>
                      <a:pt x="140633" y="119625"/>
                      <a:pt x="151729" y="127633"/>
                      <a:pt x="169916" y="132472"/>
                    </a:cubicBezTo>
                    <a:cubicBezTo>
                      <a:pt x="173003" y="133389"/>
                      <a:pt x="176089" y="133806"/>
                      <a:pt x="178759" y="134724"/>
                    </a:cubicBezTo>
                    <a:cubicBezTo>
                      <a:pt x="187602" y="136059"/>
                      <a:pt x="191190" y="137393"/>
                      <a:pt x="195111" y="143566"/>
                    </a:cubicBezTo>
                    <a:cubicBezTo>
                      <a:pt x="197780" y="147988"/>
                      <a:pt x="199532" y="151992"/>
                      <a:pt x="200867" y="155496"/>
                    </a:cubicBezTo>
                    <a:cubicBezTo>
                      <a:pt x="203954" y="162586"/>
                      <a:pt x="207541" y="170094"/>
                      <a:pt x="214633" y="177602"/>
                    </a:cubicBezTo>
                    <a:cubicBezTo>
                      <a:pt x="225728" y="190032"/>
                      <a:pt x="237241" y="197957"/>
                      <a:pt x="249589" y="206382"/>
                    </a:cubicBezTo>
                    <a:cubicBezTo>
                      <a:pt x="259767" y="213473"/>
                      <a:pt x="259767" y="213473"/>
                      <a:pt x="262019" y="226737"/>
                    </a:cubicBezTo>
                    <a:lnTo>
                      <a:pt x="262937" y="231575"/>
                    </a:lnTo>
                    <a:cubicBezTo>
                      <a:pt x="264272" y="243087"/>
                      <a:pt x="266441" y="244839"/>
                      <a:pt x="279288" y="250595"/>
                    </a:cubicBezTo>
                    <a:cubicBezTo>
                      <a:pt x="281958" y="251513"/>
                      <a:pt x="284127" y="252347"/>
                      <a:pt x="286380" y="253264"/>
                    </a:cubicBezTo>
                    <a:cubicBezTo>
                      <a:pt x="289049" y="254182"/>
                      <a:pt x="291719" y="254599"/>
                      <a:pt x="294389" y="256351"/>
                    </a:cubicBezTo>
                    <a:cubicBezTo>
                      <a:pt x="294806" y="256768"/>
                      <a:pt x="295724" y="257686"/>
                      <a:pt x="296641" y="259021"/>
                    </a:cubicBezTo>
                    <a:cubicBezTo>
                      <a:pt x="297976" y="261273"/>
                      <a:pt x="300145" y="263442"/>
                      <a:pt x="303315" y="265194"/>
                    </a:cubicBezTo>
                    <a:cubicBezTo>
                      <a:pt x="306486" y="266946"/>
                      <a:pt x="310407" y="268697"/>
                      <a:pt x="314411" y="270032"/>
                    </a:cubicBezTo>
                    <a:cubicBezTo>
                      <a:pt x="309572" y="280209"/>
                      <a:pt x="303816" y="289052"/>
                      <a:pt x="296725" y="296143"/>
                    </a:cubicBezTo>
                    <a:cubicBezTo>
                      <a:pt x="286964" y="306320"/>
                      <a:pt x="269694" y="313828"/>
                      <a:pt x="259933" y="317415"/>
                    </a:cubicBezTo>
                    <a:cubicBezTo>
                      <a:pt x="251507" y="320501"/>
                      <a:pt x="243081" y="320918"/>
                      <a:pt x="233821" y="321836"/>
                    </a:cubicBezTo>
                    <a:cubicBezTo>
                      <a:pt x="226312" y="322253"/>
                      <a:pt x="218303" y="322754"/>
                      <a:pt x="210378" y="324923"/>
                    </a:cubicBezTo>
                    <a:cubicBezTo>
                      <a:pt x="198448" y="328009"/>
                      <a:pt x="192191" y="334683"/>
                      <a:pt x="186434" y="340439"/>
                    </a:cubicBezTo>
                    <a:cubicBezTo>
                      <a:pt x="183765" y="343108"/>
                      <a:pt x="181596" y="345778"/>
                      <a:pt x="178008" y="348447"/>
                    </a:cubicBezTo>
                    <a:cubicBezTo>
                      <a:pt x="171835" y="353286"/>
                      <a:pt x="164243" y="356873"/>
                      <a:pt x="155900" y="360377"/>
                    </a:cubicBezTo>
                    <a:cubicBezTo>
                      <a:pt x="149727" y="363046"/>
                      <a:pt x="143970" y="365715"/>
                      <a:pt x="138631" y="368802"/>
                    </a:cubicBezTo>
                    <a:lnTo>
                      <a:pt x="134626" y="371054"/>
                    </a:lnTo>
                    <a:cubicBezTo>
                      <a:pt x="131957" y="372389"/>
                      <a:pt x="129788" y="373724"/>
                      <a:pt x="127118" y="375475"/>
                    </a:cubicBezTo>
                    <a:cubicBezTo>
                      <a:pt x="116022" y="366133"/>
                      <a:pt x="105427" y="355538"/>
                      <a:pt x="97418" y="344026"/>
                    </a:cubicBezTo>
                    <a:cubicBezTo>
                      <a:pt x="94748" y="340522"/>
                      <a:pt x="93914" y="335601"/>
                      <a:pt x="92579" y="330762"/>
                    </a:cubicBezTo>
                    <a:cubicBezTo>
                      <a:pt x="91244" y="324589"/>
                      <a:pt x="89909" y="318332"/>
                      <a:pt x="85905" y="313077"/>
                    </a:cubicBezTo>
                    <a:cubicBezTo>
                      <a:pt x="81483" y="306904"/>
                      <a:pt x="74809" y="305069"/>
                      <a:pt x="69553" y="304234"/>
                    </a:cubicBezTo>
                    <a:cubicBezTo>
                      <a:pt x="66884" y="303817"/>
                      <a:pt x="64214" y="302900"/>
                      <a:pt x="62462" y="301982"/>
                    </a:cubicBezTo>
                    <a:cubicBezTo>
                      <a:pt x="59375" y="299730"/>
                      <a:pt x="59375" y="299313"/>
                      <a:pt x="59375" y="295809"/>
                    </a:cubicBezTo>
                    <a:cubicBezTo>
                      <a:pt x="59375" y="292722"/>
                      <a:pt x="59793" y="288718"/>
                      <a:pt x="57123" y="283379"/>
                    </a:cubicBezTo>
                    <a:cubicBezTo>
                      <a:pt x="54036" y="276706"/>
                      <a:pt x="49614" y="273619"/>
                      <a:pt x="46528" y="271867"/>
                    </a:cubicBezTo>
                    <a:cubicBezTo>
                      <a:pt x="45193" y="270950"/>
                      <a:pt x="44275" y="270533"/>
                      <a:pt x="43858" y="269615"/>
                    </a:cubicBezTo>
                    <a:cubicBezTo>
                      <a:pt x="42940" y="268697"/>
                      <a:pt x="42523" y="267363"/>
                      <a:pt x="42106" y="265194"/>
                    </a:cubicBezTo>
                    <a:cubicBezTo>
                      <a:pt x="41689" y="262107"/>
                      <a:pt x="41689" y="258520"/>
                      <a:pt x="42523" y="255433"/>
                    </a:cubicBezTo>
                    <a:cubicBezTo>
                      <a:pt x="44275" y="246174"/>
                      <a:pt x="47862" y="238166"/>
                      <a:pt x="51366" y="22932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70896710" name="Полилиния 372"/>
              <p:cNvSpPr/>
              <p:nvPr/>
            </p:nvSpPr>
            <p:spPr bwMode="auto">
              <a:xfrm>
                <a:off x="2167701" y="4463020"/>
                <a:ext cx="339685" cy="375343"/>
              </a:xfrm>
              <a:custGeom>
                <a:avLst/>
                <a:gdLst>
                  <a:gd name="connsiteX0" fmla="*/ 3087 w 381479"/>
                  <a:gd name="connsiteY0" fmla="*/ 225402 h 421524"/>
                  <a:gd name="connsiteX1" fmla="*/ 0 w 381479"/>
                  <a:gd name="connsiteY1" fmla="*/ 224985 h 421524"/>
                  <a:gd name="connsiteX2" fmla="*/ 13765 w 381479"/>
                  <a:gd name="connsiteY2" fmla="*/ 217477 h 421524"/>
                  <a:gd name="connsiteX3" fmla="*/ 43465 w 381479"/>
                  <a:gd name="connsiteY3" fmla="*/ 192701 h 421524"/>
                  <a:gd name="connsiteX4" fmla="*/ 43882 w 381479"/>
                  <a:gd name="connsiteY4" fmla="*/ 129385 h 421524"/>
                  <a:gd name="connsiteX5" fmla="*/ 42131 w 381479"/>
                  <a:gd name="connsiteY5" fmla="*/ 124547 h 421524"/>
                  <a:gd name="connsiteX6" fmla="*/ 41713 w 381479"/>
                  <a:gd name="connsiteY6" fmla="*/ 89093 h 421524"/>
                  <a:gd name="connsiteX7" fmla="*/ 44383 w 381479"/>
                  <a:gd name="connsiteY7" fmla="*/ 57644 h 421524"/>
                  <a:gd name="connsiteX8" fmla="*/ 43465 w 381479"/>
                  <a:gd name="connsiteY8" fmla="*/ 43879 h 421524"/>
                  <a:gd name="connsiteX9" fmla="*/ 72248 w 381479"/>
                  <a:gd name="connsiteY9" fmla="*/ 0 h 421524"/>
                  <a:gd name="connsiteX10" fmla="*/ 89517 w 381479"/>
                  <a:gd name="connsiteY10" fmla="*/ 18186 h 421524"/>
                  <a:gd name="connsiteX11" fmla="*/ 94856 w 381479"/>
                  <a:gd name="connsiteY11" fmla="*/ 24860 h 421524"/>
                  <a:gd name="connsiteX12" fmla="*/ 142660 w 381479"/>
                  <a:gd name="connsiteY12" fmla="*/ 47884 h 421524"/>
                  <a:gd name="connsiteX13" fmla="*/ 156425 w 381479"/>
                  <a:gd name="connsiteY13" fmla="*/ 47467 h 421524"/>
                  <a:gd name="connsiteX14" fmla="*/ 174612 w 381479"/>
                  <a:gd name="connsiteY14" fmla="*/ 48384 h 421524"/>
                  <a:gd name="connsiteX15" fmla="*/ 193217 w 381479"/>
                  <a:gd name="connsiteY15" fmla="*/ 75412 h 421524"/>
                  <a:gd name="connsiteX16" fmla="*/ 193634 w 381479"/>
                  <a:gd name="connsiteY16" fmla="*/ 80251 h 421524"/>
                  <a:gd name="connsiteX17" fmla="*/ 194968 w 381479"/>
                  <a:gd name="connsiteY17" fmla="*/ 91345 h 421524"/>
                  <a:gd name="connsiteX18" fmla="*/ 201142 w 381479"/>
                  <a:gd name="connsiteY18" fmla="*/ 106445 h 421524"/>
                  <a:gd name="connsiteX19" fmla="*/ 217494 w 381479"/>
                  <a:gd name="connsiteY19" fmla="*/ 137894 h 421524"/>
                  <a:gd name="connsiteX20" fmla="*/ 246693 w 381479"/>
                  <a:gd name="connsiteY20" fmla="*/ 157415 h 421524"/>
                  <a:gd name="connsiteX21" fmla="*/ 262211 w 381479"/>
                  <a:gd name="connsiteY21" fmla="*/ 145903 h 421524"/>
                  <a:gd name="connsiteX22" fmla="*/ 268384 w 381479"/>
                  <a:gd name="connsiteY22" fmla="*/ 139729 h 421524"/>
                  <a:gd name="connsiteX23" fmla="*/ 280815 w 381479"/>
                  <a:gd name="connsiteY23" fmla="*/ 138395 h 421524"/>
                  <a:gd name="connsiteX24" fmla="*/ 287906 w 381479"/>
                  <a:gd name="connsiteY24" fmla="*/ 139312 h 421524"/>
                  <a:gd name="connsiteX25" fmla="*/ 300754 w 381479"/>
                  <a:gd name="connsiteY25" fmla="*/ 145486 h 421524"/>
                  <a:gd name="connsiteX26" fmla="*/ 308763 w 381479"/>
                  <a:gd name="connsiteY26" fmla="*/ 163171 h 421524"/>
                  <a:gd name="connsiteX27" fmla="*/ 309180 w 381479"/>
                  <a:gd name="connsiteY27" fmla="*/ 165840 h 421524"/>
                  <a:gd name="connsiteX28" fmla="*/ 314936 w 381479"/>
                  <a:gd name="connsiteY28" fmla="*/ 179605 h 421524"/>
                  <a:gd name="connsiteX29" fmla="*/ 336210 w 381479"/>
                  <a:gd name="connsiteY29" fmla="*/ 191534 h 421524"/>
                  <a:gd name="connsiteX30" fmla="*/ 351310 w 381479"/>
                  <a:gd name="connsiteY30" fmla="*/ 195538 h 421524"/>
                  <a:gd name="connsiteX31" fmla="*/ 377006 w 381479"/>
                  <a:gd name="connsiteY31" fmla="*/ 194620 h 421524"/>
                  <a:gd name="connsiteX32" fmla="*/ 381427 w 381479"/>
                  <a:gd name="connsiteY32" fmla="*/ 215475 h 421524"/>
                  <a:gd name="connsiteX33" fmla="*/ 379676 w 381479"/>
                  <a:gd name="connsiteY33" fmla="*/ 227404 h 421524"/>
                  <a:gd name="connsiteX34" fmla="*/ 377924 w 381479"/>
                  <a:gd name="connsiteY34" fmla="*/ 238500 h 421524"/>
                  <a:gd name="connsiteX35" fmla="*/ 377506 w 381479"/>
                  <a:gd name="connsiteY35" fmla="*/ 246508 h 421524"/>
                  <a:gd name="connsiteX36" fmla="*/ 376589 w 381479"/>
                  <a:gd name="connsiteY36" fmla="*/ 257102 h 421524"/>
                  <a:gd name="connsiteX37" fmla="*/ 373085 w 381479"/>
                  <a:gd name="connsiteY37" fmla="*/ 266863 h 421524"/>
                  <a:gd name="connsiteX38" fmla="*/ 368246 w 381479"/>
                  <a:gd name="connsiteY38" fmla="*/ 284130 h 421524"/>
                  <a:gd name="connsiteX39" fmla="*/ 374420 w 381479"/>
                  <a:gd name="connsiteY39" fmla="*/ 307572 h 421524"/>
                  <a:gd name="connsiteX40" fmla="*/ 379258 w 381479"/>
                  <a:gd name="connsiteY40" fmla="*/ 322671 h 421524"/>
                  <a:gd name="connsiteX41" fmla="*/ 373085 w 381479"/>
                  <a:gd name="connsiteY41" fmla="*/ 342608 h 421524"/>
                  <a:gd name="connsiteX42" fmla="*/ 354898 w 381479"/>
                  <a:gd name="connsiteY42" fmla="*/ 374975 h 421524"/>
                  <a:gd name="connsiteX43" fmla="*/ 334959 w 381479"/>
                  <a:gd name="connsiteY43" fmla="*/ 410429 h 421524"/>
                  <a:gd name="connsiteX44" fmla="*/ 329620 w 381479"/>
                  <a:gd name="connsiteY44" fmla="*/ 421524 h 421524"/>
                  <a:gd name="connsiteX45" fmla="*/ 324280 w 381479"/>
                  <a:gd name="connsiteY45" fmla="*/ 413099 h 421524"/>
                  <a:gd name="connsiteX46" fmla="*/ 281732 w 381479"/>
                  <a:gd name="connsiteY46" fmla="*/ 379897 h 421524"/>
                  <a:gd name="connsiteX47" fmla="*/ 254285 w 381479"/>
                  <a:gd name="connsiteY47" fmla="*/ 383401 h 421524"/>
                  <a:gd name="connsiteX48" fmla="*/ 233929 w 381479"/>
                  <a:gd name="connsiteY48" fmla="*/ 386905 h 421524"/>
                  <a:gd name="connsiteX49" fmla="*/ 215325 w 381479"/>
                  <a:gd name="connsiteY49" fmla="*/ 377144 h 421524"/>
                  <a:gd name="connsiteX50" fmla="*/ 195803 w 381479"/>
                  <a:gd name="connsiteY50" fmla="*/ 366049 h 421524"/>
                  <a:gd name="connsiteX51" fmla="*/ 180285 w 381479"/>
                  <a:gd name="connsiteY51" fmla="*/ 362546 h 421524"/>
                  <a:gd name="connsiteX52" fmla="*/ 156342 w 381479"/>
                  <a:gd name="connsiteY52" fmla="*/ 354537 h 421524"/>
                  <a:gd name="connsiteX53" fmla="*/ 146581 w 381479"/>
                  <a:gd name="connsiteY53" fmla="*/ 337269 h 421524"/>
                  <a:gd name="connsiteX54" fmla="*/ 133316 w 381479"/>
                  <a:gd name="connsiteY54" fmla="*/ 314662 h 421524"/>
                  <a:gd name="connsiteX55" fmla="*/ 92520 w 381479"/>
                  <a:gd name="connsiteY55" fmla="*/ 302233 h 421524"/>
                  <a:gd name="connsiteX56" fmla="*/ 83177 w 381479"/>
                  <a:gd name="connsiteY56" fmla="*/ 301315 h 421524"/>
                  <a:gd name="connsiteX57" fmla="*/ 62320 w 381479"/>
                  <a:gd name="connsiteY57" fmla="*/ 286716 h 421524"/>
                  <a:gd name="connsiteX58" fmla="*/ 56563 w 381479"/>
                  <a:gd name="connsiteY58" fmla="*/ 276956 h 421524"/>
                  <a:gd name="connsiteX59" fmla="*/ 37042 w 381479"/>
                  <a:gd name="connsiteY59" fmla="*/ 260606 h 421524"/>
                  <a:gd name="connsiteX60" fmla="*/ 24611 w 381479"/>
                  <a:gd name="connsiteY60" fmla="*/ 250846 h 421524"/>
                  <a:gd name="connsiteX61" fmla="*/ 22358 w 381479"/>
                  <a:gd name="connsiteY61" fmla="*/ 244673 h 421524"/>
                  <a:gd name="connsiteX62" fmla="*/ 16185 w 381479"/>
                  <a:gd name="connsiteY62" fmla="*/ 230491 h 421524"/>
                  <a:gd name="connsiteX63" fmla="*/ 3087 w 381479"/>
                  <a:gd name="connsiteY63" fmla="*/ 225402 h 42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381479" h="421524" extrusionOk="0">
                    <a:moveTo>
                      <a:pt x="3087" y="225402"/>
                    </a:moveTo>
                    <a:cubicBezTo>
                      <a:pt x="1752" y="224985"/>
                      <a:pt x="834" y="224985"/>
                      <a:pt x="0" y="224985"/>
                    </a:cubicBezTo>
                    <a:cubicBezTo>
                      <a:pt x="4005" y="222316"/>
                      <a:pt x="8426" y="220147"/>
                      <a:pt x="13765" y="217477"/>
                    </a:cubicBezTo>
                    <a:cubicBezTo>
                      <a:pt x="25696" y="212139"/>
                      <a:pt x="35874" y="206883"/>
                      <a:pt x="43465" y="192701"/>
                    </a:cubicBezTo>
                    <a:cubicBezTo>
                      <a:pt x="56730" y="167425"/>
                      <a:pt x="50974" y="150658"/>
                      <a:pt x="43882" y="129385"/>
                    </a:cubicBezTo>
                    <a:lnTo>
                      <a:pt x="42131" y="124547"/>
                    </a:lnTo>
                    <a:cubicBezTo>
                      <a:pt x="37292" y="109948"/>
                      <a:pt x="37292" y="101523"/>
                      <a:pt x="41713" y="89093"/>
                    </a:cubicBezTo>
                    <a:cubicBezTo>
                      <a:pt x="46135" y="76664"/>
                      <a:pt x="45217" y="66987"/>
                      <a:pt x="44383" y="57644"/>
                    </a:cubicBezTo>
                    <a:cubicBezTo>
                      <a:pt x="43966" y="53223"/>
                      <a:pt x="43465" y="48801"/>
                      <a:pt x="43465" y="43879"/>
                    </a:cubicBezTo>
                    <a:cubicBezTo>
                      <a:pt x="43465" y="31950"/>
                      <a:pt x="46552" y="5756"/>
                      <a:pt x="72248" y="0"/>
                    </a:cubicBezTo>
                    <a:cubicBezTo>
                      <a:pt x="80257" y="6674"/>
                      <a:pt x="83343" y="10177"/>
                      <a:pt x="89517" y="18186"/>
                    </a:cubicBezTo>
                    <a:lnTo>
                      <a:pt x="94856" y="24860"/>
                    </a:lnTo>
                    <a:cubicBezTo>
                      <a:pt x="105952" y="38624"/>
                      <a:pt x="121887" y="46132"/>
                      <a:pt x="142660" y="47884"/>
                    </a:cubicBezTo>
                    <a:cubicBezTo>
                      <a:pt x="147082" y="48301"/>
                      <a:pt x="152004" y="47884"/>
                      <a:pt x="156425" y="47467"/>
                    </a:cubicBezTo>
                    <a:cubicBezTo>
                      <a:pt x="163099" y="47049"/>
                      <a:pt x="169273" y="46549"/>
                      <a:pt x="174612" y="48384"/>
                    </a:cubicBezTo>
                    <a:cubicBezTo>
                      <a:pt x="185708" y="51888"/>
                      <a:pt x="192299" y="64317"/>
                      <a:pt x="193217" y="75412"/>
                    </a:cubicBezTo>
                    <a:cubicBezTo>
                      <a:pt x="193217" y="77164"/>
                      <a:pt x="193634" y="78916"/>
                      <a:pt x="193634" y="80251"/>
                    </a:cubicBezTo>
                    <a:cubicBezTo>
                      <a:pt x="194051" y="83755"/>
                      <a:pt x="194051" y="87759"/>
                      <a:pt x="194968" y="91345"/>
                    </a:cubicBezTo>
                    <a:cubicBezTo>
                      <a:pt x="196303" y="97102"/>
                      <a:pt x="198973" y="101940"/>
                      <a:pt x="201142" y="106445"/>
                    </a:cubicBezTo>
                    <a:lnTo>
                      <a:pt x="217494" y="137894"/>
                    </a:lnTo>
                    <a:cubicBezTo>
                      <a:pt x="228089" y="158249"/>
                      <a:pt x="240520" y="159167"/>
                      <a:pt x="246693" y="157415"/>
                    </a:cubicBezTo>
                    <a:cubicBezTo>
                      <a:pt x="253784" y="155663"/>
                      <a:pt x="258206" y="150324"/>
                      <a:pt x="262211" y="145903"/>
                    </a:cubicBezTo>
                    <a:cubicBezTo>
                      <a:pt x="264463" y="143233"/>
                      <a:pt x="266632" y="141064"/>
                      <a:pt x="268384" y="139729"/>
                    </a:cubicBezTo>
                    <a:cubicBezTo>
                      <a:pt x="271888" y="137477"/>
                      <a:pt x="275058" y="137978"/>
                      <a:pt x="280815" y="138395"/>
                    </a:cubicBezTo>
                    <a:cubicBezTo>
                      <a:pt x="283067" y="138812"/>
                      <a:pt x="285236" y="139312"/>
                      <a:pt x="287906" y="139312"/>
                    </a:cubicBezTo>
                    <a:cubicBezTo>
                      <a:pt x="294997" y="139729"/>
                      <a:pt x="297667" y="140647"/>
                      <a:pt x="300754" y="145486"/>
                    </a:cubicBezTo>
                    <a:cubicBezTo>
                      <a:pt x="304258" y="150825"/>
                      <a:pt x="306927" y="156580"/>
                      <a:pt x="308763" y="163171"/>
                    </a:cubicBezTo>
                    <a:lnTo>
                      <a:pt x="309180" y="165840"/>
                    </a:lnTo>
                    <a:cubicBezTo>
                      <a:pt x="310515" y="170261"/>
                      <a:pt x="311850" y="175600"/>
                      <a:pt x="314936" y="179605"/>
                    </a:cubicBezTo>
                    <a:cubicBezTo>
                      <a:pt x="320276" y="187112"/>
                      <a:pt x="329536" y="189782"/>
                      <a:pt x="336210" y="191534"/>
                    </a:cubicBezTo>
                    <a:lnTo>
                      <a:pt x="351310" y="195538"/>
                    </a:lnTo>
                    <a:cubicBezTo>
                      <a:pt x="356650" y="196872"/>
                      <a:pt x="367662" y="199959"/>
                      <a:pt x="377006" y="194620"/>
                    </a:cubicBezTo>
                    <a:cubicBezTo>
                      <a:pt x="379676" y="201294"/>
                      <a:pt x="381845" y="208802"/>
                      <a:pt x="381427" y="215475"/>
                    </a:cubicBezTo>
                    <a:cubicBezTo>
                      <a:pt x="381427" y="219479"/>
                      <a:pt x="380510" y="223484"/>
                      <a:pt x="379676" y="227404"/>
                    </a:cubicBezTo>
                    <a:cubicBezTo>
                      <a:pt x="378758" y="230908"/>
                      <a:pt x="378341" y="234912"/>
                      <a:pt x="377924" y="238500"/>
                    </a:cubicBezTo>
                    <a:cubicBezTo>
                      <a:pt x="377506" y="241169"/>
                      <a:pt x="377506" y="243838"/>
                      <a:pt x="377506" y="246508"/>
                    </a:cubicBezTo>
                    <a:cubicBezTo>
                      <a:pt x="377506" y="250011"/>
                      <a:pt x="377506" y="253598"/>
                      <a:pt x="376589" y="257102"/>
                    </a:cubicBezTo>
                    <a:cubicBezTo>
                      <a:pt x="375671" y="260189"/>
                      <a:pt x="374336" y="263275"/>
                      <a:pt x="373085" y="266863"/>
                    </a:cubicBezTo>
                    <a:cubicBezTo>
                      <a:pt x="370832" y="271701"/>
                      <a:pt x="368663" y="277457"/>
                      <a:pt x="368246" y="284130"/>
                    </a:cubicBezTo>
                    <a:cubicBezTo>
                      <a:pt x="367829" y="292973"/>
                      <a:pt x="371333" y="300481"/>
                      <a:pt x="374420" y="307572"/>
                    </a:cubicBezTo>
                    <a:cubicBezTo>
                      <a:pt x="376672" y="312910"/>
                      <a:pt x="378841" y="317749"/>
                      <a:pt x="379258" y="322671"/>
                    </a:cubicBezTo>
                    <a:cubicBezTo>
                      <a:pt x="379676" y="329344"/>
                      <a:pt x="376589" y="336435"/>
                      <a:pt x="373085" y="342608"/>
                    </a:cubicBezTo>
                    <a:cubicBezTo>
                      <a:pt x="367328" y="353703"/>
                      <a:pt x="361155" y="364298"/>
                      <a:pt x="354898" y="374975"/>
                    </a:cubicBezTo>
                    <a:cubicBezTo>
                      <a:pt x="348224" y="386487"/>
                      <a:pt x="341132" y="398416"/>
                      <a:pt x="334959" y="410429"/>
                    </a:cubicBezTo>
                    <a:cubicBezTo>
                      <a:pt x="332706" y="413933"/>
                      <a:pt x="331455" y="417937"/>
                      <a:pt x="329620" y="421524"/>
                    </a:cubicBezTo>
                    <a:cubicBezTo>
                      <a:pt x="327867" y="418854"/>
                      <a:pt x="326115" y="416185"/>
                      <a:pt x="324280" y="413099"/>
                    </a:cubicBezTo>
                    <a:cubicBezTo>
                      <a:pt x="316772" y="402004"/>
                      <a:pt x="300837" y="383401"/>
                      <a:pt x="281732" y="379897"/>
                    </a:cubicBezTo>
                    <a:cubicBezTo>
                      <a:pt x="271971" y="378145"/>
                      <a:pt x="263128" y="380815"/>
                      <a:pt x="254285" y="383401"/>
                    </a:cubicBezTo>
                    <a:cubicBezTo>
                      <a:pt x="247194" y="385653"/>
                      <a:pt x="240102" y="387822"/>
                      <a:pt x="233929" y="386905"/>
                    </a:cubicBezTo>
                    <a:cubicBezTo>
                      <a:pt x="227255" y="385987"/>
                      <a:pt x="221498" y="382066"/>
                      <a:pt x="215325" y="377144"/>
                    </a:cubicBezTo>
                    <a:cubicBezTo>
                      <a:pt x="209985" y="373140"/>
                      <a:pt x="203812" y="368302"/>
                      <a:pt x="195803" y="366049"/>
                    </a:cubicBezTo>
                    <a:cubicBezTo>
                      <a:pt x="190964" y="364298"/>
                      <a:pt x="185625" y="363380"/>
                      <a:pt x="180285" y="362546"/>
                    </a:cubicBezTo>
                    <a:cubicBezTo>
                      <a:pt x="170942" y="361211"/>
                      <a:pt x="162599" y="359876"/>
                      <a:pt x="156342" y="354537"/>
                    </a:cubicBezTo>
                    <a:cubicBezTo>
                      <a:pt x="151503" y="350533"/>
                      <a:pt x="149251" y="344360"/>
                      <a:pt x="146581" y="337269"/>
                    </a:cubicBezTo>
                    <a:cubicBezTo>
                      <a:pt x="143911" y="329762"/>
                      <a:pt x="140825" y="321336"/>
                      <a:pt x="133316" y="314662"/>
                    </a:cubicBezTo>
                    <a:cubicBezTo>
                      <a:pt x="121386" y="304485"/>
                      <a:pt x="106286" y="303568"/>
                      <a:pt x="92520" y="302233"/>
                    </a:cubicBezTo>
                    <a:cubicBezTo>
                      <a:pt x="89434" y="301816"/>
                      <a:pt x="86347" y="301816"/>
                      <a:pt x="83177" y="301315"/>
                    </a:cubicBezTo>
                    <a:cubicBezTo>
                      <a:pt x="69411" y="299980"/>
                      <a:pt x="67659" y="296894"/>
                      <a:pt x="62320" y="286716"/>
                    </a:cubicBezTo>
                    <a:cubicBezTo>
                      <a:pt x="60568" y="284047"/>
                      <a:pt x="58816" y="280543"/>
                      <a:pt x="56563" y="276956"/>
                    </a:cubicBezTo>
                    <a:cubicBezTo>
                      <a:pt x="51224" y="268531"/>
                      <a:pt x="43716" y="264527"/>
                      <a:pt x="37042" y="260606"/>
                    </a:cubicBezTo>
                    <a:cubicBezTo>
                      <a:pt x="31702" y="257519"/>
                      <a:pt x="27281" y="254850"/>
                      <a:pt x="24611" y="250846"/>
                    </a:cubicBezTo>
                    <a:cubicBezTo>
                      <a:pt x="23693" y="249511"/>
                      <a:pt x="23276" y="247342"/>
                      <a:pt x="22358" y="244673"/>
                    </a:cubicBezTo>
                    <a:cubicBezTo>
                      <a:pt x="21441" y="240251"/>
                      <a:pt x="20106" y="234912"/>
                      <a:pt x="16185" y="230491"/>
                    </a:cubicBezTo>
                    <a:cubicBezTo>
                      <a:pt x="10679" y="226237"/>
                      <a:pt x="6257" y="225819"/>
                      <a:pt x="3087" y="22540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24175216" name="Полилиния 373"/>
              <p:cNvSpPr/>
              <p:nvPr/>
            </p:nvSpPr>
            <p:spPr bwMode="auto">
              <a:xfrm>
                <a:off x="1963282" y="2968108"/>
                <a:ext cx="596579" cy="516402"/>
              </a:xfrm>
              <a:custGeom>
                <a:avLst/>
                <a:gdLst>
                  <a:gd name="connsiteX0" fmla="*/ 979 w 669979"/>
                  <a:gd name="connsiteY0" fmla="*/ 193032 h 579936"/>
                  <a:gd name="connsiteX1" fmla="*/ 62 w 669979"/>
                  <a:gd name="connsiteY1" fmla="*/ 177099 h 579936"/>
                  <a:gd name="connsiteX2" fmla="*/ 1397 w 669979"/>
                  <a:gd name="connsiteY2" fmla="*/ 153658 h 579936"/>
                  <a:gd name="connsiteX3" fmla="*/ 7570 w 669979"/>
                  <a:gd name="connsiteY3" fmla="*/ 153241 h 579936"/>
                  <a:gd name="connsiteX4" fmla="*/ 36352 w 669979"/>
                  <a:gd name="connsiteY4" fmla="*/ 148402 h 579936"/>
                  <a:gd name="connsiteX5" fmla="*/ 55874 w 669979"/>
                  <a:gd name="connsiteY5" fmla="*/ 129800 h 579936"/>
                  <a:gd name="connsiteX6" fmla="*/ 58544 w 669979"/>
                  <a:gd name="connsiteY6" fmla="*/ 107693 h 579936"/>
                  <a:gd name="connsiteX7" fmla="*/ 74061 w 669979"/>
                  <a:gd name="connsiteY7" fmla="*/ 96181 h 579936"/>
                  <a:gd name="connsiteX8" fmla="*/ 89579 w 669979"/>
                  <a:gd name="connsiteY8" fmla="*/ 110363 h 579936"/>
                  <a:gd name="connsiteX9" fmla="*/ 105513 w 669979"/>
                  <a:gd name="connsiteY9" fmla="*/ 110363 h 579936"/>
                  <a:gd name="connsiteX10" fmla="*/ 119279 w 669979"/>
                  <a:gd name="connsiteY10" fmla="*/ 123209 h 579936"/>
                  <a:gd name="connsiteX11" fmla="*/ 145892 w 669979"/>
                  <a:gd name="connsiteY11" fmla="*/ 144482 h 579936"/>
                  <a:gd name="connsiteX12" fmla="*/ 167583 w 669979"/>
                  <a:gd name="connsiteY12" fmla="*/ 134304 h 579936"/>
                  <a:gd name="connsiteX13" fmla="*/ 183934 w 669979"/>
                  <a:gd name="connsiteY13" fmla="*/ 155577 h 579936"/>
                  <a:gd name="connsiteX14" fmla="*/ 220726 w 669979"/>
                  <a:gd name="connsiteY14" fmla="*/ 201208 h 579936"/>
                  <a:gd name="connsiteX15" fmla="*/ 227400 w 669979"/>
                  <a:gd name="connsiteY15" fmla="*/ 154659 h 579936"/>
                  <a:gd name="connsiteX16" fmla="*/ 207878 w 669979"/>
                  <a:gd name="connsiteY16" fmla="*/ 131635 h 579936"/>
                  <a:gd name="connsiteX17" fmla="*/ 184852 w 669979"/>
                  <a:gd name="connsiteY17" fmla="*/ 111697 h 579936"/>
                  <a:gd name="connsiteX18" fmla="*/ 193695 w 669979"/>
                  <a:gd name="connsiteY18" fmla="*/ 85587 h 579936"/>
                  <a:gd name="connsiteX19" fmla="*/ 189691 w 669979"/>
                  <a:gd name="connsiteY19" fmla="*/ 56390 h 579936"/>
                  <a:gd name="connsiteX20" fmla="*/ 209630 w 669979"/>
                  <a:gd name="connsiteY20" fmla="*/ 32949 h 579936"/>
                  <a:gd name="connsiteX21" fmla="*/ 191943 w 669979"/>
                  <a:gd name="connsiteY21" fmla="*/ 14346 h 579936"/>
                  <a:gd name="connsiteX22" fmla="*/ 172922 w 669979"/>
                  <a:gd name="connsiteY22" fmla="*/ 9924 h 579936"/>
                  <a:gd name="connsiteX23" fmla="*/ 163161 w 669979"/>
                  <a:gd name="connsiteY23" fmla="*/ 12177 h 579936"/>
                  <a:gd name="connsiteX24" fmla="*/ 156487 w 669979"/>
                  <a:gd name="connsiteY24" fmla="*/ 8173 h 579936"/>
                  <a:gd name="connsiteX25" fmla="*/ 297395 w 669979"/>
                  <a:gd name="connsiteY25" fmla="*/ 5503 h 579936"/>
                  <a:gd name="connsiteX26" fmla="*/ 333686 w 669979"/>
                  <a:gd name="connsiteY26" fmla="*/ 9507 h 579936"/>
                  <a:gd name="connsiteX27" fmla="*/ 349203 w 669979"/>
                  <a:gd name="connsiteY27" fmla="*/ 40540 h 579936"/>
                  <a:gd name="connsiteX28" fmla="*/ 364720 w 669979"/>
                  <a:gd name="connsiteY28" fmla="*/ 71989 h 579936"/>
                  <a:gd name="connsiteX29" fmla="*/ 401011 w 669979"/>
                  <a:gd name="connsiteY29" fmla="*/ 164586 h 579936"/>
                  <a:gd name="connsiteX30" fmla="*/ 403681 w 669979"/>
                  <a:gd name="connsiteY30" fmla="*/ 171677 h 579936"/>
                  <a:gd name="connsiteX31" fmla="*/ 411690 w 669979"/>
                  <a:gd name="connsiteY31" fmla="*/ 195118 h 579936"/>
                  <a:gd name="connsiteX32" fmla="*/ 444477 w 669979"/>
                  <a:gd name="connsiteY32" fmla="*/ 271281 h 579936"/>
                  <a:gd name="connsiteX33" fmla="*/ 473259 w 669979"/>
                  <a:gd name="connsiteY33" fmla="*/ 302730 h 579936"/>
                  <a:gd name="connsiteX34" fmla="*/ 509549 w 669979"/>
                  <a:gd name="connsiteY34" fmla="*/ 299227 h 579936"/>
                  <a:gd name="connsiteX35" fmla="*/ 527736 w 669979"/>
                  <a:gd name="connsiteY35" fmla="*/ 294388 h 579936"/>
                  <a:gd name="connsiteX36" fmla="*/ 533076 w 669979"/>
                  <a:gd name="connsiteY36" fmla="*/ 301479 h 579936"/>
                  <a:gd name="connsiteX37" fmla="*/ 546341 w 669979"/>
                  <a:gd name="connsiteY37" fmla="*/ 316078 h 579936"/>
                  <a:gd name="connsiteX38" fmla="*/ 560106 w 669979"/>
                  <a:gd name="connsiteY38" fmla="*/ 312991 h 579936"/>
                  <a:gd name="connsiteX39" fmla="*/ 568949 w 669979"/>
                  <a:gd name="connsiteY39" fmla="*/ 286880 h 579936"/>
                  <a:gd name="connsiteX40" fmla="*/ 568949 w 669979"/>
                  <a:gd name="connsiteY40" fmla="*/ 284211 h 579936"/>
                  <a:gd name="connsiteX41" fmla="*/ 569867 w 669979"/>
                  <a:gd name="connsiteY41" fmla="*/ 280707 h 579936"/>
                  <a:gd name="connsiteX42" fmla="*/ 574289 w 669979"/>
                  <a:gd name="connsiteY42" fmla="*/ 282042 h 579936"/>
                  <a:gd name="connsiteX43" fmla="*/ 599567 w 669979"/>
                  <a:gd name="connsiteY43" fmla="*/ 304649 h 579936"/>
                  <a:gd name="connsiteX44" fmla="*/ 603989 w 669979"/>
                  <a:gd name="connsiteY44" fmla="*/ 313492 h 579936"/>
                  <a:gd name="connsiteX45" fmla="*/ 626597 w 669979"/>
                  <a:gd name="connsiteY45" fmla="*/ 329425 h 579936"/>
                  <a:gd name="connsiteX46" fmla="*/ 648705 w 669979"/>
                  <a:gd name="connsiteY46" fmla="*/ 348028 h 579936"/>
                  <a:gd name="connsiteX47" fmla="*/ 651375 w 669979"/>
                  <a:gd name="connsiteY47" fmla="*/ 355118 h 579936"/>
                  <a:gd name="connsiteX48" fmla="*/ 667309 w 669979"/>
                  <a:gd name="connsiteY48" fmla="*/ 383064 h 579936"/>
                  <a:gd name="connsiteX49" fmla="*/ 669979 w 669979"/>
                  <a:gd name="connsiteY49" fmla="*/ 385734 h 579936"/>
                  <a:gd name="connsiteX50" fmla="*/ 654045 w 669979"/>
                  <a:gd name="connsiteY50" fmla="*/ 394576 h 579936"/>
                  <a:gd name="connsiteX51" fmla="*/ 647371 w 669979"/>
                  <a:gd name="connsiteY51" fmla="*/ 398998 h 579936"/>
                  <a:gd name="connsiteX52" fmla="*/ 627431 w 669979"/>
                  <a:gd name="connsiteY52" fmla="*/ 404337 h 579936"/>
                  <a:gd name="connsiteX53" fmla="*/ 618088 w 669979"/>
                  <a:gd name="connsiteY53" fmla="*/ 405254 h 579936"/>
                  <a:gd name="connsiteX54" fmla="*/ 583132 w 669979"/>
                  <a:gd name="connsiteY54" fmla="*/ 432700 h 579936"/>
                  <a:gd name="connsiteX55" fmla="*/ 571619 w 669979"/>
                  <a:gd name="connsiteY55" fmla="*/ 448633 h 579936"/>
                  <a:gd name="connsiteX56" fmla="*/ 552097 w 669979"/>
                  <a:gd name="connsiteY56" fmla="*/ 462397 h 579936"/>
                  <a:gd name="connsiteX57" fmla="*/ 517141 w 669979"/>
                  <a:gd name="connsiteY57" fmla="*/ 499186 h 579936"/>
                  <a:gd name="connsiteX58" fmla="*/ 514889 w 669979"/>
                  <a:gd name="connsiteY58" fmla="*/ 511615 h 579936"/>
                  <a:gd name="connsiteX59" fmla="*/ 510050 w 669979"/>
                  <a:gd name="connsiteY59" fmla="*/ 526214 h 579936"/>
                  <a:gd name="connsiteX60" fmla="*/ 490528 w 669979"/>
                  <a:gd name="connsiteY60" fmla="*/ 551490 h 579936"/>
                  <a:gd name="connsiteX61" fmla="*/ 482519 w 669979"/>
                  <a:gd name="connsiteY61" fmla="*/ 556829 h 579936"/>
                  <a:gd name="connsiteX62" fmla="*/ 472341 w 669979"/>
                  <a:gd name="connsiteY62" fmla="*/ 563503 h 579936"/>
                  <a:gd name="connsiteX63" fmla="*/ 464332 w 669979"/>
                  <a:gd name="connsiteY63" fmla="*/ 571511 h 579936"/>
                  <a:gd name="connsiteX64" fmla="*/ 447980 w 669979"/>
                  <a:gd name="connsiteY64" fmla="*/ 579937 h 579936"/>
                  <a:gd name="connsiteX65" fmla="*/ 429793 w 669979"/>
                  <a:gd name="connsiteY65" fmla="*/ 576850 h 579936"/>
                  <a:gd name="connsiteX66" fmla="*/ 396589 w 669979"/>
                  <a:gd name="connsiteY66" fmla="*/ 579937 h 579936"/>
                  <a:gd name="connsiteX67" fmla="*/ 394337 w 669979"/>
                  <a:gd name="connsiteY67" fmla="*/ 576433 h 579936"/>
                  <a:gd name="connsiteX68" fmla="*/ 391667 w 669979"/>
                  <a:gd name="connsiteY68" fmla="*/ 568008 h 579936"/>
                  <a:gd name="connsiteX69" fmla="*/ 382324 w 669979"/>
                  <a:gd name="connsiteY69" fmla="*/ 548487 h 579936"/>
                  <a:gd name="connsiteX70" fmla="*/ 373897 w 669979"/>
                  <a:gd name="connsiteY70" fmla="*/ 540479 h 579936"/>
                  <a:gd name="connsiteX71" fmla="*/ 365888 w 669979"/>
                  <a:gd name="connsiteY71" fmla="*/ 532053 h 579936"/>
                  <a:gd name="connsiteX72" fmla="*/ 358380 w 669979"/>
                  <a:gd name="connsiteY72" fmla="*/ 497934 h 579936"/>
                  <a:gd name="connsiteX73" fmla="*/ 357963 w 669979"/>
                  <a:gd name="connsiteY73" fmla="*/ 487340 h 579936"/>
                  <a:gd name="connsiteX74" fmla="*/ 342028 w 669979"/>
                  <a:gd name="connsiteY74" fmla="*/ 466985 h 579936"/>
                  <a:gd name="connsiteX75" fmla="*/ 334019 w 669979"/>
                  <a:gd name="connsiteY75" fmla="*/ 457642 h 579936"/>
                  <a:gd name="connsiteX76" fmla="*/ 302567 w 669979"/>
                  <a:gd name="connsiteY76" fmla="*/ 432366 h 579936"/>
                  <a:gd name="connsiteX77" fmla="*/ 295893 w 669979"/>
                  <a:gd name="connsiteY77" fmla="*/ 433283 h 579936"/>
                  <a:gd name="connsiteX78" fmla="*/ 273785 w 669979"/>
                  <a:gd name="connsiteY78" fmla="*/ 432366 h 579936"/>
                  <a:gd name="connsiteX79" fmla="*/ 270698 w 669979"/>
                  <a:gd name="connsiteY79" fmla="*/ 422606 h 579936"/>
                  <a:gd name="connsiteX80" fmla="*/ 272951 w 669979"/>
                  <a:gd name="connsiteY80" fmla="*/ 409759 h 579936"/>
                  <a:gd name="connsiteX81" fmla="*/ 275203 w 669979"/>
                  <a:gd name="connsiteY81" fmla="*/ 387152 h 579936"/>
                  <a:gd name="connsiteX82" fmla="*/ 262356 w 669979"/>
                  <a:gd name="connsiteY82" fmla="*/ 373388 h 579936"/>
                  <a:gd name="connsiteX83" fmla="*/ 258351 w 669979"/>
                  <a:gd name="connsiteY83" fmla="*/ 372053 h 579936"/>
                  <a:gd name="connsiteX84" fmla="*/ 249925 w 669979"/>
                  <a:gd name="connsiteY84" fmla="*/ 367214 h 579936"/>
                  <a:gd name="connsiteX85" fmla="*/ 220726 w 669979"/>
                  <a:gd name="connsiteY85" fmla="*/ 359707 h 579936"/>
                  <a:gd name="connsiteX86" fmla="*/ 203456 w 669979"/>
                  <a:gd name="connsiteY86" fmla="*/ 365880 h 579936"/>
                  <a:gd name="connsiteX87" fmla="*/ 179513 w 669979"/>
                  <a:gd name="connsiteY87" fmla="*/ 365463 h 579936"/>
                  <a:gd name="connsiteX88" fmla="*/ 137466 w 669979"/>
                  <a:gd name="connsiteY88" fmla="*/ 355285 h 579936"/>
                  <a:gd name="connsiteX89" fmla="*/ 131292 w 669979"/>
                  <a:gd name="connsiteY89" fmla="*/ 356203 h 579936"/>
                  <a:gd name="connsiteX90" fmla="*/ 105180 w 669979"/>
                  <a:gd name="connsiteY90" fmla="*/ 353951 h 579936"/>
                  <a:gd name="connsiteX91" fmla="*/ 98505 w 669979"/>
                  <a:gd name="connsiteY91" fmla="*/ 345108 h 579936"/>
                  <a:gd name="connsiteX92" fmla="*/ 71892 w 669979"/>
                  <a:gd name="connsiteY92" fmla="*/ 330509 h 579936"/>
                  <a:gd name="connsiteX93" fmla="*/ 49784 w 669979"/>
                  <a:gd name="connsiteY93" fmla="*/ 341604 h 579936"/>
                  <a:gd name="connsiteX94" fmla="*/ 35184 w 669979"/>
                  <a:gd name="connsiteY94" fmla="*/ 350030 h 579936"/>
                  <a:gd name="connsiteX95" fmla="*/ 32932 w 669979"/>
                  <a:gd name="connsiteY95" fmla="*/ 344274 h 579936"/>
                  <a:gd name="connsiteX96" fmla="*/ 30262 w 669979"/>
                  <a:gd name="connsiteY96" fmla="*/ 336265 h 579936"/>
                  <a:gd name="connsiteX97" fmla="*/ 28510 w 669979"/>
                  <a:gd name="connsiteY97" fmla="*/ 311490 h 579936"/>
                  <a:gd name="connsiteX98" fmla="*/ 30262 w 669979"/>
                  <a:gd name="connsiteY98" fmla="*/ 266276 h 579936"/>
                  <a:gd name="connsiteX99" fmla="*/ 25841 w 669979"/>
                  <a:gd name="connsiteY99" fmla="*/ 230822 h 579936"/>
                  <a:gd name="connsiteX100" fmla="*/ 12993 w 669979"/>
                  <a:gd name="connsiteY100" fmla="*/ 212636 h 579936"/>
                  <a:gd name="connsiteX101" fmla="*/ 979 w 669979"/>
                  <a:gd name="connsiteY101" fmla="*/ 193032 h 579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669979" h="579936" extrusionOk="0">
                    <a:moveTo>
                      <a:pt x="979" y="193032"/>
                    </a:moveTo>
                    <a:cubicBezTo>
                      <a:pt x="-355" y="188194"/>
                      <a:pt x="62" y="182438"/>
                      <a:pt x="62" y="177099"/>
                    </a:cubicBezTo>
                    <a:lnTo>
                      <a:pt x="1397" y="153658"/>
                    </a:lnTo>
                    <a:cubicBezTo>
                      <a:pt x="3649" y="153658"/>
                      <a:pt x="5401" y="153241"/>
                      <a:pt x="7570" y="153241"/>
                    </a:cubicBezTo>
                    <a:cubicBezTo>
                      <a:pt x="17331" y="152824"/>
                      <a:pt x="26591" y="152323"/>
                      <a:pt x="36352" y="148402"/>
                    </a:cubicBezTo>
                    <a:cubicBezTo>
                      <a:pt x="45196" y="144899"/>
                      <a:pt x="52287" y="138225"/>
                      <a:pt x="55874" y="129800"/>
                    </a:cubicBezTo>
                    <a:cubicBezTo>
                      <a:pt x="58544" y="123126"/>
                      <a:pt x="59378" y="115618"/>
                      <a:pt x="58544" y="107693"/>
                    </a:cubicBezTo>
                    <a:cubicBezTo>
                      <a:pt x="63383" y="102855"/>
                      <a:pt x="67387" y="96598"/>
                      <a:pt x="74061" y="96181"/>
                    </a:cubicBezTo>
                    <a:cubicBezTo>
                      <a:pt x="85574" y="95764"/>
                      <a:pt x="81570" y="105941"/>
                      <a:pt x="89579" y="110363"/>
                    </a:cubicBezTo>
                    <a:cubicBezTo>
                      <a:pt x="94918" y="113866"/>
                      <a:pt x="99757" y="108110"/>
                      <a:pt x="105513" y="110363"/>
                    </a:cubicBezTo>
                    <a:cubicBezTo>
                      <a:pt x="111687" y="113032"/>
                      <a:pt x="115274" y="118371"/>
                      <a:pt x="119279" y="123209"/>
                    </a:cubicBezTo>
                    <a:cubicBezTo>
                      <a:pt x="125035" y="130300"/>
                      <a:pt x="134379" y="146651"/>
                      <a:pt x="145892" y="144482"/>
                    </a:cubicBezTo>
                    <a:cubicBezTo>
                      <a:pt x="158322" y="141812"/>
                      <a:pt x="153400" y="128965"/>
                      <a:pt x="167583" y="134304"/>
                    </a:cubicBezTo>
                    <a:cubicBezTo>
                      <a:pt x="174674" y="136974"/>
                      <a:pt x="180013" y="149821"/>
                      <a:pt x="183934" y="155577"/>
                    </a:cubicBezTo>
                    <a:cubicBezTo>
                      <a:pt x="196365" y="172845"/>
                      <a:pt x="189274" y="206964"/>
                      <a:pt x="220726" y="201208"/>
                    </a:cubicBezTo>
                    <a:cubicBezTo>
                      <a:pt x="247756" y="196369"/>
                      <a:pt x="237995" y="170175"/>
                      <a:pt x="227400" y="154659"/>
                    </a:cubicBezTo>
                    <a:cubicBezTo>
                      <a:pt x="222060" y="146234"/>
                      <a:pt x="214969" y="138309"/>
                      <a:pt x="207878" y="131635"/>
                    </a:cubicBezTo>
                    <a:cubicBezTo>
                      <a:pt x="201204" y="125462"/>
                      <a:pt x="189274" y="119706"/>
                      <a:pt x="184852" y="111697"/>
                    </a:cubicBezTo>
                    <a:cubicBezTo>
                      <a:pt x="177761" y="97099"/>
                      <a:pt x="188356" y="97099"/>
                      <a:pt x="193695" y="85587"/>
                    </a:cubicBezTo>
                    <a:cubicBezTo>
                      <a:pt x="199035" y="73157"/>
                      <a:pt x="188857" y="67902"/>
                      <a:pt x="189691" y="56390"/>
                    </a:cubicBezTo>
                    <a:cubicBezTo>
                      <a:pt x="191026" y="42625"/>
                      <a:pt x="207377" y="43543"/>
                      <a:pt x="209630" y="32949"/>
                    </a:cubicBezTo>
                    <a:cubicBezTo>
                      <a:pt x="211882" y="23188"/>
                      <a:pt x="199035" y="17432"/>
                      <a:pt x="191943" y="14346"/>
                    </a:cubicBezTo>
                    <a:cubicBezTo>
                      <a:pt x="185770" y="11676"/>
                      <a:pt x="179513" y="9507"/>
                      <a:pt x="172922" y="9924"/>
                    </a:cubicBezTo>
                    <a:cubicBezTo>
                      <a:pt x="169835" y="10341"/>
                      <a:pt x="165831" y="12177"/>
                      <a:pt x="163161" y="12177"/>
                    </a:cubicBezTo>
                    <a:cubicBezTo>
                      <a:pt x="160909" y="11760"/>
                      <a:pt x="158322" y="9507"/>
                      <a:pt x="156487" y="8173"/>
                    </a:cubicBezTo>
                    <a:cubicBezTo>
                      <a:pt x="195447" y="-2005"/>
                      <a:pt x="242417" y="-2422"/>
                      <a:pt x="297395" y="5503"/>
                    </a:cubicBezTo>
                    <a:cubicBezTo>
                      <a:pt x="309325" y="7255"/>
                      <a:pt x="321338" y="8590"/>
                      <a:pt x="333686" y="9507"/>
                    </a:cubicBezTo>
                    <a:cubicBezTo>
                      <a:pt x="338524" y="20102"/>
                      <a:pt x="343864" y="30362"/>
                      <a:pt x="349203" y="40540"/>
                    </a:cubicBezTo>
                    <a:cubicBezTo>
                      <a:pt x="354542" y="51134"/>
                      <a:pt x="359798" y="61395"/>
                      <a:pt x="364720" y="71989"/>
                    </a:cubicBezTo>
                    <a:cubicBezTo>
                      <a:pt x="378486" y="102104"/>
                      <a:pt x="389999" y="133971"/>
                      <a:pt x="401011" y="164586"/>
                    </a:cubicBezTo>
                    <a:lnTo>
                      <a:pt x="403681" y="171677"/>
                    </a:lnTo>
                    <a:cubicBezTo>
                      <a:pt x="406350" y="179685"/>
                      <a:pt x="409020" y="187193"/>
                      <a:pt x="411690" y="195118"/>
                    </a:cubicBezTo>
                    <a:cubicBezTo>
                      <a:pt x="420533" y="221229"/>
                      <a:pt x="429376" y="248757"/>
                      <a:pt x="444477" y="271281"/>
                    </a:cubicBezTo>
                    <a:cubicBezTo>
                      <a:pt x="448481" y="277454"/>
                      <a:pt x="462663" y="297892"/>
                      <a:pt x="473259" y="302730"/>
                    </a:cubicBezTo>
                    <a:cubicBezTo>
                      <a:pt x="487024" y="308904"/>
                      <a:pt x="498954" y="303648"/>
                      <a:pt x="509549" y="299227"/>
                    </a:cubicBezTo>
                    <a:cubicBezTo>
                      <a:pt x="516224" y="296557"/>
                      <a:pt x="522397" y="293888"/>
                      <a:pt x="527736" y="294388"/>
                    </a:cubicBezTo>
                    <a:cubicBezTo>
                      <a:pt x="530823" y="294805"/>
                      <a:pt x="531240" y="295306"/>
                      <a:pt x="533076" y="301479"/>
                    </a:cubicBezTo>
                    <a:cubicBezTo>
                      <a:pt x="534411" y="306317"/>
                      <a:pt x="537497" y="314326"/>
                      <a:pt x="546341" y="316078"/>
                    </a:cubicBezTo>
                    <a:cubicBezTo>
                      <a:pt x="553015" y="317412"/>
                      <a:pt x="557436" y="315160"/>
                      <a:pt x="560106" y="312991"/>
                    </a:cubicBezTo>
                    <a:cubicBezTo>
                      <a:pt x="568115" y="306818"/>
                      <a:pt x="568532" y="294388"/>
                      <a:pt x="568949" y="286880"/>
                    </a:cubicBezTo>
                    <a:lnTo>
                      <a:pt x="568949" y="284211"/>
                    </a:lnTo>
                    <a:cubicBezTo>
                      <a:pt x="569366" y="281125"/>
                      <a:pt x="569867" y="280707"/>
                      <a:pt x="569867" y="280707"/>
                    </a:cubicBezTo>
                    <a:cubicBezTo>
                      <a:pt x="570284" y="280707"/>
                      <a:pt x="572120" y="280707"/>
                      <a:pt x="574289" y="282042"/>
                    </a:cubicBezTo>
                    <a:cubicBezTo>
                      <a:pt x="583632" y="287798"/>
                      <a:pt x="593811" y="294889"/>
                      <a:pt x="599567" y="304649"/>
                    </a:cubicBezTo>
                    <a:cubicBezTo>
                      <a:pt x="601819" y="308153"/>
                      <a:pt x="602654" y="311323"/>
                      <a:pt x="603989" y="313492"/>
                    </a:cubicBezTo>
                    <a:cubicBezTo>
                      <a:pt x="608410" y="323252"/>
                      <a:pt x="611997" y="326338"/>
                      <a:pt x="626597" y="329425"/>
                    </a:cubicBezTo>
                    <a:cubicBezTo>
                      <a:pt x="640780" y="332511"/>
                      <a:pt x="643867" y="335181"/>
                      <a:pt x="648705" y="348028"/>
                    </a:cubicBezTo>
                    <a:lnTo>
                      <a:pt x="651375" y="355118"/>
                    </a:lnTo>
                    <a:cubicBezTo>
                      <a:pt x="654879" y="364879"/>
                      <a:pt x="658049" y="373304"/>
                      <a:pt x="667309" y="383064"/>
                    </a:cubicBezTo>
                    <a:cubicBezTo>
                      <a:pt x="668227" y="383982"/>
                      <a:pt x="669062" y="384816"/>
                      <a:pt x="669979" y="385734"/>
                    </a:cubicBezTo>
                    <a:cubicBezTo>
                      <a:pt x="663806" y="387986"/>
                      <a:pt x="659384" y="391073"/>
                      <a:pt x="654045" y="394576"/>
                    </a:cubicBezTo>
                    <a:cubicBezTo>
                      <a:pt x="651792" y="395911"/>
                      <a:pt x="649623" y="397663"/>
                      <a:pt x="647371" y="398998"/>
                    </a:cubicBezTo>
                    <a:cubicBezTo>
                      <a:pt x="640696" y="403419"/>
                      <a:pt x="635440" y="403836"/>
                      <a:pt x="627431" y="404337"/>
                    </a:cubicBezTo>
                    <a:cubicBezTo>
                      <a:pt x="624762" y="404337"/>
                      <a:pt x="621258" y="404754"/>
                      <a:pt x="618088" y="405254"/>
                    </a:cubicBezTo>
                    <a:cubicBezTo>
                      <a:pt x="599483" y="407924"/>
                      <a:pt x="590640" y="421187"/>
                      <a:pt x="583132" y="432700"/>
                    </a:cubicBezTo>
                    <a:cubicBezTo>
                      <a:pt x="579628" y="438456"/>
                      <a:pt x="576041" y="443795"/>
                      <a:pt x="571619" y="448633"/>
                    </a:cubicBezTo>
                    <a:cubicBezTo>
                      <a:pt x="566280" y="453471"/>
                      <a:pt x="559689" y="457976"/>
                      <a:pt x="552097" y="462397"/>
                    </a:cubicBezTo>
                    <a:cubicBezTo>
                      <a:pt x="537915" y="471240"/>
                      <a:pt x="522397" y="481417"/>
                      <a:pt x="517141" y="499186"/>
                    </a:cubicBezTo>
                    <a:cubicBezTo>
                      <a:pt x="515806" y="504024"/>
                      <a:pt x="515389" y="508028"/>
                      <a:pt x="514889" y="511615"/>
                    </a:cubicBezTo>
                    <a:cubicBezTo>
                      <a:pt x="513971" y="516954"/>
                      <a:pt x="513554" y="520458"/>
                      <a:pt x="510050" y="526214"/>
                    </a:cubicBezTo>
                    <a:cubicBezTo>
                      <a:pt x="502041" y="538143"/>
                      <a:pt x="495867" y="546151"/>
                      <a:pt x="490528" y="551490"/>
                    </a:cubicBezTo>
                    <a:cubicBezTo>
                      <a:pt x="488276" y="553743"/>
                      <a:pt x="485689" y="554994"/>
                      <a:pt x="482519" y="556829"/>
                    </a:cubicBezTo>
                    <a:cubicBezTo>
                      <a:pt x="479432" y="558581"/>
                      <a:pt x="475845" y="560333"/>
                      <a:pt x="472341" y="563503"/>
                    </a:cubicBezTo>
                    <a:cubicBezTo>
                      <a:pt x="469254" y="566172"/>
                      <a:pt x="467002" y="568842"/>
                      <a:pt x="464332" y="571511"/>
                    </a:cubicBezTo>
                    <a:cubicBezTo>
                      <a:pt x="459493" y="576850"/>
                      <a:pt x="457241" y="579520"/>
                      <a:pt x="447980" y="579937"/>
                    </a:cubicBezTo>
                    <a:cubicBezTo>
                      <a:pt x="441306" y="579520"/>
                      <a:pt x="435550" y="578602"/>
                      <a:pt x="429793" y="576850"/>
                    </a:cubicBezTo>
                    <a:cubicBezTo>
                      <a:pt x="419615" y="573764"/>
                      <a:pt x="407685" y="570176"/>
                      <a:pt x="396589" y="579937"/>
                    </a:cubicBezTo>
                    <a:cubicBezTo>
                      <a:pt x="395672" y="579019"/>
                      <a:pt x="395255" y="577684"/>
                      <a:pt x="394337" y="576433"/>
                    </a:cubicBezTo>
                    <a:cubicBezTo>
                      <a:pt x="393002" y="573764"/>
                      <a:pt x="392084" y="570677"/>
                      <a:pt x="391667" y="568008"/>
                    </a:cubicBezTo>
                    <a:cubicBezTo>
                      <a:pt x="389415" y="561834"/>
                      <a:pt x="387663" y="555161"/>
                      <a:pt x="382324" y="548487"/>
                    </a:cubicBezTo>
                    <a:cubicBezTo>
                      <a:pt x="379654" y="545401"/>
                      <a:pt x="376984" y="542731"/>
                      <a:pt x="373897" y="540479"/>
                    </a:cubicBezTo>
                    <a:cubicBezTo>
                      <a:pt x="370811" y="537809"/>
                      <a:pt x="367724" y="535640"/>
                      <a:pt x="365888" y="532053"/>
                    </a:cubicBezTo>
                    <a:cubicBezTo>
                      <a:pt x="359214" y="521459"/>
                      <a:pt x="358797" y="510364"/>
                      <a:pt x="358380" y="497934"/>
                    </a:cubicBezTo>
                    <a:cubicBezTo>
                      <a:pt x="357963" y="494431"/>
                      <a:pt x="357963" y="490844"/>
                      <a:pt x="357963" y="487340"/>
                    </a:cubicBezTo>
                    <a:cubicBezTo>
                      <a:pt x="356628" y="473159"/>
                      <a:pt x="347785" y="469154"/>
                      <a:pt x="342028" y="466985"/>
                    </a:cubicBezTo>
                    <a:cubicBezTo>
                      <a:pt x="337190" y="464733"/>
                      <a:pt x="334937" y="463899"/>
                      <a:pt x="334019" y="457642"/>
                    </a:cubicBezTo>
                    <a:cubicBezTo>
                      <a:pt x="331767" y="434618"/>
                      <a:pt x="326010" y="430197"/>
                      <a:pt x="302567" y="432366"/>
                    </a:cubicBezTo>
                    <a:lnTo>
                      <a:pt x="295893" y="433283"/>
                    </a:lnTo>
                    <a:cubicBezTo>
                      <a:pt x="287050" y="434618"/>
                      <a:pt x="277289" y="435536"/>
                      <a:pt x="273785" y="432366"/>
                    </a:cubicBezTo>
                    <a:cubicBezTo>
                      <a:pt x="272033" y="430614"/>
                      <a:pt x="271116" y="427528"/>
                      <a:pt x="270698" y="422606"/>
                    </a:cubicBezTo>
                    <a:cubicBezTo>
                      <a:pt x="270281" y="419519"/>
                      <a:pt x="271616" y="414180"/>
                      <a:pt x="272951" y="409759"/>
                    </a:cubicBezTo>
                    <a:cubicBezTo>
                      <a:pt x="274703" y="401750"/>
                      <a:pt x="276455" y="393826"/>
                      <a:pt x="275203" y="387152"/>
                    </a:cubicBezTo>
                    <a:cubicBezTo>
                      <a:pt x="272534" y="377392"/>
                      <a:pt x="268112" y="375223"/>
                      <a:pt x="262356" y="373388"/>
                    </a:cubicBezTo>
                    <a:cubicBezTo>
                      <a:pt x="261021" y="372970"/>
                      <a:pt x="259686" y="372470"/>
                      <a:pt x="258351" y="372053"/>
                    </a:cubicBezTo>
                    <a:cubicBezTo>
                      <a:pt x="255264" y="370718"/>
                      <a:pt x="252595" y="368966"/>
                      <a:pt x="249925" y="367214"/>
                    </a:cubicBezTo>
                    <a:cubicBezTo>
                      <a:pt x="241916" y="362376"/>
                      <a:pt x="233573" y="357037"/>
                      <a:pt x="220726" y="359707"/>
                    </a:cubicBezTo>
                    <a:cubicBezTo>
                      <a:pt x="214052" y="361041"/>
                      <a:pt x="208295" y="363711"/>
                      <a:pt x="203456" y="365880"/>
                    </a:cubicBezTo>
                    <a:cubicBezTo>
                      <a:pt x="193278" y="370301"/>
                      <a:pt x="188857" y="372553"/>
                      <a:pt x="179513" y="365463"/>
                    </a:cubicBezTo>
                    <a:cubicBezTo>
                      <a:pt x="163995" y="353033"/>
                      <a:pt x="156487" y="352616"/>
                      <a:pt x="137466" y="355285"/>
                    </a:cubicBezTo>
                    <a:lnTo>
                      <a:pt x="131292" y="356203"/>
                    </a:lnTo>
                    <a:cubicBezTo>
                      <a:pt x="121114" y="357955"/>
                      <a:pt x="112688" y="359707"/>
                      <a:pt x="105180" y="353951"/>
                    </a:cubicBezTo>
                    <a:cubicBezTo>
                      <a:pt x="102510" y="351698"/>
                      <a:pt x="100341" y="348612"/>
                      <a:pt x="98505" y="345108"/>
                    </a:cubicBezTo>
                    <a:cubicBezTo>
                      <a:pt x="94084" y="338017"/>
                      <a:pt x="87910" y="327423"/>
                      <a:pt x="71892" y="330509"/>
                    </a:cubicBezTo>
                    <a:cubicBezTo>
                      <a:pt x="62548" y="332261"/>
                      <a:pt x="55541" y="337183"/>
                      <a:pt x="49784" y="341604"/>
                    </a:cubicBezTo>
                    <a:cubicBezTo>
                      <a:pt x="44945" y="345108"/>
                      <a:pt x="40941" y="348278"/>
                      <a:pt x="35184" y="350030"/>
                    </a:cubicBezTo>
                    <a:cubicBezTo>
                      <a:pt x="34767" y="347777"/>
                      <a:pt x="33850" y="346526"/>
                      <a:pt x="32932" y="344274"/>
                    </a:cubicBezTo>
                    <a:cubicBezTo>
                      <a:pt x="32014" y="341604"/>
                      <a:pt x="30679" y="339435"/>
                      <a:pt x="30262" y="336265"/>
                    </a:cubicBezTo>
                    <a:cubicBezTo>
                      <a:pt x="28010" y="328758"/>
                      <a:pt x="28010" y="319915"/>
                      <a:pt x="28510" y="311490"/>
                    </a:cubicBezTo>
                    <a:lnTo>
                      <a:pt x="30262" y="266276"/>
                    </a:lnTo>
                    <a:cubicBezTo>
                      <a:pt x="30679" y="255181"/>
                      <a:pt x="31180" y="242334"/>
                      <a:pt x="25841" y="230822"/>
                    </a:cubicBezTo>
                    <a:cubicBezTo>
                      <a:pt x="22754" y="223731"/>
                      <a:pt x="17414" y="217975"/>
                      <a:pt x="12993" y="212636"/>
                    </a:cubicBezTo>
                    <a:cubicBezTo>
                      <a:pt x="7654" y="205462"/>
                      <a:pt x="2731" y="199706"/>
                      <a:pt x="979" y="19303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0290096" name="Полилиния 374"/>
              <p:cNvSpPr/>
              <p:nvPr/>
            </p:nvSpPr>
            <p:spPr bwMode="auto">
              <a:xfrm>
                <a:off x="2271852" y="3697875"/>
                <a:ext cx="299376" cy="289909"/>
              </a:xfrm>
              <a:custGeom>
                <a:avLst/>
                <a:gdLst>
                  <a:gd name="connsiteX0" fmla="*/ 1335 w 336210"/>
                  <a:gd name="connsiteY0" fmla="*/ 256320 h 325578"/>
                  <a:gd name="connsiteX1" fmla="*/ 2252 w 336210"/>
                  <a:gd name="connsiteY1" fmla="*/ 256320 h 325578"/>
                  <a:gd name="connsiteX2" fmla="*/ 1835 w 336210"/>
                  <a:gd name="connsiteY2" fmla="*/ 255903 h 325578"/>
                  <a:gd name="connsiteX3" fmla="*/ 6257 w 336210"/>
                  <a:gd name="connsiteY3" fmla="*/ 242639 h 325578"/>
                  <a:gd name="connsiteX4" fmla="*/ 24861 w 336210"/>
                  <a:gd name="connsiteY4" fmla="*/ 228875 h 325578"/>
                  <a:gd name="connsiteX5" fmla="*/ 25278 w 336210"/>
                  <a:gd name="connsiteY5" fmla="*/ 228875 h 325578"/>
                  <a:gd name="connsiteX6" fmla="*/ 31953 w 336210"/>
                  <a:gd name="connsiteY6" fmla="*/ 231544 h 325578"/>
                  <a:gd name="connsiteX7" fmla="*/ 48304 w 336210"/>
                  <a:gd name="connsiteY7" fmla="*/ 235048 h 325578"/>
                  <a:gd name="connsiteX8" fmla="*/ 64239 w 336210"/>
                  <a:gd name="connsiteY8" fmla="*/ 221284 h 325578"/>
                  <a:gd name="connsiteX9" fmla="*/ 62904 w 336210"/>
                  <a:gd name="connsiteY9" fmla="*/ 172983 h 325578"/>
                  <a:gd name="connsiteX10" fmla="*/ 57147 w 336210"/>
                  <a:gd name="connsiteY10" fmla="*/ 163640 h 325578"/>
                  <a:gd name="connsiteX11" fmla="*/ 50473 w 336210"/>
                  <a:gd name="connsiteY11" fmla="*/ 149041 h 325578"/>
                  <a:gd name="connsiteX12" fmla="*/ 55312 w 336210"/>
                  <a:gd name="connsiteY12" fmla="*/ 141033 h 325578"/>
                  <a:gd name="connsiteX13" fmla="*/ 62403 w 336210"/>
                  <a:gd name="connsiteY13" fmla="*/ 128603 h 325578"/>
                  <a:gd name="connsiteX14" fmla="*/ 61486 w 336210"/>
                  <a:gd name="connsiteY14" fmla="*/ 110001 h 325578"/>
                  <a:gd name="connsiteX15" fmla="*/ 60151 w 336210"/>
                  <a:gd name="connsiteY15" fmla="*/ 98906 h 325578"/>
                  <a:gd name="connsiteX16" fmla="*/ 68577 w 336210"/>
                  <a:gd name="connsiteY16" fmla="*/ 73212 h 325578"/>
                  <a:gd name="connsiteX17" fmla="*/ 83177 w 336210"/>
                  <a:gd name="connsiteY17" fmla="*/ 65704 h 325578"/>
                  <a:gd name="connsiteX18" fmla="*/ 108455 w 336210"/>
                  <a:gd name="connsiteY18" fmla="*/ 41763 h 325578"/>
                  <a:gd name="connsiteX19" fmla="*/ 129312 w 336210"/>
                  <a:gd name="connsiteY19" fmla="*/ 17404 h 325578"/>
                  <a:gd name="connsiteX20" fmla="*/ 139907 w 336210"/>
                  <a:gd name="connsiteY20" fmla="*/ 12982 h 325578"/>
                  <a:gd name="connsiteX21" fmla="*/ 147916 w 336210"/>
                  <a:gd name="connsiteY21" fmla="*/ 8561 h 325578"/>
                  <a:gd name="connsiteX22" fmla="*/ 151003 w 336210"/>
                  <a:gd name="connsiteY22" fmla="*/ 6309 h 325578"/>
                  <a:gd name="connsiteX23" fmla="*/ 162098 w 336210"/>
                  <a:gd name="connsiteY23" fmla="*/ 970 h 325578"/>
                  <a:gd name="connsiteX24" fmla="*/ 163016 w 336210"/>
                  <a:gd name="connsiteY24" fmla="*/ 553 h 325578"/>
                  <a:gd name="connsiteX25" fmla="*/ 187377 w 336210"/>
                  <a:gd name="connsiteY25" fmla="*/ 1888 h 325578"/>
                  <a:gd name="connsiteX26" fmla="*/ 211737 w 336210"/>
                  <a:gd name="connsiteY26" fmla="*/ 19573 h 325578"/>
                  <a:gd name="connsiteX27" fmla="*/ 232594 w 336210"/>
                  <a:gd name="connsiteY27" fmla="*/ 38176 h 325578"/>
                  <a:gd name="connsiteX28" fmla="*/ 265798 w 336210"/>
                  <a:gd name="connsiteY28" fmla="*/ 42180 h 325578"/>
                  <a:gd name="connsiteX29" fmla="*/ 287489 w 336210"/>
                  <a:gd name="connsiteY29" fmla="*/ 44432 h 325578"/>
                  <a:gd name="connsiteX30" fmla="*/ 308763 w 336210"/>
                  <a:gd name="connsiteY30" fmla="*/ 90480 h 325578"/>
                  <a:gd name="connsiteX31" fmla="*/ 307845 w 336210"/>
                  <a:gd name="connsiteY31" fmla="*/ 105579 h 325578"/>
                  <a:gd name="connsiteX32" fmla="*/ 320276 w 336210"/>
                  <a:gd name="connsiteY32" fmla="*/ 160053 h 325578"/>
                  <a:gd name="connsiteX33" fmla="*/ 336210 w 336210"/>
                  <a:gd name="connsiteY33" fmla="*/ 171982 h 325578"/>
                  <a:gd name="connsiteX34" fmla="*/ 330454 w 336210"/>
                  <a:gd name="connsiteY34" fmla="*/ 187498 h 325578"/>
                  <a:gd name="connsiteX35" fmla="*/ 332206 w 336210"/>
                  <a:gd name="connsiteY35" fmla="*/ 203432 h 325578"/>
                  <a:gd name="connsiteX36" fmla="*/ 333541 w 336210"/>
                  <a:gd name="connsiteY36" fmla="*/ 213609 h 325578"/>
                  <a:gd name="connsiteX37" fmla="*/ 296332 w 336210"/>
                  <a:gd name="connsiteY37" fmla="*/ 232212 h 325578"/>
                  <a:gd name="connsiteX38" fmla="*/ 279981 w 336210"/>
                  <a:gd name="connsiteY38" fmla="*/ 237050 h 325578"/>
                  <a:gd name="connsiteX39" fmla="*/ 254285 w 336210"/>
                  <a:gd name="connsiteY39" fmla="*/ 260491 h 325578"/>
                  <a:gd name="connsiteX40" fmla="*/ 233428 w 336210"/>
                  <a:gd name="connsiteY40" fmla="*/ 277760 h 325578"/>
                  <a:gd name="connsiteX41" fmla="*/ 225002 w 336210"/>
                  <a:gd name="connsiteY41" fmla="*/ 278677 h 325578"/>
                  <a:gd name="connsiteX42" fmla="*/ 199724 w 336210"/>
                  <a:gd name="connsiteY42" fmla="*/ 289271 h 325578"/>
                  <a:gd name="connsiteX43" fmla="*/ 191298 w 336210"/>
                  <a:gd name="connsiteY43" fmla="*/ 301200 h 325578"/>
                  <a:gd name="connsiteX44" fmla="*/ 167855 w 336210"/>
                  <a:gd name="connsiteY44" fmla="*/ 294110 h 325578"/>
                  <a:gd name="connsiteX45" fmla="*/ 153255 w 336210"/>
                  <a:gd name="connsiteY45" fmla="*/ 289688 h 325578"/>
                  <a:gd name="connsiteX46" fmla="*/ 88099 w 336210"/>
                  <a:gd name="connsiteY46" fmla="*/ 302118 h 325578"/>
                  <a:gd name="connsiteX47" fmla="*/ 74333 w 336210"/>
                  <a:gd name="connsiteY47" fmla="*/ 306957 h 325578"/>
                  <a:gd name="connsiteX48" fmla="*/ 61486 w 336210"/>
                  <a:gd name="connsiteY48" fmla="*/ 311795 h 325578"/>
                  <a:gd name="connsiteX49" fmla="*/ 52642 w 336210"/>
                  <a:gd name="connsiteY49" fmla="*/ 320638 h 325578"/>
                  <a:gd name="connsiteX50" fmla="*/ 45968 w 336210"/>
                  <a:gd name="connsiteY50" fmla="*/ 325476 h 325578"/>
                  <a:gd name="connsiteX51" fmla="*/ 21191 w 336210"/>
                  <a:gd name="connsiteY51" fmla="*/ 305121 h 325578"/>
                  <a:gd name="connsiteX52" fmla="*/ 10595 w 336210"/>
                  <a:gd name="connsiteY52" fmla="*/ 292275 h 325578"/>
                  <a:gd name="connsiteX53" fmla="*/ 417 w 336210"/>
                  <a:gd name="connsiteY53" fmla="*/ 271002 h 325578"/>
                  <a:gd name="connsiteX54" fmla="*/ 0 w 336210"/>
                  <a:gd name="connsiteY54" fmla="*/ 267499 h 325578"/>
                  <a:gd name="connsiteX55" fmla="*/ 1335 w 336210"/>
                  <a:gd name="connsiteY55" fmla="*/ 256320 h 32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36210" h="325578" extrusionOk="0">
                    <a:moveTo>
                      <a:pt x="1335" y="256320"/>
                    </a:moveTo>
                    <a:lnTo>
                      <a:pt x="2252" y="256320"/>
                    </a:lnTo>
                    <a:cubicBezTo>
                      <a:pt x="1835" y="256320"/>
                      <a:pt x="1835" y="255903"/>
                      <a:pt x="1835" y="255903"/>
                    </a:cubicBezTo>
                    <a:cubicBezTo>
                      <a:pt x="2753" y="251065"/>
                      <a:pt x="4505" y="246560"/>
                      <a:pt x="6257" y="242639"/>
                    </a:cubicBezTo>
                    <a:cubicBezTo>
                      <a:pt x="10679" y="234214"/>
                      <a:pt x="17353" y="229376"/>
                      <a:pt x="24861" y="228875"/>
                    </a:cubicBezTo>
                    <a:cubicBezTo>
                      <a:pt x="25278" y="228875"/>
                      <a:pt x="25278" y="228875"/>
                      <a:pt x="25278" y="228875"/>
                    </a:cubicBezTo>
                    <a:cubicBezTo>
                      <a:pt x="26613" y="228875"/>
                      <a:pt x="29700" y="230210"/>
                      <a:pt x="31953" y="231544"/>
                    </a:cubicBezTo>
                    <a:cubicBezTo>
                      <a:pt x="36374" y="233797"/>
                      <a:pt x="42131" y="236383"/>
                      <a:pt x="48304" y="235048"/>
                    </a:cubicBezTo>
                    <a:cubicBezTo>
                      <a:pt x="55396" y="233296"/>
                      <a:pt x="60735" y="228374"/>
                      <a:pt x="64239" y="221284"/>
                    </a:cubicBezTo>
                    <a:cubicBezTo>
                      <a:pt x="71330" y="205767"/>
                      <a:pt x="67743" y="182743"/>
                      <a:pt x="62904" y="172983"/>
                    </a:cubicBezTo>
                    <a:cubicBezTo>
                      <a:pt x="61152" y="169897"/>
                      <a:pt x="59400" y="166810"/>
                      <a:pt x="57147" y="163640"/>
                    </a:cubicBezTo>
                    <a:cubicBezTo>
                      <a:pt x="53643" y="158301"/>
                      <a:pt x="50056" y="153463"/>
                      <a:pt x="50473" y="149041"/>
                    </a:cubicBezTo>
                    <a:cubicBezTo>
                      <a:pt x="50890" y="146372"/>
                      <a:pt x="53143" y="144203"/>
                      <a:pt x="55312" y="141033"/>
                    </a:cubicBezTo>
                    <a:cubicBezTo>
                      <a:pt x="57982" y="137530"/>
                      <a:pt x="61486" y="133942"/>
                      <a:pt x="62403" y="128603"/>
                    </a:cubicBezTo>
                    <a:cubicBezTo>
                      <a:pt x="63738" y="121930"/>
                      <a:pt x="62820" y="115757"/>
                      <a:pt x="61486" y="110001"/>
                    </a:cubicBezTo>
                    <a:cubicBezTo>
                      <a:pt x="60568" y="105996"/>
                      <a:pt x="60151" y="101992"/>
                      <a:pt x="60151" y="98906"/>
                    </a:cubicBezTo>
                    <a:cubicBezTo>
                      <a:pt x="61068" y="90063"/>
                      <a:pt x="63655" y="78050"/>
                      <a:pt x="68577" y="73212"/>
                    </a:cubicBezTo>
                    <a:cubicBezTo>
                      <a:pt x="72581" y="68791"/>
                      <a:pt x="77420" y="67039"/>
                      <a:pt x="83177" y="65704"/>
                    </a:cubicBezTo>
                    <a:cubicBezTo>
                      <a:pt x="92520" y="63035"/>
                      <a:pt x="104450" y="59531"/>
                      <a:pt x="108455" y="41763"/>
                    </a:cubicBezTo>
                    <a:cubicBezTo>
                      <a:pt x="112877" y="23577"/>
                      <a:pt x="115129" y="22743"/>
                      <a:pt x="129312" y="17404"/>
                    </a:cubicBezTo>
                    <a:cubicBezTo>
                      <a:pt x="132398" y="16069"/>
                      <a:pt x="135986" y="14734"/>
                      <a:pt x="139907" y="12982"/>
                    </a:cubicBezTo>
                    <a:cubicBezTo>
                      <a:pt x="142994" y="11648"/>
                      <a:pt x="145246" y="10313"/>
                      <a:pt x="147916" y="8561"/>
                    </a:cubicBezTo>
                    <a:cubicBezTo>
                      <a:pt x="148834" y="8144"/>
                      <a:pt x="150168" y="7227"/>
                      <a:pt x="151003" y="6309"/>
                    </a:cubicBezTo>
                    <a:cubicBezTo>
                      <a:pt x="154506" y="4057"/>
                      <a:pt x="158094" y="1888"/>
                      <a:pt x="162098" y="970"/>
                    </a:cubicBezTo>
                    <a:cubicBezTo>
                      <a:pt x="162516" y="970"/>
                      <a:pt x="163016" y="553"/>
                      <a:pt x="163016" y="553"/>
                    </a:cubicBezTo>
                    <a:cubicBezTo>
                      <a:pt x="170107" y="-782"/>
                      <a:pt x="180285" y="553"/>
                      <a:pt x="187377" y="1888"/>
                    </a:cubicBezTo>
                    <a:cubicBezTo>
                      <a:pt x="198890" y="4557"/>
                      <a:pt x="205063" y="11648"/>
                      <a:pt x="211737" y="19573"/>
                    </a:cubicBezTo>
                    <a:cubicBezTo>
                      <a:pt x="217077" y="25746"/>
                      <a:pt x="223667" y="32837"/>
                      <a:pt x="232594" y="38176"/>
                    </a:cubicBezTo>
                    <a:cubicBezTo>
                      <a:pt x="243690" y="44849"/>
                      <a:pt x="255620" y="43014"/>
                      <a:pt x="265798" y="42180"/>
                    </a:cubicBezTo>
                    <a:cubicBezTo>
                      <a:pt x="274641" y="41262"/>
                      <a:pt x="282150" y="39928"/>
                      <a:pt x="287489" y="44432"/>
                    </a:cubicBezTo>
                    <a:cubicBezTo>
                      <a:pt x="301672" y="55027"/>
                      <a:pt x="308763" y="75882"/>
                      <a:pt x="308763" y="90480"/>
                    </a:cubicBezTo>
                    <a:cubicBezTo>
                      <a:pt x="308763" y="95319"/>
                      <a:pt x="308346" y="100658"/>
                      <a:pt x="307845" y="105579"/>
                    </a:cubicBezTo>
                    <a:cubicBezTo>
                      <a:pt x="306510" y="124182"/>
                      <a:pt x="305175" y="145037"/>
                      <a:pt x="320276" y="160053"/>
                    </a:cubicBezTo>
                    <a:cubicBezTo>
                      <a:pt x="325114" y="164891"/>
                      <a:pt x="330454" y="168896"/>
                      <a:pt x="336210" y="171982"/>
                    </a:cubicBezTo>
                    <a:cubicBezTo>
                      <a:pt x="333541" y="176821"/>
                      <a:pt x="331371" y="182160"/>
                      <a:pt x="330454" y="187498"/>
                    </a:cubicBezTo>
                    <a:cubicBezTo>
                      <a:pt x="329536" y="193671"/>
                      <a:pt x="330871" y="199010"/>
                      <a:pt x="332206" y="203432"/>
                    </a:cubicBezTo>
                    <a:cubicBezTo>
                      <a:pt x="333541" y="207853"/>
                      <a:pt x="334458" y="210522"/>
                      <a:pt x="333541" y="213609"/>
                    </a:cubicBezTo>
                    <a:cubicBezTo>
                      <a:pt x="330454" y="223786"/>
                      <a:pt x="310932" y="229125"/>
                      <a:pt x="296332" y="232212"/>
                    </a:cubicBezTo>
                    <a:cubicBezTo>
                      <a:pt x="289658" y="233964"/>
                      <a:pt x="284402" y="235298"/>
                      <a:pt x="279981" y="237050"/>
                    </a:cubicBezTo>
                    <a:cubicBezTo>
                      <a:pt x="267133" y="242389"/>
                      <a:pt x="260459" y="252149"/>
                      <a:pt x="254285" y="260491"/>
                    </a:cubicBezTo>
                    <a:cubicBezTo>
                      <a:pt x="248112" y="269334"/>
                      <a:pt x="243189" y="276425"/>
                      <a:pt x="233428" y="277760"/>
                    </a:cubicBezTo>
                    <a:cubicBezTo>
                      <a:pt x="230342" y="278177"/>
                      <a:pt x="227672" y="278677"/>
                      <a:pt x="225002" y="278677"/>
                    </a:cubicBezTo>
                    <a:cubicBezTo>
                      <a:pt x="216993" y="279094"/>
                      <a:pt x="208651" y="279595"/>
                      <a:pt x="199724" y="289271"/>
                    </a:cubicBezTo>
                    <a:cubicBezTo>
                      <a:pt x="196637" y="292775"/>
                      <a:pt x="193550" y="296779"/>
                      <a:pt x="191298" y="301200"/>
                    </a:cubicBezTo>
                    <a:cubicBezTo>
                      <a:pt x="183289" y="298531"/>
                      <a:pt x="175363" y="296362"/>
                      <a:pt x="167855" y="294110"/>
                    </a:cubicBezTo>
                    <a:cubicBezTo>
                      <a:pt x="163016" y="292775"/>
                      <a:pt x="157677" y="291023"/>
                      <a:pt x="153255" y="289688"/>
                    </a:cubicBezTo>
                    <a:cubicBezTo>
                      <a:pt x="127143" y="281263"/>
                      <a:pt x="108538" y="290106"/>
                      <a:pt x="88099" y="302118"/>
                    </a:cubicBezTo>
                    <a:cubicBezTo>
                      <a:pt x="85846" y="303036"/>
                      <a:pt x="81008" y="305205"/>
                      <a:pt x="74333" y="306957"/>
                    </a:cubicBezTo>
                    <a:cubicBezTo>
                      <a:pt x="69912" y="307874"/>
                      <a:pt x="65490" y="309626"/>
                      <a:pt x="61486" y="311795"/>
                    </a:cubicBezTo>
                    <a:cubicBezTo>
                      <a:pt x="57064" y="314465"/>
                      <a:pt x="54811" y="317968"/>
                      <a:pt x="52642" y="320638"/>
                    </a:cubicBezTo>
                    <a:cubicBezTo>
                      <a:pt x="49973" y="323724"/>
                      <a:pt x="49139" y="325059"/>
                      <a:pt x="45968" y="325476"/>
                    </a:cubicBezTo>
                    <a:cubicBezTo>
                      <a:pt x="37959" y="326811"/>
                      <a:pt x="28699" y="314882"/>
                      <a:pt x="21191" y="305121"/>
                    </a:cubicBezTo>
                    <a:cubicBezTo>
                      <a:pt x="17686" y="300283"/>
                      <a:pt x="14099" y="295361"/>
                      <a:pt x="10595" y="292275"/>
                    </a:cubicBezTo>
                    <a:cubicBezTo>
                      <a:pt x="4839" y="286936"/>
                      <a:pt x="1752" y="279428"/>
                      <a:pt x="417" y="271002"/>
                    </a:cubicBezTo>
                    <a:cubicBezTo>
                      <a:pt x="0" y="269668"/>
                      <a:pt x="0" y="268333"/>
                      <a:pt x="0" y="267499"/>
                    </a:cubicBezTo>
                    <a:cubicBezTo>
                      <a:pt x="417" y="263828"/>
                      <a:pt x="918" y="259824"/>
                      <a:pt x="1335" y="25632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6911824" name="Полилиния 375"/>
              <p:cNvSpPr/>
              <p:nvPr/>
            </p:nvSpPr>
            <p:spPr bwMode="auto">
              <a:xfrm>
                <a:off x="2249417" y="4356352"/>
                <a:ext cx="357765" cy="277831"/>
              </a:xfrm>
              <a:custGeom>
                <a:avLst/>
                <a:gdLst>
                  <a:gd name="connsiteX0" fmla="*/ 394192 w 401783"/>
                  <a:gd name="connsiteY0" fmla="*/ 212305 h 312014"/>
                  <a:gd name="connsiteX1" fmla="*/ 385348 w 401783"/>
                  <a:gd name="connsiteY1" fmla="*/ 234412 h 312014"/>
                  <a:gd name="connsiteX2" fmla="*/ 385766 w 401783"/>
                  <a:gd name="connsiteY2" fmla="*/ 240585 h 312014"/>
                  <a:gd name="connsiteX3" fmla="*/ 385766 w 401783"/>
                  <a:gd name="connsiteY3" fmla="*/ 241919 h 312014"/>
                  <a:gd name="connsiteX4" fmla="*/ 386183 w 401783"/>
                  <a:gd name="connsiteY4" fmla="*/ 248593 h 312014"/>
                  <a:gd name="connsiteX5" fmla="*/ 382679 w 401783"/>
                  <a:gd name="connsiteY5" fmla="*/ 254766 h 312014"/>
                  <a:gd name="connsiteX6" fmla="*/ 381761 w 401783"/>
                  <a:gd name="connsiteY6" fmla="*/ 255684 h 312014"/>
                  <a:gd name="connsiteX7" fmla="*/ 378674 w 401783"/>
                  <a:gd name="connsiteY7" fmla="*/ 258770 h 312014"/>
                  <a:gd name="connsiteX8" fmla="*/ 370665 w 401783"/>
                  <a:gd name="connsiteY8" fmla="*/ 295976 h 312014"/>
                  <a:gd name="connsiteX9" fmla="*/ 371583 w 401783"/>
                  <a:gd name="connsiteY9" fmla="*/ 299063 h 312014"/>
                  <a:gd name="connsiteX10" fmla="*/ 372918 w 401783"/>
                  <a:gd name="connsiteY10" fmla="*/ 306570 h 312014"/>
                  <a:gd name="connsiteX11" fmla="*/ 365827 w 401783"/>
                  <a:gd name="connsiteY11" fmla="*/ 310992 h 312014"/>
                  <a:gd name="connsiteX12" fmla="*/ 334792 w 401783"/>
                  <a:gd name="connsiteY12" fmla="*/ 304318 h 312014"/>
                  <a:gd name="connsiteX13" fmla="*/ 331705 w 401783"/>
                  <a:gd name="connsiteY13" fmla="*/ 301648 h 312014"/>
                  <a:gd name="connsiteX14" fmla="*/ 322361 w 401783"/>
                  <a:gd name="connsiteY14" fmla="*/ 294558 h 312014"/>
                  <a:gd name="connsiteX15" fmla="*/ 307261 w 401783"/>
                  <a:gd name="connsiteY15" fmla="*/ 291054 h 312014"/>
                  <a:gd name="connsiteX16" fmla="*/ 293079 w 401783"/>
                  <a:gd name="connsiteY16" fmla="*/ 291972 h 312014"/>
                  <a:gd name="connsiteX17" fmla="*/ 284652 w 401783"/>
                  <a:gd name="connsiteY17" fmla="*/ 296393 h 312014"/>
                  <a:gd name="connsiteX18" fmla="*/ 281566 w 401783"/>
                  <a:gd name="connsiteY18" fmla="*/ 299897 h 312014"/>
                  <a:gd name="connsiteX19" fmla="*/ 281148 w 401783"/>
                  <a:gd name="connsiteY19" fmla="*/ 300314 h 312014"/>
                  <a:gd name="connsiteX20" fmla="*/ 279814 w 401783"/>
                  <a:gd name="connsiteY20" fmla="*/ 301648 h 312014"/>
                  <a:gd name="connsiteX21" fmla="*/ 263879 w 401783"/>
                  <a:gd name="connsiteY21" fmla="*/ 301648 h 312014"/>
                  <a:gd name="connsiteX22" fmla="*/ 249279 w 401783"/>
                  <a:gd name="connsiteY22" fmla="*/ 297644 h 312014"/>
                  <a:gd name="connsiteX23" fmla="*/ 235514 w 401783"/>
                  <a:gd name="connsiteY23" fmla="*/ 290971 h 312014"/>
                  <a:gd name="connsiteX24" fmla="*/ 232427 w 401783"/>
                  <a:gd name="connsiteY24" fmla="*/ 282545 h 312014"/>
                  <a:gd name="connsiteX25" fmla="*/ 232010 w 401783"/>
                  <a:gd name="connsiteY25" fmla="*/ 279459 h 312014"/>
                  <a:gd name="connsiteX26" fmla="*/ 221832 w 401783"/>
                  <a:gd name="connsiteY26" fmla="*/ 257769 h 312014"/>
                  <a:gd name="connsiteX27" fmla="*/ 197471 w 401783"/>
                  <a:gd name="connsiteY27" fmla="*/ 245339 h 312014"/>
                  <a:gd name="connsiteX28" fmla="*/ 191298 w 401783"/>
                  <a:gd name="connsiteY28" fmla="*/ 244922 h 312014"/>
                  <a:gd name="connsiteX29" fmla="*/ 170024 w 401783"/>
                  <a:gd name="connsiteY29" fmla="*/ 248009 h 312014"/>
                  <a:gd name="connsiteX30" fmla="*/ 160263 w 401783"/>
                  <a:gd name="connsiteY30" fmla="*/ 256852 h 312014"/>
                  <a:gd name="connsiteX31" fmla="*/ 151837 w 401783"/>
                  <a:gd name="connsiteY31" fmla="*/ 263942 h 312014"/>
                  <a:gd name="connsiteX32" fmla="*/ 138989 w 401783"/>
                  <a:gd name="connsiteY32" fmla="*/ 251513 h 312014"/>
                  <a:gd name="connsiteX33" fmla="*/ 122637 w 401783"/>
                  <a:gd name="connsiteY33" fmla="*/ 220063 h 312014"/>
                  <a:gd name="connsiteX34" fmla="*/ 117799 w 401783"/>
                  <a:gd name="connsiteY34" fmla="*/ 208551 h 312014"/>
                  <a:gd name="connsiteX35" fmla="*/ 116881 w 401783"/>
                  <a:gd name="connsiteY35" fmla="*/ 199709 h 312014"/>
                  <a:gd name="connsiteX36" fmla="*/ 116464 w 401783"/>
                  <a:gd name="connsiteY36" fmla="*/ 193953 h 312014"/>
                  <a:gd name="connsiteX37" fmla="*/ 87682 w 401783"/>
                  <a:gd name="connsiteY37" fmla="*/ 154995 h 312014"/>
                  <a:gd name="connsiteX38" fmla="*/ 64239 w 401783"/>
                  <a:gd name="connsiteY38" fmla="*/ 153660 h 312014"/>
                  <a:gd name="connsiteX39" fmla="*/ 52309 w 401783"/>
                  <a:gd name="connsiteY39" fmla="*/ 154077 h 312014"/>
                  <a:gd name="connsiteX40" fmla="*/ 14683 w 401783"/>
                  <a:gd name="connsiteY40" fmla="*/ 136393 h 312014"/>
                  <a:gd name="connsiteX41" fmla="*/ 9344 w 401783"/>
                  <a:gd name="connsiteY41" fmla="*/ 129719 h 312014"/>
                  <a:gd name="connsiteX42" fmla="*/ 0 w 401783"/>
                  <a:gd name="connsiteY42" fmla="*/ 119124 h 312014"/>
                  <a:gd name="connsiteX43" fmla="*/ 20857 w 401783"/>
                  <a:gd name="connsiteY43" fmla="*/ 108947 h 312014"/>
                  <a:gd name="connsiteX44" fmla="*/ 36374 w 401783"/>
                  <a:gd name="connsiteY44" fmla="*/ 88092 h 312014"/>
                  <a:gd name="connsiteX45" fmla="*/ 45718 w 401783"/>
                  <a:gd name="connsiteY45" fmla="*/ 74828 h 312014"/>
                  <a:gd name="connsiteX46" fmla="*/ 65240 w 401783"/>
                  <a:gd name="connsiteY46" fmla="*/ 60229 h 312014"/>
                  <a:gd name="connsiteX47" fmla="*/ 91853 w 401783"/>
                  <a:gd name="connsiteY47" fmla="*/ 37205 h 312014"/>
                  <a:gd name="connsiteX48" fmla="*/ 98527 w 401783"/>
                  <a:gd name="connsiteY48" fmla="*/ 23024 h 312014"/>
                  <a:gd name="connsiteX49" fmla="*/ 107871 w 401783"/>
                  <a:gd name="connsiteY49" fmla="*/ 6173 h 312014"/>
                  <a:gd name="connsiteX50" fmla="*/ 112710 w 401783"/>
                  <a:gd name="connsiteY50" fmla="*/ 1752 h 312014"/>
                  <a:gd name="connsiteX51" fmla="*/ 114462 w 401783"/>
                  <a:gd name="connsiteY51" fmla="*/ 0 h 312014"/>
                  <a:gd name="connsiteX52" fmla="*/ 135735 w 401783"/>
                  <a:gd name="connsiteY52" fmla="*/ 16350 h 312014"/>
                  <a:gd name="connsiteX53" fmla="*/ 139740 w 401783"/>
                  <a:gd name="connsiteY53" fmla="*/ 22524 h 312014"/>
                  <a:gd name="connsiteX54" fmla="*/ 152588 w 401783"/>
                  <a:gd name="connsiteY54" fmla="*/ 38039 h 312014"/>
                  <a:gd name="connsiteX55" fmla="*/ 163683 w 401783"/>
                  <a:gd name="connsiteY55" fmla="*/ 43379 h 312014"/>
                  <a:gd name="connsiteX56" fmla="*/ 173444 w 401783"/>
                  <a:gd name="connsiteY56" fmla="*/ 49135 h 312014"/>
                  <a:gd name="connsiteX57" fmla="*/ 175697 w 401783"/>
                  <a:gd name="connsiteY57" fmla="*/ 53139 h 312014"/>
                  <a:gd name="connsiteX58" fmla="*/ 183205 w 401783"/>
                  <a:gd name="connsiteY58" fmla="*/ 63316 h 312014"/>
                  <a:gd name="connsiteX59" fmla="*/ 189379 w 401783"/>
                  <a:gd name="connsiteY59" fmla="*/ 66402 h 312014"/>
                  <a:gd name="connsiteX60" fmla="*/ 191631 w 401783"/>
                  <a:gd name="connsiteY60" fmla="*/ 67320 h 312014"/>
                  <a:gd name="connsiteX61" fmla="*/ 198723 w 401783"/>
                  <a:gd name="connsiteY61" fmla="*/ 79249 h 312014"/>
                  <a:gd name="connsiteX62" fmla="*/ 208484 w 401783"/>
                  <a:gd name="connsiteY62" fmla="*/ 123545 h 312014"/>
                  <a:gd name="connsiteX63" fmla="*/ 208901 w 401783"/>
                  <a:gd name="connsiteY63" fmla="*/ 125798 h 312014"/>
                  <a:gd name="connsiteX64" fmla="*/ 217744 w 401783"/>
                  <a:gd name="connsiteY64" fmla="*/ 154578 h 312014"/>
                  <a:gd name="connsiteX65" fmla="*/ 222583 w 401783"/>
                  <a:gd name="connsiteY65" fmla="*/ 160334 h 312014"/>
                  <a:gd name="connsiteX66" fmla="*/ 227922 w 401783"/>
                  <a:gd name="connsiteY66" fmla="*/ 167425 h 312014"/>
                  <a:gd name="connsiteX67" fmla="*/ 228840 w 401783"/>
                  <a:gd name="connsiteY67" fmla="*/ 170511 h 312014"/>
                  <a:gd name="connsiteX68" fmla="*/ 231509 w 401783"/>
                  <a:gd name="connsiteY68" fmla="*/ 177185 h 312014"/>
                  <a:gd name="connsiteX69" fmla="*/ 242105 w 401783"/>
                  <a:gd name="connsiteY69" fmla="*/ 187362 h 312014"/>
                  <a:gd name="connsiteX70" fmla="*/ 275809 w 401783"/>
                  <a:gd name="connsiteY70" fmla="*/ 194453 h 312014"/>
                  <a:gd name="connsiteX71" fmla="*/ 288240 w 401783"/>
                  <a:gd name="connsiteY71" fmla="*/ 181606 h 312014"/>
                  <a:gd name="connsiteX72" fmla="*/ 294914 w 401783"/>
                  <a:gd name="connsiteY72" fmla="*/ 173598 h 312014"/>
                  <a:gd name="connsiteX73" fmla="*/ 309096 w 401783"/>
                  <a:gd name="connsiteY73" fmla="*/ 172680 h 312014"/>
                  <a:gd name="connsiteX74" fmla="*/ 326783 w 401783"/>
                  <a:gd name="connsiteY74" fmla="*/ 172263 h 312014"/>
                  <a:gd name="connsiteX75" fmla="*/ 346722 w 401783"/>
                  <a:gd name="connsiteY75" fmla="*/ 157665 h 312014"/>
                  <a:gd name="connsiteX76" fmla="*/ 350726 w 401783"/>
                  <a:gd name="connsiteY76" fmla="*/ 153660 h 312014"/>
                  <a:gd name="connsiteX77" fmla="*/ 365827 w 401783"/>
                  <a:gd name="connsiteY77" fmla="*/ 147487 h 312014"/>
                  <a:gd name="connsiteX78" fmla="*/ 365410 w 401783"/>
                  <a:gd name="connsiteY78" fmla="*/ 150157 h 312014"/>
                  <a:gd name="connsiteX79" fmla="*/ 364992 w 401783"/>
                  <a:gd name="connsiteY79" fmla="*/ 152409 h 312014"/>
                  <a:gd name="connsiteX80" fmla="*/ 384931 w 401783"/>
                  <a:gd name="connsiteY80" fmla="*/ 181606 h 312014"/>
                  <a:gd name="connsiteX81" fmla="*/ 392940 w 401783"/>
                  <a:gd name="connsiteY81" fmla="*/ 186445 h 312014"/>
                  <a:gd name="connsiteX82" fmla="*/ 401784 w 401783"/>
                  <a:gd name="connsiteY82" fmla="*/ 197039 h 312014"/>
                  <a:gd name="connsiteX83" fmla="*/ 401784 w 401783"/>
                  <a:gd name="connsiteY83" fmla="*/ 197957 h 312014"/>
                  <a:gd name="connsiteX84" fmla="*/ 394192 w 401783"/>
                  <a:gd name="connsiteY84" fmla="*/ 212305 h 312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401783" h="312014" extrusionOk="0">
                    <a:moveTo>
                      <a:pt x="394192" y="212305"/>
                    </a:moveTo>
                    <a:cubicBezTo>
                      <a:pt x="390187" y="218478"/>
                      <a:pt x="385766" y="226070"/>
                      <a:pt x="385348" y="234412"/>
                    </a:cubicBezTo>
                    <a:cubicBezTo>
                      <a:pt x="384931" y="236664"/>
                      <a:pt x="385348" y="238416"/>
                      <a:pt x="385766" y="240585"/>
                    </a:cubicBezTo>
                    <a:lnTo>
                      <a:pt x="385766" y="241919"/>
                    </a:lnTo>
                    <a:cubicBezTo>
                      <a:pt x="386183" y="244589"/>
                      <a:pt x="386683" y="246758"/>
                      <a:pt x="386183" y="248593"/>
                    </a:cubicBezTo>
                    <a:cubicBezTo>
                      <a:pt x="385766" y="250845"/>
                      <a:pt x="383930" y="252097"/>
                      <a:pt x="382679" y="254766"/>
                    </a:cubicBezTo>
                    <a:cubicBezTo>
                      <a:pt x="382262" y="255183"/>
                      <a:pt x="381761" y="255684"/>
                      <a:pt x="381761" y="255684"/>
                    </a:cubicBezTo>
                    <a:cubicBezTo>
                      <a:pt x="380844" y="256601"/>
                      <a:pt x="379509" y="257936"/>
                      <a:pt x="378674" y="258770"/>
                    </a:cubicBezTo>
                    <a:cubicBezTo>
                      <a:pt x="370665" y="268948"/>
                      <a:pt x="367579" y="283129"/>
                      <a:pt x="370665" y="295976"/>
                    </a:cubicBezTo>
                    <a:lnTo>
                      <a:pt x="371583" y="299063"/>
                    </a:lnTo>
                    <a:cubicBezTo>
                      <a:pt x="372501" y="302149"/>
                      <a:pt x="373335" y="304818"/>
                      <a:pt x="372918" y="306570"/>
                    </a:cubicBezTo>
                    <a:cubicBezTo>
                      <a:pt x="372000" y="308322"/>
                      <a:pt x="369831" y="309657"/>
                      <a:pt x="365827" y="310992"/>
                    </a:cubicBezTo>
                    <a:cubicBezTo>
                      <a:pt x="355232" y="313661"/>
                      <a:pt x="343218" y="310992"/>
                      <a:pt x="334792" y="304318"/>
                    </a:cubicBezTo>
                    <a:cubicBezTo>
                      <a:pt x="333457" y="303400"/>
                      <a:pt x="332539" y="302566"/>
                      <a:pt x="331705" y="301648"/>
                    </a:cubicBezTo>
                    <a:cubicBezTo>
                      <a:pt x="329035" y="298979"/>
                      <a:pt x="325949" y="296810"/>
                      <a:pt x="322361" y="294558"/>
                    </a:cubicBezTo>
                    <a:cubicBezTo>
                      <a:pt x="317022" y="291888"/>
                      <a:pt x="311766" y="291471"/>
                      <a:pt x="307261" y="291054"/>
                    </a:cubicBezTo>
                    <a:cubicBezTo>
                      <a:pt x="302839" y="290637"/>
                      <a:pt x="297917" y="290136"/>
                      <a:pt x="293079" y="291972"/>
                    </a:cubicBezTo>
                    <a:cubicBezTo>
                      <a:pt x="289992" y="292889"/>
                      <a:pt x="287322" y="294224"/>
                      <a:pt x="284652" y="296393"/>
                    </a:cubicBezTo>
                    <a:cubicBezTo>
                      <a:pt x="283318" y="297311"/>
                      <a:pt x="282400" y="298645"/>
                      <a:pt x="281566" y="299897"/>
                    </a:cubicBezTo>
                    <a:cubicBezTo>
                      <a:pt x="281148" y="300314"/>
                      <a:pt x="281148" y="300314"/>
                      <a:pt x="281148" y="300314"/>
                    </a:cubicBezTo>
                    <a:cubicBezTo>
                      <a:pt x="280731" y="300731"/>
                      <a:pt x="280231" y="301231"/>
                      <a:pt x="279814" y="301648"/>
                    </a:cubicBezTo>
                    <a:cubicBezTo>
                      <a:pt x="276727" y="304735"/>
                      <a:pt x="270053" y="302983"/>
                      <a:pt x="263879" y="301648"/>
                    </a:cubicBezTo>
                    <a:lnTo>
                      <a:pt x="249279" y="297644"/>
                    </a:lnTo>
                    <a:cubicBezTo>
                      <a:pt x="243106" y="296309"/>
                      <a:pt x="238184" y="294558"/>
                      <a:pt x="235514" y="290971"/>
                    </a:cubicBezTo>
                    <a:cubicBezTo>
                      <a:pt x="234179" y="288718"/>
                      <a:pt x="233262" y="285632"/>
                      <a:pt x="232427" y="282545"/>
                    </a:cubicBezTo>
                    <a:lnTo>
                      <a:pt x="232010" y="279459"/>
                    </a:lnTo>
                    <a:cubicBezTo>
                      <a:pt x="229757" y="271450"/>
                      <a:pt x="226671" y="264360"/>
                      <a:pt x="221832" y="257769"/>
                    </a:cubicBezTo>
                    <a:cubicBezTo>
                      <a:pt x="214741" y="247175"/>
                      <a:pt x="205897" y="245339"/>
                      <a:pt x="197471" y="245339"/>
                    </a:cubicBezTo>
                    <a:cubicBezTo>
                      <a:pt x="195219" y="245339"/>
                      <a:pt x="193467" y="244922"/>
                      <a:pt x="191298" y="244922"/>
                    </a:cubicBezTo>
                    <a:cubicBezTo>
                      <a:pt x="185124" y="244005"/>
                      <a:pt x="178033" y="243588"/>
                      <a:pt x="170024" y="248009"/>
                    </a:cubicBezTo>
                    <a:cubicBezTo>
                      <a:pt x="166019" y="250679"/>
                      <a:pt x="162933" y="254182"/>
                      <a:pt x="160263" y="256852"/>
                    </a:cubicBezTo>
                    <a:cubicBezTo>
                      <a:pt x="157176" y="260355"/>
                      <a:pt x="154924" y="263025"/>
                      <a:pt x="151837" y="263942"/>
                    </a:cubicBezTo>
                    <a:cubicBezTo>
                      <a:pt x="147832" y="264860"/>
                      <a:pt x="142493" y="258186"/>
                      <a:pt x="138989" y="251513"/>
                    </a:cubicBezTo>
                    <a:lnTo>
                      <a:pt x="122637" y="220063"/>
                    </a:lnTo>
                    <a:cubicBezTo>
                      <a:pt x="120385" y="216559"/>
                      <a:pt x="118633" y="212055"/>
                      <a:pt x="117799" y="208551"/>
                    </a:cubicBezTo>
                    <a:cubicBezTo>
                      <a:pt x="116881" y="205465"/>
                      <a:pt x="116881" y="202795"/>
                      <a:pt x="116881" y="199709"/>
                    </a:cubicBezTo>
                    <a:cubicBezTo>
                      <a:pt x="116464" y="197456"/>
                      <a:pt x="116464" y="196205"/>
                      <a:pt x="116464" y="193953"/>
                    </a:cubicBezTo>
                    <a:cubicBezTo>
                      <a:pt x="114712" y="178436"/>
                      <a:pt x="105368" y="160751"/>
                      <a:pt x="87682" y="154995"/>
                    </a:cubicBezTo>
                    <a:cubicBezTo>
                      <a:pt x="79673" y="152326"/>
                      <a:pt x="71747" y="152743"/>
                      <a:pt x="64239" y="153660"/>
                    </a:cubicBezTo>
                    <a:cubicBezTo>
                      <a:pt x="60234" y="154077"/>
                      <a:pt x="56230" y="154077"/>
                      <a:pt x="52309" y="154077"/>
                    </a:cubicBezTo>
                    <a:cubicBezTo>
                      <a:pt x="35456" y="152743"/>
                      <a:pt x="23109" y="146987"/>
                      <a:pt x="14683" y="136393"/>
                    </a:cubicBezTo>
                    <a:lnTo>
                      <a:pt x="9344" y="129719"/>
                    </a:lnTo>
                    <a:cubicBezTo>
                      <a:pt x="5840" y="125297"/>
                      <a:pt x="3170" y="122211"/>
                      <a:pt x="0" y="119124"/>
                    </a:cubicBezTo>
                    <a:cubicBezTo>
                      <a:pt x="7091" y="118207"/>
                      <a:pt x="14183" y="116038"/>
                      <a:pt x="20857" y="108947"/>
                    </a:cubicBezTo>
                    <a:cubicBezTo>
                      <a:pt x="27030" y="102774"/>
                      <a:pt x="31953" y="95182"/>
                      <a:pt x="36374" y="88092"/>
                    </a:cubicBezTo>
                    <a:cubicBezTo>
                      <a:pt x="39461" y="83671"/>
                      <a:pt x="42548" y="79249"/>
                      <a:pt x="45718" y="74828"/>
                    </a:cubicBezTo>
                    <a:cubicBezTo>
                      <a:pt x="50557" y="68655"/>
                      <a:pt x="57648" y="64651"/>
                      <a:pt x="65240" y="60229"/>
                    </a:cubicBezTo>
                    <a:cubicBezTo>
                      <a:pt x="75001" y="54473"/>
                      <a:pt x="85179" y="48300"/>
                      <a:pt x="91853" y="37205"/>
                    </a:cubicBezTo>
                    <a:cubicBezTo>
                      <a:pt x="94940" y="32367"/>
                      <a:pt x="96692" y="27028"/>
                      <a:pt x="98527" y="23024"/>
                    </a:cubicBezTo>
                    <a:cubicBezTo>
                      <a:pt x="100780" y="16851"/>
                      <a:pt x="102949" y="11095"/>
                      <a:pt x="107871" y="6173"/>
                    </a:cubicBezTo>
                    <a:cubicBezTo>
                      <a:pt x="109206" y="4838"/>
                      <a:pt x="110958" y="3086"/>
                      <a:pt x="112710" y="1752"/>
                    </a:cubicBezTo>
                    <a:lnTo>
                      <a:pt x="114462" y="0"/>
                    </a:lnTo>
                    <a:cubicBezTo>
                      <a:pt x="122888" y="4004"/>
                      <a:pt x="130396" y="9343"/>
                      <a:pt x="135735" y="16350"/>
                    </a:cubicBezTo>
                    <a:cubicBezTo>
                      <a:pt x="137070" y="18603"/>
                      <a:pt x="138405" y="20355"/>
                      <a:pt x="139740" y="22524"/>
                    </a:cubicBezTo>
                    <a:cubicBezTo>
                      <a:pt x="142827" y="27862"/>
                      <a:pt x="146831" y="33618"/>
                      <a:pt x="152588" y="38039"/>
                    </a:cubicBezTo>
                    <a:cubicBezTo>
                      <a:pt x="156092" y="40709"/>
                      <a:pt x="160096" y="42044"/>
                      <a:pt x="163683" y="43379"/>
                    </a:cubicBezTo>
                    <a:cubicBezTo>
                      <a:pt x="168105" y="45130"/>
                      <a:pt x="171692" y="46465"/>
                      <a:pt x="173444" y="49135"/>
                    </a:cubicBezTo>
                    <a:cubicBezTo>
                      <a:pt x="174362" y="50469"/>
                      <a:pt x="174779" y="51804"/>
                      <a:pt x="175697" y="53139"/>
                    </a:cubicBezTo>
                    <a:cubicBezTo>
                      <a:pt x="177032" y="56225"/>
                      <a:pt x="179201" y="60229"/>
                      <a:pt x="183205" y="63316"/>
                    </a:cubicBezTo>
                    <a:cubicBezTo>
                      <a:pt x="185458" y="64651"/>
                      <a:pt x="187627" y="65568"/>
                      <a:pt x="189379" y="66402"/>
                    </a:cubicBezTo>
                    <a:cubicBezTo>
                      <a:pt x="190297" y="66820"/>
                      <a:pt x="190714" y="66820"/>
                      <a:pt x="191631" y="67320"/>
                    </a:cubicBezTo>
                    <a:cubicBezTo>
                      <a:pt x="195135" y="69072"/>
                      <a:pt x="196971" y="73994"/>
                      <a:pt x="198723" y="79249"/>
                    </a:cubicBezTo>
                    <a:cubicBezTo>
                      <a:pt x="203144" y="93848"/>
                      <a:pt x="206231" y="108447"/>
                      <a:pt x="208484" y="123545"/>
                    </a:cubicBezTo>
                    <a:lnTo>
                      <a:pt x="208901" y="125798"/>
                    </a:lnTo>
                    <a:cubicBezTo>
                      <a:pt x="210236" y="135141"/>
                      <a:pt x="211571" y="145735"/>
                      <a:pt x="217744" y="154578"/>
                    </a:cubicBezTo>
                    <a:cubicBezTo>
                      <a:pt x="219079" y="156831"/>
                      <a:pt x="220831" y="158082"/>
                      <a:pt x="222583" y="160334"/>
                    </a:cubicBezTo>
                    <a:cubicBezTo>
                      <a:pt x="224835" y="163004"/>
                      <a:pt x="227005" y="165173"/>
                      <a:pt x="227922" y="167425"/>
                    </a:cubicBezTo>
                    <a:cubicBezTo>
                      <a:pt x="228339" y="168342"/>
                      <a:pt x="228840" y="169677"/>
                      <a:pt x="228840" y="170511"/>
                    </a:cubicBezTo>
                    <a:cubicBezTo>
                      <a:pt x="229757" y="172764"/>
                      <a:pt x="230175" y="174933"/>
                      <a:pt x="231509" y="177185"/>
                    </a:cubicBezTo>
                    <a:cubicBezTo>
                      <a:pt x="234179" y="182023"/>
                      <a:pt x="238601" y="185194"/>
                      <a:pt x="242105" y="187362"/>
                    </a:cubicBezTo>
                    <a:cubicBezTo>
                      <a:pt x="248278" y="191367"/>
                      <a:pt x="262461" y="201127"/>
                      <a:pt x="275809" y="194453"/>
                    </a:cubicBezTo>
                    <a:cubicBezTo>
                      <a:pt x="281983" y="191367"/>
                      <a:pt x="285570" y="186028"/>
                      <a:pt x="288240" y="181606"/>
                    </a:cubicBezTo>
                    <a:cubicBezTo>
                      <a:pt x="290492" y="178520"/>
                      <a:pt x="292661" y="174933"/>
                      <a:pt x="294914" y="173598"/>
                    </a:cubicBezTo>
                    <a:cubicBezTo>
                      <a:pt x="298418" y="171346"/>
                      <a:pt x="303340" y="172263"/>
                      <a:pt x="309096" y="172680"/>
                    </a:cubicBezTo>
                    <a:cubicBezTo>
                      <a:pt x="314436" y="173598"/>
                      <a:pt x="320609" y="174015"/>
                      <a:pt x="326783" y="172263"/>
                    </a:cubicBezTo>
                    <a:cubicBezTo>
                      <a:pt x="335626" y="169594"/>
                      <a:pt x="341383" y="163421"/>
                      <a:pt x="346722" y="157665"/>
                    </a:cubicBezTo>
                    <a:cubicBezTo>
                      <a:pt x="348057" y="156330"/>
                      <a:pt x="349392" y="154995"/>
                      <a:pt x="350726" y="153660"/>
                    </a:cubicBezTo>
                    <a:cubicBezTo>
                      <a:pt x="360070" y="144818"/>
                      <a:pt x="363574" y="146570"/>
                      <a:pt x="365827" y="147487"/>
                    </a:cubicBezTo>
                    <a:cubicBezTo>
                      <a:pt x="365827" y="147904"/>
                      <a:pt x="365827" y="148405"/>
                      <a:pt x="365410" y="150157"/>
                    </a:cubicBezTo>
                    <a:lnTo>
                      <a:pt x="364992" y="152409"/>
                    </a:lnTo>
                    <a:cubicBezTo>
                      <a:pt x="363657" y="163504"/>
                      <a:pt x="370332" y="173264"/>
                      <a:pt x="384931" y="181606"/>
                    </a:cubicBezTo>
                    <a:cubicBezTo>
                      <a:pt x="387601" y="182941"/>
                      <a:pt x="390271" y="184693"/>
                      <a:pt x="392940" y="186445"/>
                    </a:cubicBezTo>
                    <a:cubicBezTo>
                      <a:pt x="397362" y="189531"/>
                      <a:pt x="400949" y="193118"/>
                      <a:pt x="401784" y="197039"/>
                    </a:cubicBezTo>
                    <a:lnTo>
                      <a:pt x="401784" y="197957"/>
                    </a:lnTo>
                    <a:cubicBezTo>
                      <a:pt x="400866" y="201627"/>
                      <a:pt x="397779" y="206549"/>
                      <a:pt x="394192" y="2123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67254718" name="Полилиния 376"/>
              <p:cNvSpPr/>
              <p:nvPr/>
            </p:nvSpPr>
            <p:spPr bwMode="auto">
              <a:xfrm>
                <a:off x="2353578" y="3964575"/>
                <a:ext cx="279421" cy="210636"/>
              </a:xfrm>
              <a:custGeom>
                <a:avLst/>
                <a:gdLst>
                  <a:gd name="connsiteX0" fmla="*/ 292313 w 313800"/>
                  <a:gd name="connsiteY0" fmla="*/ 106046 h 236552"/>
                  <a:gd name="connsiteX1" fmla="*/ 287475 w 313800"/>
                  <a:gd name="connsiteY1" fmla="*/ 122897 h 236552"/>
                  <a:gd name="connsiteX2" fmla="*/ 302992 w 313800"/>
                  <a:gd name="connsiteY2" fmla="*/ 140165 h 236552"/>
                  <a:gd name="connsiteX3" fmla="*/ 311001 w 313800"/>
                  <a:gd name="connsiteY3" fmla="*/ 145921 h 236552"/>
                  <a:gd name="connsiteX4" fmla="*/ 310584 w 313800"/>
                  <a:gd name="connsiteY4" fmla="*/ 176453 h 236552"/>
                  <a:gd name="connsiteX5" fmla="*/ 307914 w 313800"/>
                  <a:gd name="connsiteY5" fmla="*/ 179957 h 236552"/>
                  <a:gd name="connsiteX6" fmla="*/ 306579 w 313800"/>
                  <a:gd name="connsiteY6" fmla="*/ 182209 h 236552"/>
                  <a:gd name="connsiteX7" fmla="*/ 303075 w 313800"/>
                  <a:gd name="connsiteY7" fmla="*/ 187047 h 236552"/>
                  <a:gd name="connsiteX8" fmla="*/ 300406 w 313800"/>
                  <a:gd name="connsiteY8" fmla="*/ 195890 h 236552"/>
                  <a:gd name="connsiteX9" fmla="*/ 299989 w 313800"/>
                  <a:gd name="connsiteY9" fmla="*/ 200728 h 236552"/>
                  <a:gd name="connsiteX10" fmla="*/ 298654 w 313800"/>
                  <a:gd name="connsiteY10" fmla="*/ 208737 h 236552"/>
                  <a:gd name="connsiteX11" fmla="*/ 278715 w 313800"/>
                  <a:gd name="connsiteY11" fmla="*/ 227339 h 236552"/>
                  <a:gd name="connsiteX12" fmla="*/ 253436 w 313800"/>
                  <a:gd name="connsiteY12" fmla="*/ 217579 h 236552"/>
                  <a:gd name="connsiteX13" fmla="*/ 203797 w 313800"/>
                  <a:gd name="connsiteY13" fmla="*/ 213158 h 236552"/>
                  <a:gd name="connsiteX14" fmla="*/ 196289 w 313800"/>
                  <a:gd name="connsiteY14" fmla="*/ 226422 h 236552"/>
                  <a:gd name="connsiteX15" fmla="*/ 190115 w 313800"/>
                  <a:gd name="connsiteY15" fmla="*/ 235264 h 236552"/>
                  <a:gd name="connsiteX16" fmla="*/ 185694 w 313800"/>
                  <a:gd name="connsiteY16" fmla="*/ 236182 h 236552"/>
                  <a:gd name="connsiteX17" fmla="*/ 171094 w 313800"/>
                  <a:gd name="connsiteY17" fmla="*/ 234847 h 236552"/>
                  <a:gd name="connsiteX18" fmla="*/ 161333 w 313800"/>
                  <a:gd name="connsiteY18" fmla="*/ 231344 h 236552"/>
                  <a:gd name="connsiteX19" fmla="*/ 158663 w 313800"/>
                  <a:gd name="connsiteY19" fmla="*/ 228674 h 236552"/>
                  <a:gd name="connsiteX20" fmla="*/ 152907 w 313800"/>
                  <a:gd name="connsiteY20" fmla="*/ 223335 h 236552"/>
                  <a:gd name="connsiteX21" fmla="*/ 141811 w 313800"/>
                  <a:gd name="connsiteY21" fmla="*/ 218914 h 236552"/>
                  <a:gd name="connsiteX22" fmla="*/ 135137 w 313800"/>
                  <a:gd name="connsiteY22" fmla="*/ 216245 h 236552"/>
                  <a:gd name="connsiteX23" fmla="*/ 128463 w 313800"/>
                  <a:gd name="connsiteY23" fmla="*/ 213158 h 236552"/>
                  <a:gd name="connsiteX24" fmla="*/ 127545 w 313800"/>
                  <a:gd name="connsiteY24" fmla="*/ 208737 h 236552"/>
                  <a:gd name="connsiteX25" fmla="*/ 126628 w 313800"/>
                  <a:gd name="connsiteY25" fmla="*/ 203398 h 236552"/>
                  <a:gd name="connsiteX26" fmla="*/ 108023 w 313800"/>
                  <a:gd name="connsiteY26" fmla="*/ 173283 h 236552"/>
                  <a:gd name="connsiteX27" fmla="*/ 76154 w 313800"/>
                  <a:gd name="connsiteY27" fmla="*/ 147173 h 236552"/>
                  <a:gd name="connsiteX28" fmla="*/ 65059 w 313800"/>
                  <a:gd name="connsiteY28" fmla="*/ 128570 h 236552"/>
                  <a:gd name="connsiteX29" fmla="*/ 58384 w 313800"/>
                  <a:gd name="connsiteY29" fmla="*/ 114805 h 236552"/>
                  <a:gd name="connsiteX30" fmla="*/ 32689 w 313800"/>
                  <a:gd name="connsiteY30" fmla="*/ 98872 h 236552"/>
                  <a:gd name="connsiteX31" fmla="*/ 24680 w 313800"/>
                  <a:gd name="connsiteY31" fmla="*/ 97120 h 236552"/>
                  <a:gd name="connsiteX32" fmla="*/ 737 w 313800"/>
                  <a:gd name="connsiteY32" fmla="*/ 82522 h 236552"/>
                  <a:gd name="connsiteX33" fmla="*/ 5158 w 313800"/>
                  <a:gd name="connsiteY33" fmla="*/ 64836 h 236552"/>
                  <a:gd name="connsiteX34" fmla="*/ 5158 w 313800"/>
                  <a:gd name="connsiteY34" fmla="*/ 13449 h 236552"/>
                  <a:gd name="connsiteX35" fmla="*/ 57884 w 313800"/>
                  <a:gd name="connsiteY35" fmla="*/ 2855 h 236552"/>
                  <a:gd name="connsiteX36" fmla="*/ 73401 w 313800"/>
                  <a:gd name="connsiteY36" fmla="*/ 7276 h 236552"/>
                  <a:gd name="connsiteX37" fmla="*/ 95092 w 313800"/>
                  <a:gd name="connsiteY37" fmla="*/ 13950 h 236552"/>
                  <a:gd name="connsiteX38" fmla="*/ 108357 w 313800"/>
                  <a:gd name="connsiteY38" fmla="*/ 19289 h 236552"/>
                  <a:gd name="connsiteX39" fmla="*/ 115448 w 313800"/>
                  <a:gd name="connsiteY39" fmla="*/ 22375 h 236552"/>
                  <a:gd name="connsiteX40" fmla="*/ 126961 w 313800"/>
                  <a:gd name="connsiteY40" fmla="*/ 30384 h 236552"/>
                  <a:gd name="connsiteX41" fmla="*/ 142062 w 313800"/>
                  <a:gd name="connsiteY41" fmla="*/ 40561 h 236552"/>
                  <a:gd name="connsiteX42" fmla="*/ 167757 w 313800"/>
                  <a:gd name="connsiteY42" fmla="*/ 43648 h 236552"/>
                  <a:gd name="connsiteX43" fmla="*/ 182357 w 313800"/>
                  <a:gd name="connsiteY43" fmla="*/ 44065 h 236552"/>
                  <a:gd name="connsiteX44" fmla="*/ 188530 w 313800"/>
                  <a:gd name="connsiteY44" fmla="*/ 45400 h 236552"/>
                  <a:gd name="connsiteX45" fmla="*/ 206717 w 313800"/>
                  <a:gd name="connsiteY45" fmla="*/ 47652 h 236552"/>
                  <a:gd name="connsiteX46" fmla="*/ 215561 w 313800"/>
                  <a:gd name="connsiteY46" fmla="*/ 46317 h 236552"/>
                  <a:gd name="connsiteX47" fmla="*/ 233247 w 313800"/>
                  <a:gd name="connsiteY47" fmla="*/ 45400 h 236552"/>
                  <a:gd name="connsiteX48" fmla="*/ 238086 w 313800"/>
                  <a:gd name="connsiteY48" fmla="*/ 55577 h 236552"/>
                  <a:gd name="connsiteX49" fmla="*/ 242924 w 313800"/>
                  <a:gd name="connsiteY49" fmla="*/ 71093 h 236552"/>
                  <a:gd name="connsiteX50" fmla="*/ 272124 w 313800"/>
                  <a:gd name="connsiteY50" fmla="*/ 87443 h 236552"/>
                  <a:gd name="connsiteX51" fmla="*/ 278298 w 313800"/>
                  <a:gd name="connsiteY51" fmla="*/ 89195 h 236552"/>
                  <a:gd name="connsiteX52" fmla="*/ 280967 w 313800"/>
                  <a:gd name="connsiteY52" fmla="*/ 89612 h 236552"/>
                  <a:gd name="connsiteX53" fmla="*/ 295150 w 313800"/>
                  <a:gd name="connsiteY53" fmla="*/ 97621 h 236552"/>
                  <a:gd name="connsiteX54" fmla="*/ 292313 w 313800"/>
                  <a:gd name="connsiteY54" fmla="*/ 106046 h 236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13800" h="236552" extrusionOk="0">
                    <a:moveTo>
                      <a:pt x="292313" y="106046"/>
                    </a:moveTo>
                    <a:cubicBezTo>
                      <a:pt x="290061" y="109550"/>
                      <a:pt x="286140" y="114889"/>
                      <a:pt x="287475" y="122897"/>
                    </a:cubicBezTo>
                    <a:cubicBezTo>
                      <a:pt x="288809" y="133074"/>
                      <a:pt x="297235" y="137079"/>
                      <a:pt x="302992" y="140165"/>
                    </a:cubicBezTo>
                    <a:cubicBezTo>
                      <a:pt x="306496" y="142418"/>
                      <a:pt x="309666" y="143669"/>
                      <a:pt x="311001" y="145921"/>
                    </a:cubicBezTo>
                    <a:cubicBezTo>
                      <a:pt x="315423" y="153012"/>
                      <a:pt x="314088" y="168528"/>
                      <a:pt x="310584" y="176453"/>
                    </a:cubicBezTo>
                    <a:cubicBezTo>
                      <a:pt x="310167" y="177371"/>
                      <a:pt x="308832" y="178705"/>
                      <a:pt x="307914" y="179957"/>
                    </a:cubicBezTo>
                    <a:cubicBezTo>
                      <a:pt x="307497" y="180374"/>
                      <a:pt x="306996" y="181292"/>
                      <a:pt x="306579" y="182209"/>
                    </a:cubicBezTo>
                    <a:cubicBezTo>
                      <a:pt x="305244" y="183544"/>
                      <a:pt x="303910" y="185296"/>
                      <a:pt x="303075" y="187047"/>
                    </a:cubicBezTo>
                    <a:cubicBezTo>
                      <a:pt x="301740" y="190134"/>
                      <a:pt x="300823" y="193221"/>
                      <a:pt x="300406" y="195890"/>
                    </a:cubicBezTo>
                    <a:cubicBezTo>
                      <a:pt x="299989" y="197642"/>
                      <a:pt x="299989" y="199394"/>
                      <a:pt x="299989" y="200728"/>
                    </a:cubicBezTo>
                    <a:cubicBezTo>
                      <a:pt x="299571" y="203815"/>
                      <a:pt x="299071" y="206484"/>
                      <a:pt x="298654" y="208737"/>
                    </a:cubicBezTo>
                    <a:cubicBezTo>
                      <a:pt x="295567" y="217162"/>
                      <a:pt x="286724" y="225087"/>
                      <a:pt x="278715" y="227339"/>
                    </a:cubicBezTo>
                    <a:cubicBezTo>
                      <a:pt x="272541" y="228674"/>
                      <a:pt x="262780" y="223335"/>
                      <a:pt x="253436" y="217579"/>
                    </a:cubicBezTo>
                    <a:cubicBezTo>
                      <a:pt x="238336" y="208737"/>
                      <a:pt x="219315" y="197642"/>
                      <a:pt x="203797" y="213158"/>
                    </a:cubicBezTo>
                    <a:cubicBezTo>
                      <a:pt x="199376" y="217579"/>
                      <a:pt x="197624" y="222501"/>
                      <a:pt x="196289" y="226422"/>
                    </a:cubicBezTo>
                    <a:cubicBezTo>
                      <a:pt x="194537" y="231260"/>
                      <a:pt x="193619" y="233513"/>
                      <a:pt x="190115" y="235264"/>
                    </a:cubicBezTo>
                    <a:cubicBezTo>
                      <a:pt x="188781" y="235681"/>
                      <a:pt x="187029" y="236182"/>
                      <a:pt x="185694" y="236182"/>
                    </a:cubicBezTo>
                    <a:cubicBezTo>
                      <a:pt x="181272" y="237100"/>
                      <a:pt x="175933" y="236182"/>
                      <a:pt x="171094" y="234847"/>
                    </a:cubicBezTo>
                    <a:cubicBezTo>
                      <a:pt x="167590" y="233930"/>
                      <a:pt x="164003" y="232595"/>
                      <a:pt x="161333" y="231344"/>
                    </a:cubicBezTo>
                    <a:cubicBezTo>
                      <a:pt x="160415" y="230927"/>
                      <a:pt x="159998" y="230009"/>
                      <a:pt x="158663" y="228674"/>
                    </a:cubicBezTo>
                    <a:cubicBezTo>
                      <a:pt x="157329" y="226922"/>
                      <a:pt x="155577" y="224670"/>
                      <a:pt x="152907" y="223335"/>
                    </a:cubicBezTo>
                    <a:cubicBezTo>
                      <a:pt x="148485" y="220666"/>
                      <a:pt x="144898" y="219832"/>
                      <a:pt x="141811" y="218914"/>
                    </a:cubicBezTo>
                    <a:cubicBezTo>
                      <a:pt x="140059" y="217997"/>
                      <a:pt x="138307" y="217579"/>
                      <a:pt x="135137" y="216245"/>
                    </a:cubicBezTo>
                    <a:cubicBezTo>
                      <a:pt x="132050" y="214910"/>
                      <a:pt x="128964" y="213575"/>
                      <a:pt x="128463" y="213158"/>
                    </a:cubicBezTo>
                    <a:cubicBezTo>
                      <a:pt x="128046" y="212741"/>
                      <a:pt x="128046" y="210489"/>
                      <a:pt x="127545" y="208737"/>
                    </a:cubicBezTo>
                    <a:lnTo>
                      <a:pt x="126628" y="203398"/>
                    </a:lnTo>
                    <a:cubicBezTo>
                      <a:pt x="123958" y="187465"/>
                      <a:pt x="123124" y="183461"/>
                      <a:pt x="108023" y="173283"/>
                    </a:cubicBezTo>
                    <a:cubicBezTo>
                      <a:pt x="96093" y="165275"/>
                      <a:pt x="85915" y="158184"/>
                      <a:pt x="76154" y="147173"/>
                    </a:cubicBezTo>
                    <a:cubicBezTo>
                      <a:pt x="70815" y="140999"/>
                      <a:pt x="68145" y="135243"/>
                      <a:pt x="65059" y="128570"/>
                    </a:cubicBezTo>
                    <a:cubicBezTo>
                      <a:pt x="63307" y="124148"/>
                      <a:pt x="61555" y="119727"/>
                      <a:pt x="58384" y="114805"/>
                    </a:cubicBezTo>
                    <a:cubicBezTo>
                      <a:pt x="51293" y="102376"/>
                      <a:pt x="41115" y="100624"/>
                      <a:pt x="32689" y="98872"/>
                    </a:cubicBezTo>
                    <a:cubicBezTo>
                      <a:pt x="30019" y="98455"/>
                      <a:pt x="27350" y="97955"/>
                      <a:pt x="24680" y="97120"/>
                    </a:cubicBezTo>
                    <a:cubicBezTo>
                      <a:pt x="11832" y="93617"/>
                      <a:pt x="2989" y="88278"/>
                      <a:pt x="737" y="82522"/>
                    </a:cubicBezTo>
                    <a:cubicBezTo>
                      <a:pt x="-1016" y="77683"/>
                      <a:pt x="319" y="71927"/>
                      <a:pt x="5158" y="64836"/>
                    </a:cubicBezTo>
                    <a:cubicBezTo>
                      <a:pt x="19341" y="43147"/>
                      <a:pt x="14502" y="28549"/>
                      <a:pt x="5158" y="13449"/>
                    </a:cubicBezTo>
                    <a:cubicBezTo>
                      <a:pt x="22845" y="2855"/>
                      <a:pt x="37528" y="-4236"/>
                      <a:pt x="57884" y="2855"/>
                    </a:cubicBezTo>
                    <a:cubicBezTo>
                      <a:pt x="62723" y="4190"/>
                      <a:pt x="68062" y="5941"/>
                      <a:pt x="73401" y="7276"/>
                    </a:cubicBezTo>
                    <a:cubicBezTo>
                      <a:pt x="80492" y="9529"/>
                      <a:pt x="88001" y="11697"/>
                      <a:pt x="95092" y="13950"/>
                    </a:cubicBezTo>
                    <a:cubicBezTo>
                      <a:pt x="99514" y="15702"/>
                      <a:pt x="103935" y="17454"/>
                      <a:pt x="108357" y="19289"/>
                    </a:cubicBezTo>
                    <a:cubicBezTo>
                      <a:pt x="111027" y="20206"/>
                      <a:pt x="113196" y="21541"/>
                      <a:pt x="115448" y="22375"/>
                    </a:cubicBezTo>
                    <a:cubicBezTo>
                      <a:pt x="119453" y="24628"/>
                      <a:pt x="122957" y="27214"/>
                      <a:pt x="126961" y="30384"/>
                    </a:cubicBezTo>
                    <a:cubicBezTo>
                      <a:pt x="131383" y="33887"/>
                      <a:pt x="136722" y="37475"/>
                      <a:pt x="142062" y="40561"/>
                    </a:cubicBezTo>
                    <a:cubicBezTo>
                      <a:pt x="151405" y="44983"/>
                      <a:pt x="160249" y="44565"/>
                      <a:pt x="167757" y="43648"/>
                    </a:cubicBezTo>
                    <a:cubicBezTo>
                      <a:pt x="172596" y="43231"/>
                      <a:pt x="177518" y="43231"/>
                      <a:pt x="182357" y="44065"/>
                    </a:cubicBezTo>
                    <a:cubicBezTo>
                      <a:pt x="185026" y="44482"/>
                      <a:pt x="186778" y="44983"/>
                      <a:pt x="188530" y="45400"/>
                    </a:cubicBezTo>
                    <a:cubicBezTo>
                      <a:pt x="193870" y="46734"/>
                      <a:pt x="198291" y="48069"/>
                      <a:pt x="206717" y="47652"/>
                    </a:cubicBezTo>
                    <a:cubicBezTo>
                      <a:pt x="209387" y="47235"/>
                      <a:pt x="212057" y="46734"/>
                      <a:pt x="215561" y="46317"/>
                    </a:cubicBezTo>
                    <a:cubicBezTo>
                      <a:pt x="220900" y="45400"/>
                      <a:pt x="229743" y="43648"/>
                      <a:pt x="233247" y="45400"/>
                    </a:cubicBezTo>
                    <a:cubicBezTo>
                      <a:pt x="236334" y="46734"/>
                      <a:pt x="236751" y="48903"/>
                      <a:pt x="238086" y="55577"/>
                    </a:cubicBezTo>
                    <a:cubicBezTo>
                      <a:pt x="239003" y="60415"/>
                      <a:pt x="239421" y="65754"/>
                      <a:pt x="242924" y="71093"/>
                    </a:cubicBezTo>
                    <a:cubicBezTo>
                      <a:pt x="250016" y="82605"/>
                      <a:pt x="261946" y="85274"/>
                      <a:pt x="272124" y="87443"/>
                    </a:cubicBezTo>
                    <a:cubicBezTo>
                      <a:pt x="274377" y="87861"/>
                      <a:pt x="276546" y="88361"/>
                      <a:pt x="278298" y="89195"/>
                    </a:cubicBezTo>
                    <a:lnTo>
                      <a:pt x="280967" y="89612"/>
                    </a:lnTo>
                    <a:cubicBezTo>
                      <a:pt x="286306" y="90947"/>
                      <a:pt x="294733" y="93116"/>
                      <a:pt x="295150" y="97621"/>
                    </a:cubicBezTo>
                    <a:cubicBezTo>
                      <a:pt x="294983" y="101625"/>
                      <a:pt x="294482" y="102543"/>
                      <a:pt x="292313" y="1060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5989725" name="Полилиния 377"/>
              <p:cNvSpPr/>
              <p:nvPr/>
            </p:nvSpPr>
            <p:spPr bwMode="auto">
              <a:xfrm>
                <a:off x="2046465" y="4671232"/>
                <a:ext cx="624438" cy="578886"/>
              </a:xfrm>
              <a:custGeom>
                <a:avLst/>
                <a:gdLst>
                  <a:gd name="connsiteX0" fmla="*/ 700952 w 701265"/>
                  <a:gd name="connsiteY0" fmla="*/ 502275 h 650109"/>
                  <a:gd name="connsiteX1" fmla="*/ 700952 w 701265"/>
                  <a:gd name="connsiteY1" fmla="*/ 523547 h 650109"/>
                  <a:gd name="connsiteX2" fmla="*/ 689439 w 701265"/>
                  <a:gd name="connsiteY2" fmla="*/ 529303 h 650109"/>
                  <a:gd name="connsiteX3" fmla="*/ 652648 w 701265"/>
                  <a:gd name="connsiteY3" fmla="*/ 539897 h 650109"/>
                  <a:gd name="connsiteX4" fmla="*/ 624700 w 701265"/>
                  <a:gd name="connsiteY4" fmla="*/ 548740 h 650109"/>
                  <a:gd name="connsiteX5" fmla="*/ 569805 w 701265"/>
                  <a:gd name="connsiteY5" fmla="*/ 550992 h 650109"/>
                  <a:gd name="connsiteX6" fmla="*/ 498892 w 701265"/>
                  <a:gd name="connsiteY6" fmla="*/ 555831 h 650109"/>
                  <a:gd name="connsiteX7" fmla="*/ 474949 w 701265"/>
                  <a:gd name="connsiteY7" fmla="*/ 561170 h 650109"/>
                  <a:gd name="connsiteX8" fmla="*/ 402284 w 701265"/>
                  <a:gd name="connsiteY8" fmla="*/ 598792 h 650109"/>
                  <a:gd name="connsiteX9" fmla="*/ 393441 w 701265"/>
                  <a:gd name="connsiteY9" fmla="*/ 615143 h 650109"/>
                  <a:gd name="connsiteX10" fmla="*/ 354481 w 701265"/>
                  <a:gd name="connsiteY10" fmla="*/ 650096 h 650109"/>
                  <a:gd name="connsiteX11" fmla="*/ 339881 w 701265"/>
                  <a:gd name="connsiteY11" fmla="*/ 643422 h 650109"/>
                  <a:gd name="connsiteX12" fmla="*/ 333207 w 701265"/>
                  <a:gd name="connsiteY12" fmla="*/ 601795 h 650109"/>
                  <a:gd name="connsiteX13" fmla="*/ 334124 w 701265"/>
                  <a:gd name="connsiteY13" fmla="*/ 594705 h 650109"/>
                  <a:gd name="connsiteX14" fmla="*/ 331872 w 701265"/>
                  <a:gd name="connsiteY14" fmla="*/ 537979 h 650109"/>
                  <a:gd name="connsiteX15" fmla="*/ 307094 w 701265"/>
                  <a:gd name="connsiteY15" fmla="*/ 515372 h 650109"/>
                  <a:gd name="connsiteX16" fmla="*/ 286738 w 701265"/>
                  <a:gd name="connsiteY16" fmla="*/ 518458 h 650109"/>
                  <a:gd name="connsiteX17" fmla="*/ 285403 w 701265"/>
                  <a:gd name="connsiteY17" fmla="*/ 511785 h 650109"/>
                  <a:gd name="connsiteX18" fmla="*/ 284486 w 701265"/>
                  <a:gd name="connsiteY18" fmla="*/ 505612 h 650109"/>
                  <a:gd name="connsiteX19" fmla="*/ 280064 w 701265"/>
                  <a:gd name="connsiteY19" fmla="*/ 487009 h 650109"/>
                  <a:gd name="connsiteX20" fmla="*/ 273390 w 701265"/>
                  <a:gd name="connsiteY20" fmla="*/ 481253 h 650109"/>
                  <a:gd name="connsiteX21" fmla="*/ 272055 w 701265"/>
                  <a:gd name="connsiteY21" fmla="*/ 480335 h 650109"/>
                  <a:gd name="connsiteX22" fmla="*/ 268968 w 701265"/>
                  <a:gd name="connsiteY22" fmla="*/ 463067 h 650109"/>
                  <a:gd name="connsiteX23" fmla="*/ 259624 w 701265"/>
                  <a:gd name="connsiteY23" fmla="*/ 434287 h 650109"/>
                  <a:gd name="connsiteX24" fmla="*/ 240102 w 701265"/>
                  <a:gd name="connsiteY24" fmla="*/ 428948 h 650109"/>
                  <a:gd name="connsiteX25" fmla="*/ 226337 w 701265"/>
                  <a:gd name="connsiteY25" fmla="*/ 433787 h 650109"/>
                  <a:gd name="connsiteX26" fmla="*/ 217911 w 701265"/>
                  <a:gd name="connsiteY26" fmla="*/ 436456 h 650109"/>
                  <a:gd name="connsiteX27" fmla="*/ 201059 w 701265"/>
                  <a:gd name="connsiteY27" fmla="*/ 421357 h 650109"/>
                  <a:gd name="connsiteX28" fmla="*/ 201476 w 701265"/>
                  <a:gd name="connsiteY28" fmla="*/ 405841 h 650109"/>
                  <a:gd name="connsiteX29" fmla="*/ 197054 w 701265"/>
                  <a:gd name="connsiteY29" fmla="*/ 373974 h 650109"/>
                  <a:gd name="connsiteX30" fmla="*/ 180703 w 701265"/>
                  <a:gd name="connsiteY30" fmla="*/ 367300 h 650109"/>
                  <a:gd name="connsiteX31" fmla="*/ 163016 w 701265"/>
                  <a:gd name="connsiteY31" fmla="*/ 375726 h 650109"/>
                  <a:gd name="connsiteX32" fmla="*/ 153255 w 701265"/>
                  <a:gd name="connsiteY32" fmla="*/ 380147 h 650109"/>
                  <a:gd name="connsiteX33" fmla="*/ 141742 w 701265"/>
                  <a:gd name="connsiteY33" fmla="*/ 364214 h 650109"/>
                  <a:gd name="connsiteX34" fmla="*/ 151503 w 701265"/>
                  <a:gd name="connsiteY34" fmla="*/ 342942 h 650109"/>
                  <a:gd name="connsiteX35" fmla="*/ 161681 w 701265"/>
                  <a:gd name="connsiteY35" fmla="*/ 328760 h 650109"/>
                  <a:gd name="connsiteX36" fmla="*/ 151503 w 701265"/>
                  <a:gd name="connsiteY36" fmla="*/ 263609 h 650109"/>
                  <a:gd name="connsiteX37" fmla="*/ 142159 w 701265"/>
                  <a:gd name="connsiteY37" fmla="*/ 249844 h 650109"/>
                  <a:gd name="connsiteX38" fmla="*/ 114211 w 701265"/>
                  <a:gd name="connsiteY38" fmla="*/ 220647 h 650109"/>
                  <a:gd name="connsiteX39" fmla="*/ 101364 w 701265"/>
                  <a:gd name="connsiteY39" fmla="*/ 217561 h 650109"/>
                  <a:gd name="connsiteX40" fmla="*/ 85012 w 701265"/>
                  <a:gd name="connsiteY40" fmla="*/ 212722 h 650109"/>
                  <a:gd name="connsiteX41" fmla="*/ 76169 w 701265"/>
                  <a:gd name="connsiteY41" fmla="*/ 206966 h 650109"/>
                  <a:gd name="connsiteX42" fmla="*/ 60234 w 701265"/>
                  <a:gd name="connsiteY42" fmla="*/ 197206 h 650109"/>
                  <a:gd name="connsiteX43" fmla="*/ 39878 w 701265"/>
                  <a:gd name="connsiteY43" fmla="*/ 191033 h 650109"/>
                  <a:gd name="connsiteX44" fmla="*/ 14183 w 701265"/>
                  <a:gd name="connsiteY44" fmla="*/ 170178 h 650109"/>
                  <a:gd name="connsiteX45" fmla="*/ 9761 w 701265"/>
                  <a:gd name="connsiteY45" fmla="*/ 155079 h 650109"/>
                  <a:gd name="connsiteX46" fmla="*/ 0 w 701265"/>
                  <a:gd name="connsiteY46" fmla="*/ 128968 h 650109"/>
                  <a:gd name="connsiteX47" fmla="*/ 918 w 701265"/>
                  <a:gd name="connsiteY47" fmla="*/ 128050 h 650109"/>
                  <a:gd name="connsiteX48" fmla="*/ 7091 w 701265"/>
                  <a:gd name="connsiteY48" fmla="*/ 120042 h 650109"/>
                  <a:gd name="connsiteX49" fmla="*/ 15517 w 701265"/>
                  <a:gd name="connsiteY49" fmla="*/ 71325 h 650109"/>
                  <a:gd name="connsiteX50" fmla="*/ 14600 w 701265"/>
                  <a:gd name="connsiteY50" fmla="*/ 60730 h 650109"/>
                  <a:gd name="connsiteX51" fmla="*/ 14600 w 701265"/>
                  <a:gd name="connsiteY51" fmla="*/ 59812 h 650109"/>
                  <a:gd name="connsiteX52" fmla="*/ 26530 w 701265"/>
                  <a:gd name="connsiteY52" fmla="*/ 53139 h 650109"/>
                  <a:gd name="connsiteX53" fmla="*/ 34956 w 701265"/>
                  <a:gd name="connsiteY53" fmla="*/ 48300 h 650109"/>
                  <a:gd name="connsiteX54" fmla="*/ 38043 w 701265"/>
                  <a:gd name="connsiteY54" fmla="*/ 46966 h 650109"/>
                  <a:gd name="connsiteX55" fmla="*/ 64155 w 701265"/>
                  <a:gd name="connsiteY55" fmla="*/ 28780 h 650109"/>
                  <a:gd name="connsiteX56" fmla="*/ 92103 w 701265"/>
                  <a:gd name="connsiteY56" fmla="*/ 14599 h 650109"/>
                  <a:gd name="connsiteX57" fmla="*/ 119551 w 701265"/>
                  <a:gd name="connsiteY57" fmla="*/ 2669 h 650109"/>
                  <a:gd name="connsiteX58" fmla="*/ 123055 w 701265"/>
                  <a:gd name="connsiteY58" fmla="*/ 0 h 650109"/>
                  <a:gd name="connsiteX59" fmla="*/ 128811 w 701265"/>
                  <a:gd name="connsiteY59" fmla="*/ 3503 h 650109"/>
                  <a:gd name="connsiteX60" fmla="*/ 137654 w 701265"/>
                  <a:gd name="connsiteY60" fmla="*/ 5756 h 650109"/>
                  <a:gd name="connsiteX61" fmla="*/ 141158 w 701265"/>
                  <a:gd name="connsiteY61" fmla="*/ 7091 h 650109"/>
                  <a:gd name="connsiteX62" fmla="*/ 143828 w 701265"/>
                  <a:gd name="connsiteY62" fmla="*/ 14181 h 650109"/>
                  <a:gd name="connsiteX63" fmla="*/ 148249 w 701265"/>
                  <a:gd name="connsiteY63" fmla="*/ 26110 h 650109"/>
                  <a:gd name="connsiteX64" fmla="*/ 165102 w 701265"/>
                  <a:gd name="connsiteY64" fmla="*/ 39875 h 650109"/>
                  <a:gd name="connsiteX65" fmla="*/ 179701 w 701265"/>
                  <a:gd name="connsiteY65" fmla="*/ 51804 h 650109"/>
                  <a:gd name="connsiteX66" fmla="*/ 185041 w 701265"/>
                  <a:gd name="connsiteY66" fmla="*/ 60646 h 650109"/>
                  <a:gd name="connsiteX67" fmla="*/ 216493 w 701265"/>
                  <a:gd name="connsiteY67" fmla="*/ 82336 h 650109"/>
                  <a:gd name="connsiteX68" fmla="*/ 226671 w 701265"/>
                  <a:gd name="connsiteY68" fmla="*/ 83254 h 650109"/>
                  <a:gd name="connsiteX69" fmla="*/ 258540 w 701265"/>
                  <a:gd name="connsiteY69" fmla="*/ 92096 h 650109"/>
                  <a:gd name="connsiteX70" fmla="*/ 267883 w 701265"/>
                  <a:gd name="connsiteY70" fmla="*/ 108947 h 650109"/>
                  <a:gd name="connsiteX71" fmla="*/ 282066 w 701265"/>
                  <a:gd name="connsiteY71" fmla="*/ 131971 h 650109"/>
                  <a:gd name="connsiteX72" fmla="*/ 313101 w 701265"/>
                  <a:gd name="connsiteY72" fmla="*/ 143066 h 650109"/>
                  <a:gd name="connsiteX73" fmla="*/ 326866 w 701265"/>
                  <a:gd name="connsiteY73" fmla="*/ 146152 h 650109"/>
                  <a:gd name="connsiteX74" fmla="*/ 342384 w 701265"/>
                  <a:gd name="connsiteY74" fmla="*/ 154995 h 650109"/>
                  <a:gd name="connsiteX75" fmla="*/ 368079 w 701265"/>
                  <a:gd name="connsiteY75" fmla="*/ 167425 h 650109"/>
                  <a:gd name="connsiteX76" fmla="*/ 394192 w 701265"/>
                  <a:gd name="connsiteY76" fmla="*/ 163004 h 650109"/>
                  <a:gd name="connsiteX77" fmla="*/ 415466 w 701265"/>
                  <a:gd name="connsiteY77" fmla="*/ 159917 h 650109"/>
                  <a:gd name="connsiteX78" fmla="*/ 448670 w 701265"/>
                  <a:gd name="connsiteY78" fmla="*/ 187363 h 650109"/>
                  <a:gd name="connsiteX79" fmla="*/ 455761 w 701265"/>
                  <a:gd name="connsiteY79" fmla="*/ 197957 h 650109"/>
                  <a:gd name="connsiteX80" fmla="*/ 459265 w 701265"/>
                  <a:gd name="connsiteY80" fmla="*/ 203296 h 650109"/>
                  <a:gd name="connsiteX81" fmla="*/ 469443 w 701265"/>
                  <a:gd name="connsiteY81" fmla="*/ 217477 h 650109"/>
                  <a:gd name="connsiteX82" fmla="*/ 529260 w 701265"/>
                  <a:gd name="connsiteY82" fmla="*/ 254683 h 650109"/>
                  <a:gd name="connsiteX83" fmla="*/ 550534 w 701265"/>
                  <a:gd name="connsiteY83" fmla="*/ 254266 h 650109"/>
                  <a:gd name="connsiteX84" fmla="*/ 573560 w 701265"/>
                  <a:gd name="connsiteY84" fmla="*/ 255183 h 650109"/>
                  <a:gd name="connsiteX85" fmla="*/ 581068 w 701265"/>
                  <a:gd name="connsiteY85" fmla="*/ 263192 h 650109"/>
                  <a:gd name="connsiteX86" fmla="*/ 585072 w 701265"/>
                  <a:gd name="connsiteY86" fmla="*/ 272952 h 650109"/>
                  <a:gd name="connsiteX87" fmla="*/ 586824 w 701265"/>
                  <a:gd name="connsiteY87" fmla="*/ 278291 h 650109"/>
                  <a:gd name="connsiteX88" fmla="*/ 592998 w 701265"/>
                  <a:gd name="connsiteY88" fmla="*/ 290220 h 650109"/>
                  <a:gd name="connsiteX89" fmla="*/ 595250 w 701265"/>
                  <a:gd name="connsiteY89" fmla="*/ 293307 h 650109"/>
                  <a:gd name="connsiteX90" fmla="*/ 604594 w 701265"/>
                  <a:gd name="connsiteY90" fmla="*/ 310992 h 650109"/>
                  <a:gd name="connsiteX91" fmla="*/ 605512 w 701265"/>
                  <a:gd name="connsiteY91" fmla="*/ 317665 h 650109"/>
                  <a:gd name="connsiteX92" fmla="*/ 608599 w 701265"/>
                  <a:gd name="connsiteY92" fmla="*/ 332264 h 650109"/>
                  <a:gd name="connsiteX93" fmla="*/ 626285 w 701265"/>
                  <a:gd name="connsiteY93" fmla="*/ 351784 h 650109"/>
                  <a:gd name="connsiteX94" fmla="*/ 640885 w 701265"/>
                  <a:gd name="connsiteY94" fmla="*/ 367300 h 650109"/>
                  <a:gd name="connsiteX95" fmla="*/ 647976 w 701265"/>
                  <a:gd name="connsiteY95" fmla="*/ 389407 h 650109"/>
                  <a:gd name="connsiteX96" fmla="*/ 659072 w 701265"/>
                  <a:gd name="connsiteY96" fmla="*/ 419939 h 650109"/>
                  <a:gd name="connsiteX97" fmla="*/ 664411 w 701265"/>
                  <a:gd name="connsiteY97" fmla="*/ 427447 h 650109"/>
                  <a:gd name="connsiteX98" fmla="*/ 672420 w 701265"/>
                  <a:gd name="connsiteY98" fmla="*/ 441628 h 650109"/>
                  <a:gd name="connsiteX99" fmla="*/ 672420 w 701265"/>
                  <a:gd name="connsiteY99" fmla="*/ 450054 h 650109"/>
                  <a:gd name="connsiteX100" fmla="*/ 673755 w 701265"/>
                  <a:gd name="connsiteY100" fmla="*/ 465987 h 650109"/>
                  <a:gd name="connsiteX101" fmla="*/ 689690 w 701265"/>
                  <a:gd name="connsiteY101" fmla="*/ 484173 h 650109"/>
                  <a:gd name="connsiteX102" fmla="*/ 700952 w 701265"/>
                  <a:gd name="connsiteY102" fmla="*/ 502275 h 65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701265" h="650109" extrusionOk="0">
                    <a:moveTo>
                      <a:pt x="700952" y="502275"/>
                    </a:moveTo>
                    <a:cubicBezTo>
                      <a:pt x="701369" y="509366"/>
                      <a:pt x="701369" y="516456"/>
                      <a:pt x="700952" y="523547"/>
                    </a:cubicBezTo>
                    <a:cubicBezTo>
                      <a:pt x="696531" y="524882"/>
                      <a:pt x="692943" y="526634"/>
                      <a:pt x="689439" y="529303"/>
                    </a:cubicBezTo>
                    <a:cubicBezTo>
                      <a:pt x="677009" y="530638"/>
                      <a:pt x="665079" y="535476"/>
                      <a:pt x="652648" y="539897"/>
                    </a:cubicBezTo>
                    <a:cubicBezTo>
                      <a:pt x="642887" y="543401"/>
                      <a:pt x="633627" y="546988"/>
                      <a:pt x="624700" y="548740"/>
                    </a:cubicBezTo>
                    <a:cubicBezTo>
                      <a:pt x="606513" y="551827"/>
                      <a:pt x="588410" y="551410"/>
                      <a:pt x="569805" y="550992"/>
                    </a:cubicBezTo>
                    <a:cubicBezTo>
                      <a:pt x="546779" y="550075"/>
                      <a:pt x="523253" y="549658"/>
                      <a:pt x="498892" y="555831"/>
                    </a:cubicBezTo>
                    <a:cubicBezTo>
                      <a:pt x="490883" y="558083"/>
                      <a:pt x="482958" y="559335"/>
                      <a:pt x="474949" y="561170"/>
                    </a:cubicBezTo>
                    <a:cubicBezTo>
                      <a:pt x="447501" y="566509"/>
                      <a:pt x="419136" y="571764"/>
                      <a:pt x="402284" y="598792"/>
                    </a:cubicBezTo>
                    <a:cubicBezTo>
                      <a:pt x="399197" y="603631"/>
                      <a:pt x="396111" y="609387"/>
                      <a:pt x="393441" y="615143"/>
                    </a:cubicBezTo>
                    <a:cubicBezTo>
                      <a:pt x="382345" y="637333"/>
                      <a:pt x="373919" y="650596"/>
                      <a:pt x="354481" y="650096"/>
                    </a:cubicBezTo>
                    <a:cubicBezTo>
                      <a:pt x="347806" y="649679"/>
                      <a:pt x="343385" y="647427"/>
                      <a:pt x="339881" y="643422"/>
                    </a:cubicBezTo>
                    <a:cubicBezTo>
                      <a:pt x="333207" y="635914"/>
                      <a:pt x="331038" y="621232"/>
                      <a:pt x="333207" y="601795"/>
                    </a:cubicBezTo>
                    <a:lnTo>
                      <a:pt x="334124" y="594705"/>
                    </a:lnTo>
                    <a:cubicBezTo>
                      <a:pt x="336377" y="576519"/>
                      <a:pt x="338963" y="556581"/>
                      <a:pt x="331872" y="537979"/>
                    </a:cubicBezTo>
                    <a:cubicBezTo>
                      <a:pt x="327033" y="525549"/>
                      <a:pt x="318107" y="517624"/>
                      <a:pt x="307094" y="515372"/>
                    </a:cubicBezTo>
                    <a:cubicBezTo>
                      <a:pt x="300420" y="514454"/>
                      <a:pt x="293329" y="515372"/>
                      <a:pt x="286738" y="518458"/>
                    </a:cubicBezTo>
                    <a:cubicBezTo>
                      <a:pt x="286321" y="516206"/>
                      <a:pt x="285820" y="514037"/>
                      <a:pt x="285403" y="511785"/>
                    </a:cubicBezTo>
                    <a:cubicBezTo>
                      <a:pt x="284986" y="509532"/>
                      <a:pt x="284986" y="507780"/>
                      <a:pt x="284486" y="505612"/>
                    </a:cubicBezTo>
                    <a:cubicBezTo>
                      <a:pt x="284068" y="499438"/>
                      <a:pt x="283568" y="492765"/>
                      <a:pt x="280064" y="487009"/>
                    </a:cubicBezTo>
                    <a:cubicBezTo>
                      <a:pt x="277811" y="483922"/>
                      <a:pt x="275225" y="482171"/>
                      <a:pt x="273390" y="481253"/>
                    </a:cubicBezTo>
                    <a:cubicBezTo>
                      <a:pt x="272973" y="480836"/>
                      <a:pt x="272055" y="480335"/>
                      <a:pt x="272055" y="480335"/>
                    </a:cubicBezTo>
                    <a:cubicBezTo>
                      <a:pt x="269385" y="476832"/>
                      <a:pt x="269385" y="469741"/>
                      <a:pt x="268968" y="463067"/>
                    </a:cubicBezTo>
                    <a:cubicBezTo>
                      <a:pt x="268050" y="452890"/>
                      <a:pt x="267633" y="441378"/>
                      <a:pt x="259624" y="434287"/>
                    </a:cubicBezTo>
                    <a:cubicBezTo>
                      <a:pt x="254785" y="430283"/>
                      <a:pt x="248528" y="428531"/>
                      <a:pt x="240102" y="428948"/>
                    </a:cubicBezTo>
                    <a:cubicBezTo>
                      <a:pt x="234346" y="429365"/>
                      <a:pt x="229924" y="432035"/>
                      <a:pt x="226337" y="433787"/>
                    </a:cubicBezTo>
                    <a:cubicBezTo>
                      <a:pt x="222833" y="436039"/>
                      <a:pt x="220998" y="436873"/>
                      <a:pt x="217911" y="436456"/>
                    </a:cubicBezTo>
                    <a:cubicBezTo>
                      <a:pt x="212572" y="436039"/>
                      <a:pt x="203728" y="427614"/>
                      <a:pt x="201059" y="421357"/>
                    </a:cubicBezTo>
                    <a:cubicBezTo>
                      <a:pt x="200141" y="418687"/>
                      <a:pt x="200642" y="411597"/>
                      <a:pt x="201476" y="405841"/>
                    </a:cubicBezTo>
                    <a:cubicBezTo>
                      <a:pt x="202811" y="394746"/>
                      <a:pt x="204145" y="381899"/>
                      <a:pt x="197054" y="373974"/>
                    </a:cubicBezTo>
                    <a:cubicBezTo>
                      <a:pt x="193550" y="369553"/>
                      <a:pt x="187710" y="367300"/>
                      <a:pt x="180703" y="367300"/>
                    </a:cubicBezTo>
                    <a:cubicBezTo>
                      <a:pt x="171859" y="366883"/>
                      <a:pt x="166937" y="372139"/>
                      <a:pt x="163016" y="375726"/>
                    </a:cubicBezTo>
                    <a:cubicBezTo>
                      <a:pt x="158594" y="379730"/>
                      <a:pt x="156842" y="381065"/>
                      <a:pt x="153255" y="380147"/>
                    </a:cubicBezTo>
                    <a:cubicBezTo>
                      <a:pt x="149251" y="379230"/>
                      <a:pt x="142660" y="369970"/>
                      <a:pt x="141742" y="364214"/>
                    </a:cubicBezTo>
                    <a:cubicBezTo>
                      <a:pt x="140407" y="356206"/>
                      <a:pt x="144412" y="351367"/>
                      <a:pt x="151503" y="342942"/>
                    </a:cubicBezTo>
                    <a:cubicBezTo>
                      <a:pt x="155007" y="338520"/>
                      <a:pt x="159012" y="334099"/>
                      <a:pt x="161681" y="328760"/>
                    </a:cubicBezTo>
                    <a:cubicBezTo>
                      <a:pt x="171859" y="307905"/>
                      <a:pt x="168355" y="284464"/>
                      <a:pt x="151503" y="263609"/>
                    </a:cubicBezTo>
                    <a:cubicBezTo>
                      <a:pt x="148416" y="260105"/>
                      <a:pt x="145330" y="255183"/>
                      <a:pt x="142159" y="249844"/>
                    </a:cubicBezTo>
                    <a:cubicBezTo>
                      <a:pt x="135068" y="238332"/>
                      <a:pt x="127059" y="225485"/>
                      <a:pt x="114211" y="220647"/>
                    </a:cubicBezTo>
                    <a:cubicBezTo>
                      <a:pt x="109790" y="219312"/>
                      <a:pt x="105368" y="217978"/>
                      <a:pt x="101364" y="217561"/>
                    </a:cubicBezTo>
                    <a:cubicBezTo>
                      <a:pt x="95607" y="216643"/>
                      <a:pt x="90768" y="215308"/>
                      <a:pt x="85012" y="212722"/>
                    </a:cubicBezTo>
                    <a:cubicBezTo>
                      <a:pt x="81925" y="210970"/>
                      <a:pt x="78838" y="209218"/>
                      <a:pt x="76169" y="206966"/>
                    </a:cubicBezTo>
                    <a:cubicBezTo>
                      <a:pt x="71330" y="203463"/>
                      <a:pt x="65991" y="200293"/>
                      <a:pt x="60234" y="197206"/>
                    </a:cubicBezTo>
                    <a:cubicBezTo>
                      <a:pt x="52726" y="194119"/>
                      <a:pt x="46052" y="192368"/>
                      <a:pt x="39878" y="191033"/>
                    </a:cubicBezTo>
                    <a:cubicBezTo>
                      <a:pt x="26613" y="187946"/>
                      <a:pt x="19939" y="186194"/>
                      <a:pt x="14183" y="170178"/>
                    </a:cubicBezTo>
                    <a:cubicBezTo>
                      <a:pt x="12431" y="164839"/>
                      <a:pt x="11096" y="160000"/>
                      <a:pt x="9761" y="155079"/>
                    </a:cubicBezTo>
                    <a:cubicBezTo>
                      <a:pt x="7091" y="145735"/>
                      <a:pt x="4922" y="136893"/>
                      <a:pt x="0" y="128968"/>
                    </a:cubicBezTo>
                    <a:lnTo>
                      <a:pt x="918" y="128050"/>
                    </a:lnTo>
                    <a:cubicBezTo>
                      <a:pt x="3170" y="125381"/>
                      <a:pt x="5339" y="123212"/>
                      <a:pt x="7091" y="120042"/>
                    </a:cubicBezTo>
                    <a:cubicBezTo>
                      <a:pt x="17269" y="104109"/>
                      <a:pt x="16852" y="84588"/>
                      <a:pt x="15517" y="71325"/>
                    </a:cubicBezTo>
                    <a:cubicBezTo>
                      <a:pt x="15100" y="67821"/>
                      <a:pt x="14600" y="64234"/>
                      <a:pt x="14600" y="60730"/>
                    </a:cubicBezTo>
                    <a:lnTo>
                      <a:pt x="14600" y="59812"/>
                    </a:lnTo>
                    <a:cubicBezTo>
                      <a:pt x="19021" y="58061"/>
                      <a:pt x="23026" y="55391"/>
                      <a:pt x="26530" y="53139"/>
                    </a:cubicBezTo>
                    <a:cubicBezTo>
                      <a:pt x="29199" y="51387"/>
                      <a:pt x="31869" y="49635"/>
                      <a:pt x="34956" y="48300"/>
                    </a:cubicBezTo>
                    <a:lnTo>
                      <a:pt x="38043" y="46966"/>
                    </a:lnTo>
                    <a:cubicBezTo>
                      <a:pt x="49555" y="42127"/>
                      <a:pt x="53977" y="39875"/>
                      <a:pt x="64155" y="28780"/>
                    </a:cubicBezTo>
                    <a:cubicBezTo>
                      <a:pt x="71246" y="20772"/>
                      <a:pt x="81425" y="18186"/>
                      <a:pt x="92103" y="14599"/>
                    </a:cubicBezTo>
                    <a:cubicBezTo>
                      <a:pt x="101447" y="11929"/>
                      <a:pt x="110707" y="8843"/>
                      <a:pt x="119551" y="2669"/>
                    </a:cubicBezTo>
                    <a:lnTo>
                      <a:pt x="123055" y="0"/>
                    </a:lnTo>
                    <a:cubicBezTo>
                      <a:pt x="124807" y="1335"/>
                      <a:pt x="126558" y="2669"/>
                      <a:pt x="128811" y="3503"/>
                    </a:cubicBezTo>
                    <a:cubicBezTo>
                      <a:pt x="132315" y="5255"/>
                      <a:pt x="135485" y="5756"/>
                      <a:pt x="137654" y="5756"/>
                    </a:cubicBezTo>
                    <a:cubicBezTo>
                      <a:pt x="139907" y="6173"/>
                      <a:pt x="140324" y="6173"/>
                      <a:pt x="141158" y="7091"/>
                    </a:cubicBezTo>
                    <a:cubicBezTo>
                      <a:pt x="142493" y="8426"/>
                      <a:pt x="142910" y="11512"/>
                      <a:pt x="143828" y="14181"/>
                    </a:cubicBezTo>
                    <a:cubicBezTo>
                      <a:pt x="144746" y="17685"/>
                      <a:pt x="145163" y="22190"/>
                      <a:pt x="148249" y="26110"/>
                    </a:cubicBezTo>
                    <a:cubicBezTo>
                      <a:pt x="153088" y="32784"/>
                      <a:pt x="158845" y="36288"/>
                      <a:pt x="165102" y="39875"/>
                    </a:cubicBezTo>
                    <a:cubicBezTo>
                      <a:pt x="170858" y="42962"/>
                      <a:pt x="176197" y="46048"/>
                      <a:pt x="179701" y="51804"/>
                    </a:cubicBezTo>
                    <a:cubicBezTo>
                      <a:pt x="181954" y="54891"/>
                      <a:pt x="183205" y="57977"/>
                      <a:pt x="185041" y="60646"/>
                    </a:cubicBezTo>
                    <a:cubicBezTo>
                      <a:pt x="191715" y="72576"/>
                      <a:pt x="196971" y="80167"/>
                      <a:pt x="216493" y="82336"/>
                    </a:cubicBezTo>
                    <a:cubicBezTo>
                      <a:pt x="219579" y="82753"/>
                      <a:pt x="223167" y="83254"/>
                      <a:pt x="226671" y="83254"/>
                    </a:cubicBezTo>
                    <a:cubicBezTo>
                      <a:pt x="239101" y="84171"/>
                      <a:pt x="250614" y="85005"/>
                      <a:pt x="258540" y="92096"/>
                    </a:cubicBezTo>
                    <a:cubicBezTo>
                      <a:pt x="262961" y="96100"/>
                      <a:pt x="265214" y="102274"/>
                      <a:pt x="267883" y="108947"/>
                    </a:cubicBezTo>
                    <a:cubicBezTo>
                      <a:pt x="270553" y="116955"/>
                      <a:pt x="274057" y="125297"/>
                      <a:pt x="282066" y="131971"/>
                    </a:cubicBezTo>
                    <a:cubicBezTo>
                      <a:pt x="290909" y="139479"/>
                      <a:pt x="302422" y="141731"/>
                      <a:pt x="313101" y="143066"/>
                    </a:cubicBezTo>
                    <a:cubicBezTo>
                      <a:pt x="317522" y="143984"/>
                      <a:pt x="322445" y="144401"/>
                      <a:pt x="326866" y="146152"/>
                    </a:cubicBezTo>
                    <a:cubicBezTo>
                      <a:pt x="332206" y="147904"/>
                      <a:pt x="337044" y="151492"/>
                      <a:pt x="342384" y="154995"/>
                    </a:cubicBezTo>
                    <a:cubicBezTo>
                      <a:pt x="349475" y="159834"/>
                      <a:pt x="356983" y="166090"/>
                      <a:pt x="368079" y="167425"/>
                    </a:cubicBezTo>
                    <a:cubicBezTo>
                      <a:pt x="377840" y="168342"/>
                      <a:pt x="386266" y="165673"/>
                      <a:pt x="394192" y="163004"/>
                    </a:cubicBezTo>
                    <a:cubicBezTo>
                      <a:pt x="401700" y="160751"/>
                      <a:pt x="408791" y="158582"/>
                      <a:pt x="415466" y="159917"/>
                    </a:cubicBezTo>
                    <a:cubicBezTo>
                      <a:pt x="430065" y="162586"/>
                      <a:pt x="443414" y="179855"/>
                      <a:pt x="448670" y="187363"/>
                    </a:cubicBezTo>
                    <a:cubicBezTo>
                      <a:pt x="451339" y="190866"/>
                      <a:pt x="453508" y="194453"/>
                      <a:pt x="455761" y="197957"/>
                    </a:cubicBezTo>
                    <a:cubicBezTo>
                      <a:pt x="457096" y="199709"/>
                      <a:pt x="458013" y="201461"/>
                      <a:pt x="459265" y="203296"/>
                    </a:cubicBezTo>
                    <a:cubicBezTo>
                      <a:pt x="462351" y="208134"/>
                      <a:pt x="465939" y="213056"/>
                      <a:pt x="469443" y="217477"/>
                    </a:cubicBezTo>
                    <a:cubicBezTo>
                      <a:pt x="483625" y="235663"/>
                      <a:pt x="499977" y="250679"/>
                      <a:pt x="529260" y="254683"/>
                    </a:cubicBezTo>
                    <a:cubicBezTo>
                      <a:pt x="536351" y="255600"/>
                      <a:pt x="543442" y="255100"/>
                      <a:pt x="550534" y="254266"/>
                    </a:cubicBezTo>
                    <a:cubicBezTo>
                      <a:pt x="558960" y="253348"/>
                      <a:pt x="566885" y="252931"/>
                      <a:pt x="573560" y="255183"/>
                    </a:cubicBezTo>
                    <a:cubicBezTo>
                      <a:pt x="577063" y="256518"/>
                      <a:pt x="579316" y="259187"/>
                      <a:pt x="581068" y="263192"/>
                    </a:cubicBezTo>
                    <a:cubicBezTo>
                      <a:pt x="582403" y="265861"/>
                      <a:pt x="583738" y="268948"/>
                      <a:pt x="585072" y="272952"/>
                    </a:cubicBezTo>
                    <a:cubicBezTo>
                      <a:pt x="585490" y="274704"/>
                      <a:pt x="586407" y="276455"/>
                      <a:pt x="586824" y="278291"/>
                    </a:cubicBezTo>
                    <a:cubicBezTo>
                      <a:pt x="588159" y="282712"/>
                      <a:pt x="590328" y="286716"/>
                      <a:pt x="592998" y="290220"/>
                    </a:cubicBezTo>
                    <a:lnTo>
                      <a:pt x="595250" y="293307"/>
                    </a:lnTo>
                    <a:cubicBezTo>
                      <a:pt x="599672" y="299480"/>
                      <a:pt x="603259" y="303901"/>
                      <a:pt x="604594" y="310992"/>
                    </a:cubicBezTo>
                    <a:cubicBezTo>
                      <a:pt x="605011" y="313244"/>
                      <a:pt x="605011" y="315413"/>
                      <a:pt x="605512" y="317665"/>
                    </a:cubicBezTo>
                    <a:cubicBezTo>
                      <a:pt x="605929" y="322087"/>
                      <a:pt x="605929" y="327426"/>
                      <a:pt x="608599" y="332264"/>
                    </a:cubicBezTo>
                    <a:cubicBezTo>
                      <a:pt x="612603" y="340689"/>
                      <a:pt x="619194" y="346445"/>
                      <a:pt x="626285" y="351784"/>
                    </a:cubicBezTo>
                    <a:cubicBezTo>
                      <a:pt x="632459" y="356623"/>
                      <a:pt x="637798" y="361544"/>
                      <a:pt x="640885" y="367300"/>
                    </a:cubicBezTo>
                    <a:cubicBezTo>
                      <a:pt x="644389" y="373974"/>
                      <a:pt x="646224" y="381482"/>
                      <a:pt x="647976" y="389407"/>
                    </a:cubicBezTo>
                    <a:cubicBezTo>
                      <a:pt x="650646" y="399584"/>
                      <a:pt x="652815" y="410679"/>
                      <a:pt x="659072" y="419939"/>
                    </a:cubicBezTo>
                    <a:cubicBezTo>
                      <a:pt x="660824" y="422608"/>
                      <a:pt x="662576" y="424777"/>
                      <a:pt x="664411" y="427447"/>
                    </a:cubicBezTo>
                    <a:cubicBezTo>
                      <a:pt x="667915" y="431868"/>
                      <a:pt x="671085" y="435872"/>
                      <a:pt x="672420" y="441628"/>
                    </a:cubicBezTo>
                    <a:cubicBezTo>
                      <a:pt x="672837" y="443881"/>
                      <a:pt x="672837" y="446967"/>
                      <a:pt x="672420" y="450054"/>
                    </a:cubicBezTo>
                    <a:cubicBezTo>
                      <a:pt x="672003" y="454892"/>
                      <a:pt x="671503" y="460648"/>
                      <a:pt x="673755" y="465987"/>
                    </a:cubicBezTo>
                    <a:cubicBezTo>
                      <a:pt x="677259" y="475330"/>
                      <a:pt x="683933" y="480169"/>
                      <a:pt x="689690" y="484173"/>
                    </a:cubicBezTo>
                    <a:cubicBezTo>
                      <a:pt x="695696" y="489428"/>
                      <a:pt x="700118" y="492515"/>
                      <a:pt x="700952" y="5022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60355622" name="Полилиния 378"/>
              <p:cNvSpPr/>
              <p:nvPr/>
            </p:nvSpPr>
            <p:spPr bwMode="auto">
              <a:xfrm>
                <a:off x="2605252" y="4411024"/>
                <a:ext cx="205773" cy="201670"/>
              </a:xfrm>
              <a:custGeom>
                <a:avLst/>
                <a:gdLst>
                  <a:gd name="connsiteX0" fmla="*/ 146581 w 231092"/>
                  <a:gd name="connsiteY0" fmla="*/ 180105 h 226483"/>
                  <a:gd name="connsiteX1" fmla="*/ 151920 w 231092"/>
                  <a:gd name="connsiteY1" fmla="*/ 195621 h 226483"/>
                  <a:gd name="connsiteX2" fmla="*/ 155424 w 231092"/>
                  <a:gd name="connsiteY2" fmla="*/ 205799 h 226483"/>
                  <a:gd name="connsiteX3" fmla="*/ 140825 w 231092"/>
                  <a:gd name="connsiteY3" fmla="*/ 221732 h 226483"/>
                  <a:gd name="connsiteX4" fmla="*/ 100529 w 231092"/>
                  <a:gd name="connsiteY4" fmla="*/ 222650 h 226483"/>
                  <a:gd name="connsiteX5" fmla="*/ 97860 w 231092"/>
                  <a:gd name="connsiteY5" fmla="*/ 221315 h 226483"/>
                  <a:gd name="connsiteX6" fmla="*/ 65073 w 231092"/>
                  <a:gd name="connsiteY6" fmla="*/ 217811 h 226483"/>
                  <a:gd name="connsiteX7" fmla="*/ 55312 w 231092"/>
                  <a:gd name="connsiteY7" fmla="*/ 221815 h 226483"/>
                  <a:gd name="connsiteX8" fmla="*/ 54895 w 231092"/>
                  <a:gd name="connsiteY8" fmla="*/ 222233 h 226483"/>
                  <a:gd name="connsiteX9" fmla="*/ 40712 w 231092"/>
                  <a:gd name="connsiteY9" fmla="*/ 223150 h 226483"/>
                  <a:gd name="connsiteX10" fmla="*/ 38043 w 231092"/>
                  <a:gd name="connsiteY10" fmla="*/ 221815 h 226483"/>
                  <a:gd name="connsiteX11" fmla="*/ 25195 w 231092"/>
                  <a:gd name="connsiteY11" fmla="*/ 207634 h 226483"/>
                  <a:gd name="connsiteX12" fmla="*/ 8843 w 231092"/>
                  <a:gd name="connsiteY12" fmla="*/ 189949 h 226483"/>
                  <a:gd name="connsiteX13" fmla="*/ 834 w 231092"/>
                  <a:gd name="connsiteY13" fmla="*/ 185945 h 226483"/>
                  <a:gd name="connsiteX14" fmla="*/ 417 w 231092"/>
                  <a:gd name="connsiteY14" fmla="*/ 179771 h 226483"/>
                  <a:gd name="connsiteX15" fmla="*/ 0 w 231092"/>
                  <a:gd name="connsiteY15" fmla="*/ 174933 h 226483"/>
                  <a:gd name="connsiteX16" fmla="*/ 6674 w 231092"/>
                  <a:gd name="connsiteY16" fmla="*/ 159834 h 226483"/>
                  <a:gd name="connsiteX17" fmla="*/ 15100 w 231092"/>
                  <a:gd name="connsiteY17" fmla="*/ 133723 h 226483"/>
                  <a:gd name="connsiteX18" fmla="*/ 11096 w 231092"/>
                  <a:gd name="connsiteY18" fmla="*/ 123963 h 226483"/>
                  <a:gd name="connsiteX19" fmla="*/ 18604 w 231092"/>
                  <a:gd name="connsiteY19" fmla="*/ 113786 h 226483"/>
                  <a:gd name="connsiteX20" fmla="*/ 33704 w 231092"/>
                  <a:gd name="connsiteY20" fmla="*/ 103608 h 226483"/>
                  <a:gd name="connsiteX21" fmla="*/ 60735 w 231092"/>
                  <a:gd name="connsiteY21" fmla="*/ 75245 h 226483"/>
                  <a:gd name="connsiteX22" fmla="*/ 58482 w 231092"/>
                  <a:gd name="connsiteY22" fmla="*/ 52221 h 226483"/>
                  <a:gd name="connsiteX23" fmla="*/ 61986 w 231092"/>
                  <a:gd name="connsiteY23" fmla="*/ 30532 h 226483"/>
                  <a:gd name="connsiteX24" fmla="*/ 78838 w 231092"/>
                  <a:gd name="connsiteY24" fmla="*/ 19938 h 226483"/>
                  <a:gd name="connsiteX25" fmla="*/ 104117 w 231092"/>
                  <a:gd name="connsiteY25" fmla="*/ 0 h 226483"/>
                  <a:gd name="connsiteX26" fmla="*/ 109456 w 231092"/>
                  <a:gd name="connsiteY26" fmla="*/ 417 h 226483"/>
                  <a:gd name="connsiteX27" fmla="*/ 128978 w 231092"/>
                  <a:gd name="connsiteY27" fmla="*/ 3504 h 226483"/>
                  <a:gd name="connsiteX28" fmla="*/ 132482 w 231092"/>
                  <a:gd name="connsiteY28" fmla="*/ 6173 h 226483"/>
                  <a:gd name="connsiteX29" fmla="*/ 140908 w 231092"/>
                  <a:gd name="connsiteY29" fmla="*/ 11512 h 226483"/>
                  <a:gd name="connsiteX30" fmla="*/ 157260 w 231092"/>
                  <a:gd name="connsiteY30" fmla="*/ 12847 h 226483"/>
                  <a:gd name="connsiteX31" fmla="*/ 204229 w 231092"/>
                  <a:gd name="connsiteY31" fmla="*/ 16351 h 226483"/>
                  <a:gd name="connsiteX32" fmla="*/ 207733 w 231092"/>
                  <a:gd name="connsiteY32" fmla="*/ 19020 h 226483"/>
                  <a:gd name="connsiteX33" fmla="*/ 206398 w 231092"/>
                  <a:gd name="connsiteY33" fmla="*/ 25193 h 226483"/>
                  <a:gd name="connsiteX34" fmla="*/ 205480 w 231092"/>
                  <a:gd name="connsiteY34" fmla="*/ 44713 h 226483"/>
                  <a:gd name="connsiteX35" fmla="*/ 209902 w 231092"/>
                  <a:gd name="connsiteY35" fmla="*/ 55809 h 226483"/>
                  <a:gd name="connsiteX36" fmla="*/ 217410 w 231092"/>
                  <a:gd name="connsiteY36" fmla="*/ 62482 h 226483"/>
                  <a:gd name="connsiteX37" fmla="*/ 220914 w 231092"/>
                  <a:gd name="connsiteY37" fmla="*/ 65569 h 226483"/>
                  <a:gd name="connsiteX38" fmla="*/ 224418 w 231092"/>
                  <a:gd name="connsiteY38" fmla="*/ 77998 h 226483"/>
                  <a:gd name="connsiteX39" fmla="*/ 222166 w 231092"/>
                  <a:gd name="connsiteY39" fmla="*/ 89510 h 226483"/>
                  <a:gd name="connsiteX40" fmla="*/ 220831 w 231092"/>
                  <a:gd name="connsiteY40" fmla="*/ 96184 h 226483"/>
                  <a:gd name="connsiteX41" fmla="*/ 223500 w 231092"/>
                  <a:gd name="connsiteY41" fmla="*/ 116539 h 226483"/>
                  <a:gd name="connsiteX42" fmla="*/ 228840 w 231092"/>
                  <a:gd name="connsiteY42" fmla="*/ 128968 h 226483"/>
                  <a:gd name="connsiteX43" fmla="*/ 231092 w 231092"/>
                  <a:gd name="connsiteY43" fmla="*/ 132472 h 226483"/>
                  <a:gd name="connsiteX44" fmla="*/ 222249 w 231092"/>
                  <a:gd name="connsiteY44" fmla="*/ 134724 h 226483"/>
                  <a:gd name="connsiteX45" fmla="*/ 196137 w 231092"/>
                  <a:gd name="connsiteY45" fmla="*/ 147154 h 226483"/>
                  <a:gd name="connsiteX46" fmla="*/ 179284 w 231092"/>
                  <a:gd name="connsiteY46" fmla="*/ 155579 h 226483"/>
                  <a:gd name="connsiteX47" fmla="*/ 172193 w 231092"/>
                  <a:gd name="connsiteY47" fmla="*/ 158249 h 226483"/>
                  <a:gd name="connsiteX48" fmla="*/ 146581 w 231092"/>
                  <a:gd name="connsiteY48" fmla="*/ 180105 h 226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231092" h="226483" extrusionOk="0">
                    <a:moveTo>
                      <a:pt x="146581" y="180105"/>
                    </a:moveTo>
                    <a:cubicBezTo>
                      <a:pt x="146164" y="186779"/>
                      <a:pt x="149668" y="191617"/>
                      <a:pt x="151920" y="195621"/>
                    </a:cubicBezTo>
                    <a:cubicBezTo>
                      <a:pt x="155007" y="200043"/>
                      <a:pt x="156342" y="202295"/>
                      <a:pt x="155424" y="205799"/>
                    </a:cubicBezTo>
                    <a:cubicBezTo>
                      <a:pt x="153672" y="214641"/>
                      <a:pt x="146581" y="219563"/>
                      <a:pt x="140825" y="221732"/>
                    </a:cubicBezTo>
                    <a:cubicBezTo>
                      <a:pt x="128394" y="227905"/>
                      <a:pt x="110707" y="227905"/>
                      <a:pt x="100529" y="222650"/>
                    </a:cubicBezTo>
                    <a:lnTo>
                      <a:pt x="97860" y="221315"/>
                    </a:lnTo>
                    <a:cubicBezTo>
                      <a:pt x="85930" y="215142"/>
                      <a:pt x="80173" y="212472"/>
                      <a:pt x="65073" y="217811"/>
                    </a:cubicBezTo>
                    <a:cubicBezTo>
                      <a:pt x="61569" y="219146"/>
                      <a:pt x="57982" y="220481"/>
                      <a:pt x="55312" y="221815"/>
                    </a:cubicBezTo>
                    <a:cubicBezTo>
                      <a:pt x="54895" y="221815"/>
                      <a:pt x="54895" y="222233"/>
                      <a:pt x="54895" y="222233"/>
                    </a:cubicBezTo>
                    <a:cubicBezTo>
                      <a:pt x="48721" y="224902"/>
                      <a:pt x="46052" y="226237"/>
                      <a:pt x="40712" y="223150"/>
                    </a:cubicBezTo>
                    <a:cubicBezTo>
                      <a:pt x="39795" y="222733"/>
                      <a:pt x="38960" y="222233"/>
                      <a:pt x="38043" y="221815"/>
                    </a:cubicBezTo>
                    <a:cubicBezTo>
                      <a:pt x="33204" y="218312"/>
                      <a:pt x="29199" y="212973"/>
                      <a:pt x="25195" y="207634"/>
                    </a:cubicBezTo>
                    <a:cubicBezTo>
                      <a:pt x="20773" y="201461"/>
                      <a:pt x="15851" y="194787"/>
                      <a:pt x="8843" y="189949"/>
                    </a:cubicBezTo>
                    <a:cubicBezTo>
                      <a:pt x="6174" y="188614"/>
                      <a:pt x="4005" y="187279"/>
                      <a:pt x="834" y="185945"/>
                    </a:cubicBezTo>
                    <a:cubicBezTo>
                      <a:pt x="834" y="183692"/>
                      <a:pt x="417" y="181523"/>
                      <a:pt x="417" y="179771"/>
                    </a:cubicBezTo>
                    <a:cubicBezTo>
                      <a:pt x="0" y="178020"/>
                      <a:pt x="0" y="176268"/>
                      <a:pt x="0" y="174933"/>
                    </a:cubicBezTo>
                    <a:cubicBezTo>
                      <a:pt x="417" y="170095"/>
                      <a:pt x="3504" y="165173"/>
                      <a:pt x="6674" y="159834"/>
                    </a:cubicBezTo>
                    <a:cubicBezTo>
                      <a:pt x="11513" y="152326"/>
                      <a:pt x="16852" y="143900"/>
                      <a:pt x="15100" y="133723"/>
                    </a:cubicBezTo>
                    <a:cubicBezTo>
                      <a:pt x="14183" y="130219"/>
                      <a:pt x="12848" y="126633"/>
                      <a:pt x="11096" y="123963"/>
                    </a:cubicBezTo>
                    <a:cubicBezTo>
                      <a:pt x="13348" y="120877"/>
                      <a:pt x="15517" y="117289"/>
                      <a:pt x="18604" y="113786"/>
                    </a:cubicBezTo>
                    <a:cubicBezTo>
                      <a:pt x="22108" y="110282"/>
                      <a:pt x="27948" y="107112"/>
                      <a:pt x="33704" y="103608"/>
                    </a:cubicBezTo>
                    <a:cubicBezTo>
                      <a:pt x="44800" y="97435"/>
                      <a:pt x="57648" y="90762"/>
                      <a:pt x="60735" y="75245"/>
                    </a:cubicBezTo>
                    <a:cubicBezTo>
                      <a:pt x="62487" y="66403"/>
                      <a:pt x="60318" y="58895"/>
                      <a:pt x="58482" y="52221"/>
                    </a:cubicBezTo>
                    <a:cubicBezTo>
                      <a:pt x="56230" y="42878"/>
                      <a:pt x="54978" y="38040"/>
                      <a:pt x="61986" y="30532"/>
                    </a:cubicBezTo>
                    <a:cubicBezTo>
                      <a:pt x="66408" y="26111"/>
                      <a:pt x="72581" y="23441"/>
                      <a:pt x="78838" y="19938"/>
                    </a:cubicBezTo>
                    <a:cubicBezTo>
                      <a:pt x="87682" y="15099"/>
                      <a:pt x="97860" y="10177"/>
                      <a:pt x="104117" y="0"/>
                    </a:cubicBezTo>
                    <a:cubicBezTo>
                      <a:pt x="105869" y="417"/>
                      <a:pt x="107621" y="417"/>
                      <a:pt x="109456" y="417"/>
                    </a:cubicBezTo>
                    <a:cubicBezTo>
                      <a:pt x="116547" y="417"/>
                      <a:pt x="123639" y="834"/>
                      <a:pt x="128978" y="3504"/>
                    </a:cubicBezTo>
                    <a:cubicBezTo>
                      <a:pt x="130313" y="4422"/>
                      <a:pt x="131230" y="5256"/>
                      <a:pt x="132482" y="6173"/>
                    </a:cubicBezTo>
                    <a:cubicBezTo>
                      <a:pt x="135151" y="8426"/>
                      <a:pt x="137321" y="10177"/>
                      <a:pt x="140908" y="11512"/>
                    </a:cubicBezTo>
                    <a:cubicBezTo>
                      <a:pt x="146664" y="13764"/>
                      <a:pt x="152838" y="12847"/>
                      <a:pt x="157260" y="12847"/>
                    </a:cubicBezTo>
                    <a:cubicBezTo>
                      <a:pt x="173194" y="10595"/>
                      <a:pt x="190464" y="9760"/>
                      <a:pt x="204229" y="16351"/>
                    </a:cubicBezTo>
                    <a:cubicBezTo>
                      <a:pt x="207316" y="17685"/>
                      <a:pt x="207733" y="19020"/>
                      <a:pt x="207733" y="19020"/>
                    </a:cubicBezTo>
                    <a:cubicBezTo>
                      <a:pt x="208150" y="19938"/>
                      <a:pt x="207316" y="22106"/>
                      <a:pt x="206398" y="25193"/>
                    </a:cubicBezTo>
                    <a:cubicBezTo>
                      <a:pt x="205063" y="31366"/>
                      <a:pt x="204145" y="38040"/>
                      <a:pt x="205480" y="44713"/>
                    </a:cubicBezTo>
                    <a:cubicBezTo>
                      <a:pt x="206398" y="49135"/>
                      <a:pt x="207733" y="52722"/>
                      <a:pt x="209902" y="55809"/>
                    </a:cubicBezTo>
                    <a:cubicBezTo>
                      <a:pt x="212154" y="58895"/>
                      <a:pt x="215241" y="60647"/>
                      <a:pt x="217410" y="62482"/>
                    </a:cubicBezTo>
                    <a:cubicBezTo>
                      <a:pt x="218745" y="63400"/>
                      <a:pt x="220080" y="64234"/>
                      <a:pt x="220914" y="65569"/>
                    </a:cubicBezTo>
                    <a:cubicBezTo>
                      <a:pt x="224418" y="69072"/>
                      <a:pt x="224418" y="74912"/>
                      <a:pt x="224418" y="77998"/>
                    </a:cubicBezTo>
                    <a:cubicBezTo>
                      <a:pt x="224001" y="82003"/>
                      <a:pt x="223500" y="86007"/>
                      <a:pt x="222166" y="89510"/>
                    </a:cubicBezTo>
                    <a:cubicBezTo>
                      <a:pt x="221749" y="91763"/>
                      <a:pt x="221248" y="93932"/>
                      <a:pt x="220831" y="96184"/>
                    </a:cubicBezTo>
                    <a:cubicBezTo>
                      <a:pt x="219496" y="103275"/>
                      <a:pt x="221749" y="110783"/>
                      <a:pt x="223500" y="116539"/>
                    </a:cubicBezTo>
                    <a:cubicBezTo>
                      <a:pt x="224835" y="120960"/>
                      <a:pt x="226587" y="124964"/>
                      <a:pt x="228840" y="128968"/>
                    </a:cubicBezTo>
                    <a:cubicBezTo>
                      <a:pt x="229757" y="130303"/>
                      <a:pt x="230175" y="131221"/>
                      <a:pt x="231092" y="132472"/>
                    </a:cubicBezTo>
                    <a:cubicBezTo>
                      <a:pt x="228006" y="132889"/>
                      <a:pt x="224919" y="133807"/>
                      <a:pt x="222249" y="134724"/>
                    </a:cubicBezTo>
                    <a:cubicBezTo>
                      <a:pt x="212071" y="137811"/>
                      <a:pt x="204062" y="142733"/>
                      <a:pt x="196137" y="147154"/>
                    </a:cubicBezTo>
                    <a:cubicBezTo>
                      <a:pt x="190797" y="150240"/>
                      <a:pt x="185541" y="153327"/>
                      <a:pt x="179284" y="155579"/>
                    </a:cubicBezTo>
                    <a:cubicBezTo>
                      <a:pt x="177032" y="156497"/>
                      <a:pt x="174863" y="157331"/>
                      <a:pt x="172193" y="158249"/>
                    </a:cubicBezTo>
                    <a:cubicBezTo>
                      <a:pt x="162516" y="159750"/>
                      <a:pt x="146581" y="164172"/>
                      <a:pt x="146581" y="18010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90420516" name="Полилиния 379"/>
              <p:cNvSpPr/>
              <p:nvPr/>
            </p:nvSpPr>
            <p:spPr bwMode="auto">
              <a:xfrm>
                <a:off x="2469604" y="4587813"/>
                <a:ext cx="362297" cy="310569"/>
              </a:xfrm>
              <a:custGeom>
                <a:avLst/>
                <a:gdLst>
                  <a:gd name="connsiteX0" fmla="*/ 376839 w 406872"/>
                  <a:gd name="connsiteY0" fmla="*/ 147237 h 348781"/>
                  <a:gd name="connsiteX1" fmla="*/ 370165 w 406872"/>
                  <a:gd name="connsiteY1" fmla="*/ 162754 h 348781"/>
                  <a:gd name="connsiteX2" fmla="*/ 387851 w 406872"/>
                  <a:gd name="connsiteY2" fmla="*/ 187530 h 348781"/>
                  <a:gd name="connsiteX3" fmla="*/ 392273 w 406872"/>
                  <a:gd name="connsiteY3" fmla="*/ 191033 h 348781"/>
                  <a:gd name="connsiteX4" fmla="*/ 396695 w 406872"/>
                  <a:gd name="connsiteY4" fmla="*/ 195455 h 348781"/>
                  <a:gd name="connsiteX5" fmla="*/ 406873 w 406872"/>
                  <a:gd name="connsiteY5" fmla="*/ 205214 h 348781"/>
                  <a:gd name="connsiteX6" fmla="*/ 391355 w 406872"/>
                  <a:gd name="connsiteY6" fmla="*/ 250429 h 348781"/>
                  <a:gd name="connsiteX7" fmla="*/ 338630 w 406872"/>
                  <a:gd name="connsiteY7" fmla="*/ 280543 h 348781"/>
                  <a:gd name="connsiteX8" fmla="*/ 310682 w 406872"/>
                  <a:gd name="connsiteY8" fmla="*/ 259271 h 348781"/>
                  <a:gd name="connsiteX9" fmla="*/ 275225 w 406872"/>
                  <a:gd name="connsiteY9" fmla="*/ 233577 h 348781"/>
                  <a:gd name="connsiteX10" fmla="*/ 257038 w 406872"/>
                  <a:gd name="connsiteY10" fmla="*/ 236664 h 348781"/>
                  <a:gd name="connsiteX11" fmla="*/ 245942 w 406872"/>
                  <a:gd name="connsiteY11" fmla="*/ 237999 h 348781"/>
                  <a:gd name="connsiteX12" fmla="*/ 239769 w 406872"/>
                  <a:gd name="connsiteY12" fmla="*/ 232243 h 348781"/>
                  <a:gd name="connsiteX13" fmla="*/ 224251 w 406872"/>
                  <a:gd name="connsiteY13" fmla="*/ 221648 h 348781"/>
                  <a:gd name="connsiteX14" fmla="*/ 190547 w 406872"/>
                  <a:gd name="connsiteY14" fmla="*/ 230074 h 348781"/>
                  <a:gd name="connsiteX15" fmla="*/ 185208 w 406872"/>
                  <a:gd name="connsiteY15" fmla="*/ 234078 h 348781"/>
                  <a:gd name="connsiteX16" fmla="*/ 172360 w 406872"/>
                  <a:gd name="connsiteY16" fmla="*/ 234996 h 348781"/>
                  <a:gd name="connsiteX17" fmla="*/ 138238 w 406872"/>
                  <a:gd name="connsiteY17" fmla="*/ 238500 h 348781"/>
                  <a:gd name="connsiteX18" fmla="*/ 118716 w 406872"/>
                  <a:gd name="connsiteY18" fmla="*/ 273453 h 348781"/>
                  <a:gd name="connsiteX19" fmla="*/ 124890 w 406872"/>
                  <a:gd name="connsiteY19" fmla="*/ 314662 h 348781"/>
                  <a:gd name="connsiteX20" fmla="*/ 130229 w 406872"/>
                  <a:gd name="connsiteY20" fmla="*/ 323505 h 348781"/>
                  <a:gd name="connsiteX21" fmla="*/ 135569 w 406872"/>
                  <a:gd name="connsiteY21" fmla="*/ 342108 h 348781"/>
                  <a:gd name="connsiteX22" fmla="*/ 125391 w 406872"/>
                  <a:gd name="connsiteY22" fmla="*/ 346529 h 348781"/>
                  <a:gd name="connsiteX23" fmla="*/ 116547 w 406872"/>
                  <a:gd name="connsiteY23" fmla="*/ 348781 h 348781"/>
                  <a:gd name="connsiteX24" fmla="*/ 102782 w 406872"/>
                  <a:gd name="connsiteY24" fmla="*/ 336352 h 348781"/>
                  <a:gd name="connsiteX25" fmla="*/ 73082 w 406872"/>
                  <a:gd name="connsiteY25" fmla="*/ 334099 h 348781"/>
                  <a:gd name="connsiteX26" fmla="*/ 55813 w 406872"/>
                  <a:gd name="connsiteY26" fmla="*/ 334516 h 348781"/>
                  <a:gd name="connsiteX27" fmla="*/ 0 w 406872"/>
                  <a:gd name="connsiteY27" fmla="*/ 295059 h 348781"/>
                  <a:gd name="connsiteX28" fmla="*/ 8426 w 406872"/>
                  <a:gd name="connsiteY28" fmla="*/ 276039 h 348781"/>
                  <a:gd name="connsiteX29" fmla="*/ 27948 w 406872"/>
                  <a:gd name="connsiteY29" fmla="*/ 241085 h 348781"/>
                  <a:gd name="connsiteX30" fmla="*/ 46552 w 406872"/>
                  <a:gd name="connsiteY30" fmla="*/ 208301 h 348781"/>
                  <a:gd name="connsiteX31" fmla="*/ 54561 w 406872"/>
                  <a:gd name="connsiteY31" fmla="*/ 180856 h 348781"/>
                  <a:gd name="connsiteX32" fmla="*/ 48388 w 406872"/>
                  <a:gd name="connsiteY32" fmla="*/ 160918 h 348781"/>
                  <a:gd name="connsiteX33" fmla="*/ 43549 w 406872"/>
                  <a:gd name="connsiteY33" fmla="*/ 144067 h 348781"/>
                  <a:gd name="connsiteX34" fmla="*/ 47553 w 406872"/>
                  <a:gd name="connsiteY34" fmla="*/ 131638 h 348781"/>
                  <a:gd name="connsiteX35" fmla="*/ 51975 w 406872"/>
                  <a:gd name="connsiteY35" fmla="*/ 119708 h 348781"/>
                  <a:gd name="connsiteX36" fmla="*/ 52893 w 406872"/>
                  <a:gd name="connsiteY36" fmla="*/ 106445 h 348781"/>
                  <a:gd name="connsiteX37" fmla="*/ 53310 w 406872"/>
                  <a:gd name="connsiteY37" fmla="*/ 99354 h 348781"/>
                  <a:gd name="connsiteX38" fmla="*/ 55062 w 406872"/>
                  <a:gd name="connsiteY38" fmla="*/ 89594 h 348781"/>
                  <a:gd name="connsiteX39" fmla="*/ 57314 w 406872"/>
                  <a:gd name="connsiteY39" fmla="*/ 74995 h 348781"/>
                  <a:gd name="connsiteX40" fmla="*/ 51141 w 406872"/>
                  <a:gd name="connsiteY40" fmla="*/ 47049 h 348781"/>
                  <a:gd name="connsiteX41" fmla="*/ 50223 w 406872"/>
                  <a:gd name="connsiteY41" fmla="*/ 44797 h 348781"/>
                  <a:gd name="connsiteX42" fmla="*/ 58232 w 406872"/>
                  <a:gd name="connsiteY42" fmla="*/ 44797 h 348781"/>
                  <a:gd name="connsiteX43" fmla="*/ 68410 w 406872"/>
                  <a:gd name="connsiteY43" fmla="*/ 47049 h 348781"/>
                  <a:gd name="connsiteX44" fmla="*/ 74584 w 406872"/>
                  <a:gd name="connsiteY44" fmla="*/ 51888 h 348781"/>
                  <a:gd name="connsiteX45" fmla="*/ 78088 w 406872"/>
                  <a:gd name="connsiteY45" fmla="*/ 54974 h 348781"/>
                  <a:gd name="connsiteX46" fmla="*/ 109539 w 406872"/>
                  <a:gd name="connsiteY46" fmla="*/ 65569 h 348781"/>
                  <a:gd name="connsiteX47" fmla="*/ 121470 w 406872"/>
                  <a:gd name="connsiteY47" fmla="*/ 64234 h 348781"/>
                  <a:gd name="connsiteX48" fmla="*/ 138739 w 406872"/>
                  <a:gd name="connsiteY48" fmla="*/ 50469 h 348781"/>
                  <a:gd name="connsiteX49" fmla="*/ 137821 w 406872"/>
                  <a:gd name="connsiteY49" fmla="*/ 34536 h 348781"/>
                  <a:gd name="connsiteX50" fmla="*/ 136904 w 406872"/>
                  <a:gd name="connsiteY50" fmla="*/ 31867 h 348781"/>
                  <a:gd name="connsiteX51" fmla="*/ 142243 w 406872"/>
                  <a:gd name="connsiteY51" fmla="*/ 7508 h 348781"/>
                  <a:gd name="connsiteX52" fmla="*/ 144913 w 406872"/>
                  <a:gd name="connsiteY52" fmla="*/ 4839 h 348781"/>
                  <a:gd name="connsiteX53" fmla="*/ 149334 w 406872"/>
                  <a:gd name="connsiteY53" fmla="*/ 0 h 348781"/>
                  <a:gd name="connsiteX54" fmla="*/ 153756 w 406872"/>
                  <a:gd name="connsiteY54" fmla="*/ 2253 h 348781"/>
                  <a:gd name="connsiteX55" fmla="*/ 166604 w 406872"/>
                  <a:gd name="connsiteY55" fmla="*/ 16434 h 348781"/>
                  <a:gd name="connsiteX56" fmla="*/ 182955 w 406872"/>
                  <a:gd name="connsiteY56" fmla="*/ 34119 h 348781"/>
                  <a:gd name="connsiteX57" fmla="*/ 193550 w 406872"/>
                  <a:gd name="connsiteY57" fmla="*/ 38958 h 348781"/>
                  <a:gd name="connsiteX58" fmla="*/ 207316 w 406872"/>
                  <a:gd name="connsiteY58" fmla="*/ 69990 h 348781"/>
                  <a:gd name="connsiteX59" fmla="*/ 228590 w 406872"/>
                  <a:gd name="connsiteY59" fmla="*/ 67321 h 348781"/>
                  <a:gd name="connsiteX60" fmla="*/ 235681 w 406872"/>
                  <a:gd name="connsiteY60" fmla="*/ 64651 h 348781"/>
                  <a:gd name="connsiteX61" fmla="*/ 257789 w 406872"/>
                  <a:gd name="connsiteY61" fmla="*/ 69490 h 348781"/>
                  <a:gd name="connsiteX62" fmla="*/ 283902 w 406872"/>
                  <a:gd name="connsiteY62" fmla="*/ 89844 h 348781"/>
                  <a:gd name="connsiteX63" fmla="*/ 294497 w 406872"/>
                  <a:gd name="connsiteY63" fmla="*/ 101356 h 348781"/>
                  <a:gd name="connsiteX64" fmla="*/ 354731 w 406872"/>
                  <a:gd name="connsiteY64" fmla="*/ 123045 h 348781"/>
                  <a:gd name="connsiteX65" fmla="*/ 378675 w 406872"/>
                  <a:gd name="connsiteY65" fmla="*/ 131888 h 348781"/>
                  <a:gd name="connsiteX66" fmla="*/ 380927 w 406872"/>
                  <a:gd name="connsiteY66" fmla="*/ 140731 h 348781"/>
                  <a:gd name="connsiteX67" fmla="*/ 376839 w 406872"/>
                  <a:gd name="connsiteY67" fmla="*/ 147237 h 34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406872" h="348781" extrusionOk="0">
                    <a:moveTo>
                      <a:pt x="376839" y="147237"/>
                    </a:moveTo>
                    <a:cubicBezTo>
                      <a:pt x="373752" y="150741"/>
                      <a:pt x="370165" y="155663"/>
                      <a:pt x="370165" y="162754"/>
                    </a:cubicBezTo>
                    <a:cubicBezTo>
                      <a:pt x="370582" y="173348"/>
                      <a:pt x="380343" y="181357"/>
                      <a:pt x="387851" y="187530"/>
                    </a:cubicBezTo>
                    <a:cubicBezTo>
                      <a:pt x="389603" y="188864"/>
                      <a:pt x="390938" y="190199"/>
                      <a:pt x="392273" y="191033"/>
                    </a:cubicBezTo>
                    <a:lnTo>
                      <a:pt x="396695" y="195455"/>
                    </a:lnTo>
                    <a:cubicBezTo>
                      <a:pt x="400199" y="198541"/>
                      <a:pt x="403786" y="201628"/>
                      <a:pt x="406873" y="205214"/>
                    </a:cubicBezTo>
                    <a:cubicBezTo>
                      <a:pt x="404620" y="222483"/>
                      <a:pt x="400199" y="239751"/>
                      <a:pt x="391355" y="250429"/>
                    </a:cubicBezTo>
                    <a:cubicBezTo>
                      <a:pt x="380760" y="263275"/>
                      <a:pt x="350143" y="283213"/>
                      <a:pt x="338630" y="280543"/>
                    </a:cubicBezTo>
                    <a:cubicBezTo>
                      <a:pt x="328452" y="278291"/>
                      <a:pt x="320025" y="269031"/>
                      <a:pt x="310682" y="259271"/>
                    </a:cubicBezTo>
                    <a:cubicBezTo>
                      <a:pt x="300504" y="248176"/>
                      <a:pt x="289825" y="236247"/>
                      <a:pt x="275225" y="233577"/>
                    </a:cubicBezTo>
                    <a:cubicBezTo>
                      <a:pt x="267717" y="232243"/>
                      <a:pt x="261460" y="234912"/>
                      <a:pt x="257038" y="236664"/>
                    </a:cubicBezTo>
                    <a:cubicBezTo>
                      <a:pt x="252199" y="238917"/>
                      <a:pt x="249947" y="239751"/>
                      <a:pt x="245942" y="237999"/>
                    </a:cubicBezTo>
                    <a:cubicBezTo>
                      <a:pt x="243690" y="237081"/>
                      <a:pt x="241938" y="234912"/>
                      <a:pt x="239769" y="232243"/>
                    </a:cubicBezTo>
                    <a:cubicBezTo>
                      <a:pt x="236265" y="228239"/>
                      <a:pt x="231760" y="223400"/>
                      <a:pt x="224251" y="221648"/>
                    </a:cubicBezTo>
                    <a:cubicBezTo>
                      <a:pt x="209652" y="218145"/>
                      <a:pt x="199891" y="223901"/>
                      <a:pt x="190547" y="230074"/>
                    </a:cubicBezTo>
                    <a:cubicBezTo>
                      <a:pt x="188295" y="231409"/>
                      <a:pt x="187043" y="233160"/>
                      <a:pt x="185208" y="234078"/>
                    </a:cubicBezTo>
                    <a:cubicBezTo>
                      <a:pt x="180786" y="237582"/>
                      <a:pt x="180786" y="237582"/>
                      <a:pt x="172360" y="234996"/>
                    </a:cubicBezTo>
                    <a:cubicBezTo>
                      <a:pt x="159512" y="231492"/>
                      <a:pt x="147582" y="232743"/>
                      <a:pt x="138238" y="238500"/>
                    </a:cubicBezTo>
                    <a:cubicBezTo>
                      <a:pt x="127643" y="245173"/>
                      <a:pt x="120969" y="257519"/>
                      <a:pt x="118716" y="273453"/>
                    </a:cubicBezTo>
                    <a:cubicBezTo>
                      <a:pt x="116965" y="287217"/>
                      <a:pt x="119134" y="301399"/>
                      <a:pt x="124890" y="314662"/>
                    </a:cubicBezTo>
                    <a:cubicBezTo>
                      <a:pt x="126225" y="317332"/>
                      <a:pt x="127977" y="320835"/>
                      <a:pt x="130229" y="323505"/>
                    </a:cubicBezTo>
                    <a:cubicBezTo>
                      <a:pt x="135569" y="331931"/>
                      <a:pt x="138656" y="337686"/>
                      <a:pt x="135569" y="342108"/>
                    </a:cubicBezTo>
                    <a:cubicBezTo>
                      <a:pt x="133817" y="344360"/>
                      <a:pt x="130730" y="345194"/>
                      <a:pt x="125391" y="346529"/>
                    </a:cubicBezTo>
                    <a:cubicBezTo>
                      <a:pt x="122721" y="346946"/>
                      <a:pt x="119634" y="347446"/>
                      <a:pt x="116547" y="348781"/>
                    </a:cubicBezTo>
                    <a:cubicBezTo>
                      <a:pt x="113460" y="343442"/>
                      <a:pt x="109456" y="339021"/>
                      <a:pt x="102782" y="336352"/>
                    </a:cubicBezTo>
                    <a:cubicBezTo>
                      <a:pt x="93021" y="332348"/>
                      <a:pt x="82843" y="333265"/>
                      <a:pt x="73082" y="334099"/>
                    </a:cubicBezTo>
                    <a:cubicBezTo>
                      <a:pt x="66908" y="335017"/>
                      <a:pt x="60651" y="335434"/>
                      <a:pt x="55813" y="334516"/>
                    </a:cubicBezTo>
                    <a:cubicBezTo>
                      <a:pt x="27865" y="330095"/>
                      <a:pt x="13765" y="314996"/>
                      <a:pt x="0" y="295059"/>
                    </a:cubicBezTo>
                    <a:cubicBezTo>
                      <a:pt x="2253" y="288885"/>
                      <a:pt x="5339" y="282629"/>
                      <a:pt x="8426" y="276039"/>
                    </a:cubicBezTo>
                    <a:cubicBezTo>
                      <a:pt x="14600" y="264109"/>
                      <a:pt x="21274" y="252598"/>
                      <a:pt x="27948" y="241085"/>
                    </a:cubicBezTo>
                    <a:cubicBezTo>
                      <a:pt x="34622" y="230491"/>
                      <a:pt x="40796" y="219396"/>
                      <a:pt x="46552" y="208301"/>
                    </a:cubicBezTo>
                    <a:cubicBezTo>
                      <a:pt x="50974" y="200293"/>
                      <a:pt x="54978" y="191033"/>
                      <a:pt x="54561" y="180856"/>
                    </a:cubicBezTo>
                    <a:cubicBezTo>
                      <a:pt x="54144" y="173348"/>
                      <a:pt x="51475" y="166674"/>
                      <a:pt x="48388" y="160918"/>
                    </a:cubicBezTo>
                    <a:cubicBezTo>
                      <a:pt x="45718" y="154745"/>
                      <a:pt x="43048" y="149406"/>
                      <a:pt x="43549" y="144067"/>
                    </a:cubicBezTo>
                    <a:cubicBezTo>
                      <a:pt x="43966" y="140564"/>
                      <a:pt x="45801" y="136059"/>
                      <a:pt x="47553" y="131638"/>
                    </a:cubicBezTo>
                    <a:cubicBezTo>
                      <a:pt x="48888" y="128134"/>
                      <a:pt x="50640" y="123629"/>
                      <a:pt x="51975" y="119708"/>
                    </a:cubicBezTo>
                    <a:cubicBezTo>
                      <a:pt x="52893" y="114870"/>
                      <a:pt x="52893" y="110866"/>
                      <a:pt x="52893" y="106445"/>
                    </a:cubicBezTo>
                    <a:cubicBezTo>
                      <a:pt x="52893" y="104193"/>
                      <a:pt x="52893" y="101606"/>
                      <a:pt x="53310" y="99354"/>
                    </a:cubicBezTo>
                    <a:cubicBezTo>
                      <a:pt x="53727" y="96268"/>
                      <a:pt x="54227" y="92680"/>
                      <a:pt x="55062" y="89594"/>
                    </a:cubicBezTo>
                    <a:cubicBezTo>
                      <a:pt x="55979" y="84755"/>
                      <a:pt x="56814" y="79834"/>
                      <a:pt x="57314" y="74995"/>
                    </a:cubicBezTo>
                    <a:cubicBezTo>
                      <a:pt x="57314" y="64818"/>
                      <a:pt x="54227" y="55475"/>
                      <a:pt x="51141" y="47049"/>
                    </a:cubicBezTo>
                    <a:lnTo>
                      <a:pt x="50223" y="44797"/>
                    </a:lnTo>
                    <a:cubicBezTo>
                      <a:pt x="52893" y="44380"/>
                      <a:pt x="55562" y="44380"/>
                      <a:pt x="58232" y="44797"/>
                    </a:cubicBezTo>
                    <a:cubicBezTo>
                      <a:pt x="61319" y="45214"/>
                      <a:pt x="65323" y="45715"/>
                      <a:pt x="68410" y="47049"/>
                    </a:cubicBezTo>
                    <a:cubicBezTo>
                      <a:pt x="70663" y="47967"/>
                      <a:pt x="72832" y="49719"/>
                      <a:pt x="74584" y="51888"/>
                    </a:cubicBezTo>
                    <a:cubicBezTo>
                      <a:pt x="75918" y="52805"/>
                      <a:pt x="77253" y="54140"/>
                      <a:pt x="78088" y="54974"/>
                    </a:cubicBezTo>
                    <a:cubicBezTo>
                      <a:pt x="86931" y="62065"/>
                      <a:pt x="98444" y="65569"/>
                      <a:pt x="109539" y="65569"/>
                    </a:cubicBezTo>
                    <a:cubicBezTo>
                      <a:pt x="113544" y="65569"/>
                      <a:pt x="117549" y="65152"/>
                      <a:pt x="121470" y="64234"/>
                    </a:cubicBezTo>
                    <a:cubicBezTo>
                      <a:pt x="130313" y="61982"/>
                      <a:pt x="136069" y="57143"/>
                      <a:pt x="138739" y="50469"/>
                    </a:cubicBezTo>
                    <a:cubicBezTo>
                      <a:pt x="140991" y="44296"/>
                      <a:pt x="139156" y="38958"/>
                      <a:pt x="137821" y="34536"/>
                    </a:cubicBezTo>
                    <a:lnTo>
                      <a:pt x="136904" y="31867"/>
                    </a:lnTo>
                    <a:cubicBezTo>
                      <a:pt x="134651" y="23441"/>
                      <a:pt x="136904" y="14181"/>
                      <a:pt x="142243" y="7508"/>
                    </a:cubicBezTo>
                    <a:cubicBezTo>
                      <a:pt x="143161" y="6591"/>
                      <a:pt x="143995" y="5256"/>
                      <a:pt x="144913" y="4839"/>
                    </a:cubicBezTo>
                    <a:cubicBezTo>
                      <a:pt x="146247" y="3504"/>
                      <a:pt x="147582" y="1752"/>
                      <a:pt x="149334" y="0"/>
                    </a:cubicBezTo>
                    <a:cubicBezTo>
                      <a:pt x="150669" y="417"/>
                      <a:pt x="152421" y="1335"/>
                      <a:pt x="153756" y="2253"/>
                    </a:cubicBezTo>
                    <a:cubicBezTo>
                      <a:pt x="158594" y="5756"/>
                      <a:pt x="162599" y="11095"/>
                      <a:pt x="166604" y="16434"/>
                    </a:cubicBezTo>
                    <a:cubicBezTo>
                      <a:pt x="171025" y="22607"/>
                      <a:pt x="175947" y="29281"/>
                      <a:pt x="182955" y="34119"/>
                    </a:cubicBezTo>
                    <a:cubicBezTo>
                      <a:pt x="186960" y="36789"/>
                      <a:pt x="190464" y="38540"/>
                      <a:pt x="193550" y="38958"/>
                    </a:cubicBezTo>
                    <a:cubicBezTo>
                      <a:pt x="193550" y="52722"/>
                      <a:pt x="196220" y="65068"/>
                      <a:pt x="207316" y="69990"/>
                    </a:cubicBezTo>
                    <a:cubicBezTo>
                      <a:pt x="215325" y="73494"/>
                      <a:pt x="223250" y="69990"/>
                      <a:pt x="228590" y="67321"/>
                    </a:cubicBezTo>
                    <a:cubicBezTo>
                      <a:pt x="231259" y="65986"/>
                      <a:pt x="233929" y="64651"/>
                      <a:pt x="235681" y="64651"/>
                    </a:cubicBezTo>
                    <a:cubicBezTo>
                      <a:pt x="242355" y="64234"/>
                      <a:pt x="251615" y="67321"/>
                      <a:pt x="257789" y="69490"/>
                    </a:cubicBezTo>
                    <a:cubicBezTo>
                      <a:pt x="269719" y="73911"/>
                      <a:pt x="276393" y="81419"/>
                      <a:pt x="283902" y="89844"/>
                    </a:cubicBezTo>
                    <a:cubicBezTo>
                      <a:pt x="286988" y="93348"/>
                      <a:pt x="290576" y="97853"/>
                      <a:pt x="294497" y="101356"/>
                    </a:cubicBezTo>
                    <a:cubicBezTo>
                      <a:pt x="312183" y="118624"/>
                      <a:pt x="331288" y="121294"/>
                      <a:pt x="354731" y="123045"/>
                    </a:cubicBezTo>
                    <a:cubicBezTo>
                      <a:pt x="366244" y="123963"/>
                      <a:pt x="375087" y="127050"/>
                      <a:pt x="378675" y="131888"/>
                    </a:cubicBezTo>
                    <a:cubicBezTo>
                      <a:pt x="380927" y="134140"/>
                      <a:pt x="381344" y="136727"/>
                      <a:pt x="380927" y="140731"/>
                    </a:cubicBezTo>
                    <a:cubicBezTo>
                      <a:pt x="380426" y="142816"/>
                      <a:pt x="378591" y="144985"/>
                      <a:pt x="376839" y="1472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171960" name="Полилиния 380"/>
              <p:cNvSpPr/>
              <p:nvPr/>
            </p:nvSpPr>
            <p:spPr bwMode="auto">
              <a:xfrm>
                <a:off x="2334921" y="4123071"/>
                <a:ext cx="610114" cy="393260"/>
              </a:xfrm>
              <a:custGeom>
                <a:avLst/>
                <a:gdLst>
                  <a:gd name="connsiteX0" fmla="*/ 404036 w 685179"/>
                  <a:gd name="connsiteY0" fmla="*/ 230617 h 441645"/>
                  <a:gd name="connsiteX1" fmla="*/ 404954 w 685179"/>
                  <a:gd name="connsiteY1" fmla="*/ 237707 h 441645"/>
                  <a:gd name="connsiteX2" fmla="*/ 404036 w 685179"/>
                  <a:gd name="connsiteY2" fmla="*/ 260732 h 441645"/>
                  <a:gd name="connsiteX3" fmla="*/ 401366 w 685179"/>
                  <a:gd name="connsiteY3" fmla="*/ 285090 h 441645"/>
                  <a:gd name="connsiteX4" fmla="*/ 399114 w 685179"/>
                  <a:gd name="connsiteY4" fmla="*/ 307697 h 441645"/>
                  <a:gd name="connsiteX5" fmla="*/ 398196 w 685179"/>
                  <a:gd name="connsiteY5" fmla="*/ 310784 h 441645"/>
                  <a:gd name="connsiteX6" fmla="*/ 389770 w 685179"/>
                  <a:gd name="connsiteY6" fmla="*/ 321378 h 441645"/>
                  <a:gd name="connsiteX7" fmla="*/ 376505 w 685179"/>
                  <a:gd name="connsiteY7" fmla="*/ 329386 h 441645"/>
                  <a:gd name="connsiteX8" fmla="*/ 356566 w 685179"/>
                  <a:gd name="connsiteY8" fmla="*/ 342233 h 441645"/>
                  <a:gd name="connsiteX9" fmla="*/ 349058 w 685179"/>
                  <a:gd name="connsiteY9" fmla="*/ 377186 h 441645"/>
                  <a:gd name="connsiteX10" fmla="*/ 350393 w 685179"/>
                  <a:gd name="connsiteY10" fmla="*/ 393537 h 441645"/>
                  <a:gd name="connsiteX11" fmla="*/ 330454 w 685179"/>
                  <a:gd name="connsiteY11" fmla="*/ 412140 h 441645"/>
                  <a:gd name="connsiteX12" fmla="*/ 312266 w 685179"/>
                  <a:gd name="connsiteY12" fmla="*/ 424986 h 441645"/>
                  <a:gd name="connsiteX13" fmla="*/ 304258 w 685179"/>
                  <a:gd name="connsiteY13" fmla="*/ 435164 h 441645"/>
                  <a:gd name="connsiteX14" fmla="*/ 295414 w 685179"/>
                  <a:gd name="connsiteY14" fmla="*/ 429408 h 441645"/>
                  <a:gd name="connsiteX15" fmla="*/ 282567 w 685179"/>
                  <a:gd name="connsiteY15" fmla="*/ 412140 h 441645"/>
                  <a:gd name="connsiteX16" fmla="*/ 282567 w 685179"/>
                  <a:gd name="connsiteY16" fmla="*/ 404131 h 441645"/>
                  <a:gd name="connsiteX17" fmla="*/ 274558 w 685179"/>
                  <a:gd name="connsiteY17" fmla="*/ 394371 h 441645"/>
                  <a:gd name="connsiteX18" fmla="*/ 244023 w 685179"/>
                  <a:gd name="connsiteY18" fmla="*/ 403214 h 441645"/>
                  <a:gd name="connsiteX19" fmla="*/ 239602 w 685179"/>
                  <a:gd name="connsiteY19" fmla="*/ 407635 h 441645"/>
                  <a:gd name="connsiteX20" fmla="*/ 225836 w 685179"/>
                  <a:gd name="connsiteY20" fmla="*/ 418229 h 441645"/>
                  <a:gd name="connsiteX21" fmla="*/ 213406 w 685179"/>
                  <a:gd name="connsiteY21" fmla="*/ 418229 h 441645"/>
                  <a:gd name="connsiteX22" fmla="*/ 190380 w 685179"/>
                  <a:gd name="connsiteY22" fmla="*/ 420899 h 441645"/>
                  <a:gd name="connsiteX23" fmla="*/ 178867 w 685179"/>
                  <a:gd name="connsiteY23" fmla="*/ 432828 h 441645"/>
                  <a:gd name="connsiteX24" fmla="*/ 172193 w 685179"/>
                  <a:gd name="connsiteY24" fmla="*/ 440836 h 441645"/>
                  <a:gd name="connsiteX25" fmla="*/ 152254 w 685179"/>
                  <a:gd name="connsiteY25" fmla="*/ 434663 h 441645"/>
                  <a:gd name="connsiteX26" fmla="*/ 146080 w 685179"/>
                  <a:gd name="connsiteY26" fmla="*/ 429324 h 441645"/>
                  <a:gd name="connsiteX27" fmla="*/ 144746 w 685179"/>
                  <a:gd name="connsiteY27" fmla="*/ 425821 h 441645"/>
                  <a:gd name="connsiteX28" fmla="*/ 143411 w 685179"/>
                  <a:gd name="connsiteY28" fmla="*/ 421399 h 441645"/>
                  <a:gd name="connsiteX29" fmla="*/ 135402 w 685179"/>
                  <a:gd name="connsiteY29" fmla="*/ 410304 h 441645"/>
                  <a:gd name="connsiteX30" fmla="*/ 131397 w 685179"/>
                  <a:gd name="connsiteY30" fmla="*/ 405883 h 441645"/>
                  <a:gd name="connsiteX31" fmla="*/ 124723 w 685179"/>
                  <a:gd name="connsiteY31" fmla="*/ 383276 h 441645"/>
                  <a:gd name="connsiteX32" fmla="*/ 124306 w 685179"/>
                  <a:gd name="connsiteY32" fmla="*/ 381024 h 441645"/>
                  <a:gd name="connsiteX33" fmla="*/ 114128 w 685179"/>
                  <a:gd name="connsiteY33" fmla="*/ 334976 h 441645"/>
                  <a:gd name="connsiteX34" fmla="*/ 99945 w 685179"/>
                  <a:gd name="connsiteY34" fmla="*/ 314121 h 441645"/>
                  <a:gd name="connsiteX35" fmla="*/ 96441 w 685179"/>
                  <a:gd name="connsiteY35" fmla="*/ 312786 h 441645"/>
                  <a:gd name="connsiteX36" fmla="*/ 93772 w 685179"/>
                  <a:gd name="connsiteY36" fmla="*/ 311868 h 441645"/>
                  <a:gd name="connsiteX37" fmla="*/ 91102 w 685179"/>
                  <a:gd name="connsiteY37" fmla="*/ 307447 h 441645"/>
                  <a:gd name="connsiteX38" fmla="*/ 87598 w 685179"/>
                  <a:gd name="connsiteY38" fmla="*/ 300773 h 441645"/>
                  <a:gd name="connsiteX39" fmla="*/ 71664 w 685179"/>
                  <a:gd name="connsiteY39" fmla="*/ 290179 h 441645"/>
                  <a:gd name="connsiteX40" fmla="*/ 63655 w 685179"/>
                  <a:gd name="connsiteY40" fmla="*/ 286675 h 441645"/>
                  <a:gd name="connsiteX41" fmla="*/ 54811 w 685179"/>
                  <a:gd name="connsiteY41" fmla="*/ 275580 h 441645"/>
                  <a:gd name="connsiteX42" fmla="*/ 49973 w 685179"/>
                  <a:gd name="connsiteY42" fmla="*/ 268490 h 441645"/>
                  <a:gd name="connsiteX43" fmla="*/ 26947 w 685179"/>
                  <a:gd name="connsiteY43" fmla="*/ 248969 h 441645"/>
                  <a:gd name="connsiteX44" fmla="*/ 22525 w 685179"/>
                  <a:gd name="connsiteY44" fmla="*/ 227280 h 441645"/>
                  <a:gd name="connsiteX45" fmla="*/ 11930 w 685179"/>
                  <a:gd name="connsiteY45" fmla="*/ 217102 h 441645"/>
                  <a:gd name="connsiteX46" fmla="*/ 0 w 685179"/>
                  <a:gd name="connsiteY46" fmla="*/ 198917 h 441645"/>
                  <a:gd name="connsiteX47" fmla="*/ 417 w 685179"/>
                  <a:gd name="connsiteY47" fmla="*/ 194912 h 441645"/>
                  <a:gd name="connsiteX48" fmla="*/ 11012 w 685179"/>
                  <a:gd name="connsiteY48" fmla="*/ 185153 h 441645"/>
                  <a:gd name="connsiteX49" fmla="*/ 13265 w 685179"/>
                  <a:gd name="connsiteY49" fmla="*/ 183818 h 441645"/>
                  <a:gd name="connsiteX50" fmla="*/ 17686 w 685179"/>
                  <a:gd name="connsiteY50" fmla="*/ 181148 h 441645"/>
                  <a:gd name="connsiteX51" fmla="*/ 33621 w 685179"/>
                  <a:gd name="connsiteY51" fmla="*/ 173640 h 441645"/>
                  <a:gd name="connsiteX52" fmla="*/ 58899 w 685179"/>
                  <a:gd name="connsiteY52" fmla="*/ 159876 h 441645"/>
                  <a:gd name="connsiteX53" fmla="*/ 69077 w 685179"/>
                  <a:gd name="connsiteY53" fmla="*/ 150533 h 441645"/>
                  <a:gd name="connsiteX54" fmla="*/ 86347 w 685179"/>
                  <a:gd name="connsiteY54" fmla="*/ 138604 h 441645"/>
                  <a:gd name="connsiteX55" fmla="*/ 107203 w 685179"/>
                  <a:gd name="connsiteY55" fmla="*/ 135934 h 441645"/>
                  <a:gd name="connsiteX56" fmla="*/ 137320 w 685179"/>
                  <a:gd name="connsiteY56" fmla="*/ 130596 h 441645"/>
                  <a:gd name="connsiteX57" fmla="*/ 179368 w 685179"/>
                  <a:gd name="connsiteY57" fmla="*/ 106237 h 441645"/>
                  <a:gd name="connsiteX58" fmla="*/ 201476 w 685179"/>
                  <a:gd name="connsiteY58" fmla="*/ 72535 h 441645"/>
                  <a:gd name="connsiteX59" fmla="*/ 203228 w 685179"/>
                  <a:gd name="connsiteY59" fmla="*/ 72535 h 441645"/>
                  <a:gd name="connsiteX60" fmla="*/ 216993 w 685179"/>
                  <a:gd name="connsiteY60" fmla="*/ 69865 h 441645"/>
                  <a:gd name="connsiteX61" fmla="*/ 231176 w 685179"/>
                  <a:gd name="connsiteY61" fmla="*/ 52597 h 441645"/>
                  <a:gd name="connsiteX62" fmla="*/ 235180 w 685179"/>
                  <a:gd name="connsiteY62" fmla="*/ 44589 h 441645"/>
                  <a:gd name="connsiteX63" fmla="*/ 267967 w 685179"/>
                  <a:gd name="connsiteY63" fmla="*/ 51263 h 441645"/>
                  <a:gd name="connsiteX64" fmla="*/ 303841 w 685179"/>
                  <a:gd name="connsiteY64" fmla="*/ 62357 h 441645"/>
                  <a:gd name="connsiteX65" fmla="*/ 333040 w 685179"/>
                  <a:gd name="connsiteY65" fmla="*/ 34912 h 441645"/>
                  <a:gd name="connsiteX66" fmla="*/ 335292 w 685179"/>
                  <a:gd name="connsiteY66" fmla="*/ 23400 h 441645"/>
                  <a:gd name="connsiteX67" fmla="*/ 336210 w 685179"/>
                  <a:gd name="connsiteY67" fmla="*/ 17644 h 441645"/>
                  <a:gd name="connsiteX68" fmla="*/ 380093 w 685179"/>
                  <a:gd name="connsiteY68" fmla="*/ 18979 h 441645"/>
                  <a:gd name="connsiteX69" fmla="*/ 417301 w 685179"/>
                  <a:gd name="connsiteY69" fmla="*/ 18562 h 441645"/>
                  <a:gd name="connsiteX70" fmla="*/ 436823 w 685179"/>
                  <a:gd name="connsiteY70" fmla="*/ 20814 h 441645"/>
                  <a:gd name="connsiteX71" fmla="*/ 449671 w 685179"/>
                  <a:gd name="connsiteY71" fmla="*/ 23066 h 441645"/>
                  <a:gd name="connsiteX72" fmla="*/ 492635 w 685179"/>
                  <a:gd name="connsiteY72" fmla="*/ 9802 h 441645"/>
                  <a:gd name="connsiteX73" fmla="*/ 536935 w 685179"/>
                  <a:gd name="connsiteY73" fmla="*/ 16476 h 441645"/>
                  <a:gd name="connsiteX74" fmla="*/ 572391 w 685179"/>
                  <a:gd name="connsiteY74" fmla="*/ 39083 h 441645"/>
                  <a:gd name="connsiteX75" fmla="*/ 580818 w 685179"/>
                  <a:gd name="connsiteY75" fmla="*/ 40001 h 441645"/>
                  <a:gd name="connsiteX76" fmla="*/ 598504 w 685179"/>
                  <a:gd name="connsiteY76" fmla="*/ 50178 h 441645"/>
                  <a:gd name="connsiteX77" fmla="*/ 603343 w 685179"/>
                  <a:gd name="connsiteY77" fmla="*/ 55017 h 441645"/>
                  <a:gd name="connsiteX78" fmla="*/ 608182 w 685179"/>
                  <a:gd name="connsiteY78" fmla="*/ 60355 h 441645"/>
                  <a:gd name="connsiteX79" fmla="*/ 613521 w 685179"/>
                  <a:gd name="connsiteY79" fmla="*/ 65694 h 441645"/>
                  <a:gd name="connsiteX80" fmla="*/ 626369 w 685179"/>
                  <a:gd name="connsiteY80" fmla="*/ 78124 h 441645"/>
                  <a:gd name="connsiteX81" fmla="*/ 657821 w 685179"/>
                  <a:gd name="connsiteY81" fmla="*/ 106487 h 441645"/>
                  <a:gd name="connsiteX82" fmla="*/ 666664 w 685179"/>
                  <a:gd name="connsiteY82" fmla="*/ 112660 h 441645"/>
                  <a:gd name="connsiteX83" fmla="*/ 684851 w 685179"/>
                  <a:gd name="connsiteY83" fmla="*/ 135684 h 441645"/>
                  <a:gd name="connsiteX84" fmla="*/ 648060 w 685179"/>
                  <a:gd name="connsiteY84" fmla="*/ 166716 h 441645"/>
                  <a:gd name="connsiteX85" fmla="*/ 617943 w 685179"/>
                  <a:gd name="connsiteY85" fmla="*/ 161378 h 441645"/>
                  <a:gd name="connsiteX86" fmla="*/ 602425 w 685179"/>
                  <a:gd name="connsiteY86" fmla="*/ 154704 h 441645"/>
                  <a:gd name="connsiteX87" fmla="*/ 550116 w 685179"/>
                  <a:gd name="connsiteY87" fmla="*/ 183901 h 441645"/>
                  <a:gd name="connsiteX88" fmla="*/ 532847 w 685179"/>
                  <a:gd name="connsiteY88" fmla="*/ 205591 h 441645"/>
                  <a:gd name="connsiteX89" fmla="*/ 517747 w 685179"/>
                  <a:gd name="connsiteY89" fmla="*/ 206508 h 441645"/>
                  <a:gd name="connsiteX90" fmla="*/ 516412 w 685179"/>
                  <a:gd name="connsiteY90" fmla="*/ 206091 h 441645"/>
                  <a:gd name="connsiteX91" fmla="*/ 515995 w 685179"/>
                  <a:gd name="connsiteY91" fmla="*/ 205674 h 441645"/>
                  <a:gd name="connsiteX92" fmla="*/ 502230 w 685179"/>
                  <a:gd name="connsiteY92" fmla="*/ 198166 h 441645"/>
                  <a:gd name="connsiteX93" fmla="*/ 460599 w 685179"/>
                  <a:gd name="connsiteY93" fmla="*/ 189741 h 441645"/>
                  <a:gd name="connsiteX94" fmla="*/ 449504 w 685179"/>
                  <a:gd name="connsiteY94" fmla="*/ 200335 h 441645"/>
                  <a:gd name="connsiteX95" fmla="*/ 444665 w 685179"/>
                  <a:gd name="connsiteY95" fmla="*/ 205674 h 441645"/>
                  <a:gd name="connsiteX96" fmla="*/ 434487 w 685179"/>
                  <a:gd name="connsiteY96" fmla="*/ 206091 h 441645"/>
                  <a:gd name="connsiteX97" fmla="*/ 418970 w 685179"/>
                  <a:gd name="connsiteY97" fmla="*/ 204756 h 441645"/>
                  <a:gd name="connsiteX98" fmla="*/ 404036 w 685179"/>
                  <a:gd name="connsiteY98" fmla="*/ 230617 h 441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685179" h="441645" extrusionOk="0">
                    <a:moveTo>
                      <a:pt x="404036" y="230617"/>
                    </a:moveTo>
                    <a:lnTo>
                      <a:pt x="404954" y="237707"/>
                    </a:lnTo>
                    <a:cubicBezTo>
                      <a:pt x="405872" y="246550"/>
                      <a:pt x="406289" y="251472"/>
                      <a:pt x="404036" y="260732"/>
                    </a:cubicBezTo>
                    <a:cubicBezTo>
                      <a:pt x="401784" y="268740"/>
                      <a:pt x="401784" y="277082"/>
                      <a:pt x="401366" y="285090"/>
                    </a:cubicBezTo>
                    <a:cubicBezTo>
                      <a:pt x="400949" y="293516"/>
                      <a:pt x="400949" y="301024"/>
                      <a:pt x="399114" y="307697"/>
                    </a:cubicBezTo>
                    <a:cubicBezTo>
                      <a:pt x="398697" y="308615"/>
                      <a:pt x="398697" y="309950"/>
                      <a:pt x="398196" y="310784"/>
                    </a:cubicBezTo>
                    <a:cubicBezTo>
                      <a:pt x="396444" y="315622"/>
                      <a:pt x="393358" y="318792"/>
                      <a:pt x="389770" y="321378"/>
                    </a:cubicBezTo>
                    <a:cubicBezTo>
                      <a:pt x="386266" y="324465"/>
                      <a:pt x="381344" y="326717"/>
                      <a:pt x="376505" y="329386"/>
                    </a:cubicBezTo>
                    <a:cubicBezTo>
                      <a:pt x="369414" y="332890"/>
                      <a:pt x="362323" y="336477"/>
                      <a:pt x="356566" y="342233"/>
                    </a:cubicBezTo>
                    <a:cubicBezTo>
                      <a:pt x="342801" y="355080"/>
                      <a:pt x="346388" y="367510"/>
                      <a:pt x="349058" y="377186"/>
                    </a:cubicBezTo>
                    <a:cubicBezTo>
                      <a:pt x="350393" y="382943"/>
                      <a:pt x="351727" y="387781"/>
                      <a:pt x="350393" y="393537"/>
                    </a:cubicBezTo>
                    <a:cubicBezTo>
                      <a:pt x="348641" y="402379"/>
                      <a:pt x="340214" y="407301"/>
                      <a:pt x="330454" y="412140"/>
                    </a:cubicBezTo>
                    <a:cubicBezTo>
                      <a:pt x="323779" y="415643"/>
                      <a:pt x="317606" y="419231"/>
                      <a:pt x="312266" y="424986"/>
                    </a:cubicBezTo>
                    <a:cubicBezTo>
                      <a:pt x="309180" y="428073"/>
                      <a:pt x="306093" y="431660"/>
                      <a:pt x="304258" y="435164"/>
                    </a:cubicBezTo>
                    <a:cubicBezTo>
                      <a:pt x="301171" y="432911"/>
                      <a:pt x="298084" y="431160"/>
                      <a:pt x="295414" y="429408"/>
                    </a:cubicBezTo>
                    <a:cubicBezTo>
                      <a:pt x="290075" y="426321"/>
                      <a:pt x="281649" y="420565"/>
                      <a:pt x="282567" y="412140"/>
                    </a:cubicBezTo>
                    <a:cubicBezTo>
                      <a:pt x="282984" y="409887"/>
                      <a:pt x="283484" y="407301"/>
                      <a:pt x="282567" y="404131"/>
                    </a:cubicBezTo>
                    <a:cubicBezTo>
                      <a:pt x="281232" y="398375"/>
                      <a:pt x="277728" y="396123"/>
                      <a:pt x="274558" y="394371"/>
                    </a:cubicBezTo>
                    <a:cubicBezTo>
                      <a:pt x="264797" y="389533"/>
                      <a:pt x="254619" y="392619"/>
                      <a:pt x="244023" y="403214"/>
                    </a:cubicBezTo>
                    <a:cubicBezTo>
                      <a:pt x="242689" y="404548"/>
                      <a:pt x="240937" y="405883"/>
                      <a:pt x="239602" y="407635"/>
                    </a:cubicBezTo>
                    <a:cubicBezTo>
                      <a:pt x="235180" y="412473"/>
                      <a:pt x="231176" y="416978"/>
                      <a:pt x="225836" y="418229"/>
                    </a:cubicBezTo>
                    <a:cubicBezTo>
                      <a:pt x="222333" y="419147"/>
                      <a:pt x="217827" y="418646"/>
                      <a:pt x="213406" y="418229"/>
                    </a:cubicBezTo>
                    <a:cubicBezTo>
                      <a:pt x="206314" y="417312"/>
                      <a:pt x="197888" y="415977"/>
                      <a:pt x="190380" y="420899"/>
                    </a:cubicBezTo>
                    <a:cubicBezTo>
                      <a:pt x="185041" y="423985"/>
                      <a:pt x="181954" y="428907"/>
                      <a:pt x="178867" y="432828"/>
                    </a:cubicBezTo>
                    <a:cubicBezTo>
                      <a:pt x="176615" y="436332"/>
                      <a:pt x="174445" y="439502"/>
                      <a:pt x="172193" y="440836"/>
                    </a:cubicBezTo>
                    <a:cubicBezTo>
                      <a:pt x="166854" y="443506"/>
                      <a:pt x="158928" y="439084"/>
                      <a:pt x="152254" y="434663"/>
                    </a:cubicBezTo>
                    <a:cubicBezTo>
                      <a:pt x="150001" y="433329"/>
                      <a:pt x="147415" y="431577"/>
                      <a:pt x="146080" y="429324"/>
                    </a:cubicBezTo>
                    <a:cubicBezTo>
                      <a:pt x="145663" y="428407"/>
                      <a:pt x="145163" y="427072"/>
                      <a:pt x="144746" y="425821"/>
                    </a:cubicBezTo>
                    <a:cubicBezTo>
                      <a:pt x="144328" y="424486"/>
                      <a:pt x="143828" y="422734"/>
                      <a:pt x="143411" y="421399"/>
                    </a:cubicBezTo>
                    <a:cubicBezTo>
                      <a:pt x="141158" y="416561"/>
                      <a:pt x="138572" y="413391"/>
                      <a:pt x="135402" y="410304"/>
                    </a:cubicBezTo>
                    <a:cubicBezTo>
                      <a:pt x="134067" y="408970"/>
                      <a:pt x="132732" y="407218"/>
                      <a:pt x="131397" y="405883"/>
                    </a:cubicBezTo>
                    <a:cubicBezTo>
                      <a:pt x="127393" y="399710"/>
                      <a:pt x="126058" y="391702"/>
                      <a:pt x="124723" y="383276"/>
                    </a:cubicBezTo>
                    <a:lnTo>
                      <a:pt x="124306" y="381024"/>
                    </a:lnTo>
                    <a:cubicBezTo>
                      <a:pt x="122053" y="365507"/>
                      <a:pt x="118549" y="349992"/>
                      <a:pt x="114128" y="334976"/>
                    </a:cubicBezTo>
                    <a:cubicBezTo>
                      <a:pt x="112793" y="329637"/>
                      <a:pt x="109289" y="319042"/>
                      <a:pt x="99945" y="314121"/>
                    </a:cubicBezTo>
                    <a:cubicBezTo>
                      <a:pt x="98610" y="313704"/>
                      <a:pt x="97276" y="313203"/>
                      <a:pt x="96441" y="312786"/>
                    </a:cubicBezTo>
                    <a:cubicBezTo>
                      <a:pt x="95524" y="312369"/>
                      <a:pt x="94189" y="311868"/>
                      <a:pt x="93772" y="311868"/>
                    </a:cubicBezTo>
                    <a:cubicBezTo>
                      <a:pt x="92854" y="310950"/>
                      <a:pt x="92020" y="309199"/>
                      <a:pt x="91102" y="307447"/>
                    </a:cubicBezTo>
                    <a:cubicBezTo>
                      <a:pt x="90184" y="305195"/>
                      <a:pt x="88850" y="303026"/>
                      <a:pt x="87598" y="300773"/>
                    </a:cubicBezTo>
                    <a:cubicBezTo>
                      <a:pt x="83177" y="294600"/>
                      <a:pt x="77003" y="292348"/>
                      <a:pt x="71664" y="290179"/>
                    </a:cubicBezTo>
                    <a:cubicBezTo>
                      <a:pt x="68577" y="288844"/>
                      <a:pt x="65907" y="287926"/>
                      <a:pt x="63655" y="286675"/>
                    </a:cubicBezTo>
                    <a:cubicBezTo>
                      <a:pt x="60151" y="284006"/>
                      <a:pt x="57481" y="280001"/>
                      <a:pt x="54811" y="275580"/>
                    </a:cubicBezTo>
                    <a:cubicBezTo>
                      <a:pt x="53476" y="272911"/>
                      <a:pt x="51725" y="270742"/>
                      <a:pt x="49973" y="268490"/>
                    </a:cubicBezTo>
                    <a:cubicBezTo>
                      <a:pt x="43799" y="260064"/>
                      <a:pt x="35790" y="253891"/>
                      <a:pt x="26947" y="248969"/>
                    </a:cubicBezTo>
                    <a:cubicBezTo>
                      <a:pt x="29617" y="242796"/>
                      <a:pt x="29617" y="236123"/>
                      <a:pt x="22525" y="227280"/>
                    </a:cubicBezTo>
                    <a:cubicBezTo>
                      <a:pt x="19021" y="222858"/>
                      <a:pt x="15434" y="220189"/>
                      <a:pt x="11930" y="217102"/>
                    </a:cubicBezTo>
                    <a:cubicBezTo>
                      <a:pt x="4421" y="210929"/>
                      <a:pt x="0" y="206925"/>
                      <a:pt x="0" y="198917"/>
                    </a:cubicBezTo>
                    <a:cubicBezTo>
                      <a:pt x="0" y="197582"/>
                      <a:pt x="0" y="195830"/>
                      <a:pt x="417" y="194912"/>
                    </a:cubicBezTo>
                    <a:cubicBezTo>
                      <a:pt x="1335" y="190908"/>
                      <a:pt x="3921" y="188739"/>
                      <a:pt x="11012" y="185153"/>
                    </a:cubicBezTo>
                    <a:cubicBezTo>
                      <a:pt x="11930" y="184235"/>
                      <a:pt x="12347" y="184235"/>
                      <a:pt x="13265" y="183818"/>
                    </a:cubicBezTo>
                    <a:lnTo>
                      <a:pt x="17686" y="181148"/>
                    </a:lnTo>
                    <a:cubicBezTo>
                      <a:pt x="22525" y="178479"/>
                      <a:pt x="27864" y="175809"/>
                      <a:pt x="33621" y="173640"/>
                    </a:cubicBezTo>
                    <a:cubicBezTo>
                      <a:pt x="42047" y="170137"/>
                      <a:pt x="51308" y="165632"/>
                      <a:pt x="58899" y="159876"/>
                    </a:cubicBezTo>
                    <a:cubicBezTo>
                      <a:pt x="62904" y="156790"/>
                      <a:pt x="65991" y="153703"/>
                      <a:pt x="69077" y="150533"/>
                    </a:cubicBezTo>
                    <a:cubicBezTo>
                      <a:pt x="74417" y="145194"/>
                      <a:pt x="78838" y="140773"/>
                      <a:pt x="86347" y="138604"/>
                    </a:cubicBezTo>
                    <a:cubicBezTo>
                      <a:pt x="93021" y="136852"/>
                      <a:pt x="100112" y="136352"/>
                      <a:pt x="107203" y="135934"/>
                    </a:cubicBezTo>
                    <a:cubicBezTo>
                      <a:pt x="116964" y="135017"/>
                      <a:pt x="127142" y="134600"/>
                      <a:pt x="137320" y="130596"/>
                    </a:cubicBezTo>
                    <a:cubicBezTo>
                      <a:pt x="150585" y="125757"/>
                      <a:pt x="168355" y="117331"/>
                      <a:pt x="179368" y="106237"/>
                    </a:cubicBezTo>
                    <a:cubicBezTo>
                      <a:pt x="188211" y="97394"/>
                      <a:pt x="195719" y="84964"/>
                      <a:pt x="201476" y="72535"/>
                    </a:cubicBezTo>
                    <a:lnTo>
                      <a:pt x="203228" y="72535"/>
                    </a:lnTo>
                    <a:cubicBezTo>
                      <a:pt x="208066" y="72535"/>
                      <a:pt x="212989" y="71617"/>
                      <a:pt x="216993" y="69865"/>
                    </a:cubicBezTo>
                    <a:cubicBezTo>
                      <a:pt x="226754" y="65861"/>
                      <a:pt x="229424" y="58353"/>
                      <a:pt x="231176" y="52597"/>
                    </a:cubicBezTo>
                    <a:cubicBezTo>
                      <a:pt x="232511" y="49511"/>
                      <a:pt x="233428" y="46424"/>
                      <a:pt x="235180" y="44589"/>
                    </a:cubicBezTo>
                    <a:cubicBezTo>
                      <a:pt x="242271" y="37498"/>
                      <a:pt x="252449" y="42336"/>
                      <a:pt x="267967" y="51263"/>
                    </a:cubicBezTo>
                    <a:cubicBezTo>
                      <a:pt x="279897" y="58353"/>
                      <a:pt x="291910" y="65444"/>
                      <a:pt x="303841" y="62357"/>
                    </a:cubicBezTo>
                    <a:cubicBezTo>
                      <a:pt x="316271" y="58854"/>
                      <a:pt x="328201" y="47258"/>
                      <a:pt x="333040" y="34912"/>
                    </a:cubicBezTo>
                    <a:cubicBezTo>
                      <a:pt x="334375" y="30908"/>
                      <a:pt x="335292" y="26904"/>
                      <a:pt x="335292" y="23400"/>
                    </a:cubicBezTo>
                    <a:cubicBezTo>
                      <a:pt x="335710" y="21148"/>
                      <a:pt x="335710" y="19396"/>
                      <a:pt x="336210" y="17644"/>
                    </a:cubicBezTo>
                    <a:cubicBezTo>
                      <a:pt x="350810" y="18061"/>
                      <a:pt x="365410" y="18562"/>
                      <a:pt x="380093" y="18979"/>
                    </a:cubicBezTo>
                    <a:cubicBezTo>
                      <a:pt x="391188" y="19396"/>
                      <a:pt x="403118" y="19396"/>
                      <a:pt x="417301" y="18562"/>
                    </a:cubicBezTo>
                    <a:cubicBezTo>
                      <a:pt x="423975" y="18144"/>
                      <a:pt x="430149" y="19479"/>
                      <a:pt x="436823" y="20814"/>
                    </a:cubicBezTo>
                    <a:cubicBezTo>
                      <a:pt x="440827" y="21732"/>
                      <a:pt x="445249" y="22566"/>
                      <a:pt x="449671" y="23066"/>
                    </a:cubicBezTo>
                    <a:cubicBezTo>
                      <a:pt x="466022" y="25319"/>
                      <a:pt x="480205" y="16893"/>
                      <a:pt x="492635" y="9802"/>
                    </a:cubicBezTo>
                    <a:cubicBezTo>
                      <a:pt x="512157" y="-1292"/>
                      <a:pt x="523170" y="-7465"/>
                      <a:pt x="536935" y="16476"/>
                    </a:cubicBezTo>
                    <a:cubicBezTo>
                      <a:pt x="548448" y="36413"/>
                      <a:pt x="555539" y="37748"/>
                      <a:pt x="572391" y="39083"/>
                    </a:cubicBezTo>
                    <a:cubicBezTo>
                      <a:pt x="575061" y="39500"/>
                      <a:pt x="577731" y="39500"/>
                      <a:pt x="580818" y="40001"/>
                    </a:cubicBezTo>
                    <a:cubicBezTo>
                      <a:pt x="588826" y="40919"/>
                      <a:pt x="593665" y="44839"/>
                      <a:pt x="598504" y="50178"/>
                    </a:cubicBezTo>
                    <a:cubicBezTo>
                      <a:pt x="600256" y="51513"/>
                      <a:pt x="601591" y="53265"/>
                      <a:pt x="603343" y="55017"/>
                    </a:cubicBezTo>
                    <a:cubicBezTo>
                      <a:pt x="605095" y="56768"/>
                      <a:pt x="606430" y="58520"/>
                      <a:pt x="608182" y="60355"/>
                    </a:cubicBezTo>
                    <a:cubicBezTo>
                      <a:pt x="609933" y="62107"/>
                      <a:pt x="611268" y="63859"/>
                      <a:pt x="613521" y="65694"/>
                    </a:cubicBezTo>
                    <a:cubicBezTo>
                      <a:pt x="617943" y="69699"/>
                      <a:pt x="621947" y="74120"/>
                      <a:pt x="626369" y="78124"/>
                    </a:cubicBezTo>
                    <a:cubicBezTo>
                      <a:pt x="636547" y="87884"/>
                      <a:pt x="647225" y="97644"/>
                      <a:pt x="657821" y="106487"/>
                    </a:cubicBezTo>
                    <a:cubicBezTo>
                      <a:pt x="660073" y="108739"/>
                      <a:pt x="663160" y="110491"/>
                      <a:pt x="666664" y="112660"/>
                    </a:cubicBezTo>
                    <a:cubicBezTo>
                      <a:pt x="678177" y="120668"/>
                      <a:pt x="687020" y="127259"/>
                      <a:pt x="684851" y="135684"/>
                    </a:cubicBezTo>
                    <a:cubicBezTo>
                      <a:pt x="682598" y="142775"/>
                      <a:pt x="658238" y="162712"/>
                      <a:pt x="648060" y="166716"/>
                    </a:cubicBezTo>
                    <a:cubicBezTo>
                      <a:pt x="636964" y="170721"/>
                      <a:pt x="628538" y="166299"/>
                      <a:pt x="617943" y="161378"/>
                    </a:cubicBezTo>
                    <a:cubicBezTo>
                      <a:pt x="613104" y="159125"/>
                      <a:pt x="608182" y="156539"/>
                      <a:pt x="602425" y="154704"/>
                    </a:cubicBezTo>
                    <a:cubicBezTo>
                      <a:pt x="571891" y="144527"/>
                      <a:pt x="559460" y="167134"/>
                      <a:pt x="550116" y="183901"/>
                    </a:cubicBezTo>
                    <a:cubicBezTo>
                      <a:pt x="543943" y="194495"/>
                      <a:pt x="539521" y="202504"/>
                      <a:pt x="532847" y="205591"/>
                    </a:cubicBezTo>
                    <a:cubicBezTo>
                      <a:pt x="528843" y="208260"/>
                      <a:pt x="524004" y="208260"/>
                      <a:pt x="517747" y="206508"/>
                    </a:cubicBezTo>
                    <a:cubicBezTo>
                      <a:pt x="517330" y="206091"/>
                      <a:pt x="516829" y="206091"/>
                      <a:pt x="516412" y="206091"/>
                    </a:cubicBezTo>
                    <a:cubicBezTo>
                      <a:pt x="516412" y="206091"/>
                      <a:pt x="516412" y="205674"/>
                      <a:pt x="515995" y="205674"/>
                    </a:cubicBezTo>
                    <a:cubicBezTo>
                      <a:pt x="511573" y="204339"/>
                      <a:pt x="507152" y="201253"/>
                      <a:pt x="502230" y="198166"/>
                    </a:cubicBezTo>
                    <a:cubicBezTo>
                      <a:pt x="491134" y="191075"/>
                      <a:pt x="477452" y="182233"/>
                      <a:pt x="460599" y="189741"/>
                    </a:cubicBezTo>
                    <a:cubicBezTo>
                      <a:pt x="455260" y="192410"/>
                      <a:pt x="451756" y="196831"/>
                      <a:pt x="449504" y="200335"/>
                    </a:cubicBezTo>
                    <a:cubicBezTo>
                      <a:pt x="447752" y="202587"/>
                      <a:pt x="446417" y="204756"/>
                      <a:pt x="444665" y="205674"/>
                    </a:cubicBezTo>
                    <a:cubicBezTo>
                      <a:pt x="441578" y="207926"/>
                      <a:pt x="439326" y="207008"/>
                      <a:pt x="434487" y="206091"/>
                    </a:cubicBezTo>
                    <a:cubicBezTo>
                      <a:pt x="430482" y="204756"/>
                      <a:pt x="425143" y="203422"/>
                      <a:pt x="418970" y="204756"/>
                    </a:cubicBezTo>
                    <a:cubicBezTo>
                      <a:pt x="401366" y="208927"/>
                      <a:pt x="402701" y="221774"/>
                      <a:pt x="404036" y="23061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54804526" name="Полилиния 381"/>
              <p:cNvSpPr/>
              <p:nvPr/>
            </p:nvSpPr>
            <p:spPr bwMode="auto">
              <a:xfrm>
                <a:off x="2577989" y="4787407"/>
                <a:ext cx="388255" cy="346077"/>
              </a:xfrm>
              <a:custGeom>
                <a:avLst/>
                <a:gdLst>
                  <a:gd name="connsiteX0" fmla="*/ 140825 w 436025"/>
                  <a:gd name="connsiteY0" fmla="*/ 385570 h 388656"/>
                  <a:gd name="connsiteX1" fmla="*/ 118216 w 436025"/>
                  <a:gd name="connsiteY1" fmla="*/ 388656 h 388656"/>
                  <a:gd name="connsiteX2" fmla="*/ 117799 w 436025"/>
                  <a:gd name="connsiteY2" fmla="*/ 370471 h 388656"/>
                  <a:gd name="connsiteX3" fmla="*/ 100112 w 436025"/>
                  <a:gd name="connsiteY3" fmla="*/ 342525 h 388656"/>
                  <a:gd name="connsiteX4" fmla="*/ 88599 w 436025"/>
                  <a:gd name="connsiteY4" fmla="*/ 330095 h 388656"/>
                  <a:gd name="connsiteX5" fmla="*/ 88182 w 436025"/>
                  <a:gd name="connsiteY5" fmla="*/ 320752 h 388656"/>
                  <a:gd name="connsiteX6" fmla="*/ 87765 w 436025"/>
                  <a:gd name="connsiteY6" fmla="*/ 307905 h 388656"/>
                  <a:gd name="connsiteX7" fmla="*/ 77170 w 436025"/>
                  <a:gd name="connsiteY7" fmla="*/ 287968 h 388656"/>
                  <a:gd name="connsiteX8" fmla="*/ 72331 w 436025"/>
                  <a:gd name="connsiteY8" fmla="*/ 281294 h 388656"/>
                  <a:gd name="connsiteX9" fmla="*/ 62987 w 436025"/>
                  <a:gd name="connsiteY9" fmla="*/ 255183 h 388656"/>
                  <a:gd name="connsiteX10" fmla="*/ 54978 w 436025"/>
                  <a:gd name="connsiteY10" fmla="*/ 229907 h 388656"/>
                  <a:gd name="connsiteX11" fmla="*/ 36791 w 436025"/>
                  <a:gd name="connsiteY11" fmla="*/ 209552 h 388656"/>
                  <a:gd name="connsiteX12" fmla="*/ 23026 w 436025"/>
                  <a:gd name="connsiteY12" fmla="*/ 194954 h 388656"/>
                  <a:gd name="connsiteX13" fmla="*/ 21691 w 436025"/>
                  <a:gd name="connsiteY13" fmla="*/ 185611 h 388656"/>
                  <a:gd name="connsiteX14" fmla="*/ 20356 w 436025"/>
                  <a:gd name="connsiteY14" fmla="*/ 176768 h 388656"/>
                  <a:gd name="connsiteX15" fmla="*/ 8426 w 436025"/>
                  <a:gd name="connsiteY15" fmla="*/ 153744 h 388656"/>
                  <a:gd name="connsiteX16" fmla="*/ 6174 w 436025"/>
                  <a:gd name="connsiteY16" fmla="*/ 151075 h 388656"/>
                  <a:gd name="connsiteX17" fmla="*/ 0 w 436025"/>
                  <a:gd name="connsiteY17" fmla="*/ 137310 h 388656"/>
                  <a:gd name="connsiteX18" fmla="*/ 6174 w 436025"/>
                  <a:gd name="connsiteY18" fmla="*/ 135558 h 388656"/>
                  <a:gd name="connsiteX19" fmla="*/ 24778 w 436025"/>
                  <a:gd name="connsiteY19" fmla="*/ 125798 h 388656"/>
                  <a:gd name="connsiteX20" fmla="*/ 19438 w 436025"/>
                  <a:gd name="connsiteY20" fmla="*/ 91262 h 388656"/>
                  <a:gd name="connsiteX21" fmla="*/ 15017 w 436025"/>
                  <a:gd name="connsiteY21" fmla="*/ 84171 h 388656"/>
                  <a:gd name="connsiteX22" fmla="*/ 10178 w 436025"/>
                  <a:gd name="connsiteY22" fmla="*/ 50469 h 388656"/>
                  <a:gd name="connsiteX23" fmla="*/ 23443 w 436025"/>
                  <a:gd name="connsiteY23" fmla="*/ 25193 h 388656"/>
                  <a:gd name="connsiteX24" fmla="*/ 46052 w 436025"/>
                  <a:gd name="connsiteY24" fmla="*/ 22941 h 388656"/>
                  <a:gd name="connsiteX25" fmla="*/ 71747 w 436025"/>
                  <a:gd name="connsiteY25" fmla="*/ 19437 h 388656"/>
                  <a:gd name="connsiteX26" fmla="*/ 76586 w 436025"/>
                  <a:gd name="connsiteY26" fmla="*/ 15933 h 388656"/>
                  <a:gd name="connsiteX27" fmla="*/ 98277 w 436025"/>
                  <a:gd name="connsiteY27" fmla="*/ 9760 h 388656"/>
                  <a:gd name="connsiteX28" fmla="*/ 106703 w 436025"/>
                  <a:gd name="connsiteY28" fmla="*/ 16434 h 388656"/>
                  <a:gd name="connsiteX29" fmla="*/ 117799 w 436025"/>
                  <a:gd name="connsiteY29" fmla="*/ 25276 h 388656"/>
                  <a:gd name="connsiteX30" fmla="*/ 139907 w 436025"/>
                  <a:gd name="connsiteY30" fmla="*/ 24359 h 388656"/>
                  <a:gd name="connsiteX31" fmla="*/ 150085 w 436025"/>
                  <a:gd name="connsiteY31" fmla="*/ 22106 h 388656"/>
                  <a:gd name="connsiteX32" fmla="*/ 177532 w 436025"/>
                  <a:gd name="connsiteY32" fmla="*/ 43379 h 388656"/>
                  <a:gd name="connsiteX33" fmla="*/ 212989 w 436025"/>
                  <a:gd name="connsiteY33" fmla="*/ 69072 h 388656"/>
                  <a:gd name="connsiteX34" fmla="*/ 279396 w 436025"/>
                  <a:gd name="connsiteY34" fmla="*/ 34119 h 388656"/>
                  <a:gd name="connsiteX35" fmla="*/ 294914 w 436025"/>
                  <a:gd name="connsiteY35" fmla="*/ 0 h 388656"/>
                  <a:gd name="connsiteX36" fmla="*/ 298418 w 436025"/>
                  <a:gd name="connsiteY36" fmla="*/ 5339 h 388656"/>
                  <a:gd name="connsiteX37" fmla="*/ 308596 w 436025"/>
                  <a:gd name="connsiteY37" fmla="*/ 13347 h 388656"/>
                  <a:gd name="connsiteX38" fmla="*/ 315687 w 436025"/>
                  <a:gd name="connsiteY38" fmla="*/ 18186 h 388656"/>
                  <a:gd name="connsiteX39" fmla="*/ 321444 w 436025"/>
                  <a:gd name="connsiteY39" fmla="*/ 25276 h 388656"/>
                  <a:gd name="connsiteX40" fmla="*/ 344052 w 436025"/>
                  <a:gd name="connsiteY40" fmla="*/ 39875 h 388656"/>
                  <a:gd name="connsiteX41" fmla="*/ 369748 w 436025"/>
                  <a:gd name="connsiteY41" fmla="*/ 36371 h 388656"/>
                  <a:gd name="connsiteX42" fmla="*/ 395443 w 436025"/>
                  <a:gd name="connsiteY42" fmla="*/ 33285 h 388656"/>
                  <a:gd name="connsiteX43" fmla="*/ 429565 w 436025"/>
                  <a:gd name="connsiteY43" fmla="*/ 69573 h 388656"/>
                  <a:gd name="connsiteX44" fmla="*/ 434403 w 436025"/>
                  <a:gd name="connsiteY44" fmla="*/ 120543 h 388656"/>
                  <a:gd name="connsiteX45" fmla="*/ 421139 w 436025"/>
                  <a:gd name="connsiteY45" fmla="*/ 151992 h 388656"/>
                  <a:gd name="connsiteX46" fmla="*/ 410543 w 436025"/>
                  <a:gd name="connsiteY46" fmla="*/ 171930 h 388656"/>
                  <a:gd name="connsiteX47" fmla="*/ 388852 w 436025"/>
                  <a:gd name="connsiteY47" fmla="*/ 195871 h 388656"/>
                  <a:gd name="connsiteX48" fmla="*/ 376005 w 436025"/>
                  <a:gd name="connsiteY48" fmla="*/ 205214 h 388656"/>
                  <a:gd name="connsiteX49" fmla="*/ 357400 w 436025"/>
                  <a:gd name="connsiteY49" fmla="*/ 233577 h 388656"/>
                  <a:gd name="connsiteX50" fmla="*/ 347222 w 436025"/>
                  <a:gd name="connsiteY50" fmla="*/ 251763 h 388656"/>
                  <a:gd name="connsiteX51" fmla="*/ 307762 w 436025"/>
                  <a:gd name="connsiteY51" fmla="*/ 283213 h 388656"/>
                  <a:gd name="connsiteX52" fmla="*/ 293996 w 436025"/>
                  <a:gd name="connsiteY52" fmla="*/ 284547 h 388656"/>
                  <a:gd name="connsiteX53" fmla="*/ 286905 w 436025"/>
                  <a:gd name="connsiteY53" fmla="*/ 284547 h 388656"/>
                  <a:gd name="connsiteX54" fmla="*/ 265631 w 436025"/>
                  <a:gd name="connsiteY54" fmla="*/ 293890 h 388656"/>
                  <a:gd name="connsiteX55" fmla="*/ 259457 w 436025"/>
                  <a:gd name="connsiteY55" fmla="*/ 300981 h 388656"/>
                  <a:gd name="connsiteX56" fmla="*/ 247945 w 436025"/>
                  <a:gd name="connsiteY56" fmla="*/ 309824 h 388656"/>
                  <a:gd name="connsiteX57" fmla="*/ 240853 w 436025"/>
                  <a:gd name="connsiteY57" fmla="*/ 312076 h 388656"/>
                  <a:gd name="connsiteX58" fmla="*/ 220497 w 436025"/>
                  <a:gd name="connsiteY58" fmla="*/ 320919 h 388656"/>
                  <a:gd name="connsiteX59" fmla="*/ 200975 w 436025"/>
                  <a:gd name="connsiteY59" fmla="*/ 347947 h 388656"/>
                  <a:gd name="connsiteX60" fmla="*/ 183706 w 436025"/>
                  <a:gd name="connsiteY60" fmla="*/ 372306 h 388656"/>
                  <a:gd name="connsiteX61" fmla="*/ 140825 w 436025"/>
                  <a:gd name="connsiteY61" fmla="*/ 385570 h 388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436025" h="388656" extrusionOk="0">
                    <a:moveTo>
                      <a:pt x="140825" y="385570"/>
                    </a:moveTo>
                    <a:cubicBezTo>
                      <a:pt x="133316" y="386487"/>
                      <a:pt x="125724" y="387321"/>
                      <a:pt x="118216" y="388656"/>
                    </a:cubicBezTo>
                    <a:cubicBezTo>
                      <a:pt x="118633" y="382483"/>
                      <a:pt x="118633" y="376227"/>
                      <a:pt x="117799" y="370471"/>
                    </a:cubicBezTo>
                    <a:cubicBezTo>
                      <a:pt x="116464" y="354537"/>
                      <a:pt x="107203" y="347446"/>
                      <a:pt x="100112" y="342525"/>
                    </a:cubicBezTo>
                    <a:cubicBezTo>
                      <a:pt x="95273" y="339021"/>
                      <a:pt x="90768" y="335851"/>
                      <a:pt x="88599" y="330095"/>
                    </a:cubicBezTo>
                    <a:cubicBezTo>
                      <a:pt x="87681" y="327843"/>
                      <a:pt x="87681" y="324339"/>
                      <a:pt x="88182" y="320752"/>
                    </a:cubicBezTo>
                    <a:cubicBezTo>
                      <a:pt x="88599" y="316331"/>
                      <a:pt x="89100" y="312326"/>
                      <a:pt x="87765" y="307905"/>
                    </a:cubicBezTo>
                    <a:cubicBezTo>
                      <a:pt x="85513" y="299063"/>
                      <a:pt x="81091" y="293307"/>
                      <a:pt x="77170" y="287968"/>
                    </a:cubicBezTo>
                    <a:cubicBezTo>
                      <a:pt x="75835" y="285715"/>
                      <a:pt x="74083" y="283963"/>
                      <a:pt x="72331" y="281294"/>
                    </a:cubicBezTo>
                    <a:cubicBezTo>
                      <a:pt x="67492" y="273786"/>
                      <a:pt x="65240" y="264944"/>
                      <a:pt x="62987" y="255183"/>
                    </a:cubicBezTo>
                    <a:cubicBezTo>
                      <a:pt x="61235" y="246758"/>
                      <a:pt x="58983" y="237915"/>
                      <a:pt x="54978" y="229907"/>
                    </a:cubicBezTo>
                    <a:cubicBezTo>
                      <a:pt x="50557" y="221064"/>
                      <a:pt x="43048" y="214808"/>
                      <a:pt x="36791" y="209552"/>
                    </a:cubicBezTo>
                    <a:cubicBezTo>
                      <a:pt x="31035" y="205131"/>
                      <a:pt x="25696" y="200710"/>
                      <a:pt x="23026" y="194954"/>
                    </a:cubicBezTo>
                    <a:cubicBezTo>
                      <a:pt x="21691" y="192701"/>
                      <a:pt x="21691" y="189615"/>
                      <a:pt x="21691" y="185611"/>
                    </a:cubicBezTo>
                    <a:cubicBezTo>
                      <a:pt x="21274" y="182524"/>
                      <a:pt x="21274" y="179438"/>
                      <a:pt x="20356" y="176768"/>
                    </a:cubicBezTo>
                    <a:cubicBezTo>
                      <a:pt x="18104" y="167008"/>
                      <a:pt x="13682" y="160835"/>
                      <a:pt x="8426" y="153744"/>
                    </a:cubicBezTo>
                    <a:lnTo>
                      <a:pt x="6174" y="151075"/>
                    </a:lnTo>
                    <a:cubicBezTo>
                      <a:pt x="3504" y="147571"/>
                      <a:pt x="1752" y="142649"/>
                      <a:pt x="0" y="137310"/>
                    </a:cubicBezTo>
                    <a:cubicBezTo>
                      <a:pt x="1752" y="136393"/>
                      <a:pt x="4005" y="135975"/>
                      <a:pt x="6174" y="135558"/>
                    </a:cubicBezTo>
                    <a:cubicBezTo>
                      <a:pt x="12347" y="134224"/>
                      <a:pt x="19939" y="132889"/>
                      <a:pt x="24778" y="125798"/>
                    </a:cubicBezTo>
                    <a:cubicBezTo>
                      <a:pt x="33621" y="113368"/>
                      <a:pt x="25195" y="100105"/>
                      <a:pt x="19438" y="91262"/>
                    </a:cubicBezTo>
                    <a:cubicBezTo>
                      <a:pt x="18104" y="88593"/>
                      <a:pt x="16352" y="86424"/>
                      <a:pt x="15017" y="84171"/>
                    </a:cubicBezTo>
                    <a:cubicBezTo>
                      <a:pt x="10178" y="73577"/>
                      <a:pt x="8343" y="61564"/>
                      <a:pt x="10178" y="50469"/>
                    </a:cubicBezTo>
                    <a:cubicBezTo>
                      <a:pt x="11930" y="38540"/>
                      <a:pt x="16352" y="30115"/>
                      <a:pt x="23443" y="25193"/>
                    </a:cubicBezTo>
                    <a:cubicBezTo>
                      <a:pt x="29199" y="21189"/>
                      <a:pt x="37208" y="20772"/>
                      <a:pt x="46052" y="22941"/>
                    </a:cubicBezTo>
                    <a:cubicBezTo>
                      <a:pt x="59817" y="26444"/>
                      <a:pt x="62403" y="26027"/>
                      <a:pt x="71747" y="19437"/>
                    </a:cubicBezTo>
                    <a:cubicBezTo>
                      <a:pt x="73082" y="18520"/>
                      <a:pt x="74417" y="17185"/>
                      <a:pt x="76586" y="15933"/>
                    </a:cubicBezTo>
                    <a:cubicBezTo>
                      <a:pt x="85012" y="10177"/>
                      <a:pt x="90351" y="7508"/>
                      <a:pt x="98277" y="9760"/>
                    </a:cubicBezTo>
                    <a:cubicBezTo>
                      <a:pt x="101364" y="10678"/>
                      <a:pt x="103616" y="12847"/>
                      <a:pt x="106703" y="16434"/>
                    </a:cubicBezTo>
                    <a:cubicBezTo>
                      <a:pt x="109372" y="19520"/>
                      <a:pt x="112877" y="23108"/>
                      <a:pt x="117799" y="25276"/>
                    </a:cubicBezTo>
                    <a:cubicBezTo>
                      <a:pt x="127142" y="29698"/>
                      <a:pt x="134651" y="26611"/>
                      <a:pt x="139907" y="24359"/>
                    </a:cubicBezTo>
                    <a:cubicBezTo>
                      <a:pt x="144328" y="22607"/>
                      <a:pt x="146998" y="21689"/>
                      <a:pt x="150085" y="22106"/>
                    </a:cubicBezTo>
                    <a:cubicBezTo>
                      <a:pt x="159846" y="23858"/>
                      <a:pt x="168272" y="33201"/>
                      <a:pt x="177532" y="43379"/>
                    </a:cubicBezTo>
                    <a:cubicBezTo>
                      <a:pt x="187710" y="54473"/>
                      <a:pt x="198389" y="65986"/>
                      <a:pt x="212989" y="69072"/>
                    </a:cubicBezTo>
                    <a:cubicBezTo>
                      <a:pt x="233345" y="73494"/>
                      <a:pt x="269218" y="46048"/>
                      <a:pt x="279396" y="34119"/>
                    </a:cubicBezTo>
                    <a:cubicBezTo>
                      <a:pt x="286905" y="25276"/>
                      <a:pt x="291827" y="12847"/>
                      <a:pt x="294914" y="0"/>
                    </a:cubicBezTo>
                    <a:cubicBezTo>
                      <a:pt x="295831" y="1752"/>
                      <a:pt x="297166" y="3504"/>
                      <a:pt x="298418" y="5339"/>
                    </a:cubicBezTo>
                    <a:cubicBezTo>
                      <a:pt x="301505" y="8426"/>
                      <a:pt x="305509" y="11095"/>
                      <a:pt x="308596" y="13347"/>
                    </a:cubicBezTo>
                    <a:cubicBezTo>
                      <a:pt x="311265" y="14682"/>
                      <a:pt x="313935" y="16434"/>
                      <a:pt x="315687" y="18186"/>
                    </a:cubicBezTo>
                    <a:cubicBezTo>
                      <a:pt x="318357" y="20438"/>
                      <a:pt x="320109" y="23024"/>
                      <a:pt x="321444" y="25276"/>
                    </a:cubicBezTo>
                    <a:cubicBezTo>
                      <a:pt x="325865" y="31450"/>
                      <a:pt x="331205" y="38540"/>
                      <a:pt x="344052" y="39875"/>
                    </a:cubicBezTo>
                    <a:cubicBezTo>
                      <a:pt x="352896" y="40793"/>
                      <a:pt x="361739" y="38540"/>
                      <a:pt x="369748" y="36371"/>
                    </a:cubicBezTo>
                    <a:cubicBezTo>
                      <a:pt x="378591" y="33702"/>
                      <a:pt x="387017" y="31533"/>
                      <a:pt x="395443" y="33285"/>
                    </a:cubicBezTo>
                    <a:cubicBezTo>
                      <a:pt x="407874" y="35954"/>
                      <a:pt x="421139" y="53639"/>
                      <a:pt x="429565" y="69573"/>
                    </a:cubicBezTo>
                    <a:cubicBezTo>
                      <a:pt x="437073" y="84171"/>
                      <a:pt x="437073" y="105443"/>
                      <a:pt x="434403" y="120543"/>
                    </a:cubicBezTo>
                    <a:cubicBezTo>
                      <a:pt x="432151" y="132472"/>
                      <a:pt x="426895" y="142232"/>
                      <a:pt x="421139" y="151992"/>
                    </a:cubicBezTo>
                    <a:cubicBezTo>
                      <a:pt x="417635" y="158165"/>
                      <a:pt x="413630" y="164422"/>
                      <a:pt x="410543" y="171930"/>
                    </a:cubicBezTo>
                    <a:cubicBezTo>
                      <a:pt x="405705" y="184359"/>
                      <a:pt x="399031" y="189198"/>
                      <a:pt x="388852" y="195871"/>
                    </a:cubicBezTo>
                    <a:cubicBezTo>
                      <a:pt x="385348" y="198541"/>
                      <a:pt x="380844" y="201210"/>
                      <a:pt x="376005" y="205214"/>
                    </a:cubicBezTo>
                    <a:cubicBezTo>
                      <a:pt x="365827" y="214057"/>
                      <a:pt x="361405" y="223817"/>
                      <a:pt x="357400" y="233577"/>
                    </a:cubicBezTo>
                    <a:cubicBezTo>
                      <a:pt x="354731" y="240251"/>
                      <a:pt x="352061" y="246424"/>
                      <a:pt x="347222" y="251763"/>
                    </a:cubicBezTo>
                    <a:cubicBezTo>
                      <a:pt x="338379" y="262358"/>
                      <a:pt x="322862" y="277457"/>
                      <a:pt x="307762" y="283213"/>
                    </a:cubicBezTo>
                    <a:cubicBezTo>
                      <a:pt x="302923" y="284965"/>
                      <a:pt x="299336" y="284965"/>
                      <a:pt x="293996" y="284547"/>
                    </a:cubicBezTo>
                    <a:lnTo>
                      <a:pt x="286905" y="284547"/>
                    </a:lnTo>
                    <a:cubicBezTo>
                      <a:pt x="274474" y="284965"/>
                      <a:pt x="272305" y="286800"/>
                      <a:pt x="265631" y="293890"/>
                    </a:cubicBezTo>
                    <a:lnTo>
                      <a:pt x="259457" y="300981"/>
                    </a:lnTo>
                    <a:cubicBezTo>
                      <a:pt x="255954" y="305403"/>
                      <a:pt x="254118" y="307655"/>
                      <a:pt x="247945" y="309824"/>
                    </a:cubicBezTo>
                    <a:cubicBezTo>
                      <a:pt x="245275" y="310741"/>
                      <a:pt x="243106" y="311159"/>
                      <a:pt x="240853" y="312076"/>
                    </a:cubicBezTo>
                    <a:cubicBezTo>
                      <a:pt x="234179" y="313411"/>
                      <a:pt x="227088" y="315163"/>
                      <a:pt x="220497" y="320919"/>
                    </a:cubicBezTo>
                    <a:cubicBezTo>
                      <a:pt x="211654" y="328427"/>
                      <a:pt x="206315" y="338187"/>
                      <a:pt x="200975" y="347947"/>
                    </a:cubicBezTo>
                    <a:cubicBezTo>
                      <a:pt x="196136" y="357290"/>
                      <a:pt x="191214" y="366133"/>
                      <a:pt x="183706" y="372306"/>
                    </a:cubicBezTo>
                    <a:cubicBezTo>
                      <a:pt x="175363" y="381065"/>
                      <a:pt x="157677" y="383317"/>
                      <a:pt x="140825" y="38557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87197156" name="Полилиния 382"/>
              <p:cNvSpPr/>
              <p:nvPr/>
            </p:nvSpPr>
            <p:spPr bwMode="auto">
              <a:xfrm>
                <a:off x="2702790" y="4302252"/>
                <a:ext cx="309053" cy="222420"/>
              </a:xfrm>
              <a:custGeom>
                <a:avLst/>
                <a:gdLst>
                  <a:gd name="connsiteX0" fmla="*/ 127810 w 347078"/>
                  <a:gd name="connsiteY0" fmla="*/ 213249 h 249786"/>
                  <a:gd name="connsiteX1" fmla="*/ 130062 w 347078"/>
                  <a:gd name="connsiteY1" fmla="*/ 199485 h 249786"/>
                  <a:gd name="connsiteX2" fmla="*/ 122554 w 347078"/>
                  <a:gd name="connsiteY2" fmla="*/ 176460 h 249786"/>
                  <a:gd name="connsiteX3" fmla="*/ 116798 w 347078"/>
                  <a:gd name="connsiteY3" fmla="*/ 171622 h 249786"/>
                  <a:gd name="connsiteX4" fmla="*/ 112376 w 347078"/>
                  <a:gd name="connsiteY4" fmla="*/ 168118 h 249786"/>
                  <a:gd name="connsiteX5" fmla="*/ 110624 w 347078"/>
                  <a:gd name="connsiteY5" fmla="*/ 163280 h 249786"/>
                  <a:gd name="connsiteX6" fmla="*/ 111542 w 347078"/>
                  <a:gd name="connsiteY6" fmla="*/ 148682 h 249786"/>
                  <a:gd name="connsiteX7" fmla="*/ 112459 w 347078"/>
                  <a:gd name="connsiteY7" fmla="*/ 136252 h 249786"/>
                  <a:gd name="connsiteX8" fmla="*/ 101864 w 347078"/>
                  <a:gd name="connsiteY8" fmla="*/ 125157 h 249786"/>
                  <a:gd name="connsiteX9" fmla="*/ 46469 w 347078"/>
                  <a:gd name="connsiteY9" fmla="*/ 119818 h 249786"/>
                  <a:gd name="connsiteX10" fmla="*/ 36708 w 347078"/>
                  <a:gd name="connsiteY10" fmla="*/ 119401 h 249786"/>
                  <a:gd name="connsiteX11" fmla="*/ 31869 w 347078"/>
                  <a:gd name="connsiteY11" fmla="*/ 116314 h 249786"/>
                  <a:gd name="connsiteX12" fmla="*/ 27030 w 347078"/>
                  <a:gd name="connsiteY12" fmla="*/ 112811 h 249786"/>
                  <a:gd name="connsiteX13" fmla="*/ 417 w 347078"/>
                  <a:gd name="connsiteY13" fmla="*/ 107472 h 249786"/>
                  <a:gd name="connsiteX14" fmla="*/ 0 w 347078"/>
                  <a:gd name="connsiteY14" fmla="*/ 107472 h 249786"/>
                  <a:gd name="connsiteX15" fmla="*/ 2252 w 347078"/>
                  <a:gd name="connsiteY15" fmla="*/ 84865 h 249786"/>
                  <a:gd name="connsiteX16" fmla="*/ 4505 w 347078"/>
                  <a:gd name="connsiteY16" fmla="*/ 63176 h 249786"/>
                  <a:gd name="connsiteX17" fmla="*/ 5840 w 347078"/>
                  <a:gd name="connsiteY17" fmla="*/ 34813 h 249786"/>
                  <a:gd name="connsiteX18" fmla="*/ 4922 w 347078"/>
                  <a:gd name="connsiteY18" fmla="*/ 28139 h 249786"/>
                  <a:gd name="connsiteX19" fmla="*/ 8927 w 347078"/>
                  <a:gd name="connsiteY19" fmla="*/ 17544 h 249786"/>
                  <a:gd name="connsiteX20" fmla="*/ 17353 w 347078"/>
                  <a:gd name="connsiteY20" fmla="*/ 18462 h 249786"/>
                  <a:gd name="connsiteX21" fmla="*/ 39044 w 347078"/>
                  <a:gd name="connsiteY21" fmla="*/ 16710 h 249786"/>
                  <a:gd name="connsiteX22" fmla="*/ 47887 w 347078"/>
                  <a:gd name="connsiteY22" fmla="*/ 7868 h 249786"/>
                  <a:gd name="connsiteX23" fmla="*/ 54061 w 347078"/>
                  <a:gd name="connsiteY23" fmla="*/ 1694 h 249786"/>
                  <a:gd name="connsiteX24" fmla="*/ 82009 w 347078"/>
                  <a:gd name="connsiteY24" fmla="*/ 9202 h 249786"/>
                  <a:gd name="connsiteX25" fmla="*/ 100613 w 347078"/>
                  <a:gd name="connsiteY25" fmla="*/ 18963 h 249786"/>
                  <a:gd name="connsiteX26" fmla="*/ 113460 w 347078"/>
                  <a:gd name="connsiteY26" fmla="*/ 21215 h 249786"/>
                  <a:gd name="connsiteX27" fmla="*/ 138739 w 347078"/>
                  <a:gd name="connsiteY27" fmla="*/ 58838 h 249786"/>
                  <a:gd name="connsiteX28" fmla="*/ 185708 w 347078"/>
                  <a:gd name="connsiteY28" fmla="*/ 78775 h 249786"/>
                  <a:gd name="connsiteX29" fmla="*/ 201225 w 347078"/>
                  <a:gd name="connsiteY29" fmla="*/ 79693 h 249786"/>
                  <a:gd name="connsiteX30" fmla="*/ 252199 w 347078"/>
                  <a:gd name="connsiteY30" fmla="*/ 91205 h 249786"/>
                  <a:gd name="connsiteX31" fmla="*/ 263295 w 347078"/>
                  <a:gd name="connsiteY31" fmla="*/ 96961 h 249786"/>
                  <a:gd name="connsiteX32" fmla="*/ 273473 w 347078"/>
                  <a:gd name="connsiteY32" fmla="*/ 102717 h 249786"/>
                  <a:gd name="connsiteX33" fmla="*/ 288073 w 347078"/>
                  <a:gd name="connsiteY33" fmla="*/ 106221 h 249786"/>
                  <a:gd name="connsiteX34" fmla="*/ 301338 w 347078"/>
                  <a:gd name="connsiteY34" fmla="*/ 109724 h 249786"/>
                  <a:gd name="connsiteX35" fmla="*/ 307094 w 347078"/>
                  <a:gd name="connsiteY35" fmla="*/ 119484 h 249786"/>
                  <a:gd name="connsiteX36" fmla="*/ 308846 w 347078"/>
                  <a:gd name="connsiteY36" fmla="*/ 129661 h 249786"/>
                  <a:gd name="connsiteX37" fmla="*/ 323446 w 347078"/>
                  <a:gd name="connsiteY37" fmla="*/ 145178 h 249786"/>
                  <a:gd name="connsiteX38" fmla="*/ 329202 w 347078"/>
                  <a:gd name="connsiteY38" fmla="*/ 147847 h 249786"/>
                  <a:gd name="connsiteX39" fmla="*/ 332706 w 347078"/>
                  <a:gd name="connsiteY39" fmla="*/ 150099 h 249786"/>
                  <a:gd name="connsiteX40" fmla="*/ 342467 w 347078"/>
                  <a:gd name="connsiteY40" fmla="*/ 158525 h 249786"/>
                  <a:gd name="connsiteX41" fmla="*/ 338046 w 347078"/>
                  <a:gd name="connsiteY41" fmla="*/ 166951 h 249786"/>
                  <a:gd name="connsiteX42" fmla="*/ 331371 w 347078"/>
                  <a:gd name="connsiteY42" fmla="*/ 185970 h 249786"/>
                  <a:gd name="connsiteX43" fmla="*/ 341132 w 347078"/>
                  <a:gd name="connsiteY43" fmla="*/ 198817 h 249786"/>
                  <a:gd name="connsiteX44" fmla="*/ 346472 w 347078"/>
                  <a:gd name="connsiteY44" fmla="*/ 204573 h 249786"/>
                  <a:gd name="connsiteX45" fmla="*/ 344219 w 347078"/>
                  <a:gd name="connsiteY45" fmla="*/ 215167 h 249786"/>
                  <a:gd name="connsiteX46" fmla="*/ 339380 w 347078"/>
                  <a:gd name="connsiteY46" fmla="*/ 226263 h 249786"/>
                  <a:gd name="connsiteX47" fmla="*/ 338963 w 347078"/>
                  <a:gd name="connsiteY47" fmla="*/ 232436 h 249786"/>
                  <a:gd name="connsiteX48" fmla="*/ 332790 w 347078"/>
                  <a:gd name="connsiteY48" fmla="*/ 236440 h 249786"/>
                  <a:gd name="connsiteX49" fmla="*/ 308429 w 347078"/>
                  <a:gd name="connsiteY49" fmla="*/ 231101 h 249786"/>
                  <a:gd name="connsiteX50" fmla="*/ 305759 w 347078"/>
                  <a:gd name="connsiteY50" fmla="*/ 228849 h 249786"/>
                  <a:gd name="connsiteX51" fmla="*/ 272055 w 347078"/>
                  <a:gd name="connsiteY51" fmla="*/ 220423 h 249786"/>
                  <a:gd name="connsiteX52" fmla="*/ 264046 w 347078"/>
                  <a:gd name="connsiteY52" fmla="*/ 224427 h 249786"/>
                  <a:gd name="connsiteX53" fmla="*/ 259207 w 347078"/>
                  <a:gd name="connsiteY53" fmla="*/ 226680 h 249786"/>
                  <a:gd name="connsiteX54" fmla="*/ 250781 w 347078"/>
                  <a:gd name="connsiteY54" fmla="*/ 223593 h 249786"/>
                  <a:gd name="connsiteX55" fmla="*/ 240186 w 347078"/>
                  <a:gd name="connsiteY55" fmla="*/ 219172 h 249786"/>
                  <a:gd name="connsiteX56" fmla="*/ 211404 w 347078"/>
                  <a:gd name="connsiteY56" fmla="*/ 227180 h 249786"/>
                  <a:gd name="connsiteX57" fmla="*/ 203395 w 347078"/>
                  <a:gd name="connsiteY57" fmla="*/ 232519 h 249786"/>
                  <a:gd name="connsiteX58" fmla="*/ 164434 w 347078"/>
                  <a:gd name="connsiteY58" fmla="*/ 244448 h 249786"/>
                  <a:gd name="connsiteX59" fmla="*/ 148917 w 347078"/>
                  <a:gd name="connsiteY59" fmla="*/ 247535 h 249786"/>
                  <a:gd name="connsiteX60" fmla="*/ 137404 w 347078"/>
                  <a:gd name="connsiteY60" fmla="*/ 249787 h 249786"/>
                  <a:gd name="connsiteX61" fmla="*/ 133399 w 347078"/>
                  <a:gd name="connsiteY61" fmla="*/ 242696 h 249786"/>
                  <a:gd name="connsiteX62" fmla="*/ 128978 w 347078"/>
                  <a:gd name="connsiteY62" fmla="*/ 232936 h 249786"/>
                  <a:gd name="connsiteX63" fmla="*/ 126725 w 347078"/>
                  <a:gd name="connsiteY63" fmla="*/ 218755 h 249786"/>
                  <a:gd name="connsiteX64" fmla="*/ 127810 w 347078"/>
                  <a:gd name="connsiteY64" fmla="*/ 213249 h 249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47078" h="249786" extrusionOk="0">
                    <a:moveTo>
                      <a:pt x="127810" y="213249"/>
                    </a:moveTo>
                    <a:cubicBezTo>
                      <a:pt x="128728" y="208828"/>
                      <a:pt x="130062" y="204406"/>
                      <a:pt x="130062" y="199485"/>
                    </a:cubicBezTo>
                    <a:cubicBezTo>
                      <a:pt x="130479" y="189724"/>
                      <a:pt x="127810" y="181799"/>
                      <a:pt x="122554" y="176460"/>
                    </a:cubicBezTo>
                    <a:cubicBezTo>
                      <a:pt x="120802" y="174208"/>
                      <a:pt x="119050" y="173374"/>
                      <a:pt x="116798" y="171622"/>
                    </a:cubicBezTo>
                    <a:cubicBezTo>
                      <a:pt x="115046" y="170287"/>
                      <a:pt x="113711" y="168953"/>
                      <a:pt x="112376" y="168118"/>
                    </a:cubicBezTo>
                    <a:cubicBezTo>
                      <a:pt x="111458" y="167201"/>
                      <a:pt x="111041" y="165449"/>
                      <a:pt x="110624" y="163280"/>
                    </a:cubicBezTo>
                    <a:cubicBezTo>
                      <a:pt x="109706" y="158859"/>
                      <a:pt x="109706" y="154438"/>
                      <a:pt x="111542" y="148682"/>
                    </a:cubicBezTo>
                    <a:cubicBezTo>
                      <a:pt x="112459" y="145595"/>
                      <a:pt x="113794" y="140673"/>
                      <a:pt x="112459" y="136252"/>
                    </a:cubicBezTo>
                    <a:cubicBezTo>
                      <a:pt x="110207" y="129578"/>
                      <a:pt x="104033" y="126492"/>
                      <a:pt x="101864" y="125157"/>
                    </a:cubicBezTo>
                    <a:cubicBezTo>
                      <a:pt x="84595" y="116731"/>
                      <a:pt x="65073" y="118066"/>
                      <a:pt x="46469" y="119818"/>
                    </a:cubicBezTo>
                    <a:cubicBezTo>
                      <a:pt x="42965" y="120235"/>
                      <a:pt x="39377" y="120736"/>
                      <a:pt x="36708" y="119401"/>
                    </a:cubicBezTo>
                    <a:cubicBezTo>
                      <a:pt x="35373" y="118984"/>
                      <a:pt x="33621" y="117649"/>
                      <a:pt x="31869" y="116314"/>
                    </a:cubicBezTo>
                    <a:cubicBezTo>
                      <a:pt x="30117" y="114980"/>
                      <a:pt x="28782" y="113645"/>
                      <a:pt x="27030" y="112811"/>
                    </a:cubicBezTo>
                    <a:cubicBezTo>
                      <a:pt x="18604" y="107972"/>
                      <a:pt x="8843" y="107972"/>
                      <a:pt x="417" y="107472"/>
                    </a:cubicBezTo>
                    <a:cubicBezTo>
                      <a:pt x="0" y="107472"/>
                      <a:pt x="0" y="107472"/>
                      <a:pt x="0" y="107472"/>
                    </a:cubicBezTo>
                    <a:cubicBezTo>
                      <a:pt x="1752" y="100381"/>
                      <a:pt x="2252" y="92373"/>
                      <a:pt x="2252" y="84865"/>
                    </a:cubicBezTo>
                    <a:cubicBezTo>
                      <a:pt x="2670" y="76856"/>
                      <a:pt x="2670" y="69766"/>
                      <a:pt x="4505" y="63176"/>
                    </a:cubicBezTo>
                    <a:cubicBezTo>
                      <a:pt x="7592" y="51246"/>
                      <a:pt x="6757" y="44155"/>
                      <a:pt x="5840" y="34813"/>
                    </a:cubicBezTo>
                    <a:lnTo>
                      <a:pt x="4922" y="28139"/>
                    </a:lnTo>
                    <a:cubicBezTo>
                      <a:pt x="4005" y="18379"/>
                      <a:pt x="4505" y="18379"/>
                      <a:pt x="8927" y="17544"/>
                    </a:cubicBezTo>
                    <a:cubicBezTo>
                      <a:pt x="11596" y="17127"/>
                      <a:pt x="13765" y="17544"/>
                      <a:pt x="17353" y="18462"/>
                    </a:cubicBezTo>
                    <a:cubicBezTo>
                      <a:pt x="22692" y="20214"/>
                      <a:pt x="30200" y="21966"/>
                      <a:pt x="39044" y="16710"/>
                    </a:cubicBezTo>
                    <a:cubicBezTo>
                      <a:pt x="43048" y="14041"/>
                      <a:pt x="45718" y="10954"/>
                      <a:pt x="47887" y="7868"/>
                    </a:cubicBezTo>
                    <a:cubicBezTo>
                      <a:pt x="50139" y="5198"/>
                      <a:pt x="51391" y="3029"/>
                      <a:pt x="54061" y="1694"/>
                    </a:cubicBezTo>
                    <a:cubicBezTo>
                      <a:pt x="62904" y="-2727"/>
                      <a:pt x="70412" y="2112"/>
                      <a:pt x="82009" y="9202"/>
                    </a:cubicBezTo>
                    <a:cubicBezTo>
                      <a:pt x="88182" y="12706"/>
                      <a:pt x="93938" y="16710"/>
                      <a:pt x="100613" y="18963"/>
                    </a:cubicBezTo>
                    <a:cubicBezTo>
                      <a:pt x="105451" y="20297"/>
                      <a:pt x="109456" y="21215"/>
                      <a:pt x="113460" y="21215"/>
                    </a:cubicBezTo>
                    <a:cubicBezTo>
                      <a:pt x="121469" y="33645"/>
                      <a:pt x="129395" y="46909"/>
                      <a:pt x="138739" y="58838"/>
                    </a:cubicBezTo>
                    <a:cubicBezTo>
                      <a:pt x="152921" y="78358"/>
                      <a:pt x="169774" y="78358"/>
                      <a:pt x="185708" y="78775"/>
                    </a:cubicBezTo>
                    <a:cubicBezTo>
                      <a:pt x="190547" y="79192"/>
                      <a:pt x="195469" y="79192"/>
                      <a:pt x="201225" y="79693"/>
                    </a:cubicBezTo>
                    <a:cubicBezTo>
                      <a:pt x="216743" y="81445"/>
                      <a:pt x="236682" y="86783"/>
                      <a:pt x="252199" y="91205"/>
                    </a:cubicBezTo>
                    <a:cubicBezTo>
                      <a:pt x="255703" y="92539"/>
                      <a:pt x="259291" y="94708"/>
                      <a:pt x="263295" y="96961"/>
                    </a:cubicBezTo>
                    <a:cubicBezTo>
                      <a:pt x="266382" y="99213"/>
                      <a:pt x="269969" y="100965"/>
                      <a:pt x="273473" y="102717"/>
                    </a:cubicBezTo>
                    <a:cubicBezTo>
                      <a:pt x="278312" y="104969"/>
                      <a:pt x="283234" y="105804"/>
                      <a:pt x="288073" y="106221"/>
                    </a:cubicBezTo>
                    <a:cubicBezTo>
                      <a:pt x="293412" y="107138"/>
                      <a:pt x="298251" y="107972"/>
                      <a:pt x="301338" y="109724"/>
                    </a:cubicBezTo>
                    <a:cubicBezTo>
                      <a:pt x="306176" y="112811"/>
                      <a:pt x="306677" y="114146"/>
                      <a:pt x="307094" y="119484"/>
                    </a:cubicBezTo>
                    <a:cubicBezTo>
                      <a:pt x="307511" y="122154"/>
                      <a:pt x="307511" y="125657"/>
                      <a:pt x="308846" y="129661"/>
                    </a:cubicBezTo>
                    <a:cubicBezTo>
                      <a:pt x="312350" y="139839"/>
                      <a:pt x="317272" y="142509"/>
                      <a:pt x="323446" y="145178"/>
                    </a:cubicBezTo>
                    <a:cubicBezTo>
                      <a:pt x="325198" y="146095"/>
                      <a:pt x="326950" y="146513"/>
                      <a:pt x="329202" y="147847"/>
                    </a:cubicBezTo>
                    <a:lnTo>
                      <a:pt x="332706" y="150099"/>
                    </a:lnTo>
                    <a:cubicBezTo>
                      <a:pt x="338880" y="153186"/>
                      <a:pt x="341549" y="154938"/>
                      <a:pt x="342467" y="158525"/>
                    </a:cubicBezTo>
                    <a:cubicBezTo>
                      <a:pt x="342884" y="160778"/>
                      <a:pt x="341132" y="162947"/>
                      <a:pt x="338046" y="166951"/>
                    </a:cubicBezTo>
                    <a:cubicBezTo>
                      <a:pt x="334542" y="171372"/>
                      <a:pt x="329202" y="177545"/>
                      <a:pt x="331371" y="185970"/>
                    </a:cubicBezTo>
                    <a:cubicBezTo>
                      <a:pt x="332706" y="192644"/>
                      <a:pt x="337545" y="196148"/>
                      <a:pt x="341132" y="198817"/>
                    </a:cubicBezTo>
                    <a:cubicBezTo>
                      <a:pt x="343802" y="200569"/>
                      <a:pt x="345971" y="202321"/>
                      <a:pt x="346472" y="204573"/>
                    </a:cubicBezTo>
                    <a:cubicBezTo>
                      <a:pt x="347806" y="208577"/>
                      <a:pt x="346889" y="210746"/>
                      <a:pt x="344219" y="215167"/>
                    </a:cubicBezTo>
                    <a:cubicBezTo>
                      <a:pt x="342467" y="218254"/>
                      <a:pt x="340715" y="221841"/>
                      <a:pt x="339380" y="226263"/>
                    </a:cubicBezTo>
                    <a:cubicBezTo>
                      <a:pt x="338963" y="228932"/>
                      <a:pt x="338963" y="230684"/>
                      <a:pt x="338963" y="232436"/>
                    </a:cubicBezTo>
                    <a:cubicBezTo>
                      <a:pt x="336711" y="233771"/>
                      <a:pt x="334542" y="235105"/>
                      <a:pt x="332790" y="236440"/>
                    </a:cubicBezTo>
                    <a:cubicBezTo>
                      <a:pt x="322194" y="243113"/>
                      <a:pt x="319942" y="240861"/>
                      <a:pt x="308429" y="231101"/>
                    </a:cubicBezTo>
                    <a:lnTo>
                      <a:pt x="305759" y="228849"/>
                    </a:lnTo>
                    <a:cubicBezTo>
                      <a:pt x="293829" y="218254"/>
                      <a:pt x="287572" y="216002"/>
                      <a:pt x="272055" y="220423"/>
                    </a:cubicBezTo>
                    <a:cubicBezTo>
                      <a:pt x="268968" y="221341"/>
                      <a:pt x="266298" y="223092"/>
                      <a:pt x="264046" y="224427"/>
                    </a:cubicBezTo>
                    <a:cubicBezTo>
                      <a:pt x="261793" y="225762"/>
                      <a:pt x="260542" y="226680"/>
                      <a:pt x="259207" y="226680"/>
                    </a:cubicBezTo>
                    <a:cubicBezTo>
                      <a:pt x="256955" y="227097"/>
                      <a:pt x="253868" y="225345"/>
                      <a:pt x="250781" y="223593"/>
                    </a:cubicBezTo>
                    <a:cubicBezTo>
                      <a:pt x="247694" y="222258"/>
                      <a:pt x="244107" y="220090"/>
                      <a:pt x="240186" y="219172"/>
                    </a:cubicBezTo>
                    <a:cubicBezTo>
                      <a:pt x="226003" y="216502"/>
                      <a:pt x="218078" y="222258"/>
                      <a:pt x="211404" y="227180"/>
                    </a:cubicBezTo>
                    <a:cubicBezTo>
                      <a:pt x="208734" y="228932"/>
                      <a:pt x="206565" y="230684"/>
                      <a:pt x="203395" y="232519"/>
                    </a:cubicBezTo>
                    <a:cubicBezTo>
                      <a:pt x="192299" y="239193"/>
                      <a:pt x="178116" y="241862"/>
                      <a:pt x="164434" y="244448"/>
                    </a:cubicBezTo>
                    <a:lnTo>
                      <a:pt x="148917" y="247535"/>
                    </a:lnTo>
                    <a:cubicBezTo>
                      <a:pt x="145413" y="248453"/>
                      <a:pt x="141408" y="248870"/>
                      <a:pt x="137404" y="249787"/>
                    </a:cubicBezTo>
                    <a:cubicBezTo>
                      <a:pt x="136069" y="247535"/>
                      <a:pt x="134734" y="244949"/>
                      <a:pt x="133399" y="242696"/>
                    </a:cubicBezTo>
                    <a:cubicBezTo>
                      <a:pt x="131147" y="239193"/>
                      <a:pt x="129896" y="236023"/>
                      <a:pt x="128978" y="232936"/>
                    </a:cubicBezTo>
                    <a:cubicBezTo>
                      <a:pt x="127643" y="228515"/>
                      <a:pt x="126308" y="222759"/>
                      <a:pt x="126725" y="218755"/>
                    </a:cubicBezTo>
                    <a:cubicBezTo>
                      <a:pt x="126892" y="217170"/>
                      <a:pt x="127393" y="215418"/>
                      <a:pt x="127810" y="21324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71120513" name="Полилиния 383"/>
              <p:cNvSpPr/>
              <p:nvPr/>
            </p:nvSpPr>
            <p:spPr bwMode="auto">
              <a:xfrm>
                <a:off x="2454746" y="3835251"/>
                <a:ext cx="594741" cy="325145"/>
              </a:xfrm>
              <a:custGeom>
                <a:avLst/>
                <a:gdLst>
                  <a:gd name="connsiteX0" fmla="*/ 490133 w 667915"/>
                  <a:gd name="connsiteY0" fmla="*/ 353638 h 365149"/>
                  <a:gd name="connsiteX1" fmla="*/ 475033 w 667915"/>
                  <a:gd name="connsiteY1" fmla="*/ 365150 h 365149"/>
                  <a:gd name="connsiteX2" fmla="*/ 447085 w 667915"/>
                  <a:gd name="connsiteY2" fmla="*/ 349633 h 365149"/>
                  <a:gd name="connsiteX3" fmla="*/ 438241 w 667915"/>
                  <a:gd name="connsiteY3" fmla="*/ 348716 h 365149"/>
                  <a:gd name="connsiteX4" fmla="*/ 413881 w 667915"/>
                  <a:gd name="connsiteY4" fmla="*/ 333200 h 365149"/>
                  <a:gd name="connsiteX5" fmla="*/ 350560 w 667915"/>
                  <a:gd name="connsiteY5" fmla="*/ 321270 h 365149"/>
                  <a:gd name="connsiteX6" fmla="*/ 316021 w 667915"/>
                  <a:gd name="connsiteY6" fmla="*/ 332783 h 365149"/>
                  <a:gd name="connsiteX7" fmla="*/ 304091 w 667915"/>
                  <a:gd name="connsiteY7" fmla="*/ 330530 h 365149"/>
                  <a:gd name="connsiteX8" fmla="*/ 281065 w 667915"/>
                  <a:gd name="connsiteY8" fmla="*/ 328278 h 365149"/>
                  <a:gd name="connsiteX9" fmla="*/ 245192 w 667915"/>
                  <a:gd name="connsiteY9" fmla="*/ 328695 h 365149"/>
                  <a:gd name="connsiteX10" fmla="*/ 209735 w 667915"/>
                  <a:gd name="connsiteY10" fmla="*/ 327360 h 365149"/>
                  <a:gd name="connsiteX11" fmla="*/ 209735 w 667915"/>
                  <a:gd name="connsiteY11" fmla="*/ 283064 h 365149"/>
                  <a:gd name="connsiteX12" fmla="*/ 195970 w 667915"/>
                  <a:gd name="connsiteY12" fmla="*/ 271969 h 365149"/>
                  <a:gd name="connsiteX13" fmla="*/ 187544 w 667915"/>
                  <a:gd name="connsiteY13" fmla="*/ 264878 h 365149"/>
                  <a:gd name="connsiteX14" fmla="*/ 190213 w 667915"/>
                  <a:gd name="connsiteY14" fmla="*/ 258705 h 365149"/>
                  <a:gd name="connsiteX15" fmla="*/ 195052 w 667915"/>
                  <a:gd name="connsiteY15" fmla="*/ 241854 h 365149"/>
                  <a:gd name="connsiteX16" fmla="*/ 170274 w 667915"/>
                  <a:gd name="connsiteY16" fmla="*/ 222834 h 365149"/>
                  <a:gd name="connsiteX17" fmla="*/ 168022 w 667915"/>
                  <a:gd name="connsiteY17" fmla="*/ 221917 h 365149"/>
                  <a:gd name="connsiteX18" fmla="*/ 160930 w 667915"/>
                  <a:gd name="connsiteY18" fmla="*/ 220165 h 365149"/>
                  <a:gd name="connsiteX19" fmla="*/ 140574 w 667915"/>
                  <a:gd name="connsiteY19" fmla="*/ 209570 h 365149"/>
                  <a:gd name="connsiteX20" fmla="*/ 137905 w 667915"/>
                  <a:gd name="connsiteY20" fmla="*/ 199810 h 365149"/>
                  <a:gd name="connsiteX21" fmla="*/ 125975 w 667915"/>
                  <a:gd name="connsiteY21" fmla="*/ 179456 h 365149"/>
                  <a:gd name="connsiteX22" fmla="*/ 98944 w 667915"/>
                  <a:gd name="connsiteY22" fmla="*/ 178538 h 365149"/>
                  <a:gd name="connsiteX23" fmla="*/ 91853 w 667915"/>
                  <a:gd name="connsiteY23" fmla="*/ 179456 h 365149"/>
                  <a:gd name="connsiteX24" fmla="*/ 78088 w 667915"/>
                  <a:gd name="connsiteY24" fmla="*/ 178121 h 365149"/>
                  <a:gd name="connsiteX25" fmla="*/ 70996 w 667915"/>
                  <a:gd name="connsiteY25" fmla="*/ 175869 h 365149"/>
                  <a:gd name="connsiteX26" fmla="*/ 52392 w 667915"/>
                  <a:gd name="connsiteY26" fmla="*/ 175452 h 365149"/>
                  <a:gd name="connsiteX27" fmla="*/ 34205 w 667915"/>
                  <a:gd name="connsiteY27" fmla="*/ 173199 h 365149"/>
                  <a:gd name="connsiteX28" fmla="*/ 21774 w 667915"/>
                  <a:gd name="connsiteY28" fmla="*/ 164357 h 365149"/>
                  <a:gd name="connsiteX29" fmla="*/ 8009 w 667915"/>
                  <a:gd name="connsiteY29" fmla="*/ 155014 h 365149"/>
                  <a:gd name="connsiteX30" fmla="*/ 0 w 667915"/>
                  <a:gd name="connsiteY30" fmla="*/ 151510 h 365149"/>
                  <a:gd name="connsiteX31" fmla="*/ 5339 w 667915"/>
                  <a:gd name="connsiteY31" fmla="*/ 143502 h 365149"/>
                  <a:gd name="connsiteX32" fmla="*/ 20857 w 667915"/>
                  <a:gd name="connsiteY32" fmla="*/ 137745 h 365149"/>
                  <a:gd name="connsiteX33" fmla="*/ 30618 w 667915"/>
                  <a:gd name="connsiteY33" fmla="*/ 136828 h 365149"/>
                  <a:gd name="connsiteX34" fmla="*/ 61152 w 667915"/>
                  <a:gd name="connsiteY34" fmla="*/ 113804 h 365149"/>
                  <a:gd name="connsiteX35" fmla="*/ 80674 w 667915"/>
                  <a:gd name="connsiteY35" fmla="*/ 95201 h 365149"/>
                  <a:gd name="connsiteX36" fmla="*/ 95274 w 667915"/>
                  <a:gd name="connsiteY36" fmla="*/ 90780 h 365149"/>
                  <a:gd name="connsiteX37" fmla="*/ 142243 w 667915"/>
                  <a:gd name="connsiteY37" fmla="*/ 62000 h 365149"/>
                  <a:gd name="connsiteX38" fmla="*/ 140908 w 667915"/>
                  <a:gd name="connsiteY38" fmla="*/ 44314 h 365149"/>
                  <a:gd name="connsiteX39" fmla="*/ 139573 w 667915"/>
                  <a:gd name="connsiteY39" fmla="*/ 34554 h 365149"/>
                  <a:gd name="connsiteX40" fmla="*/ 144412 w 667915"/>
                  <a:gd name="connsiteY40" fmla="*/ 22625 h 365149"/>
                  <a:gd name="connsiteX41" fmla="*/ 183372 w 667915"/>
                  <a:gd name="connsiteY41" fmla="*/ 21291 h 365149"/>
                  <a:gd name="connsiteX42" fmla="*/ 199724 w 667915"/>
                  <a:gd name="connsiteY42" fmla="*/ 13783 h 365149"/>
                  <a:gd name="connsiteX43" fmla="*/ 238267 w 667915"/>
                  <a:gd name="connsiteY43" fmla="*/ 5357 h 365149"/>
                  <a:gd name="connsiteX44" fmla="*/ 248862 w 667915"/>
                  <a:gd name="connsiteY44" fmla="*/ 8861 h 365149"/>
                  <a:gd name="connsiteX45" fmla="*/ 273223 w 667915"/>
                  <a:gd name="connsiteY45" fmla="*/ 14617 h 365149"/>
                  <a:gd name="connsiteX46" fmla="*/ 292745 w 667915"/>
                  <a:gd name="connsiteY46" fmla="*/ 6191 h 365149"/>
                  <a:gd name="connsiteX47" fmla="*/ 303841 w 667915"/>
                  <a:gd name="connsiteY47" fmla="*/ 435 h 365149"/>
                  <a:gd name="connsiteX48" fmla="*/ 339297 w 667915"/>
                  <a:gd name="connsiteY48" fmla="*/ 30133 h 365149"/>
                  <a:gd name="connsiteX49" fmla="*/ 343301 w 667915"/>
                  <a:gd name="connsiteY49" fmla="*/ 37224 h 365149"/>
                  <a:gd name="connsiteX50" fmla="*/ 367245 w 667915"/>
                  <a:gd name="connsiteY50" fmla="*/ 63334 h 365149"/>
                  <a:gd name="connsiteX51" fmla="*/ 383597 w 667915"/>
                  <a:gd name="connsiteY51" fmla="*/ 79268 h 365149"/>
                  <a:gd name="connsiteX52" fmla="*/ 410627 w 667915"/>
                  <a:gd name="connsiteY52" fmla="*/ 104961 h 365149"/>
                  <a:gd name="connsiteX53" fmla="*/ 433653 w 667915"/>
                  <a:gd name="connsiteY53" fmla="*/ 126233 h 365149"/>
                  <a:gd name="connsiteX54" fmla="*/ 445583 w 667915"/>
                  <a:gd name="connsiteY54" fmla="*/ 142584 h 365149"/>
                  <a:gd name="connsiteX55" fmla="*/ 483208 w 667915"/>
                  <a:gd name="connsiteY55" fmla="*/ 175785 h 365149"/>
                  <a:gd name="connsiteX56" fmla="*/ 492552 w 667915"/>
                  <a:gd name="connsiteY56" fmla="*/ 177537 h 365149"/>
                  <a:gd name="connsiteX57" fmla="*/ 514243 w 667915"/>
                  <a:gd name="connsiteY57" fmla="*/ 185045 h 365149"/>
                  <a:gd name="connsiteX58" fmla="*/ 521334 w 667915"/>
                  <a:gd name="connsiteY58" fmla="*/ 191719 h 365149"/>
                  <a:gd name="connsiteX59" fmla="*/ 528426 w 667915"/>
                  <a:gd name="connsiteY59" fmla="*/ 198392 h 365149"/>
                  <a:gd name="connsiteX60" fmla="*/ 528009 w 667915"/>
                  <a:gd name="connsiteY60" fmla="*/ 199310 h 365149"/>
                  <a:gd name="connsiteX61" fmla="*/ 533765 w 667915"/>
                  <a:gd name="connsiteY61" fmla="*/ 202396 h 365149"/>
                  <a:gd name="connsiteX62" fmla="*/ 537269 w 667915"/>
                  <a:gd name="connsiteY62" fmla="*/ 195723 h 365149"/>
                  <a:gd name="connsiteX63" fmla="*/ 536351 w 667915"/>
                  <a:gd name="connsiteY63" fmla="*/ 202813 h 365149"/>
                  <a:gd name="connsiteX64" fmla="*/ 536768 w 667915"/>
                  <a:gd name="connsiteY64" fmla="*/ 202813 h 365149"/>
                  <a:gd name="connsiteX65" fmla="*/ 543860 w 667915"/>
                  <a:gd name="connsiteY65" fmla="*/ 204565 h 365149"/>
                  <a:gd name="connsiteX66" fmla="*/ 550033 w 667915"/>
                  <a:gd name="connsiteY66" fmla="*/ 206818 h 365149"/>
                  <a:gd name="connsiteX67" fmla="*/ 561129 w 667915"/>
                  <a:gd name="connsiteY67" fmla="*/ 209904 h 365149"/>
                  <a:gd name="connsiteX68" fmla="*/ 599672 w 667915"/>
                  <a:gd name="connsiteY68" fmla="*/ 209904 h 365149"/>
                  <a:gd name="connsiteX69" fmla="*/ 620028 w 667915"/>
                  <a:gd name="connsiteY69" fmla="*/ 197975 h 365149"/>
                  <a:gd name="connsiteX70" fmla="*/ 647059 w 667915"/>
                  <a:gd name="connsiteY70" fmla="*/ 193554 h 365149"/>
                  <a:gd name="connsiteX71" fmla="*/ 667915 w 667915"/>
                  <a:gd name="connsiteY71" fmla="*/ 209487 h 365149"/>
                  <a:gd name="connsiteX72" fmla="*/ 645807 w 667915"/>
                  <a:gd name="connsiteY72" fmla="*/ 250280 h 365149"/>
                  <a:gd name="connsiteX73" fmla="*/ 644472 w 667915"/>
                  <a:gd name="connsiteY73" fmla="*/ 275973 h 365149"/>
                  <a:gd name="connsiteX74" fmla="*/ 644055 w 667915"/>
                  <a:gd name="connsiteY74" fmla="*/ 292324 h 365149"/>
                  <a:gd name="connsiteX75" fmla="*/ 635629 w 667915"/>
                  <a:gd name="connsiteY75" fmla="*/ 315765 h 365149"/>
                  <a:gd name="connsiteX76" fmla="*/ 612186 w 667915"/>
                  <a:gd name="connsiteY76" fmla="*/ 321104 h 365149"/>
                  <a:gd name="connsiteX77" fmla="*/ 606013 w 667915"/>
                  <a:gd name="connsiteY77" fmla="*/ 320687 h 365149"/>
                  <a:gd name="connsiteX78" fmla="*/ 580317 w 667915"/>
                  <a:gd name="connsiteY78" fmla="*/ 322022 h 365149"/>
                  <a:gd name="connsiteX79" fmla="*/ 574561 w 667915"/>
                  <a:gd name="connsiteY79" fmla="*/ 323773 h 365149"/>
                  <a:gd name="connsiteX80" fmla="*/ 566135 w 667915"/>
                  <a:gd name="connsiteY80" fmla="*/ 326026 h 365149"/>
                  <a:gd name="connsiteX81" fmla="*/ 560378 w 667915"/>
                  <a:gd name="connsiteY81" fmla="*/ 325108 h 365149"/>
                  <a:gd name="connsiteX82" fmla="*/ 556874 w 667915"/>
                  <a:gd name="connsiteY82" fmla="*/ 324691 h 365149"/>
                  <a:gd name="connsiteX83" fmla="*/ 519666 w 667915"/>
                  <a:gd name="connsiteY83" fmla="*/ 332699 h 365149"/>
                  <a:gd name="connsiteX84" fmla="*/ 492218 w 667915"/>
                  <a:gd name="connsiteY84" fmla="*/ 351719 h 365149"/>
                  <a:gd name="connsiteX85" fmla="*/ 490133 w 667915"/>
                  <a:gd name="connsiteY85" fmla="*/ 353638 h 365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667915" h="365149" extrusionOk="0">
                    <a:moveTo>
                      <a:pt x="490133" y="353638"/>
                    </a:moveTo>
                    <a:cubicBezTo>
                      <a:pt x="485294" y="357642"/>
                      <a:pt x="479955" y="361646"/>
                      <a:pt x="475033" y="365150"/>
                    </a:cubicBezTo>
                    <a:cubicBezTo>
                      <a:pt x="468358" y="358059"/>
                      <a:pt x="460433" y="350968"/>
                      <a:pt x="447085" y="349633"/>
                    </a:cubicBezTo>
                    <a:cubicBezTo>
                      <a:pt x="443998" y="349216"/>
                      <a:pt x="440911" y="349216"/>
                      <a:pt x="438241" y="348716"/>
                    </a:cubicBezTo>
                    <a:cubicBezTo>
                      <a:pt x="424059" y="347798"/>
                      <a:pt x="422307" y="347798"/>
                      <a:pt x="413881" y="333200"/>
                    </a:cubicBezTo>
                    <a:cubicBezTo>
                      <a:pt x="393024" y="297329"/>
                      <a:pt x="369581" y="310593"/>
                      <a:pt x="350560" y="321270"/>
                    </a:cubicBezTo>
                    <a:cubicBezTo>
                      <a:pt x="339464" y="327944"/>
                      <a:pt x="327951" y="334118"/>
                      <a:pt x="316021" y="332783"/>
                    </a:cubicBezTo>
                    <a:cubicBezTo>
                      <a:pt x="311599" y="332366"/>
                      <a:pt x="308012" y="331448"/>
                      <a:pt x="304091" y="330530"/>
                    </a:cubicBezTo>
                    <a:cubicBezTo>
                      <a:pt x="297000" y="329195"/>
                      <a:pt x="289491" y="327861"/>
                      <a:pt x="281065" y="328278"/>
                    </a:cubicBezTo>
                    <a:cubicBezTo>
                      <a:pt x="267300" y="328695"/>
                      <a:pt x="255787" y="329195"/>
                      <a:pt x="245192" y="328695"/>
                    </a:cubicBezTo>
                    <a:cubicBezTo>
                      <a:pt x="233262" y="328278"/>
                      <a:pt x="221248" y="327777"/>
                      <a:pt x="209735" y="327360"/>
                    </a:cubicBezTo>
                    <a:cubicBezTo>
                      <a:pt x="215492" y="315431"/>
                      <a:pt x="216826" y="294576"/>
                      <a:pt x="209735" y="283064"/>
                    </a:cubicBezTo>
                    <a:cubicBezTo>
                      <a:pt x="206231" y="277725"/>
                      <a:pt x="200892" y="274638"/>
                      <a:pt x="195970" y="271969"/>
                    </a:cubicBezTo>
                    <a:cubicBezTo>
                      <a:pt x="190630" y="269300"/>
                      <a:pt x="187961" y="267548"/>
                      <a:pt x="187544" y="264878"/>
                    </a:cubicBezTo>
                    <a:cubicBezTo>
                      <a:pt x="187126" y="262626"/>
                      <a:pt x="187961" y="261792"/>
                      <a:pt x="190213" y="258705"/>
                    </a:cubicBezTo>
                    <a:cubicBezTo>
                      <a:pt x="192883" y="255202"/>
                      <a:pt x="196387" y="249863"/>
                      <a:pt x="195052" y="241854"/>
                    </a:cubicBezTo>
                    <a:cubicBezTo>
                      <a:pt x="192382" y="228591"/>
                      <a:pt x="178700" y="224586"/>
                      <a:pt x="170274" y="222834"/>
                    </a:cubicBezTo>
                    <a:lnTo>
                      <a:pt x="168022" y="221917"/>
                    </a:lnTo>
                    <a:cubicBezTo>
                      <a:pt x="165352" y="221500"/>
                      <a:pt x="163183" y="220582"/>
                      <a:pt x="160930" y="220165"/>
                    </a:cubicBezTo>
                    <a:cubicBezTo>
                      <a:pt x="150752" y="217912"/>
                      <a:pt x="144579" y="216161"/>
                      <a:pt x="140574" y="209570"/>
                    </a:cubicBezTo>
                    <a:cubicBezTo>
                      <a:pt x="138822" y="206901"/>
                      <a:pt x="138322" y="203397"/>
                      <a:pt x="137905" y="199810"/>
                    </a:cubicBezTo>
                    <a:cubicBezTo>
                      <a:pt x="136570" y="193137"/>
                      <a:pt x="135235" y="184294"/>
                      <a:pt x="125975" y="179456"/>
                    </a:cubicBezTo>
                    <a:cubicBezTo>
                      <a:pt x="118466" y="175452"/>
                      <a:pt x="107788" y="177203"/>
                      <a:pt x="98944" y="178538"/>
                    </a:cubicBezTo>
                    <a:cubicBezTo>
                      <a:pt x="96275" y="178955"/>
                      <a:pt x="93605" y="179456"/>
                      <a:pt x="91853" y="179456"/>
                    </a:cubicBezTo>
                    <a:cubicBezTo>
                      <a:pt x="86097" y="179873"/>
                      <a:pt x="83427" y="179038"/>
                      <a:pt x="78088" y="178121"/>
                    </a:cubicBezTo>
                    <a:cubicBezTo>
                      <a:pt x="75835" y="177203"/>
                      <a:pt x="73666" y="176786"/>
                      <a:pt x="70996" y="175869"/>
                    </a:cubicBezTo>
                    <a:cubicBezTo>
                      <a:pt x="64322" y="174534"/>
                      <a:pt x="58149" y="174951"/>
                      <a:pt x="52392" y="175452"/>
                    </a:cubicBezTo>
                    <a:cubicBezTo>
                      <a:pt x="45718" y="175869"/>
                      <a:pt x="39962" y="176369"/>
                      <a:pt x="34205" y="173199"/>
                    </a:cubicBezTo>
                    <a:cubicBezTo>
                      <a:pt x="29784" y="170947"/>
                      <a:pt x="25779" y="167860"/>
                      <a:pt x="21774" y="164357"/>
                    </a:cubicBezTo>
                    <a:cubicBezTo>
                      <a:pt x="17353" y="161270"/>
                      <a:pt x="13348" y="157683"/>
                      <a:pt x="8009" y="155014"/>
                    </a:cubicBezTo>
                    <a:cubicBezTo>
                      <a:pt x="5339" y="153679"/>
                      <a:pt x="3170" y="152344"/>
                      <a:pt x="0" y="151510"/>
                    </a:cubicBezTo>
                    <a:cubicBezTo>
                      <a:pt x="1335" y="148423"/>
                      <a:pt x="3087" y="145754"/>
                      <a:pt x="5339" y="143502"/>
                    </a:cubicBezTo>
                    <a:cubicBezTo>
                      <a:pt x="10178" y="138162"/>
                      <a:pt x="13765" y="138162"/>
                      <a:pt x="20857" y="137745"/>
                    </a:cubicBezTo>
                    <a:cubicBezTo>
                      <a:pt x="23944" y="137328"/>
                      <a:pt x="27030" y="137328"/>
                      <a:pt x="30618" y="136828"/>
                    </a:cubicBezTo>
                    <a:cubicBezTo>
                      <a:pt x="46135" y="134158"/>
                      <a:pt x="54061" y="123064"/>
                      <a:pt x="61152" y="113804"/>
                    </a:cubicBezTo>
                    <a:cubicBezTo>
                      <a:pt x="66491" y="105795"/>
                      <a:pt x="71747" y="98705"/>
                      <a:pt x="80674" y="95201"/>
                    </a:cubicBezTo>
                    <a:cubicBezTo>
                      <a:pt x="84178" y="93866"/>
                      <a:pt x="89517" y="92532"/>
                      <a:pt x="95274" y="90780"/>
                    </a:cubicBezTo>
                    <a:cubicBezTo>
                      <a:pt x="113878" y="85941"/>
                      <a:pt x="137321" y="80185"/>
                      <a:pt x="142243" y="62000"/>
                    </a:cubicBezTo>
                    <a:cubicBezTo>
                      <a:pt x="144495" y="55326"/>
                      <a:pt x="142660" y="49153"/>
                      <a:pt x="140908" y="44314"/>
                    </a:cubicBezTo>
                    <a:cubicBezTo>
                      <a:pt x="139573" y="40811"/>
                      <a:pt x="138656" y="37641"/>
                      <a:pt x="139573" y="34554"/>
                    </a:cubicBezTo>
                    <a:cubicBezTo>
                      <a:pt x="139990" y="31051"/>
                      <a:pt x="142243" y="26546"/>
                      <a:pt x="144412" y="22625"/>
                    </a:cubicBezTo>
                    <a:cubicBezTo>
                      <a:pt x="157260" y="26629"/>
                      <a:pt x="170525" y="26129"/>
                      <a:pt x="183372" y="21291"/>
                    </a:cubicBezTo>
                    <a:cubicBezTo>
                      <a:pt x="189129" y="19038"/>
                      <a:pt x="194468" y="16452"/>
                      <a:pt x="199724" y="13783"/>
                    </a:cubicBezTo>
                    <a:cubicBezTo>
                      <a:pt x="212572" y="7109"/>
                      <a:pt x="223667" y="1353"/>
                      <a:pt x="238267" y="5357"/>
                    </a:cubicBezTo>
                    <a:cubicBezTo>
                      <a:pt x="241771" y="6275"/>
                      <a:pt x="245358" y="8026"/>
                      <a:pt x="248862" y="8861"/>
                    </a:cubicBezTo>
                    <a:cubicBezTo>
                      <a:pt x="255954" y="11947"/>
                      <a:pt x="263963" y="15534"/>
                      <a:pt x="273223" y="14617"/>
                    </a:cubicBezTo>
                    <a:cubicBezTo>
                      <a:pt x="281232" y="13699"/>
                      <a:pt x="287405" y="9778"/>
                      <a:pt x="292745" y="6191"/>
                    </a:cubicBezTo>
                    <a:cubicBezTo>
                      <a:pt x="296249" y="3522"/>
                      <a:pt x="299836" y="1353"/>
                      <a:pt x="303841" y="435"/>
                    </a:cubicBezTo>
                    <a:cubicBezTo>
                      <a:pt x="319358" y="-2651"/>
                      <a:pt x="328618" y="11030"/>
                      <a:pt x="339297" y="30133"/>
                    </a:cubicBezTo>
                    <a:cubicBezTo>
                      <a:pt x="340632" y="32802"/>
                      <a:pt x="341967" y="34971"/>
                      <a:pt x="343301" y="37224"/>
                    </a:cubicBezTo>
                    <a:cubicBezTo>
                      <a:pt x="349976" y="48319"/>
                      <a:pt x="358819" y="55827"/>
                      <a:pt x="367245" y="63334"/>
                    </a:cubicBezTo>
                    <a:cubicBezTo>
                      <a:pt x="373419" y="68173"/>
                      <a:pt x="378758" y="73094"/>
                      <a:pt x="383597" y="79268"/>
                    </a:cubicBezTo>
                    <a:cubicBezTo>
                      <a:pt x="392023" y="89028"/>
                      <a:pt x="401283" y="96953"/>
                      <a:pt x="410627" y="104961"/>
                    </a:cubicBezTo>
                    <a:cubicBezTo>
                      <a:pt x="419053" y="112052"/>
                      <a:pt x="426979" y="118726"/>
                      <a:pt x="433653" y="126233"/>
                    </a:cubicBezTo>
                    <a:cubicBezTo>
                      <a:pt x="438074" y="131072"/>
                      <a:pt x="441662" y="136828"/>
                      <a:pt x="445583" y="142584"/>
                    </a:cubicBezTo>
                    <a:cubicBezTo>
                      <a:pt x="454426" y="156348"/>
                      <a:pt x="464604" y="171781"/>
                      <a:pt x="483208" y="175785"/>
                    </a:cubicBezTo>
                    <a:cubicBezTo>
                      <a:pt x="486295" y="176703"/>
                      <a:pt x="489382" y="177120"/>
                      <a:pt x="492552" y="177537"/>
                    </a:cubicBezTo>
                    <a:cubicBezTo>
                      <a:pt x="500978" y="178872"/>
                      <a:pt x="507652" y="179790"/>
                      <a:pt x="514243" y="185045"/>
                    </a:cubicBezTo>
                    <a:cubicBezTo>
                      <a:pt x="516913" y="187297"/>
                      <a:pt x="519082" y="189466"/>
                      <a:pt x="521334" y="191719"/>
                    </a:cubicBezTo>
                    <a:cubicBezTo>
                      <a:pt x="523587" y="194388"/>
                      <a:pt x="525756" y="196557"/>
                      <a:pt x="528426" y="198392"/>
                    </a:cubicBezTo>
                    <a:lnTo>
                      <a:pt x="528009" y="199310"/>
                    </a:lnTo>
                    <a:lnTo>
                      <a:pt x="533765" y="202396"/>
                    </a:lnTo>
                    <a:lnTo>
                      <a:pt x="537269" y="195723"/>
                    </a:lnTo>
                    <a:lnTo>
                      <a:pt x="536351" y="202813"/>
                    </a:lnTo>
                    <a:cubicBezTo>
                      <a:pt x="536351" y="202813"/>
                      <a:pt x="536351" y="202813"/>
                      <a:pt x="536768" y="202813"/>
                    </a:cubicBezTo>
                    <a:lnTo>
                      <a:pt x="543860" y="204565"/>
                    </a:lnTo>
                    <a:cubicBezTo>
                      <a:pt x="546112" y="205483"/>
                      <a:pt x="548281" y="205900"/>
                      <a:pt x="550033" y="206818"/>
                    </a:cubicBezTo>
                    <a:cubicBezTo>
                      <a:pt x="553537" y="208153"/>
                      <a:pt x="557124" y="209487"/>
                      <a:pt x="561129" y="209904"/>
                    </a:cubicBezTo>
                    <a:cubicBezTo>
                      <a:pt x="572225" y="212157"/>
                      <a:pt x="587742" y="213408"/>
                      <a:pt x="599672" y="209904"/>
                    </a:cubicBezTo>
                    <a:cubicBezTo>
                      <a:pt x="608098" y="207235"/>
                      <a:pt x="614272" y="202396"/>
                      <a:pt x="620028" y="197975"/>
                    </a:cubicBezTo>
                    <a:cubicBezTo>
                      <a:pt x="629789" y="190467"/>
                      <a:pt x="635129" y="186463"/>
                      <a:pt x="647059" y="193554"/>
                    </a:cubicBezTo>
                    <a:cubicBezTo>
                      <a:pt x="654567" y="197975"/>
                      <a:pt x="661241" y="203731"/>
                      <a:pt x="667915" y="209487"/>
                    </a:cubicBezTo>
                    <a:cubicBezTo>
                      <a:pt x="656402" y="219247"/>
                      <a:pt x="647976" y="234263"/>
                      <a:pt x="645807" y="250280"/>
                    </a:cubicBezTo>
                    <a:cubicBezTo>
                      <a:pt x="644472" y="259122"/>
                      <a:pt x="644472" y="267548"/>
                      <a:pt x="644472" y="275973"/>
                    </a:cubicBezTo>
                    <a:cubicBezTo>
                      <a:pt x="644472" y="281312"/>
                      <a:pt x="644472" y="287068"/>
                      <a:pt x="644055" y="292324"/>
                    </a:cubicBezTo>
                    <a:cubicBezTo>
                      <a:pt x="643138" y="304253"/>
                      <a:pt x="640551" y="311343"/>
                      <a:pt x="635629" y="315765"/>
                    </a:cubicBezTo>
                    <a:cubicBezTo>
                      <a:pt x="630790" y="319769"/>
                      <a:pt x="623198" y="321521"/>
                      <a:pt x="612186" y="321104"/>
                    </a:cubicBezTo>
                    <a:lnTo>
                      <a:pt x="606013" y="320687"/>
                    </a:lnTo>
                    <a:cubicBezTo>
                      <a:pt x="597586" y="320270"/>
                      <a:pt x="588743" y="319352"/>
                      <a:pt x="580317" y="322022"/>
                    </a:cubicBezTo>
                    <a:cubicBezTo>
                      <a:pt x="578065" y="322439"/>
                      <a:pt x="576813" y="322939"/>
                      <a:pt x="574561" y="323773"/>
                    </a:cubicBezTo>
                    <a:cubicBezTo>
                      <a:pt x="571891" y="324691"/>
                      <a:pt x="568804" y="326026"/>
                      <a:pt x="566135" y="326026"/>
                    </a:cubicBezTo>
                    <a:cubicBezTo>
                      <a:pt x="564383" y="326443"/>
                      <a:pt x="562631" y="325608"/>
                      <a:pt x="560378" y="325108"/>
                    </a:cubicBezTo>
                    <a:lnTo>
                      <a:pt x="556874" y="324691"/>
                    </a:lnTo>
                    <a:cubicBezTo>
                      <a:pt x="544944" y="323356"/>
                      <a:pt x="532514" y="326026"/>
                      <a:pt x="519666" y="332699"/>
                    </a:cubicBezTo>
                    <a:cubicBezTo>
                      <a:pt x="509488" y="338038"/>
                      <a:pt x="500645" y="345129"/>
                      <a:pt x="492218" y="351719"/>
                    </a:cubicBezTo>
                    <a:lnTo>
                      <a:pt x="490133" y="353638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82047322" name="Полилиния 384"/>
              <p:cNvSpPr/>
              <p:nvPr/>
            </p:nvSpPr>
            <p:spPr bwMode="auto">
              <a:xfrm>
                <a:off x="2303649" y="3319356"/>
                <a:ext cx="848577" cy="692718"/>
              </a:xfrm>
              <a:custGeom>
                <a:avLst/>
                <a:gdLst>
                  <a:gd name="connsiteX0" fmla="*/ 413043 w 952981"/>
                  <a:gd name="connsiteY0" fmla="*/ 190145 h 777946"/>
                  <a:gd name="connsiteX1" fmla="*/ 418799 w 952981"/>
                  <a:gd name="connsiteY1" fmla="*/ 218508 h 777946"/>
                  <a:gd name="connsiteX2" fmla="*/ 432564 w 952981"/>
                  <a:gd name="connsiteY2" fmla="*/ 226934 h 777946"/>
                  <a:gd name="connsiteX3" fmla="*/ 440073 w 952981"/>
                  <a:gd name="connsiteY3" fmla="*/ 230938 h 777946"/>
                  <a:gd name="connsiteX4" fmla="*/ 446246 w 952981"/>
                  <a:gd name="connsiteY4" fmla="*/ 242449 h 777946"/>
                  <a:gd name="connsiteX5" fmla="*/ 460429 w 952981"/>
                  <a:gd name="connsiteY5" fmla="*/ 263722 h 777946"/>
                  <a:gd name="connsiteX6" fmla="*/ 467520 w 952981"/>
                  <a:gd name="connsiteY6" fmla="*/ 268560 h 777946"/>
                  <a:gd name="connsiteX7" fmla="*/ 475029 w 952981"/>
                  <a:gd name="connsiteY7" fmla="*/ 273399 h 777946"/>
                  <a:gd name="connsiteX8" fmla="*/ 481703 w 952981"/>
                  <a:gd name="connsiteY8" fmla="*/ 283993 h 777946"/>
                  <a:gd name="connsiteX9" fmla="*/ 487459 w 952981"/>
                  <a:gd name="connsiteY9" fmla="*/ 294587 h 777946"/>
                  <a:gd name="connsiteX10" fmla="*/ 514489 w 952981"/>
                  <a:gd name="connsiteY10" fmla="*/ 310104 h 777946"/>
                  <a:gd name="connsiteX11" fmla="*/ 527755 w 952981"/>
                  <a:gd name="connsiteY11" fmla="*/ 314525 h 777946"/>
                  <a:gd name="connsiteX12" fmla="*/ 545941 w 952981"/>
                  <a:gd name="connsiteY12" fmla="*/ 336214 h 777946"/>
                  <a:gd name="connsiteX13" fmla="*/ 561876 w 952981"/>
                  <a:gd name="connsiteY13" fmla="*/ 357487 h 777946"/>
                  <a:gd name="connsiteX14" fmla="*/ 594663 w 952981"/>
                  <a:gd name="connsiteY14" fmla="*/ 365912 h 777946"/>
                  <a:gd name="connsiteX15" fmla="*/ 601337 w 952981"/>
                  <a:gd name="connsiteY15" fmla="*/ 365912 h 777946"/>
                  <a:gd name="connsiteX16" fmla="*/ 630536 w 952981"/>
                  <a:gd name="connsiteY16" fmla="*/ 380510 h 777946"/>
                  <a:gd name="connsiteX17" fmla="*/ 661988 w 952981"/>
                  <a:gd name="connsiteY17" fmla="*/ 404869 h 777946"/>
                  <a:gd name="connsiteX18" fmla="*/ 668662 w 952981"/>
                  <a:gd name="connsiteY18" fmla="*/ 408873 h 777946"/>
                  <a:gd name="connsiteX19" fmla="*/ 691271 w 952981"/>
                  <a:gd name="connsiteY19" fmla="*/ 432315 h 777946"/>
                  <a:gd name="connsiteX20" fmla="*/ 703702 w 952981"/>
                  <a:gd name="connsiteY20" fmla="*/ 448665 h 777946"/>
                  <a:gd name="connsiteX21" fmla="*/ 753758 w 952981"/>
                  <a:gd name="connsiteY21" fmla="*/ 459260 h 777946"/>
                  <a:gd name="connsiteX22" fmla="*/ 788713 w 952981"/>
                  <a:gd name="connsiteY22" fmla="*/ 467268 h 777946"/>
                  <a:gd name="connsiteX23" fmla="*/ 792718 w 952981"/>
                  <a:gd name="connsiteY23" fmla="*/ 473941 h 777946"/>
                  <a:gd name="connsiteX24" fmla="*/ 866718 w 952981"/>
                  <a:gd name="connsiteY24" fmla="*/ 518655 h 777946"/>
                  <a:gd name="connsiteX25" fmla="*/ 871556 w 952981"/>
                  <a:gd name="connsiteY25" fmla="*/ 515569 h 777946"/>
                  <a:gd name="connsiteX26" fmla="*/ 893247 w 952981"/>
                  <a:gd name="connsiteY26" fmla="*/ 506726 h 777946"/>
                  <a:gd name="connsiteX27" fmla="*/ 897669 w 952981"/>
                  <a:gd name="connsiteY27" fmla="*/ 513400 h 777946"/>
                  <a:gd name="connsiteX28" fmla="*/ 895417 w 952981"/>
                  <a:gd name="connsiteY28" fmla="*/ 521408 h 777946"/>
                  <a:gd name="connsiteX29" fmla="*/ 891913 w 952981"/>
                  <a:gd name="connsiteY29" fmla="*/ 536924 h 777946"/>
                  <a:gd name="connsiteX30" fmla="*/ 910517 w 952981"/>
                  <a:gd name="connsiteY30" fmla="*/ 562201 h 777946"/>
                  <a:gd name="connsiteX31" fmla="*/ 926034 w 952981"/>
                  <a:gd name="connsiteY31" fmla="*/ 567956 h 777946"/>
                  <a:gd name="connsiteX32" fmla="*/ 936212 w 952981"/>
                  <a:gd name="connsiteY32" fmla="*/ 571961 h 777946"/>
                  <a:gd name="connsiteX33" fmla="*/ 940634 w 952981"/>
                  <a:gd name="connsiteY33" fmla="*/ 587060 h 777946"/>
                  <a:gd name="connsiteX34" fmla="*/ 941051 w 952981"/>
                  <a:gd name="connsiteY34" fmla="*/ 593233 h 777946"/>
                  <a:gd name="connsiteX35" fmla="*/ 952981 w 952981"/>
                  <a:gd name="connsiteY35" fmla="*/ 622931 h 777946"/>
                  <a:gd name="connsiteX36" fmla="*/ 944972 w 952981"/>
                  <a:gd name="connsiteY36" fmla="*/ 630438 h 777946"/>
                  <a:gd name="connsiteX37" fmla="*/ 913937 w 952981"/>
                  <a:gd name="connsiteY37" fmla="*/ 657049 h 777946"/>
                  <a:gd name="connsiteX38" fmla="*/ 878064 w 952981"/>
                  <a:gd name="connsiteY38" fmla="*/ 667644 h 777946"/>
                  <a:gd name="connsiteX39" fmla="*/ 871890 w 952981"/>
                  <a:gd name="connsiteY39" fmla="*/ 667227 h 777946"/>
                  <a:gd name="connsiteX40" fmla="*/ 860794 w 952981"/>
                  <a:gd name="connsiteY40" fmla="*/ 666309 h 777946"/>
                  <a:gd name="connsiteX41" fmla="*/ 840438 w 952981"/>
                  <a:gd name="connsiteY41" fmla="*/ 676070 h 777946"/>
                  <a:gd name="connsiteX42" fmla="*/ 838186 w 952981"/>
                  <a:gd name="connsiteY42" fmla="*/ 690668 h 777946"/>
                  <a:gd name="connsiteX43" fmla="*/ 846612 w 952981"/>
                  <a:gd name="connsiteY43" fmla="*/ 700845 h 777946"/>
                  <a:gd name="connsiteX44" fmla="*/ 850116 w 952981"/>
                  <a:gd name="connsiteY44" fmla="*/ 702180 h 777946"/>
                  <a:gd name="connsiteX45" fmla="*/ 852368 w 952981"/>
                  <a:gd name="connsiteY45" fmla="*/ 705267 h 777946"/>
                  <a:gd name="connsiteX46" fmla="*/ 853703 w 952981"/>
                  <a:gd name="connsiteY46" fmla="*/ 707936 h 777946"/>
                  <a:gd name="connsiteX47" fmla="*/ 874560 w 952981"/>
                  <a:gd name="connsiteY47" fmla="*/ 720783 h 777946"/>
                  <a:gd name="connsiteX48" fmla="*/ 876312 w 952981"/>
                  <a:gd name="connsiteY48" fmla="*/ 720783 h 777946"/>
                  <a:gd name="connsiteX49" fmla="*/ 878564 w 952981"/>
                  <a:gd name="connsiteY49" fmla="*/ 720783 h 777946"/>
                  <a:gd name="connsiteX50" fmla="*/ 877229 w 952981"/>
                  <a:gd name="connsiteY50" fmla="*/ 723869 h 777946"/>
                  <a:gd name="connsiteX51" fmla="*/ 871056 w 952981"/>
                  <a:gd name="connsiteY51" fmla="*/ 727874 h 777946"/>
                  <a:gd name="connsiteX52" fmla="*/ 863965 w 952981"/>
                  <a:gd name="connsiteY52" fmla="*/ 732295 h 777946"/>
                  <a:gd name="connsiteX53" fmla="*/ 847613 w 952981"/>
                  <a:gd name="connsiteY53" fmla="*/ 765079 h 777946"/>
                  <a:gd name="connsiteX54" fmla="*/ 844526 w 952981"/>
                  <a:gd name="connsiteY54" fmla="*/ 777509 h 777946"/>
                  <a:gd name="connsiteX55" fmla="*/ 823252 w 952981"/>
                  <a:gd name="connsiteY55" fmla="*/ 761576 h 777946"/>
                  <a:gd name="connsiteX56" fmla="*/ 780705 w 952981"/>
                  <a:gd name="connsiteY56" fmla="*/ 766914 h 777946"/>
                  <a:gd name="connsiteX57" fmla="*/ 764770 w 952981"/>
                  <a:gd name="connsiteY57" fmla="*/ 776258 h 777946"/>
                  <a:gd name="connsiteX58" fmla="*/ 732901 w 952981"/>
                  <a:gd name="connsiteY58" fmla="*/ 776258 h 777946"/>
                  <a:gd name="connsiteX59" fmla="*/ 724058 w 952981"/>
                  <a:gd name="connsiteY59" fmla="*/ 773588 h 777946"/>
                  <a:gd name="connsiteX60" fmla="*/ 717384 w 952981"/>
                  <a:gd name="connsiteY60" fmla="*/ 771836 h 777946"/>
                  <a:gd name="connsiteX61" fmla="*/ 707623 w 952981"/>
                  <a:gd name="connsiteY61" fmla="*/ 769167 h 777946"/>
                  <a:gd name="connsiteX62" fmla="*/ 700531 w 952981"/>
                  <a:gd name="connsiteY62" fmla="*/ 762493 h 777946"/>
                  <a:gd name="connsiteX63" fmla="*/ 692105 w 952981"/>
                  <a:gd name="connsiteY63" fmla="*/ 754485 h 777946"/>
                  <a:gd name="connsiteX64" fmla="*/ 663740 w 952981"/>
                  <a:gd name="connsiteY64" fmla="*/ 743890 h 777946"/>
                  <a:gd name="connsiteX65" fmla="*/ 655314 w 952981"/>
                  <a:gd name="connsiteY65" fmla="*/ 742555 h 777946"/>
                  <a:gd name="connsiteX66" fmla="*/ 626532 w 952981"/>
                  <a:gd name="connsiteY66" fmla="*/ 715110 h 777946"/>
                  <a:gd name="connsiteX67" fmla="*/ 613684 w 952981"/>
                  <a:gd name="connsiteY67" fmla="*/ 696925 h 777946"/>
                  <a:gd name="connsiteX68" fmla="*/ 589323 w 952981"/>
                  <a:gd name="connsiteY68" fmla="*/ 673901 h 777946"/>
                  <a:gd name="connsiteX69" fmla="*/ 564045 w 952981"/>
                  <a:gd name="connsiteY69" fmla="*/ 649959 h 777946"/>
                  <a:gd name="connsiteX70" fmla="*/ 545858 w 952981"/>
                  <a:gd name="connsiteY70" fmla="*/ 632274 h 777946"/>
                  <a:gd name="connsiteX71" fmla="*/ 525001 w 952981"/>
                  <a:gd name="connsiteY71" fmla="*/ 609667 h 777946"/>
                  <a:gd name="connsiteX72" fmla="*/ 521497 w 952981"/>
                  <a:gd name="connsiteY72" fmla="*/ 602993 h 777946"/>
                  <a:gd name="connsiteX73" fmla="*/ 470106 w 952981"/>
                  <a:gd name="connsiteY73" fmla="*/ 566205 h 777946"/>
                  <a:gd name="connsiteX74" fmla="*/ 454172 w 952981"/>
                  <a:gd name="connsiteY74" fmla="*/ 574213 h 777946"/>
                  <a:gd name="connsiteX75" fmla="*/ 441741 w 952981"/>
                  <a:gd name="connsiteY75" fmla="*/ 579969 h 777946"/>
                  <a:gd name="connsiteX76" fmla="*/ 424055 w 952981"/>
                  <a:gd name="connsiteY76" fmla="*/ 575548 h 777946"/>
                  <a:gd name="connsiteX77" fmla="*/ 411624 w 952981"/>
                  <a:gd name="connsiteY77" fmla="*/ 571126 h 777946"/>
                  <a:gd name="connsiteX78" fmla="*/ 362903 w 952981"/>
                  <a:gd name="connsiteY78" fmla="*/ 580887 h 777946"/>
                  <a:gd name="connsiteX79" fmla="*/ 347803 w 952981"/>
                  <a:gd name="connsiteY79" fmla="*/ 587977 h 777946"/>
                  <a:gd name="connsiteX80" fmla="*/ 322524 w 952981"/>
                  <a:gd name="connsiteY80" fmla="*/ 590230 h 777946"/>
                  <a:gd name="connsiteX81" fmla="*/ 308759 w 952981"/>
                  <a:gd name="connsiteY81" fmla="*/ 585391 h 777946"/>
                  <a:gd name="connsiteX82" fmla="*/ 294576 w 952981"/>
                  <a:gd name="connsiteY82" fmla="*/ 575214 h 777946"/>
                  <a:gd name="connsiteX83" fmla="*/ 286150 w 952981"/>
                  <a:gd name="connsiteY83" fmla="*/ 531836 h 777946"/>
                  <a:gd name="connsiteX84" fmla="*/ 287068 w 952981"/>
                  <a:gd name="connsiteY84" fmla="*/ 515902 h 777946"/>
                  <a:gd name="connsiteX85" fmla="*/ 260455 w 952981"/>
                  <a:gd name="connsiteY85" fmla="*/ 458342 h 777946"/>
                  <a:gd name="connsiteX86" fmla="*/ 228586 w 952981"/>
                  <a:gd name="connsiteY86" fmla="*/ 453003 h 777946"/>
                  <a:gd name="connsiteX87" fmla="*/ 204225 w 952981"/>
                  <a:gd name="connsiteY87" fmla="*/ 450751 h 777946"/>
                  <a:gd name="connsiteX88" fmla="*/ 186956 w 952981"/>
                  <a:gd name="connsiteY88" fmla="*/ 435234 h 777946"/>
                  <a:gd name="connsiteX89" fmla="*/ 154586 w 952981"/>
                  <a:gd name="connsiteY89" fmla="*/ 413128 h 777946"/>
                  <a:gd name="connsiteX90" fmla="*/ 126638 w 952981"/>
                  <a:gd name="connsiteY90" fmla="*/ 410876 h 777946"/>
                  <a:gd name="connsiteX91" fmla="*/ 125303 w 952981"/>
                  <a:gd name="connsiteY91" fmla="*/ 371918 h 777946"/>
                  <a:gd name="connsiteX92" fmla="*/ 89430 w 952981"/>
                  <a:gd name="connsiteY92" fmla="*/ 342221 h 777946"/>
                  <a:gd name="connsiteX93" fmla="*/ 89013 w 952981"/>
                  <a:gd name="connsiteY93" fmla="*/ 342221 h 777946"/>
                  <a:gd name="connsiteX94" fmla="*/ 84591 w 952981"/>
                  <a:gd name="connsiteY94" fmla="*/ 342221 h 777946"/>
                  <a:gd name="connsiteX95" fmla="*/ 39874 w 952981"/>
                  <a:gd name="connsiteY95" fmla="*/ 338216 h 777946"/>
                  <a:gd name="connsiteX96" fmla="*/ 39874 w 952981"/>
                  <a:gd name="connsiteY96" fmla="*/ 337799 h 777946"/>
                  <a:gd name="connsiteX97" fmla="*/ 42127 w 952981"/>
                  <a:gd name="connsiteY97" fmla="*/ 329791 h 777946"/>
                  <a:gd name="connsiteX98" fmla="*/ 46966 w 952981"/>
                  <a:gd name="connsiteY98" fmla="*/ 300093 h 777946"/>
                  <a:gd name="connsiteX99" fmla="*/ 34118 w 952981"/>
                  <a:gd name="connsiteY99" fmla="*/ 273065 h 777946"/>
                  <a:gd name="connsiteX100" fmla="*/ 30614 w 952981"/>
                  <a:gd name="connsiteY100" fmla="*/ 266892 h 777946"/>
                  <a:gd name="connsiteX101" fmla="*/ 12927 w 952981"/>
                  <a:gd name="connsiteY101" fmla="*/ 251376 h 777946"/>
                  <a:gd name="connsiteX102" fmla="*/ 7588 w 952981"/>
                  <a:gd name="connsiteY102" fmla="*/ 249123 h 777946"/>
                  <a:gd name="connsiteX103" fmla="*/ 80 w 952981"/>
                  <a:gd name="connsiteY103" fmla="*/ 246037 h 777946"/>
                  <a:gd name="connsiteX104" fmla="*/ 1414 w 952981"/>
                  <a:gd name="connsiteY104" fmla="*/ 238946 h 777946"/>
                  <a:gd name="connsiteX105" fmla="*/ 15180 w 952981"/>
                  <a:gd name="connsiteY105" fmla="*/ 205744 h 777946"/>
                  <a:gd name="connsiteX106" fmla="*/ 17432 w 952981"/>
                  <a:gd name="connsiteY106" fmla="*/ 201323 h 777946"/>
                  <a:gd name="connsiteX107" fmla="*/ 23189 w 952981"/>
                  <a:gd name="connsiteY107" fmla="*/ 193315 h 777946"/>
                  <a:gd name="connsiteX108" fmla="*/ 43545 w 952981"/>
                  <a:gd name="connsiteY108" fmla="*/ 192898 h 777946"/>
                  <a:gd name="connsiteX109" fmla="*/ 65653 w 952981"/>
                  <a:gd name="connsiteY109" fmla="*/ 196902 h 777946"/>
                  <a:gd name="connsiteX110" fmla="*/ 92684 w 952981"/>
                  <a:gd name="connsiteY110" fmla="*/ 183638 h 777946"/>
                  <a:gd name="connsiteX111" fmla="*/ 99358 w 952981"/>
                  <a:gd name="connsiteY111" fmla="*/ 176964 h 777946"/>
                  <a:gd name="connsiteX112" fmla="*/ 106449 w 952981"/>
                  <a:gd name="connsiteY112" fmla="*/ 172543 h 777946"/>
                  <a:gd name="connsiteX113" fmla="*/ 118379 w 952981"/>
                  <a:gd name="connsiteY113" fmla="*/ 164535 h 777946"/>
                  <a:gd name="connsiteX114" fmla="*/ 139653 w 952981"/>
                  <a:gd name="connsiteY114" fmla="*/ 137507 h 777946"/>
                  <a:gd name="connsiteX115" fmla="*/ 146744 w 952981"/>
                  <a:gd name="connsiteY115" fmla="*/ 116652 h 777946"/>
                  <a:gd name="connsiteX116" fmla="*/ 148997 w 952981"/>
                  <a:gd name="connsiteY116" fmla="*/ 106474 h 777946"/>
                  <a:gd name="connsiteX117" fmla="*/ 177779 w 952981"/>
                  <a:gd name="connsiteY117" fmla="*/ 77694 h 777946"/>
                  <a:gd name="connsiteX118" fmla="*/ 199470 w 952981"/>
                  <a:gd name="connsiteY118" fmla="*/ 61761 h 777946"/>
                  <a:gd name="connsiteX119" fmla="*/ 213235 w 952981"/>
                  <a:gd name="connsiteY119" fmla="*/ 43575 h 777946"/>
                  <a:gd name="connsiteX120" fmla="*/ 237596 w 952981"/>
                  <a:gd name="connsiteY120" fmla="*/ 22720 h 777946"/>
                  <a:gd name="connsiteX121" fmla="*/ 246022 w 952981"/>
                  <a:gd name="connsiteY121" fmla="*/ 21802 h 777946"/>
                  <a:gd name="connsiteX122" fmla="*/ 272635 w 952981"/>
                  <a:gd name="connsiteY122" fmla="*/ 14295 h 777946"/>
                  <a:gd name="connsiteX123" fmla="*/ 279726 w 952981"/>
                  <a:gd name="connsiteY123" fmla="*/ 9873 h 777946"/>
                  <a:gd name="connsiteX124" fmla="*/ 297413 w 952981"/>
                  <a:gd name="connsiteY124" fmla="*/ 1031 h 777946"/>
                  <a:gd name="connsiteX125" fmla="*/ 304087 w 952981"/>
                  <a:gd name="connsiteY125" fmla="*/ 113 h 777946"/>
                  <a:gd name="connsiteX126" fmla="*/ 314682 w 952981"/>
                  <a:gd name="connsiteY126" fmla="*/ 1031 h 777946"/>
                  <a:gd name="connsiteX127" fmla="*/ 315099 w 952981"/>
                  <a:gd name="connsiteY127" fmla="*/ 1031 h 777946"/>
                  <a:gd name="connsiteX128" fmla="*/ 325277 w 952981"/>
                  <a:gd name="connsiteY128" fmla="*/ 3283 h 777946"/>
                  <a:gd name="connsiteX129" fmla="*/ 335456 w 952981"/>
                  <a:gd name="connsiteY129" fmla="*/ 5535 h 777946"/>
                  <a:gd name="connsiteX130" fmla="*/ 362486 w 952981"/>
                  <a:gd name="connsiteY130" fmla="*/ 8205 h 777946"/>
                  <a:gd name="connsiteX131" fmla="*/ 380172 w 952981"/>
                  <a:gd name="connsiteY131" fmla="*/ 9540 h 777946"/>
                  <a:gd name="connsiteX132" fmla="*/ 408955 w 952981"/>
                  <a:gd name="connsiteY132" fmla="*/ 20134 h 777946"/>
                  <a:gd name="connsiteX133" fmla="*/ 414711 w 952981"/>
                  <a:gd name="connsiteY133" fmla="*/ 32981 h 777946"/>
                  <a:gd name="connsiteX134" fmla="*/ 422720 w 952981"/>
                  <a:gd name="connsiteY134" fmla="*/ 50249 h 777946"/>
                  <a:gd name="connsiteX135" fmla="*/ 450168 w 952981"/>
                  <a:gd name="connsiteY135" fmla="*/ 66599 h 777946"/>
                  <a:gd name="connsiteX136" fmla="*/ 445746 w 952981"/>
                  <a:gd name="connsiteY136" fmla="*/ 74608 h 777946"/>
                  <a:gd name="connsiteX137" fmla="*/ 421802 w 952981"/>
                  <a:gd name="connsiteY137" fmla="*/ 126912 h 777946"/>
                  <a:gd name="connsiteX138" fmla="*/ 413043 w 952981"/>
                  <a:gd name="connsiteY138" fmla="*/ 190145 h 777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952981" h="777946" extrusionOk="0">
                    <a:moveTo>
                      <a:pt x="413043" y="190145"/>
                    </a:moveTo>
                    <a:cubicBezTo>
                      <a:pt x="412625" y="198571"/>
                      <a:pt x="412625" y="210082"/>
                      <a:pt x="418799" y="218508"/>
                    </a:cubicBezTo>
                    <a:cubicBezTo>
                      <a:pt x="422303" y="223346"/>
                      <a:pt x="428143" y="225599"/>
                      <a:pt x="432564" y="226934"/>
                    </a:cubicBezTo>
                    <a:cubicBezTo>
                      <a:pt x="435651" y="228268"/>
                      <a:pt x="438738" y="229186"/>
                      <a:pt x="440073" y="230938"/>
                    </a:cubicBezTo>
                    <a:cubicBezTo>
                      <a:pt x="443577" y="234441"/>
                      <a:pt x="444912" y="238028"/>
                      <a:pt x="446246" y="242449"/>
                    </a:cubicBezTo>
                    <a:cubicBezTo>
                      <a:pt x="448499" y="249123"/>
                      <a:pt x="451085" y="257048"/>
                      <a:pt x="460429" y="263722"/>
                    </a:cubicBezTo>
                    <a:cubicBezTo>
                      <a:pt x="462682" y="265474"/>
                      <a:pt x="465268" y="266808"/>
                      <a:pt x="467520" y="268560"/>
                    </a:cubicBezTo>
                    <a:cubicBezTo>
                      <a:pt x="470607" y="269895"/>
                      <a:pt x="472860" y="271647"/>
                      <a:pt x="475029" y="273399"/>
                    </a:cubicBezTo>
                    <a:cubicBezTo>
                      <a:pt x="478116" y="276485"/>
                      <a:pt x="479867" y="280072"/>
                      <a:pt x="481703" y="283993"/>
                    </a:cubicBezTo>
                    <a:cubicBezTo>
                      <a:pt x="483038" y="287079"/>
                      <a:pt x="484790" y="291084"/>
                      <a:pt x="487459" y="294587"/>
                    </a:cubicBezTo>
                    <a:cubicBezTo>
                      <a:pt x="495468" y="305682"/>
                      <a:pt x="505146" y="307851"/>
                      <a:pt x="514489" y="310104"/>
                    </a:cubicBezTo>
                    <a:cubicBezTo>
                      <a:pt x="519328" y="311021"/>
                      <a:pt x="523833" y="312356"/>
                      <a:pt x="527755" y="314525"/>
                    </a:cubicBezTo>
                    <a:cubicBezTo>
                      <a:pt x="536180" y="318946"/>
                      <a:pt x="541019" y="326955"/>
                      <a:pt x="545941" y="336214"/>
                    </a:cubicBezTo>
                    <a:cubicBezTo>
                      <a:pt x="550363" y="343722"/>
                      <a:pt x="554785" y="351730"/>
                      <a:pt x="561876" y="357487"/>
                    </a:cubicBezTo>
                    <a:cubicBezTo>
                      <a:pt x="572054" y="366329"/>
                      <a:pt x="583984" y="366329"/>
                      <a:pt x="594663" y="365912"/>
                    </a:cubicBezTo>
                    <a:lnTo>
                      <a:pt x="601337" y="365912"/>
                    </a:lnTo>
                    <a:cubicBezTo>
                      <a:pt x="616854" y="366329"/>
                      <a:pt x="621276" y="368581"/>
                      <a:pt x="630536" y="380510"/>
                    </a:cubicBezTo>
                    <a:cubicBezTo>
                      <a:pt x="640297" y="392940"/>
                      <a:pt x="650892" y="398696"/>
                      <a:pt x="661988" y="404869"/>
                    </a:cubicBezTo>
                    <a:lnTo>
                      <a:pt x="668662" y="408873"/>
                    </a:lnTo>
                    <a:cubicBezTo>
                      <a:pt x="679258" y="415047"/>
                      <a:pt x="685014" y="423055"/>
                      <a:pt x="691271" y="432315"/>
                    </a:cubicBezTo>
                    <a:cubicBezTo>
                      <a:pt x="694775" y="437653"/>
                      <a:pt x="698780" y="442909"/>
                      <a:pt x="703702" y="448665"/>
                    </a:cubicBezTo>
                    <a:cubicBezTo>
                      <a:pt x="719219" y="466350"/>
                      <a:pt x="738240" y="462430"/>
                      <a:pt x="753758" y="459260"/>
                    </a:cubicBezTo>
                    <a:cubicBezTo>
                      <a:pt x="770109" y="456173"/>
                      <a:pt x="779870" y="454838"/>
                      <a:pt x="788713" y="467268"/>
                    </a:cubicBezTo>
                    <a:lnTo>
                      <a:pt x="792718" y="473941"/>
                    </a:lnTo>
                    <a:cubicBezTo>
                      <a:pt x="807318" y="496048"/>
                      <a:pt x="833931" y="537758"/>
                      <a:pt x="866718" y="518655"/>
                    </a:cubicBezTo>
                    <a:cubicBezTo>
                      <a:pt x="868052" y="517737"/>
                      <a:pt x="869805" y="516403"/>
                      <a:pt x="871556" y="515569"/>
                    </a:cubicBezTo>
                    <a:cubicBezTo>
                      <a:pt x="877730" y="511564"/>
                      <a:pt x="888409" y="504974"/>
                      <a:pt x="893247" y="506726"/>
                    </a:cubicBezTo>
                    <a:cubicBezTo>
                      <a:pt x="895500" y="507644"/>
                      <a:pt x="896751" y="510730"/>
                      <a:pt x="897669" y="513400"/>
                    </a:cubicBezTo>
                    <a:cubicBezTo>
                      <a:pt x="898086" y="515652"/>
                      <a:pt x="897252" y="516903"/>
                      <a:pt x="895417" y="521408"/>
                    </a:cubicBezTo>
                    <a:cubicBezTo>
                      <a:pt x="893164" y="525412"/>
                      <a:pt x="890995" y="530250"/>
                      <a:pt x="891913" y="536924"/>
                    </a:cubicBezTo>
                    <a:cubicBezTo>
                      <a:pt x="893247" y="549354"/>
                      <a:pt x="905678" y="558613"/>
                      <a:pt x="910517" y="562201"/>
                    </a:cubicBezTo>
                    <a:cubicBezTo>
                      <a:pt x="915355" y="565287"/>
                      <a:pt x="921112" y="566622"/>
                      <a:pt x="926034" y="567956"/>
                    </a:cubicBezTo>
                    <a:cubicBezTo>
                      <a:pt x="930456" y="568874"/>
                      <a:pt x="934043" y="570209"/>
                      <a:pt x="936212" y="571961"/>
                    </a:cubicBezTo>
                    <a:cubicBezTo>
                      <a:pt x="939299" y="574630"/>
                      <a:pt x="940217" y="579468"/>
                      <a:pt x="940634" y="587060"/>
                    </a:cubicBezTo>
                    <a:cubicBezTo>
                      <a:pt x="940634" y="589312"/>
                      <a:pt x="941051" y="591481"/>
                      <a:pt x="941051" y="593233"/>
                    </a:cubicBezTo>
                    <a:cubicBezTo>
                      <a:pt x="942386" y="605162"/>
                      <a:pt x="947224" y="614922"/>
                      <a:pt x="952981" y="622931"/>
                    </a:cubicBezTo>
                    <a:lnTo>
                      <a:pt x="944972" y="630438"/>
                    </a:lnTo>
                    <a:cubicBezTo>
                      <a:pt x="935211" y="640199"/>
                      <a:pt x="925033" y="649959"/>
                      <a:pt x="913937" y="657049"/>
                    </a:cubicBezTo>
                    <a:cubicBezTo>
                      <a:pt x="905511" y="662389"/>
                      <a:pt x="892246" y="668562"/>
                      <a:pt x="878064" y="667644"/>
                    </a:cubicBezTo>
                    <a:cubicBezTo>
                      <a:pt x="875811" y="667644"/>
                      <a:pt x="874059" y="667227"/>
                      <a:pt x="871890" y="667227"/>
                    </a:cubicBezTo>
                    <a:cubicBezTo>
                      <a:pt x="868386" y="666810"/>
                      <a:pt x="864382" y="666309"/>
                      <a:pt x="860794" y="666309"/>
                    </a:cubicBezTo>
                    <a:cubicBezTo>
                      <a:pt x="851951" y="666726"/>
                      <a:pt x="844860" y="670314"/>
                      <a:pt x="840438" y="676070"/>
                    </a:cubicBezTo>
                    <a:cubicBezTo>
                      <a:pt x="837768" y="680491"/>
                      <a:pt x="836934" y="685830"/>
                      <a:pt x="838186" y="690668"/>
                    </a:cubicBezTo>
                    <a:cubicBezTo>
                      <a:pt x="839521" y="695089"/>
                      <a:pt x="842607" y="699094"/>
                      <a:pt x="846612" y="700845"/>
                    </a:cubicBezTo>
                    <a:cubicBezTo>
                      <a:pt x="847529" y="701262"/>
                      <a:pt x="848364" y="701763"/>
                      <a:pt x="850116" y="702180"/>
                    </a:cubicBezTo>
                    <a:cubicBezTo>
                      <a:pt x="850533" y="702597"/>
                      <a:pt x="851868" y="704433"/>
                      <a:pt x="852368" y="705267"/>
                    </a:cubicBezTo>
                    <a:lnTo>
                      <a:pt x="853703" y="707936"/>
                    </a:lnTo>
                    <a:cubicBezTo>
                      <a:pt x="858542" y="715027"/>
                      <a:pt x="866134" y="719865"/>
                      <a:pt x="874560" y="720783"/>
                    </a:cubicBezTo>
                    <a:lnTo>
                      <a:pt x="876312" y="720783"/>
                    </a:lnTo>
                    <a:cubicBezTo>
                      <a:pt x="877229" y="721200"/>
                      <a:pt x="878564" y="721200"/>
                      <a:pt x="878564" y="720783"/>
                    </a:cubicBezTo>
                    <a:cubicBezTo>
                      <a:pt x="878564" y="721200"/>
                      <a:pt x="878147" y="723035"/>
                      <a:pt x="877229" y="723869"/>
                    </a:cubicBezTo>
                    <a:cubicBezTo>
                      <a:pt x="875895" y="725204"/>
                      <a:pt x="873726" y="726539"/>
                      <a:pt x="871056" y="727874"/>
                    </a:cubicBezTo>
                    <a:cubicBezTo>
                      <a:pt x="868386" y="729208"/>
                      <a:pt x="866217" y="730543"/>
                      <a:pt x="863965" y="732295"/>
                    </a:cubicBezTo>
                    <a:cubicBezTo>
                      <a:pt x="853369" y="740303"/>
                      <a:pt x="850199" y="753567"/>
                      <a:pt x="847613" y="765079"/>
                    </a:cubicBezTo>
                    <a:cubicBezTo>
                      <a:pt x="846695" y="769501"/>
                      <a:pt x="845861" y="773505"/>
                      <a:pt x="844526" y="777509"/>
                    </a:cubicBezTo>
                    <a:cubicBezTo>
                      <a:pt x="837852" y="772170"/>
                      <a:pt x="830761" y="766414"/>
                      <a:pt x="823252" y="761576"/>
                    </a:cubicBezTo>
                    <a:cubicBezTo>
                      <a:pt x="803313" y="749646"/>
                      <a:pt x="790466" y="759323"/>
                      <a:pt x="780705" y="766914"/>
                    </a:cubicBezTo>
                    <a:cubicBezTo>
                      <a:pt x="775365" y="770418"/>
                      <a:pt x="770527" y="774422"/>
                      <a:pt x="764770" y="776258"/>
                    </a:cubicBezTo>
                    <a:cubicBezTo>
                      <a:pt x="757679" y="778510"/>
                      <a:pt x="746166" y="778510"/>
                      <a:pt x="732901" y="776258"/>
                    </a:cubicBezTo>
                    <a:cubicBezTo>
                      <a:pt x="729814" y="775340"/>
                      <a:pt x="726728" y="774506"/>
                      <a:pt x="724058" y="773588"/>
                    </a:cubicBezTo>
                    <a:cubicBezTo>
                      <a:pt x="721388" y="772670"/>
                      <a:pt x="719219" y="772253"/>
                      <a:pt x="717384" y="771836"/>
                    </a:cubicBezTo>
                    <a:cubicBezTo>
                      <a:pt x="713379" y="770084"/>
                      <a:pt x="710292" y="769167"/>
                      <a:pt x="707623" y="769167"/>
                    </a:cubicBezTo>
                    <a:cubicBezTo>
                      <a:pt x="704953" y="767415"/>
                      <a:pt x="702784" y="765162"/>
                      <a:pt x="700531" y="762493"/>
                    </a:cubicBezTo>
                    <a:cubicBezTo>
                      <a:pt x="697862" y="759824"/>
                      <a:pt x="695192" y="757154"/>
                      <a:pt x="692105" y="754485"/>
                    </a:cubicBezTo>
                    <a:cubicBezTo>
                      <a:pt x="682344" y="746476"/>
                      <a:pt x="673084" y="745142"/>
                      <a:pt x="663740" y="743890"/>
                    </a:cubicBezTo>
                    <a:cubicBezTo>
                      <a:pt x="661070" y="743473"/>
                      <a:pt x="658401" y="742973"/>
                      <a:pt x="655314" y="742555"/>
                    </a:cubicBezTo>
                    <a:cubicBezTo>
                      <a:pt x="642466" y="739886"/>
                      <a:pt x="634457" y="727957"/>
                      <a:pt x="626532" y="715110"/>
                    </a:cubicBezTo>
                    <a:cubicBezTo>
                      <a:pt x="622527" y="708937"/>
                      <a:pt x="618106" y="702681"/>
                      <a:pt x="613684" y="696925"/>
                    </a:cubicBezTo>
                    <a:cubicBezTo>
                      <a:pt x="605675" y="688499"/>
                      <a:pt x="597332" y="680991"/>
                      <a:pt x="589323" y="673901"/>
                    </a:cubicBezTo>
                    <a:cubicBezTo>
                      <a:pt x="580480" y="665892"/>
                      <a:pt x="571637" y="658801"/>
                      <a:pt x="564045" y="649959"/>
                    </a:cubicBezTo>
                    <a:cubicBezTo>
                      <a:pt x="558289" y="642868"/>
                      <a:pt x="552115" y="637529"/>
                      <a:pt x="545858" y="632274"/>
                    </a:cubicBezTo>
                    <a:cubicBezTo>
                      <a:pt x="537849" y="625600"/>
                      <a:pt x="530341" y="619427"/>
                      <a:pt x="525001" y="609667"/>
                    </a:cubicBezTo>
                    <a:cubicBezTo>
                      <a:pt x="523666" y="607414"/>
                      <a:pt x="522332" y="605246"/>
                      <a:pt x="521497" y="602993"/>
                    </a:cubicBezTo>
                    <a:cubicBezTo>
                      <a:pt x="511736" y="585725"/>
                      <a:pt x="497554" y="560449"/>
                      <a:pt x="470106" y="566205"/>
                    </a:cubicBezTo>
                    <a:cubicBezTo>
                      <a:pt x="463933" y="567539"/>
                      <a:pt x="459011" y="571043"/>
                      <a:pt x="454172" y="574213"/>
                    </a:cubicBezTo>
                    <a:cubicBezTo>
                      <a:pt x="449750" y="577300"/>
                      <a:pt x="446163" y="579552"/>
                      <a:pt x="441741" y="579969"/>
                    </a:cubicBezTo>
                    <a:cubicBezTo>
                      <a:pt x="435568" y="580887"/>
                      <a:pt x="430228" y="578217"/>
                      <a:pt x="424055" y="575548"/>
                    </a:cubicBezTo>
                    <a:cubicBezTo>
                      <a:pt x="420050" y="573796"/>
                      <a:pt x="416046" y="572044"/>
                      <a:pt x="411624" y="571126"/>
                    </a:cubicBezTo>
                    <a:cubicBezTo>
                      <a:pt x="392102" y="566288"/>
                      <a:pt x="377086" y="573379"/>
                      <a:pt x="362903" y="580887"/>
                    </a:cubicBezTo>
                    <a:cubicBezTo>
                      <a:pt x="358064" y="583556"/>
                      <a:pt x="353142" y="585725"/>
                      <a:pt x="347803" y="587977"/>
                    </a:cubicBezTo>
                    <a:cubicBezTo>
                      <a:pt x="339377" y="591064"/>
                      <a:pt x="330533" y="591981"/>
                      <a:pt x="322524" y="590230"/>
                    </a:cubicBezTo>
                    <a:cubicBezTo>
                      <a:pt x="317686" y="589312"/>
                      <a:pt x="313181" y="587560"/>
                      <a:pt x="308759" y="585391"/>
                    </a:cubicBezTo>
                    <a:cubicBezTo>
                      <a:pt x="303920" y="582722"/>
                      <a:pt x="298998" y="579218"/>
                      <a:pt x="294576" y="575214"/>
                    </a:cubicBezTo>
                    <a:cubicBezTo>
                      <a:pt x="283981" y="565037"/>
                      <a:pt x="285233" y="549103"/>
                      <a:pt x="286150" y="531836"/>
                    </a:cubicBezTo>
                    <a:cubicBezTo>
                      <a:pt x="286567" y="526496"/>
                      <a:pt x="287068" y="521241"/>
                      <a:pt x="287068" y="515902"/>
                    </a:cubicBezTo>
                    <a:cubicBezTo>
                      <a:pt x="287068" y="497299"/>
                      <a:pt x="278642" y="472023"/>
                      <a:pt x="260455" y="458342"/>
                    </a:cubicBezTo>
                    <a:cubicBezTo>
                      <a:pt x="250277" y="450834"/>
                      <a:pt x="238764" y="452169"/>
                      <a:pt x="228586" y="453003"/>
                    </a:cubicBezTo>
                    <a:cubicBezTo>
                      <a:pt x="219742" y="453920"/>
                      <a:pt x="211316" y="455255"/>
                      <a:pt x="204225" y="450751"/>
                    </a:cubicBezTo>
                    <a:cubicBezTo>
                      <a:pt x="197134" y="446747"/>
                      <a:pt x="192295" y="440990"/>
                      <a:pt x="186956" y="435234"/>
                    </a:cubicBezTo>
                    <a:cubicBezTo>
                      <a:pt x="179447" y="426392"/>
                      <a:pt x="170604" y="416632"/>
                      <a:pt x="154586" y="413128"/>
                    </a:cubicBezTo>
                    <a:cubicBezTo>
                      <a:pt x="149747" y="411793"/>
                      <a:pt x="137317" y="409625"/>
                      <a:pt x="126638" y="410876"/>
                    </a:cubicBezTo>
                    <a:cubicBezTo>
                      <a:pt x="127055" y="398029"/>
                      <a:pt x="127055" y="384765"/>
                      <a:pt x="125303" y="371918"/>
                    </a:cubicBezTo>
                    <a:cubicBezTo>
                      <a:pt x="122634" y="351981"/>
                      <a:pt x="111121" y="342221"/>
                      <a:pt x="89430" y="342221"/>
                    </a:cubicBezTo>
                    <a:cubicBezTo>
                      <a:pt x="89013" y="342221"/>
                      <a:pt x="89013" y="342221"/>
                      <a:pt x="89013" y="342221"/>
                    </a:cubicBezTo>
                    <a:lnTo>
                      <a:pt x="84591" y="342221"/>
                    </a:lnTo>
                    <a:cubicBezTo>
                      <a:pt x="66905" y="342638"/>
                      <a:pt x="54057" y="342638"/>
                      <a:pt x="39874" y="338216"/>
                    </a:cubicBezTo>
                    <a:lnTo>
                      <a:pt x="39874" y="337799"/>
                    </a:lnTo>
                    <a:cubicBezTo>
                      <a:pt x="40792" y="335130"/>
                      <a:pt x="41209" y="332961"/>
                      <a:pt x="42127" y="329791"/>
                    </a:cubicBezTo>
                    <a:cubicBezTo>
                      <a:pt x="45214" y="320948"/>
                      <a:pt x="48300" y="310271"/>
                      <a:pt x="46966" y="300093"/>
                    </a:cubicBezTo>
                    <a:cubicBezTo>
                      <a:pt x="46048" y="291250"/>
                      <a:pt x="39874" y="281491"/>
                      <a:pt x="34118" y="273065"/>
                    </a:cubicBezTo>
                    <a:cubicBezTo>
                      <a:pt x="32783" y="270812"/>
                      <a:pt x="31448" y="268644"/>
                      <a:pt x="30614" y="266892"/>
                    </a:cubicBezTo>
                    <a:cubicBezTo>
                      <a:pt x="24440" y="256297"/>
                      <a:pt x="22188" y="254462"/>
                      <a:pt x="12927" y="251376"/>
                    </a:cubicBezTo>
                    <a:lnTo>
                      <a:pt x="7588" y="249123"/>
                    </a:lnTo>
                    <a:cubicBezTo>
                      <a:pt x="3167" y="247789"/>
                      <a:pt x="497" y="246454"/>
                      <a:pt x="80" y="246037"/>
                    </a:cubicBezTo>
                    <a:cubicBezTo>
                      <a:pt x="-337" y="245119"/>
                      <a:pt x="997" y="240698"/>
                      <a:pt x="1414" y="238946"/>
                    </a:cubicBezTo>
                    <a:cubicBezTo>
                      <a:pt x="3167" y="230938"/>
                      <a:pt x="9841" y="215922"/>
                      <a:pt x="15180" y="205744"/>
                    </a:cubicBezTo>
                    <a:cubicBezTo>
                      <a:pt x="16098" y="204410"/>
                      <a:pt x="16515" y="202658"/>
                      <a:pt x="17432" y="201323"/>
                    </a:cubicBezTo>
                    <a:cubicBezTo>
                      <a:pt x="19685" y="197820"/>
                      <a:pt x="20936" y="195150"/>
                      <a:pt x="23189" y="193315"/>
                    </a:cubicBezTo>
                    <a:cubicBezTo>
                      <a:pt x="28528" y="188477"/>
                      <a:pt x="33784" y="190229"/>
                      <a:pt x="43545" y="192898"/>
                    </a:cubicBezTo>
                    <a:cubicBezTo>
                      <a:pt x="50219" y="195150"/>
                      <a:pt x="57310" y="197319"/>
                      <a:pt x="65653" y="196902"/>
                    </a:cubicBezTo>
                    <a:cubicBezTo>
                      <a:pt x="81588" y="196485"/>
                      <a:pt x="86927" y="189811"/>
                      <a:pt x="92684" y="183638"/>
                    </a:cubicBezTo>
                    <a:cubicBezTo>
                      <a:pt x="94435" y="181386"/>
                      <a:pt x="96187" y="179217"/>
                      <a:pt x="99358" y="176964"/>
                    </a:cubicBezTo>
                    <a:cubicBezTo>
                      <a:pt x="101110" y="175213"/>
                      <a:pt x="103779" y="173878"/>
                      <a:pt x="106449" y="172543"/>
                    </a:cubicBezTo>
                    <a:cubicBezTo>
                      <a:pt x="109953" y="170291"/>
                      <a:pt x="114458" y="168122"/>
                      <a:pt x="118379" y="164535"/>
                    </a:cubicBezTo>
                    <a:cubicBezTo>
                      <a:pt x="126388" y="156526"/>
                      <a:pt x="134313" y="145515"/>
                      <a:pt x="139653" y="137507"/>
                    </a:cubicBezTo>
                    <a:cubicBezTo>
                      <a:pt x="145409" y="129081"/>
                      <a:pt x="146327" y="122908"/>
                      <a:pt x="146744" y="116652"/>
                    </a:cubicBezTo>
                    <a:cubicBezTo>
                      <a:pt x="147161" y="113565"/>
                      <a:pt x="147662" y="110478"/>
                      <a:pt x="148997" y="106474"/>
                    </a:cubicBezTo>
                    <a:cubicBezTo>
                      <a:pt x="152501" y="94044"/>
                      <a:pt x="164931" y="86120"/>
                      <a:pt x="177779" y="77694"/>
                    </a:cubicBezTo>
                    <a:cubicBezTo>
                      <a:pt x="185287" y="72856"/>
                      <a:pt x="193296" y="67934"/>
                      <a:pt x="199470" y="61761"/>
                    </a:cubicBezTo>
                    <a:cubicBezTo>
                      <a:pt x="205226" y="56422"/>
                      <a:pt x="209648" y="49832"/>
                      <a:pt x="213235" y="43575"/>
                    </a:cubicBezTo>
                    <a:cubicBezTo>
                      <a:pt x="220327" y="32981"/>
                      <a:pt x="225666" y="24555"/>
                      <a:pt x="237596" y="22720"/>
                    </a:cubicBezTo>
                    <a:cubicBezTo>
                      <a:pt x="240683" y="22303"/>
                      <a:pt x="243769" y="22303"/>
                      <a:pt x="246022" y="21802"/>
                    </a:cubicBezTo>
                    <a:cubicBezTo>
                      <a:pt x="254865" y="21385"/>
                      <a:pt x="262874" y="20468"/>
                      <a:pt x="272635" y="14295"/>
                    </a:cubicBezTo>
                    <a:cubicBezTo>
                      <a:pt x="275305" y="12960"/>
                      <a:pt x="277474" y="11208"/>
                      <a:pt x="279726" y="9873"/>
                    </a:cubicBezTo>
                    <a:cubicBezTo>
                      <a:pt x="285900" y="5452"/>
                      <a:pt x="290822" y="1865"/>
                      <a:pt x="297413" y="1031"/>
                    </a:cubicBezTo>
                    <a:cubicBezTo>
                      <a:pt x="299665" y="614"/>
                      <a:pt x="301835" y="113"/>
                      <a:pt x="304087" y="113"/>
                    </a:cubicBezTo>
                    <a:cubicBezTo>
                      <a:pt x="307591" y="-304"/>
                      <a:pt x="311178" y="530"/>
                      <a:pt x="314682" y="1031"/>
                    </a:cubicBezTo>
                    <a:cubicBezTo>
                      <a:pt x="315099" y="1031"/>
                      <a:pt x="315099" y="1031"/>
                      <a:pt x="315099" y="1031"/>
                    </a:cubicBezTo>
                    <a:cubicBezTo>
                      <a:pt x="318603" y="1448"/>
                      <a:pt x="321774" y="2365"/>
                      <a:pt x="325277" y="3283"/>
                    </a:cubicBezTo>
                    <a:cubicBezTo>
                      <a:pt x="328364" y="4201"/>
                      <a:pt x="331952" y="5035"/>
                      <a:pt x="335456" y="5535"/>
                    </a:cubicBezTo>
                    <a:cubicBezTo>
                      <a:pt x="344799" y="7788"/>
                      <a:pt x="353643" y="7788"/>
                      <a:pt x="362486" y="8205"/>
                    </a:cubicBezTo>
                    <a:cubicBezTo>
                      <a:pt x="368242" y="8622"/>
                      <a:pt x="374416" y="9123"/>
                      <a:pt x="380172" y="9540"/>
                    </a:cubicBezTo>
                    <a:cubicBezTo>
                      <a:pt x="390350" y="10874"/>
                      <a:pt x="401863" y="13043"/>
                      <a:pt x="408955" y="20134"/>
                    </a:cubicBezTo>
                    <a:cubicBezTo>
                      <a:pt x="412041" y="23638"/>
                      <a:pt x="413376" y="28142"/>
                      <a:pt x="414711" y="32981"/>
                    </a:cubicBezTo>
                    <a:cubicBezTo>
                      <a:pt x="416046" y="38320"/>
                      <a:pt x="417798" y="44493"/>
                      <a:pt x="422720" y="50249"/>
                    </a:cubicBezTo>
                    <a:cubicBezTo>
                      <a:pt x="430228" y="59592"/>
                      <a:pt x="439989" y="64847"/>
                      <a:pt x="450168" y="66599"/>
                    </a:cubicBezTo>
                    <a:cubicBezTo>
                      <a:pt x="448833" y="69269"/>
                      <a:pt x="447081" y="71938"/>
                      <a:pt x="445746" y="74608"/>
                    </a:cubicBezTo>
                    <a:cubicBezTo>
                      <a:pt x="435985" y="90541"/>
                      <a:pt x="426224" y="107392"/>
                      <a:pt x="421802" y="126912"/>
                    </a:cubicBezTo>
                    <a:cubicBezTo>
                      <a:pt x="416129" y="150770"/>
                      <a:pt x="413460" y="171125"/>
                      <a:pt x="413043" y="19014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40624977" name="Полилиния 385"/>
              <p:cNvSpPr/>
              <p:nvPr/>
            </p:nvSpPr>
            <p:spPr bwMode="auto">
              <a:xfrm>
                <a:off x="3049047" y="4376386"/>
                <a:ext cx="332503" cy="366897"/>
              </a:xfrm>
              <a:custGeom>
                <a:avLst/>
                <a:gdLst>
                  <a:gd name="connsiteX0" fmla="*/ 177111 w 373413"/>
                  <a:gd name="connsiteY0" fmla="*/ 387763 h 412038"/>
                  <a:gd name="connsiteX1" fmla="*/ 180197 w 373413"/>
                  <a:gd name="connsiteY1" fmla="*/ 367408 h 412038"/>
                  <a:gd name="connsiteX2" fmla="*/ 159841 w 373413"/>
                  <a:gd name="connsiteY2" fmla="*/ 359400 h 412038"/>
                  <a:gd name="connsiteX3" fmla="*/ 158089 w 373413"/>
                  <a:gd name="connsiteY3" fmla="*/ 359400 h 412038"/>
                  <a:gd name="connsiteX4" fmla="*/ 150080 w 373413"/>
                  <a:gd name="connsiteY4" fmla="*/ 356730 h 412038"/>
                  <a:gd name="connsiteX5" fmla="*/ 151415 w 373413"/>
                  <a:gd name="connsiteY5" fmla="*/ 336793 h 412038"/>
                  <a:gd name="connsiteX6" fmla="*/ 154085 w 373413"/>
                  <a:gd name="connsiteY6" fmla="*/ 331955 h 412038"/>
                  <a:gd name="connsiteX7" fmla="*/ 155420 w 373413"/>
                  <a:gd name="connsiteY7" fmla="*/ 310683 h 412038"/>
                  <a:gd name="connsiteX8" fmla="*/ 129307 w 373413"/>
                  <a:gd name="connsiteY8" fmla="*/ 303592 h 412038"/>
                  <a:gd name="connsiteX9" fmla="*/ 78333 w 373413"/>
                  <a:gd name="connsiteY9" fmla="*/ 327533 h 412038"/>
                  <a:gd name="connsiteX10" fmla="*/ 68155 w 373413"/>
                  <a:gd name="connsiteY10" fmla="*/ 336876 h 412038"/>
                  <a:gd name="connsiteX11" fmla="*/ 39373 w 373413"/>
                  <a:gd name="connsiteY11" fmla="*/ 357732 h 412038"/>
                  <a:gd name="connsiteX12" fmla="*/ 1247 w 373413"/>
                  <a:gd name="connsiteY12" fmla="*/ 368326 h 412038"/>
                  <a:gd name="connsiteX13" fmla="*/ 2582 w 373413"/>
                  <a:gd name="connsiteY13" fmla="*/ 331121 h 412038"/>
                  <a:gd name="connsiteX14" fmla="*/ 3917 w 373413"/>
                  <a:gd name="connsiteY14" fmla="*/ 321360 h 412038"/>
                  <a:gd name="connsiteX15" fmla="*/ 5668 w 373413"/>
                  <a:gd name="connsiteY15" fmla="*/ 286407 h 412038"/>
                  <a:gd name="connsiteX16" fmla="*/ 7003 w 373413"/>
                  <a:gd name="connsiteY16" fmla="*/ 286407 h 412038"/>
                  <a:gd name="connsiteX17" fmla="*/ 19851 w 373413"/>
                  <a:gd name="connsiteY17" fmla="*/ 281986 h 412038"/>
                  <a:gd name="connsiteX18" fmla="*/ 31781 w 373413"/>
                  <a:gd name="connsiteY18" fmla="*/ 247032 h 412038"/>
                  <a:gd name="connsiteX19" fmla="*/ 30863 w 373413"/>
                  <a:gd name="connsiteY19" fmla="*/ 240859 h 412038"/>
                  <a:gd name="connsiteX20" fmla="*/ 33533 w 373413"/>
                  <a:gd name="connsiteY20" fmla="*/ 220004 h 412038"/>
                  <a:gd name="connsiteX21" fmla="*/ 44128 w 373413"/>
                  <a:gd name="connsiteY21" fmla="*/ 211579 h 412038"/>
                  <a:gd name="connsiteX22" fmla="*/ 50802 w 373413"/>
                  <a:gd name="connsiteY22" fmla="*/ 208910 h 412038"/>
                  <a:gd name="connsiteX23" fmla="*/ 84006 w 373413"/>
                  <a:gd name="connsiteY23" fmla="*/ 154436 h 412038"/>
                  <a:gd name="connsiteX24" fmla="*/ 101693 w 373413"/>
                  <a:gd name="connsiteY24" fmla="*/ 98627 h 412038"/>
                  <a:gd name="connsiteX25" fmla="*/ 110536 w 373413"/>
                  <a:gd name="connsiteY25" fmla="*/ 103049 h 412038"/>
                  <a:gd name="connsiteX26" fmla="*/ 118545 w 373413"/>
                  <a:gd name="connsiteY26" fmla="*/ 107887 h 412038"/>
                  <a:gd name="connsiteX27" fmla="*/ 149580 w 373413"/>
                  <a:gd name="connsiteY27" fmla="*/ 110140 h 412038"/>
                  <a:gd name="connsiteX28" fmla="*/ 199636 w 373413"/>
                  <a:gd name="connsiteY28" fmla="*/ 60087 h 412038"/>
                  <a:gd name="connsiteX29" fmla="*/ 207144 w 373413"/>
                  <a:gd name="connsiteY29" fmla="*/ 33059 h 412038"/>
                  <a:gd name="connsiteX30" fmla="*/ 218240 w 373413"/>
                  <a:gd name="connsiteY30" fmla="*/ 7783 h 412038"/>
                  <a:gd name="connsiteX31" fmla="*/ 272718 w 373413"/>
                  <a:gd name="connsiteY31" fmla="*/ 11286 h 412038"/>
                  <a:gd name="connsiteX32" fmla="*/ 281144 w 373413"/>
                  <a:gd name="connsiteY32" fmla="*/ 17459 h 412038"/>
                  <a:gd name="connsiteX33" fmla="*/ 309092 w 373413"/>
                  <a:gd name="connsiteY33" fmla="*/ 32058 h 412038"/>
                  <a:gd name="connsiteX34" fmla="*/ 322857 w 373413"/>
                  <a:gd name="connsiteY34" fmla="*/ 32475 h 412038"/>
                  <a:gd name="connsiteX35" fmla="*/ 338375 w 373413"/>
                  <a:gd name="connsiteY35" fmla="*/ 37313 h 412038"/>
                  <a:gd name="connsiteX36" fmla="*/ 344548 w 373413"/>
                  <a:gd name="connsiteY36" fmla="*/ 44404 h 412038"/>
                  <a:gd name="connsiteX37" fmla="*/ 366740 w 373413"/>
                  <a:gd name="connsiteY37" fmla="*/ 61255 h 412038"/>
                  <a:gd name="connsiteX38" fmla="*/ 373414 w 373413"/>
                  <a:gd name="connsiteY38" fmla="*/ 63007 h 412038"/>
                  <a:gd name="connsiteX39" fmla="*/ 372496 w 373413"/>
                  <a:gd name="connsiteY39" fmla="*/ 67845 h 412038"/>
                  <a:gd name="connsiteX40" fmla="*/ 370244 w 373413"/>
                  <a:gd name="connsiteY40" fmla="*/ 79774 h 412038"/>
                  <a:gd name="connsiteX41" fmla="*/ 364904 w 373413"/>
                  <a:gd name="connsiteY41" fmla="*/ 97043 h 412038"/>
                  <a:gd name="connsiteX42" fmla="*/ 356895 w 373413"/>
                  <a:gd name="connsiteY42" fmla="*/ 129827 h 412038"/>
                  <a:gd name="connsiteX43" fmla="*/ 356478 w 373413"/>
                  <a:gd name="connsiteY43" fmla="*/ 139170 h 412038"/>
                  <a:gd name="connsiteX44" fmla="*/ 346300 w 373413"/>
                  <a:gd name="connsiteY44" fmla="*/ 178127 h 412038"/>
                  <a:gd name="connsiteX45" fmla="*/ 341461 w 373413"/>
                  <a:gd name="connsiteY45" fmla="*/ 185218 h 412038"/>
                  <a:gd name="connsiteX46" fmla="*/ 325110 w 373413"/>
                  <a:gd name="connsiteY46" fmla="*/ 225510 h 412038"/>
                  <a:gd name="connsiteX47" fmla="*/ 311344 w 373413"/>
                  <a:gd name="connsiteY47" fmla="*/ 274228 h 412038"/>
                  <a:gd name="connsiteX48" fmla="*/ 296745 w 373413"/>
                  <a:gd name="connsiteY48" fmla="*/ 285323 h 412038"/>
                  <a:gd name="connsiteX49" fmla="*/ 277223 w 373413"/>
                  <a:gd name="connsiteY49" fmla="*/ 299921 h 412038"/>
                  <a:gd name="connsiteX50" fmla="*/ 273218 w 373413"/>
                  <a:gd name="connsiteY50" fmla="*/ 306595 h 412038"/>
                  <a:gd name="connsiteX51" fmla="*/ 267879 w 373413"/>
                  <a:gd name="connsiteY51" fmla="*/ 313269 h 412038"/>
                  <a:gd name="connsiteX52" fmla="*/ 265626 w 373413"/>
                  <a:gd name="connsiteY52" fmla="*/ 311934 h 412038"/>
                  <a:gd name="connsiteX53" fmla="*/ 246104 w 373413"/>
                  <a:gd name="connsiteY53" fmla="*/ 308847 h 412038"/>
                  <a:gd name="connsiteX54" fmla="*/ 243435 w 373413"/>
                  <a:gd name="connsiteY54" fmla="*/ 351809 h 412038"/>
                  <a:gd name="connsiteX55" fmla="*/ 248774 w 373413"/>
                  <a:gd name="connsiteY55" fmla="*/ 370412 h 412038"/>
                  <a:gd name="connsiteX56" fmla="*/ 251027 w 373413"/>
                  <a:gd name="connsiteY56" fmla="*/ 384593 h 412038"/>
                  <a:gd name="connsiteX57" fmla="*/ 247940 w 373413"/>
                  <a:gd name="connsiteY57" fmla="*/ 394770 h 412038"/>
                  <a:gd name="connsiteX58" fmla="*/ 230253 w 373413"/>
                  <a:gd name="connsiteY58" fmla="*/ 399192 h 412038"/>
                  <a:gd name="connsiteX59" fmla="*/ 208980 w 373413"/>
                  <a:gd name="connsiteY59" fmla="*/ 402278 h 412038"/>
                  <a:gd name="connsiteX60" fmla="*/ 201471 w 373413"/>
                  <a:gd name="connsiteY60" fmla="*/ 408034 h 412038"/>
                  <a:gd name="connsiteX61" fmla="*/ 197050 w 373413"/>
                  <a:gd name="connsiteY61" fmla="*/ 411121 h 412038"/>
                  <a:gd name="connsiteX62" fmla="*/ 186454 w 373413"/>
                  <a:gd name="connsiteY62" fmla="*/ 412038 h 412038"/>
                  <a:gd name="connsiteX63" fmla="*/ 179780 w 373413"/>
                  <a:gd name="connsiteY63" fmla="*/ 411621 h 412038"/>
                  <a:gd name="connsiteX64" fmla="*/ 172689 w 373413"/>
                  <a:gd name="connsiteY64" fmla="*/ 411204 h 412038"/>
                  <a:gd name="connsiteX65" fmla="*/ 167850 w 373413"/>
                  <a:gd name="connsiteY65" fmla="*/ 411204 h 412038"/>
                  <a:gd name="connsiteX66" fmla="*/ 142572 w 373413"/>
                  <a:gd name="connsiteY66" fmla="*/ 403196 h 412038"/>
                  <a:gd name="connsiteX67" fmla="*/ 156337 w 373413"/>
                  <a:gd name="connsiteY67" fmla="*/ 396522 h 412038"/>
                  <a:gd name="connsiteX68" fmla="*/ 177111 w 373413"/>
                  <a:gd name="connsiteY68" fmla="*/ 387763 h 4120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73413" h="412038" extrusionOk="0">
                    <a:moveTo>
                      <a:pt x="177111" y="387763"/>
                    </a:moveTo>
                    <a:cubicBezTo>
                      <a:pt x="184619" y="379337"/>
                      <a:pt x="182867" y="372247"/>
                      <a:pt x="180197" y="367408"/>
                    </a:cubicBezTo>
                    <a:cubicBezTo>
                      <a:pt x="174858" y="358065"/>
                      <a:pt x="165097" y="358983"/>
                      <a:pt x="159841" y="359400"/>
                    </a:cubicBezTo>
                    <a:lnTo>
                      <a:pt x="158089" y="359400"/>
                    </a:lnTo>
                    <a:cubicBezTo>
                      <a:pt x="152333" y="359817"/>
                      <a:pt x="150581" y="357648"/>
                      <a:pt x="150080" y="356730"/>
                    </a:cubicBezTo>
                    <a:cubicBezTo>
                      <a:pt x="147411" y="353227"/>
                      <a:pt x="147828" y="344801"/>
                      <a:pt x="151415" y="336793"/>
                    </a:cubicBezTo>
                    <a:cubicBezTo>
                      <a:pt x="152333" y="335041"/>
                      <a:pt x="152750" y="333707"/>
                      <a:pt x="154085" y="331955"/>
                    </a:cubicBezTo>
                    <a:cubicBezTo>
                      <a:pt x="156754" y="326616"/>
                      <a:pt x="161176" y="319108"/>
                      <a:pt x="155420" y="310683"/>
                    </a:cubicBezTo>
                    <a:cubicBezTo>
                      <a:pt x="149246" y="300922"/>
                      <a:pt x="136398" y="302674"/>
                      <a:pt x="129307" y="303592"/>
                    </a:cubicBezTo>
                    <a:cubicBezTo>
                      <a:pt x="111120" y="305844"/>
                      <a:pt x="90347" y="317773"/>
                      <a:pt x="78333" y="327533"/>
                    </a:cubicBezTo>
                    <a:cubicBezTo>
                      <a:pt x="74829" y="330620"/>
                      <a:pt x="71242" y="333707"/>
                      <a:pt x="68155" y="336876"/>
                    </a:cubicBezTo>
                    <a:cubicBezTo>
                      <a:pt x="59312" y="345302"/>
                      <a:pt x="51803" y="352393"/>
                      <a:pt x="39373" y="357732"/>
                    </a:cubicBezTo>
                    <a:cubicBezTo>
                      <a:pt x="8338" y="371496"/>
                      <a:pt x="2164" y="368826"/>
                      <a:pt x="1247" y="368326"/>
                    </a:cubicBezTo>
                    <a:cubicBezTo>
                      <a:pt x="-1840" y="363905"/>
                      <a:pt x="1664" y="339129"/>
                      <a:pt x="2582" y="331121"/>
                    </a:cubicBezTo>
                    <a:cubicBezTo>
                      <a:pt x="3499" y="326699"/>
                      <a:pt x="3917" y="323112"/>
                      <a:pt x="3917" y="321360"/>
                    </a:cubicBezTo>
                    <a:cubicBezTo>
                      <a:pt x="4834" y="309431"/>
                      <a:pt x="5251" y="297919"/>
                      <a:pt x="5668" y="286407"/>
                    </a:cubicBezTo>
                    <a:lnTo>
                      <a:pt x="7003" y="286407"/>
                    </a:lnTo>
                    <a:cubicBezTo>
                      <a:pt x="12343" y="286407"/>
                      <a:pt x="16764" y="284155"/>
                      <a:pt x="19851" y="281986"/>
                    </a:cubicBezTo>
                    <a:cubicBezTo>
                      <a:pt x="30029" y="274895"/>
                      <a:pt x="32699" y="258962"/>
                      <a:pt x="31781" y="247032"/>
                    </a:cubicBezTo>
                    <a:cubicBezTo>
                      <a:pt x="31364" y="244780"/>
                      <a:pt x="31364" y="242611"/>
                      <a:pt x="30863" y="240859"/>
                    </a:cubicBezTo>
                    <a:cubicBezTo>
                      <a:pt x="29946" y="232434"/>
                      <a:pt x="29529" y="227095"/>
                      <a:pt x="33533" y="220004"/>
                    </a:cubicBezTo>
                    <a:cubicBezTo>
                      <a:pt x="37037" y="214665"/>
                      <a:pt x="38872" y="213831"/>
                      <a:pt x="44128" y="211579"/>
                    </a:cubicBezTo>
                    <a:cubicBezTo>
                      <a:pt x="46381" y="210661"/>
                      <a:pt x="48550" y="210244"/>
                      <a:pt x="50802" y="208910"/>
                    </a:cubicBezTo>
                    <a:cubicBezTo>
                      <a:pt x="76915" y="196480"/>
                      <a:pt x="82671" y="181464"/>
                      <a:pt x="84006" y="154436"/>
                    </a:cubicBezTo>
                    <a:cubicBezTo>
                      <a:pt x="85758" y="123403"/>
                      <a:pt x="93350" y="99545"/>
                      <a:pt x="101693" y="98627"/>
                    </a:cubicBezTo>
                    <a:cubicBezTo>
                      <a:pt x="103945" y="98627"/>
                      <a:pt x="107449" y="101297"/>
                      <a:pt x="110536" y="103049"/>
                    </a:cubicBezTo>
                    <a:cubicBezTo>
                      <a:pt x="113206" y="104800"/>
                      <a:pt x="115875" y="106552"/>
                      <a:pt x="118545" y="107887"/>
                    </a:cubicBezTo>
                    <a:cubicBezTo>
                      <a:pt x="128306" y="111891"/>
                      <a:pt x="139819" y="112725"/>
                      <a:pt x="149580" y="110140"/>
                    </a:cubicBezTo>
                    <a:cubicBezTo>
                      <a:pt x="173023" y="103966"/>
                      <a:pt x="189041" y="77355"/>
                      <a:pt x="199636" y="60087"/>
                    </a:cubicBezTo>
                    <a:cubicBezTo>
                      <a:pt x="204975" y="51245"/>
                      <a:pt x="206310" y="41484"/>
                      <a:pt x="207144" y="33059"/>
                    </a:cubicBezTo>
                    <a:cubicBezTo>
                      <a:pt x="208479" y="21130"/>
                      <a:pt x="210231" y="13121"/>
                      <a:pt x="218240" y="7783"/>
                    </a:cubicBezTo>
                    <a:cubicBezTo>
                      <a:pt x="235509" y="-3729"/>
                      <a:pt x="251944" y="-2395"/>
                      <a:pt x="272718" y="11286"/>
                    </a:cubicBezTo>
                    <a:cubicBezTo>
                      <a:pt x="275387" y="13038"/>
                      <a:pt x="278057" y="14790"/>
                      <a:pt x="281144" y="17459"/>
                    </a:cubicBezTo>
                    <a:cubicBezTo>
                      <a:pt x="289153" y="23632"/>
                      <a:pt x="297495" y="30306"/>
                      <a:pt x="309092" y="32058"/>
                    </a:cubicBezTo>
                    <a:cubicBezTo>
                      <a:pt x="314431" y="32976"/>
                      <a:pt x="319270" y="32976"/>
                      <a:pt x="322857" y="32475"/>
                    </a:cubicBezTo>
                    <a:cubicBezTo>
                      <a:pt x="329531" y="32058"/>
                      <a:pt x="332618" y="31557"/>
                      <a:pt x="338375" y="37313"/>
                    </a:cubicBezTo>
                    <a:cubicBezTo>
                      <a:pt x="340627" y="39983"/>
                      <a:pt x="342796" y="42152"/>
                      <a:pt x="344548" y="44404"/>
                    </a:cubicBezTo>
                    <a:cubicBezTo>
                      <a:pt x="349888" y="51078"/>
                      <a:pt x="354726" y="57251"/>
                      <a:pt x="366740" y="61255"/>
                    </a:cubicBezTo>
                    <a:cubicBezTo>
                      <a:pt x="368992" y="62173"/>
                      <a:pt x="371161" y="62590"/>
                      <a:pt x="373414" y="63007"/>
                    </a:cubicBezTo>
                    <a:cubicBezTo>
                      <a:pt x="372997" y="64759"/>
                      <a:pt x="372997" y="66093"/>
                      <a:pt x="372496" y="67845"/>
                    </a:cubicBezTo>
                    <a:cubicBezTo>
                      <a:pt x="372079" y="71849"/>
                      <a:pt x="371161" y="75854"/>
                      <a:pt x="370244" y="79774"/>
                    </a:cubicBezTo>
                    <a:cubicBezTo>
                      <a:pt x="368909" y="85948"/>
                      <a:pt x="366740" y="91287"/>
                      <a:pt x="364904" y="97043"/>
                    </a:cubicBezTo>
                    <a:cubicBezTo>
                      <a:pt x="361401" y="107220"/>
                      <a:pt x="357396" y="117397"/>
                      <a:pt x="356895" y="129827"/>
                    </a:cubicBezTo>
                    <a:cubicBezTo>
                      <a:pt x="356478" y="132913"/>
                      <a:pt x="356478" y="136000"/>
                      <a:pt x="356478" y="139170"/>
                    </a:cubicBezTo>
                    <a:cubicBezTo>
                      <a:pt x="356061" y="154686"/>
                      <a:pt x="355561" y="164863"/>
                      <a:pt x="346300" y="178127"/>
                    </a:cubicBezTo>
                    <a:cubicBezTo>
                      <a:pt x="344548" y="180797"/>
                      <a:pt x="343213" y="182966"/>
                      <a:pt x="341461" y="185218"/>
                    </a:cubicBezTo>
                    <a:cubicBezTo>
                      <a:pt x="332618" y="197147"/>
                      <a:pt x="325944" y="206490"/>
                      <a:pt x="325110" y="225510"/>
                    </a:cubicBezTo>
                    <a:cubicBezTo>
                      <a:pt x="324192" y="243195"/>
                      <a:pt x="318936" y="261381"/>
                      <a:pt x="311344" y="274228"/>
                    </a:cubicBezTo>
                    <a:cubicBezTo>
                      <a:pt x="307840" y="279566"/>
                      <a:pt x="302501" y="282236"/>
                      <a:pt x="296745" y="285323"/>
                    </a:cubicBezTo>
                    <a:cubicBezTo>
                      <a:pt x="290571" y="288409"/>
                      <a:pt x="282979" y="292414"/>
                      <a:pt x="277223" y="299921"/>
                    </a:cubicBezTo>
                    <a:cubicBezTo>
                      <a:pt x="275888" y="302173"/>
                      <a:pt x="274553" y="304342"/>
                      <a:pt x="273218" y="306595"/>
                    </a:cubicBezTo>
                    <a:cubicBezTo>
                      <a:pt x="271466" y="310098"/>
                      <a:pt x="270131" y="312351"/>
                      <a:pt x="267879" y="313269"/>
                    </a:cubicBezTo>
                    <a:cubicBezTo>
                      <a:pt x="267462" y="313269"/>
                      <a:pt x="266544" y="312351"/>
                      <a:pt x="265626" y="311934"/>
                    </a:cubicBezTo>
                    <a:cubicBezTo>
                      <a:pt x="262540" y="309681"/>
                      <a:pt x="255866" y="305260"/>
                      <a:pt x="246104" y="308847"/>
                    </a:cubicBezTo>
                    <a:cubicBezTo>
                      <a:pt x="231505" y="315020"/>
                      <a:pt x="237678" y="333206"/>
                      <a:pt x="243435" y="351809"/>
                    </a:cubicBezTo>
                    <a:cubicBezTo>
                      <a:pt x="245687" y="357982"/>
                      <a:pt x="247439" y="364238"/>
                      <a:pt x="248774" y="370412"/>
                    </a:cubicBezTo>
                    <a:cubicBezTo>
                      <a:pt x="250109" y="375250"/>
                      <a:pt x="251027" y="380172"/>
                      <a:pt x="251027" y="384593"/>
                    </a:cubicBezTo>
                    <a:cubicBezTo>
                      <a:pt x="251027" y="389014"/>
                      <a:pt x="250109" y="392101"/>
                      <a:pt x="247940" y="394770"/>
                    </a:cubicBezTo>
                    <a:cubicBezTo>
                      <a:pt x="243518" y="399192"/>
                      <a:pt x="239097" y="399192"/>
                      <a:pt x="230253" y="399192"/>
                    </a:cubicBezTo>
                    <a:cubicBezTo>
                      <a:pt x="223579" y="398775"/>
                      <a:pt x="216071" y="398775"/>
                      <a:pt x="208980" y="402278"/>
                    </a:cubicBezTo>
                    <a:cubicBezTo>
                      <a:pt x="205893" y="403613"/>
                      <a:pt x="203640" y="405782"/>
                      <a:pt x="201471" y="408034"/>
                    </a:cubicBezTo>
                    <a:cubicBezTo>
                      <a:pt x="199719" y="409786"/>
                      <a:pt x="198802" y="410704"/>
                      <a:pt x="197050" y="411121"/>
                    </a:cubicBezTo>
                    <a:cubicBezTo>
                      <a:pt x="193963" y="412038"/>
                      <a:pt x="190376" y="412038"/>
                      <a:pt x="186454" y="412038"/>
                    </a:cubicBezTo>
                    <a:cubicBezTo>
                      <a:pt x="184202" y="412038"/>
                      <a:pt x="182033" y="412038"/>
                      <a:pt x="179780" y="411621"/>
                    </a:cubicBezTo>
                    <a:cubicBezTo>
                      <a:pt x="177111" y="411204"/>
                      <a:pt x="174942" y="411204"/>
                      <a:pt x="172689" y="411204"/>
                    </a:cubicBezTo>
                    <a:lnTo>
                      <a:pt x="167850" y="411204"/>
                    </a:lnTo>
                    <a:cubicBezTo>
                      <a:pt x="152333" y="411621"/>
                      <a:pt x="143072" y="410287"/>
                      <a:pt x="142572" y="403196"/>
                    </a:cubicBezTo>
                    <a:cubicBezTo>
                      <a:pt x="142155" y="400109"/>
                      <a:pt x="143489" y="398775"/>
                      <a:pt x="156337" y="396522"/>
                    </a:cubicBezTo>
                    <a:cubicBezTo>
                      <a:pt x="162928" y="395271"/>
                      <a:pt x="171771" y="393936"/>
                      <a:pt x="177111" y="38776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26033236" name="Полилиния 386"/>
              <p:cNvSpPr/>
              <p:nvPr/>
            </p:nvSpPr>
            <p:spPr bwMode="auto">
              <a:xfrm>
                <a:off x="2817118" y="3864785"/>
                <a:ext cx="677213" cy="752814"/>
              </a:xfrm>
              <a:custGeom>
                <a:avLst/>
                <a:gdLst>
                  <a:gd name="connsiteX0" fmla="*/ 251949 w 760534"/>
                  <a:gd name="connsiteY0" fmla="*/ 838262 h 845436"/>
                  <a:gd name="connsiteX1" fmla="*/ 251949 w 760534"/>
                  <a:gd name="connsiteY1" fmla="*/ 838262 h 845436"/>
                  <a:gd name="connsiteX2" fmla="*/ 250614 w 760534"/>
                  <a:gd name="connsiteY2" fmla="*/ 823664 h 845436"/>
                  <a:gd name="connsiteX3" fmla="*/ 247945 w 760534"/>
                  <a:gd name="connsiteY3" fmla="*/ 801557 h 845436"/>
                  <a:gd name="connsiteX4" fmla="*/ 239519 w 760534"/>
                  <a:gd name="connsiteY4" fmla="*/ 790963 h 845436"/>
                  <a:gd name="connsiteX5" fmla="*/ 234680 w 760534"/>
                  <a:gd name="connsiteY5" fmla="*/ 784790 h 845436"/>
                  <a:gd name="connsiteX6" fmla="*/ 235598 w 760534"/>
                  <a:gd name="connsiteY6" fmla="*/ 764852 h 845436"/>
                  <a:gd name="connsiteX7" fmla="*/ 236515 w 760534"/>
                  <a:gd name="connsiteY7" fmla="*/ 761349 h 845436"/>
                  <a:gd name="connsiteX8" fmla="*/ 237433 w 760534"/>
                  <a:gd name="connsiteY8" fmla="*/ 758679 h 845436"/>
                  <a:gd name="connsiteX9" fmla="*/ 236515 w 760534"/>
                  <a:gd name="connsiteY9" fmla="*/ 736990 h 845436"/>
                  <a:gd name="connsiteX10" fmla="*/ 230342 w 760534"/>
                  <a:gd name="connsiteY10" fmla="*/ 728981 h 845436"/>
                  <a:gd name="connsiteX11" fmla="*/ 227672 w 760534"/>
                  <a:gd name="connsiteY11" fmla="*/ 726729 h 845436"/>
                  <a:gd name="connsiteX12" fmla="*/ 225419 w 760534"/>
                  <a:gd name="connsiteY12" fmla="*/ 720556 h 845436"/>
                  <a:gd name="connsiteX13" fmla="*/ 228506 w 760534"/>
                  <a:gd name="connsiteY13" fmla="*/ 713465 h 845436"/>
                  <a:gd name="connsiteX14" fmla="*/ 229841 w 760534"/>
                  <a:gd name="connsiteY14" fmla="*/ 711213 h 845436"/>
                  <a:gd name="connsiteX15" fmla="*/ 232093 w 760534"/>
                  <a:gd name="connsiteY15" fmla="*/ 690858 h 845436"/>
                  <a:gd name="connsiteX16" fmla="*/ 221915 w 760534"/>
                  <a:gd name="connsiteY16" fmla="*/ 678429 h 845436"/>
                  <a:gd name="connsiteX17" fmla="*/ 217494 w 760534"/>
                  <a:gd name="connsiteY17" fmla="*/ 673590 h 845436"/>
                  <a:gd name="connsiteX18" fmla="*/ 221498 w 760534"/>
                  <a:gd name="connsiteY18" fmla="*/ 666499 h 845436"/>
                  <a:gd name="connsiteX19" fmla="*/ 228590 w 760534"/>
                  <a:gd name="connsiteY19" fmla="*/ 646979 h 845436"/>
                  <a:gd name="connsiteX20" fmla="*/ 210903 w 760534"/>
                  <a:gd name="connsiteY20" fmla="*/ 627959 h 845436"/>
                  <a:gd name="connsiteX21" fmla="*/ 207816 w 760534"/>
                  <a:gd name="connsiteY21" fmla="*/ 626625 h 845436"/>
                  <a:gd name="connsiteX22" fmla="*/ 200725 w 760534"/>
                  <a:gd name="connsiteY22" fmla="*/ 623121 h 845436"/>
                  <a:gd name="connsiteX23" fmla="*/ 194551 w 760534"/>
                  <a:gd name="connsiteY23" fmla="*/ 616447 h 845436"/>
                  <a:gd name="connsiteX24" fmla="*/ 193217 w 760534"/>
                  <a:gd name="connsiteY24" fmla="*/ 609356 h 845436"/>
                  <a:gd name="connsiteX25" fmla="*/ 180786 w 760534"/>
                  <a:gd name="connsiteY25" fmla="*/ 589002 h 845436"/>
                  <a:gd name="connsiteX26" fmla="*/ 162599 w 760534"/>
                  <a:gd name="connsiteY26" fmla="*/ 583246 h 845436"/>
                  <a:gd name="connsiteX27" fmla="*/ 151086 w 760534"/>
                  <a:gd name="connsiteY27" fmla="*/ 580576 h 845436"/>
                  <a:gd name="connsiteX28" fmla="*/ 142660 w 760534"/>
                  <a:gd name="connsiteY28" fmla="*/ 575738 h 845436"/>
                  <a:gd name="connsiteX29" fmla="*/ 128060 w 760534"/>
                  <a:gd name="connsiteY29" fmla="*/ 568647 h 845436"/>
                  <a:gd name="connsiteX30" fmla="*/ 74417 w 760534"/>
                  <a:gd name="connsiteY30" fmla="*/ 556718 h 845436"/>
                  <a:gd name="connsiteX31" fmla="*/ 58482 w 760534"/>
                  <a:gd name="connsiteY31" fmla="*/ 555801 h 845436"/>
                  <a:gd name="connsiteX32" fmla="*/ 22192 w 760534"/>
                  <a:gd name="connsiteY32" fmla="*/ 541619 h 845436"/>
                  <a:gd name="connsiteX33" fmla="*/ 0 w 760534"/>
                  <a:gd name="connsiteY33" fmla="*/ 507917 h 845436"/>
                  <a:gd name="connsiteX34" fmla="*/ 21691 w 760534"/>
                  <a:gd name="connsiteY34" fmla="*/ 480889 h 845436"/>
                  <a:gd name="connsiteX35" fmla="*/ 56647 w 760534"/>
                  <a:gd name="connsiteY35" fmla="*/ 458282 h 845436"/>
                  <a:gd name="connsiteX36" fmla="*/ 70412 w 760534"/>
                  <a:gd name="connsiteY36" fmla="*/ 464455 h 845436"/>
                  <a:gd name="connsiteX37" fmla="*/ 112042 w 760534"/>
                  <a:gd name="connsiteY37" fmla="*/ 470628 h 845436"/>
                  <a:gd name="connsiteX38" fmla="*/ 157260 w 760534"/>
                  <a:gd name="connsiteY38" fmla="*/ 430336 h 845436"/>
                  <a:gd name="connsiteX39" fmla="*/ 133316 w 760534"/>
                  <a:gd name="connsiteY39" fmla="*/ 391796 h 845436"/>
                  <a:gd name="connsiteX40" fmla="*/ 125307 w 760534"/>
                  <a:gd name="connsiteY40" fmla="*/ 386457 h 845436"/>
                  <a:gd name="connsiteX41" fmla="*/ 94773 w 760534"/>
                  <a:gd name="connsiteY41" fmla="*/ 358511 h 845436"/>
                  <a:gd name="connsiteX42" fmla="*/ 81508 w 760534"/>
                  <a:gd name="connsiteY42" fmla="*/ 346081 h 845436"/>
                  <a:gd name="connsiteX43" fmla="*/ 78004 w 760534"/>
                  <a:gd name="connsiteY43" fmla="*/ 342578 h 845436"/>
                  <a:gd name="connsiteX44" fmla="*/ 92604 w 760534"/>
                  <a:gd name="connsiteY44" fmla="*/ 331482 h 845436"/>
                  <a:gd name="connsiteX45" fmla="*/ 94856 w 760534"/>
                  <a:gd name="connsiteY45" fmla="*/ 330148 h 845436"/>
                  <a:gd name="connsiteX46" fmla="*/ 120135 w 760534"/>
                  <a:gd name="connsiteY46" fmla="*/ 312463 h 845436"/>
                  <a:gd name="connsiteX47" fmla="*/ 149334 w 760534"/>
                  <a:gd name="connsiteY47" fmla="*/ 306290 h 845436"/>
                  <a:gd name="connsiteX48" fmla="*/ 152004 w 760534"/>
                  <a:gd name="connsiteY48" fmla="*/ 306707 h 845436"/>
                  <a:gd name="connsiteX49" fmla="*/ 160847 w 760534"/>
                  <a:gd name="connsiteY49" fmla="*/ 307625 h 845436"/>
                  <a:gd name="connsiteX50" fmla="*/ 173277 w 760534"/>
                  <a:gd name="connsiteY50" fmla="*/ 304538 h 845436"/>
                  <a:gd name="connsiteX51" fmla="*/ 177699 w 760534"/>
                  <a:gd name="connsiteY51" fmla="*/ 303203 h 845436"/>
                  <a:gd name="connsiteX52" fmla="*/ 198973 w 760534"/>
                  <a:gd name="connsiteY52" fmla="*/ 302285 h 845436"/>
                  <a:gd name="connsiteX53" fmla="*/ 205647 w 760534"/>
                  <a:gd name="connsiteY53" fmla="*/ 302702 h 845436"/>
                  <a:gd name="connsiteX54" fmla="*/ 239352 w 760534"/>
                  <a:gd name="connsiteY54" fmla="*/ 293860 h 845436"/>
                  <a:gd name="connsiteX55" fmla="*/ 252616 w 760534"/>
                  <a:gd name="connsiteY55" fmla="*/ 260659 h 845436"/>
                  <a:gd name="connsiteX56" fmla="*/ 253034 w 760534"/>
                  <a:gd name="connsiteY56" fmla="*/ 243391 h 845436"/>
                  <a:gd name="connsiteX57" fmla="*/ 254369 w 760534"/>
                  <a:gd name="connsiteY57" fmla="*/ 219449 h 845436"/>
                  <a:gd name="connsiteX58" fmla="*/ 272055 w 760534"/>
                  <a:gd name="connsiteY58" fmla="*/ 187082 h 845436"/>
                  <a:gd name="connsiteX59" fmla="*/ 273390 w 760534"/>
                  <a:gd name="connsiteY59" fmla="*/ 185747 h 845436"/>
                  <a:gd name="connsiteX60" fmla="*/ 281399 w 760534"/>
                  <a:gd name="connsiteY60" fmla="*/ 173818 h 845436"/>
                  <a:gd name="connsiteX61" fmla="*/ 287155 w 760534"/>
                  <a:gd name="connsiteY61" fmla="*/ 154798 h 845436"/>
                  <a:gd name="connsiteX62" fmla="*/ 297751 w 760534"/>
                  <a:gd name="connsiteY62" fmla="*/ 130439 h 845436"/>
                  <a:gd name="connsiteX63" fmla="*/ 303090 w 760534"/>
                  <a:gd name="connsiteY63" fmla="*/ 127353 h 845436"/>
                  <a:gd name="connsiteX64" fmla="*/ 312434 w 760534"/>
                  <a:gd name="connsiteY64" fmla="*/ 121180 h 845436"/>
                  <a:gd name="connsiteX65" fmla="*/ 318190 w 760534"/>
                  <a:gd name="connsiteY65" fmla="*/ 105663 h 845436"/>
                  <a:gd name="connsiteX66" fmla="*/ 312016 w 760534"/>
                  <a:gd name="connsiteY66" fmla="*/ 95486 h 845436"/>
                  <a:gd name="connsiteX67" fmla="*/ 302255 w 760534"/>
                  <a:gd name="connsiteY67" fmla="*/ 92817 h 845436"/>
                  <a:gd name="connsiteX68" fmla="*/ 291660 w 760534"/>
                  <a:gd name="connsiteY68" fmla="*/ 86143 h 845436"/>
                  <a:gd name="connsiteX69" fmla="*/ 290325 w 760534"/>
                  <a:gd name="connsiteY69" fmla="*/ 84391 h 845436"/>
                  <a:gd name="connsiteX70" fmla="*/ 281899 w 760534"/>
                  <a:gd name="connsiteY70" fmla="*/ 75549 h 845436"/>
                  <a:gd name="connsiteX71" fmla="*/ 277478 w 760534"/>
                  <a:gd name="connsiteY71" fmla="*/ 74214 h 845436"/>
                  <a:gd name="connsiteX72" fmla="*/ 277478 w 760534"/>
                  <a:gd name="connsiteY72" fmla="*/ 70710 h 845436"/>
                  <a:gd name="connsiteX73" fmla="*/ 286321 w 760534"/>
                  <a:gd name="connsiteY73" fmla="*/ 67206 h 845436"/>
                  <a:gd name="connsiteX74" fmla="*/ 295164 w 760534"/>
                  <a:gd name="connsiteY74" fmla="*/ 67624 h 845436"/>
                  <a:gd name="connsiteX75" fmla="*/ 301838 w 760534"/>
                  <a:gd name="connsiteY75" fmla="*/ 68541 h 845436"/>
                  <a:gd name="connsiteX76" fmla="*/ 346138 w 760534"/>
                  <a:gd name="connsiteY76" fmla="*/ 55695 h 845436"/>
                  <a:gd name="connsiteX77" fmla="*/ 379842 w 760534"/>
                  <a:gd name="connsiteY77" fmla="*/ 27332 h 845436"/>
                  <a:gd name="connsiteX78" fmla="*/ 386934 w 760534"/>
                  <a:gd name="connsiteY78" fmla="*/ 20241 h 845436"/>
                  <a:gd name="connsiteX79" fmla="*/ 397112 w 760534"/>
                  <a:gd name="connsiteY79" fmla="*/ 10063 h 845436"/>
                  <a:gd name="connsiteX80" fmla="*/ 400616 w 760534"/>
                  <a:gd name="connsiteY80" fmla="*/ 6977 h 845436"/>
                  <a:gd name="connsiteX81" fmla="*/ 407290 w 760534"/>
                  <a:gd name="connsiteY81" fmla="*/ 1638 h 845436"/>
                  <a:gd name="connsiteX82" fmla="*/ 424559 w 760534"/>
                  <a:gd name="connsiteY82" fmla="*/ 2973 h 845436"/>
                  <a:gd name="connsiteX83" fmla="*/ 440911 w 760534"/>
                  <a:gd name="connsiteY83" fmla="*/ 18072 h 845436"/>
                  <a:gd name="connsiteX84" fmla="*/ 447085 w 760534"/>
                  <a:gd name="connsiteY84" fmla="*/ 26915 h 845436"/>
                  <a:gd name="connsiteX85" fmla="*/ 447085 w 760534"/>
                  <a:gd name="connsiteY85" fmla="*/ 34923 h 845436"/>
                  <a:gd name="connsiteX86" fmla="*/ 447502 w 760534"/>
                  <a:gd name="connsiteY86" fmla="*/ 46018 h 845436"/>
                  <a:gd name="connsiteX87" fmla="*/ 467858 w 760534"/>
                  <a:gd name="connsiteY87" fmla="*/ 69959 h 845436"/>
                  <a:gd name="connsiteX88" fmla="*/ 462519 w 760534"/>
                  <a:gd name="connsiteY88" fmla="*/ 83724 h 845436"/>
                  <a:gd name="connsiteX89" fmla="*/ 458514 w 760534"/>
                  <a:gd name="connsiteY89" fmla="*/ 94318 h 845436"/>
                  <a:gd name="connsiteX90" fmla="*/ 449671 w 760534"/>
                  <a:gd name="connsiteY90" fmla="*/ 111586 h 845436"/>
                  <a:gd name="connsiteX91" fmla="*/ 436823 w 760534"/>
                  <a:gd name="connsiteY91" fmla="*/ 140366 h 845436"/>
                  <a:gd name="connsiteX92" fmla="*/ 426645 w 760534"/>
                  <a:gd name="connsiteY92" fmla="*/ 151878 h 845436"/>
                  <a:gd name="connsiteX93" fmla="*/ 411127 w 760534"/>
                  <a:gd name="connsiteY93" fmla="*/ 158051 h 845436"/>
                  <a:gd name="connsiteX94" fmla="*/ 392940 w 760534"/>
                  <a:gd name="connsiteY94" fmla="*/ 185497 h 845436"/>
                  <a:gd name="connsiteX95" fmla="*/ 388519 w 760534"/>
                  <a:gd name="connsiteY95" fmla="*/ 196091 h 845436"/>
                  <a:gd name="connsiteX96" fmla="*/ 384514 w 760534"/>
                  <a:gd name="connsiteY96" fmla="*/ 202765 h 845436"/>
                  <a:gd name="connsiteX97" fmla="*/ 376505 w 760534"/>
                  <a:gd name="connsiteY97" fmla="*/ 241305 h 845436"/>
                  <a:gd name="connsiteX98" fmla="*/ 387101 w 760534"/>
                  <a:gd name="connsiteY98" fmla="*/ 249730 h 845436"/>
                  <a:gd name="connsiteX99" fmla="*/ 391939 w 760534"/>
                  <a:gd name="connsiteY99" fmla="*/ 252817 h 845436"/>
                  <a:gd name="connsiteX100" fmla="*/ 394609 w 760534"/>
                  <a:gd name="connsiteY100" fmla="*/ 272755 h 845436"/>
                  <a:gd name="connsiteX101" fmla="*/ 393274 w 760534"/>
                  <a:gd name="connsiteY101" fmla="*/ 278928 h 845436"/>
                  <a:gd name="connsiteX102" fmla="*/ 391522 w 760534"/>
                  <a:gd name="connsiteY102" fmla="*/ 296196 h 845436"/>
                  <a:gd name="connsiteX103" fmla="*/ 399531 w 760534"/>
                  <a:gd name="connsiteY103" fmla="*/ 308625 h 845436"/>
                  <a:gd name="connsiteX104" fmla="*/ 403536 w 760534"/>
                  <a:gd name="connsiteY104" fmla="*/ 313464 h 845436"/>
                  <a:gd name="connsiteX105" fmla="*/ 402618 w 760534"/>
                  <a:gd name="connsiteY105" fmla="*/ 325894 h 845436"/>
                  <a:gd name="connsiteX106" fmla="*/ 407457 w 760534"/>
                  <a:gd name="connsiteY106" fmla="*/ 354257 h 845436"/>
                  <a:gd name="connsiteX107" fmla="*/ 418552 w 760534"/>
                  <a:gd name="connsiteY107" fmla="*/ 357760 h 845436"/>
                  <a:gd name="connsiteX108" fmla="*/ 422056 w 760534"/>
                  <a:gd name="connsiteY108" fmla="*/ 357343 h 845436"/>
                  <a:gd name="connsiteX109" fmla="*/ 449087 w 760534"/>
                  <a:gd name="connsiteY109" fmla="*/ 330315 h 845436"/>
                  <a:gd name="connsiteX110" fmla="*/ 450422 w 760534"/>
                  <a:gd name="connsiteY110" fmla="*/ 327645 h 845436"/>
                  <a:gd name="connsiteX111" fmla="*/ 480956 w 760534"/>
                  <a:gd name="connsiteY111" fmla="*/ 301535 h 845436"/>
                  <a:gd name="connsiteX112" fmla="*/ 522169 w 760534"/>
                  <a:gd name="connsiteY112" fmla="*/ 307291 h 845436"/>
                  <a:gd name="connsiteX113" fmla="*/ 566051 w 760534"/>
                  <a:gd name="connsiteY113" fmla="*/ 308625 h 845436"/>
                  <a:gd name="connsiteX114" fmla="*/ 573560 w 760534"/>
                  <a:gd name="connsiteY114" fmla="*/ 306873 h 845436"/>
                  <a:gd name="connsiteX115" fmla="*/ 589494 w 760534"/>
                  <a:gd name="connsiteY115" fmla="*/ 313964 h 845436"/>
                  <a:gd name="connsiteX116" fmla="*/ 597920 w 760534"/>
                  <a:gd name="connsiteY116" fmla="*/ 324559 h 845436"/>
                  <a:gd name="connsiteX117" fmla="*/ 641302 w 760534"/>
                  <a:gd name="connsiteY117" fmla="*/ 321889 h 845436"/>
                  <a:gd name="connsiteX118" fmla="*/ 650145 w 760534"/>
                  <a:gd name="connsiteY118" fmla="*/ 316133 h 845436"/>
                  <a:gd name="connsiteX119" fmla="*/ 681180 w 760534"/>
                  <a:gd name="connsiteY119" fmla="*/ 316550 h 845436"/>
                  <a:gd name="connsiteX120" fmla="*/ 682515 w 760534"/>
                  <a:gd name="connsiteY120" fmla="*/ 317468 h 845436"/>
                  <a:gd name="connsiteX121" fmla="*/ 688689 w 760534"/>
                  <a:gd name="connsiteY121" fmla="*/ 339574 h 845436"/>
                  <a:gd name="connsiteX122" fmla="*/ 728149 w 760534"/>
                  <a:gd name="connsiteY122" fmla="*/ 368355 h 845436"/>
                  <a:gd name="connsiteX123" fmla="*/ 739245 w 760534"/>
                  <a:gd name="connsiteY123" fmla="*/ 374528 h 845436"/>
                  <a:gd name="connsiteX124" fmla="*/ 760519 w 760534"/>
                  <a:gd name="connsiteY124" fmla="*/ 399804 h 845436"/>
                  <a:gd name="connsiteX125" fmla="*/ 736159 w 760534"/>
                  <a:gd name="connsiteY125" fmla="*/ 435258 h 845436"/>
                  <a:gd name="connsiteX126" fmla="*/ 713550 w 760534"/>
                  <a:gd name="connsiteY126" fmla="*/ 449857 h 845436"/>
                  <a:gd name="connsiteX127" fmla="*/ 663494 w 760534"/>
                  <a:gd name="connsiteY127" fmla="*/ 507000 h 845436"/>
                  <a:gd name="connsiteX128" fmla="*/ 676341 w 760534"/>
                  <a:gd name="connsiteY128" fmla="*/ 531358 h 845436"/>
                  <a:gd name="connsiteX129" fmla="*/ 684768 w 760534"/>
                  <a:gd name="connsiteY129" fmla="*/ 543288 h 845436"/>
                  <a:gd name="connsiteX130" fmla="*/ 678594 w 760534"/>
                  <a:gd name="connsiteY130" fmla="*/ 556134 h 845436"/>
                  <a:gd name="connsiteX131" fmla="*/ 668416 w 760534"/>
                  <a:gd name="connsiteY131" fmla="*/ 573819 h 845436"/>
                  <a:gd name="connsiteX132" fmla="*/ 667498 w 760534"/>
                  <a:gd name="connsiteY132" fmla="*/ 582662 h 845436"/>
                  <a:gd name="connsiteX133" fmla="*/ 667498 w 760534"/>
                  <a:gd name="connsiteY133" fmla="*/ 583997 h 845436"/>
                  <a:gd name="connsiteX134" fmla="*/ 665246 w 760534"/>
                  <a:gd name="connsiteY134" fmla="*/ 593757 h 845436"/>
                  <a:gd name="connsiteX135" fmla="*/ 662159 w 760534"/>
                  <a:gd name="connsiteY135" fmla="*/ 596426 h 845436"/>
                  <a:gd name="connsiteX136" fmla="*/ 659072 w 760534"/>
                  <a:gd name="connsiteY136" fmla="*/ 597761 h 845436"/>
                  <a:gd name="connsiteX137" fmla="*/ 649728 w 760534"/>
                  <a:gd name="connsiteY137" fmla="*/ 603934 h 845436"/>
                  <a:gd name="connsiteX138" fmla="*/ 638215 w 760534"/>
                  <a:gd name="connsiteY138" fmla="*/ 622120 h 845436"/>
                  <a:gd name="connsiteX139" fmla="*/ 632876 w 760534"/>
                  <a:gd name="connsiteY139" fmla="*/ 620785 h 845436"/>
                  <a:gd name="connsiteX140" fmla="*/ 617359 w 760534"/>
                  <a:gd name="connsiteY140" fmla="*/ 608856 h 845436"/>
                  <a:gd name="connsiteX141" fmla="*/ 610267 w 760534"/>
                  <a:gd name="connsiteY141" fmla="*/ 600848 h 845436"/>
                  <a:gd name="connsiteX142" fmla="*/ 584155 w 760534"/>
                  <a:gd name="connsiteY142" fmla="*/ 591504 h 845436"/>
                  <a:gd name="connsiteX143" fmla="*/ 573560 w 760534"/>
                  <a:gd name="connsiteY143" fmla="*/ 591087 h 845436"/>
                  <a:gd name="connsiteX144" fmla="*/ 551869 w 760534"/>
                  <a:gd name="connsiteY144" fmla="*/ 579158 h 845436"/>
                  <a:gd name="connsiteX145" fmla="*/ 543025 w 760534"/>
                  <a:gd name="connsiteY145" fmla="*/ 572485 h 845436"/>
                  <a:gd name="connsiteX146" fmla="*/ 472613 w 760534"/>
                  <a:gd name="connsiteY146" fmla="*/ 568981 h 845436"/>
                  <a:gd name="connsiteX147" fmla="*/ 455344 w 760534"/>
                  <a:gd name="connsiteY147" fmla="*/ 604435 h 845436"/>
                  <a:gd name="connsiteX148" fmla="*/ 449587 w 760534"/>
                  <a:gd name="connsiteY148" fmla="*/ 626124 h 845436"/>
                  <a:gd name="connsiteX149" fmla="*/ 408374 w 760534"/>
                  <a:gd name="connsiteY149" fmla="*/ 670003 h 845436"/>
                  <a:gd name="connsiteX150" fmla="*/ 386683 w 760534"/>
                  <a:gd name="connsiteY150" fmla="*/ 667751 h 845436"/>
                  <a:gd name="connsiteX151" fmla="*/ 381344 w 760534"/>
                  <a:gd name="connsiteY151" fmla="*/ 664664 h 845436"/>
                  <a:gd name="connsiteX152" fmla="*/ 363157 w 760534"/>
                  <a:gd name="connsiteY152" fmla="*/ 657574 h 845436"/>
                  <a:gd name="connsiteX153" fmla="*/ 332122 w 760534"/>
                  <a:gd name="connsiteY153" fmla="*/ 726646 h 845436"/>
                  <a:gd name="connsiteX154" fmla="*/ 306844 w 760534"/>
                  <a:gd name="connsiteY154" fmla="*/ 769190 h 845436"/>
                  <a:gd name="connsiteX155" fmla="*/ 301088 w 760534"/>
                  <a:gd name="connsiteY155" fmla="*/ 771860 h 845436"/>
                  <a:gd name="connsiteX156" fmla="*/ 283401 w 760534"/>
                  <a:gd name="connsiteY156" fmla="*/ 786041 h 845436"/>
                  <a:gd name="connsiteX157" fmla="*/ 278562 w 760534"/>
                  <a:gd name="connsiteY157" fmla="*/ 815739 h 845436"/>
                  <a:gd name="connsiteX158" fmla="*/ 279480 w 760534"/>
                  <a:gd name="connsiteY158" fmla="*/ 821495 h 845436"/>
                  <a:gd name="connsiteX159" fmla="*/ 273306 w 760534"/>
                  <a:gd name="connsiteY159" fmla="*/ 844102 h 845436"/>
                  <a:gd name="connsiteX160" fmla="*/ 267967 w 760534"/>
                  <a:gd name="connsiteY160" fmla="*/ 845436 h 845436"/>
                  <a:gd name="connsiteX161" fmla="*/ 261793 w 760534"/>
                  <a:gd name="connsiteY161" fmla="*/ 843684 h 845436"/>
                  <a:gd name="connsiteX162" fmla="*/ 251949 w 760534"/>
                  <a:gd name="connsiteY162" fmla="*/ 838262 h 84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760534" h="845436" extrusionOk="0">
                    <a:moveTo>
                      <a:pt x="251949" y="838262"/>
                    </a:moveTo>
                    <a:cubicBezTo>
                      <a:pt x="251949" y="837845"/>
                      <a:pt x="251949" y="837845"/>
                      <a:pt x="251949" y="838262"/>
                    </a:cubicBezTo>
                    <a:cubicBezTo>
                      <a:pt x="250614" y="834759"/>
                      <a:pt x="250197" y="829837"/>
                      <a:pt x="250614" y="823664"/>
                    </a:cubicBezTo>
                    <a:cubicBezTo>
                      <a:pt x="251031" y="816573"/>
                      <a:pt x="251031" y="809065"/>
                      <a:pt x="247945" y="801557"/>
                    </a:cubicBezTo>
                    <a:cubicBezTo>
                      <a:pt x="245692" y="796218"/>
                      <a:pt x="242188" y="793132"/>
                      <a:pt x="239519" y="790963"/>
                    </a:cubicBezTo>
                    <a:cubicBezTo>
                      <a:pt x="237266" y="788710"/>
                      <a:pt x="235514" y="787459"/>
                      <a:pt x="234680" y="784790"/>
                    </a:cubicBezTo>
                    <a:cubicBezTo>
                      <a:pt x="232427" y="779034"/>
                      <a:pt x="234263" y="771943"/>
                      <a:pt x="235598" y="764852"/>
                    </a:cubicBezTo>
                    <a:lnTo>
                      <a:pt x="236515" y="761349"/>
                    </a:lnTo>
                    <a:cubicBezTo>
                      <a:pt x="236515" y="760431"/>
                      <a:pt x="236932" y="760014"/>
                      <a:pt x="237433" y="758679"/>
                    </a:cubicBezTo>
                    <a:cubicBezTo>
                      <a:pt x="238768" y="753841"/>
                      <a:pt x="240937" y="745832"/>
                      <a:pt x="236515" y="736990"/>
                    </a:cubicBezTo>
                    <a:cubicBezTo>
                      <a:pt x="234263" y="733486"/>
                      <a:pt x="232093" y="730817"/>
                      <a:pt x="230342" y="728981"/>
                    </a:cubicBezTo>
                    <a:cubicBezTo>
                      <a:pt x="229424" y="728064"/>
                      <a:pt x="228590" y="727647"/>
                      <a:pt x="227672" y="726729"/>
                    </a:cubicBezTo>
                    <a:cubicBezTo>
                      <a:pt x="225002" y="724477"/>
                      <a:pt x="225002" y="724477"/>
                      <a:pt x="225419" y="720556"/>
                    </a:cubicBezTo>
                    <a:cubicBezTo>
                      <a:pt x="225836" y="718304"/>
                      <a:pt x="227171" y="716135"/>
                      <a:pt x="228506" y="713465"/>
                    </a:cubicBezTo>
                    <a:cubicBezTo>
                      <a:pt x="228923" y="712548"/>
                      <a:pt x="229424" y="712131"/>
                      <a:pt x="229841" y="711213"/>
                    </a:cubicBezTo>
                    <a:cubicBezTo>
                      <a:pt x="232511" y="706375"/>
                      <a:pt x="234680" y="700118"/>
                      <a:pt x="232093" y="690858"/>
                    </a:cubicBezTo>
                    <a:cubicBezTo>
                      <a:pt x="229841" y="684685"/>
                      <a:pt x="225419" y="681098"/>
                      <a:pt x="221915" y="678429"/>
                    </a:cubicBezTo>
                    <a:cubicBezTo>
                      <a:pt x="219663" y="676677"/>
                      <a:pt x="217494" y="674925"/>
                      <a:pt x="217494" y="673590"/>
                    </a:cubicBezTo>
                    <a:cubicBezTo>
                      <a:pt x="217077" y="671838"/>
                      <a:pt x="218411" y="670087"/>
                      <a:pt x="221498" y="666499"/>
                    </a:cubicBezTo>
                    <a:cubicBezTo>
                      <a:pt x="225002" y="662078"/>
                      <a:pt x="229924" y="655905"/>
                      <a:pt x="228590" y="646979"/>
                    </a:cubicBezTo>
                    <a:cubicBezTo>
                      <a:pt x="226337" y="635884"/>
                      <a:pt x="217494" y="631046"/>
                      <a:pt x="210903" y="627959"/>
                    </a:cubicBezTo>
                    <a:lnTo>
                      <a:pt x="207816" y="626625"/>
                    </a:lnTo>
                    <a:cubicBezTo>
                      <a:pt x="205147" y="625290"/>
                      <a:pt x="202978" y="623955"/>
                      <a:pt x="200725" y="623121"/>
                    </a:cubicBezTo>
                    <a:cubicBezTo>
                      <a:pt x="196721" y="621786"/>
                      <a:pt x="195886" y="621369"/>
                      <a:pt x="194551" y="616447"/>
                    </a:cubicBezTo>
                    <a:cubicBezTo>
                      <a:pt x="193634" y="613778"/>
                      <a:pt x="193634" y="611609"/>
                      <a:pt x="193217" y="609356"/>
                    </a:cubicBezTo>
                    <a:cubicBezTo>
                      <a:pt x="192800" y="603183"/>
                      <a:pt x="191882" y="595592"/>
                      <a:pt x="180786" y="589002"/>
                    </a:cubicBezTo>
                    <a:cubicBezTo>
                      <a:pt x="175030" y="585498"/>
                      <a:pt x="168856" y="584581"/>
                      <a:pt x="162599" y="583246"/>
                    </a:cubicBezTo>
                    <a:cubicBezTo>
                      <a:pt x="158177" y="582328"/>
                      <a:pt x="154173" y="581911"/>
                      <a:pt x="151086" y="580576"/>
                    </a:cubicBezTo>
                    <a:cubicBezTo>
                      <a:pt x="148416" y="579241"/>
                      <a:pt x="145747" y="577490"/>
                      <a:pt x="142660" y="575738"/>
                    </a:cubicBezTo>
                    <a:cubicBezTo>
                      <a:pt x="138238" y="573068"/>
                      <a:pt x="133817" y="569982"/>
                      <a:pt x="128060" y="568647"/>
                    </a:cubicBezTo>
                    <a:cubicBezTo>
                      <a:pt x="112126" y="563809"/>
                      <a:pt x="91269" y="558470"/>
                      <a:pt x="74417" y="556718"/>
                    </a:cubicBezTo>
                    <a:cubicBezTo>
                      <a:pt x="69077" y="556301"/>
                      <a:pt x="63321" y="555801"/>
                      <a:pt x="58482" y="555801"/>
                    </a:cubicBezTo>
                    <a:cubicBezTo>
                      <a:pt x="42548" y="555383"/>
                      <a:pt x="32370" y="555383"/>
                      <a:pt x="22192" y="541619"/>
                    </a:cubicBezTo>
                    <a:cubicBezTo>
                      <a:pt x="14183" y="531025"/>
                      <a:pt x="6674" y="519513"/>
                      <a:pt x="0" y="507917"/>
                    </a:cubicBezTo>
                    <a:cubicBezTo>
                      <a:pt x="10178" y="502161"/>
                      <a:pt x="16352" y="490649"/>
                      <a:pt x="21691" y="480889"/>
                    </a:cubicBezTo>
                    <a:cubicBezTo>
                      <a:pt x="31869" y="462286"/>
                      <a:pt x="38960" y="452109"/>
                      <a:pt x="56647" y="458282"/>
                    </a:cubicBezTo>
                    <a:cubicBezTo>
                      <a:pt x="61486" y="459616"/>
                      <a:pt x="65991" y="461785"/>
                      <a:pt x="70412" y="464455"/>
                    </a:cubicBezTo>
                    <a:cubicBezTo>
                      <a:pt x="81925" y="470211"/>
                      <a:pt x="94773" y="476885"/>
                      <a:pt x="112042" y="470628"/>
                    </a:cubicBezTo>
                    <a:cubicBezTo>
                      <a:pt x="122220" y="466624"/>
                      <a:pt x="153255" y="444517"/>
                      <a:pt x="157260" y="430336"/>
                    </a:cubicBezTo>
                    <a:cubicBezTo>
                      <a:pt x="162599" y="411733"/>
                      <a:pt x="144829" y="399804"/>
                      <a:pt x="133316" y="391796"/>
                    </a:cubicBezTo>
                    <a:cubicBezTo>
                      <a:pt x="130229" y="390044"/>
                      <a:pt x="127977" y="388292"/>
                      <a:pt x="125307" y="386457"/>
                    </a:cubicBezTo>
                    <a:cubicBezTo>
                      <a:pt x="115129" y="377614"/>
                      <a:pt x="104951" y="367854"/>
                      <a:pt x="94773" y="358511"/>
                    </a:cubicBezTo>
                    <a:cubicBezTo>
                      <a:pt x="90351" y="354090"/>
                      <a:pt x="85930" y="350086"/>
                      <a:pt x="81508" y="346081"/>
                    </a:cubicBezTo>
                    <a:cubicBezTo>
                      <a:pt x="80173" y="344747"/>
                      <a:pt x="78838" y="343412"/>
                      <a:pt x="78004" y="342578"/>
                    </a:cubicBezTo>
                    <a:cubicBezTo>
                      <a:pt x="82843" y="339074"/>
                      <a:pt x="87765" y="335070"/>
                      <a:pt x="92604" y="331482"/>
                    </a:cubicBezTo>
                    <a:lnTo>
                      <a:pt x="94856" y="330148"/>
                    </a:lnTo>
                    <a:cubicBezTo>
                      <a:pt x="103282" y="323474"/>
                      <a:pt x="111208" y="317301"/>
                      <a:pt x="120135" y="312463"/>
                    </a:cubicBezTo>
                    <a:cubicBezTo>
                      <a:pt x="127226" y="308959"/>
                      <a:pt x="138322" y="304454"/>
                      <a:pt x="149334" y="306290"/>
                    </a:cubicBezTo>
                    <a:lnTo>
                      <a:pt x="152004" y="306707"/>
                    </a:lnTo>
                    <a:cubicBezTo>
                      <a:pt x="154673" y="307124"/>
                      <a:pt x="157760" y="307625"/>
                      <a:pt x="160847" y="307625"/>
                    </a:cubicBezTo>
                    <a:cubicBezTo>
                      <a:pt x="165269" y="307207"/>
                      <a:pt x="169273" y="305873"/>
                      <a:pt x="173277" y="304538"/>
                    </a:cubicBezTo>
                    <a:cubicBezTo>
                      <a:pt x="174612" y="304121"/>
                      <a:pt x="176364" y="303620"/>
                      <a:pt x="177699" y="303203"/>
                    </a:cubicBezTo>
                    <a:cubicBezTo>
                      <a:pt x="184373" y="301451"/>
                      <a:pt x="191465" y="301868"/>
                      <a:pt x="198973" y="302285"/>
                    </a:cubicBezTo>
                    <a:lnTo>
                      <a:pt x="205647" y="302702"/>
                    </a:lnTo>
                    <a:cubicBezTo>
                      <a:pt x="215408" y="303120"/>
                      <a:pt x="229090" y="303120"/>
                      <a:pt x="239352" y="293860"/>
                    </a:cubicBezTo>
                    <a:cubicBezTo>
                      <a:pt x="249947" y="285018"/>
                      <a:pt x="251782" y="270419"/>
                      <a:pt x="252616" y="260659"/>
                    </a:cubicBezTo>
                    <a:cubicBezTo>
                      <a:pt x="253034" y="254903"/>
                      <a:pt x="253034" y="249147"/>
                      <a:pt x="253034" y="243391"/>
                    </a:cubicBezTo>
                    <a:cubicBezTo>
                      <a:pt x="253034" y="234965"/>
                      <a:pt x="253451" y="227457"/>
                      <a:pt x="254369" y="219449"/>
                    </a:cubicBezTo>
                    <a:cubicBezTo>
                      <a:pt x="256120" y="207019"/>
                      <a:pt x="262795" y="194173"/>
                      <a:pt x="272055" y="187082"/>
                    </a:cubicBezTo>
                    <a:cubicBezTo>
                      <a:pt x="272472" y="186665"/>
                      <a:pt x="272973" y="186164"/>
                      <a:pt x="273390" y="185747"/>
                    </a:cubicBezTo>
                    <a:cubicBezTo>
                      <a:pt x="276894" y="182243"/>
                      <a:pt x="279563" y="178239"/>
                      <a:pt x="281399" y="173818"/>
                    </a:cubicBezTo>
                    <a:cubicBezTo>
                      <a:pt x="284486" y="167645"/>
                      <a:pt x="285820" y="160971"/>
                      <a:pt x="287155" y="154798"/>
                    </a:cubicBezTo>
                    <a:cubicBezTo>
                      <a:pt x="289408" y="144621"/>
                      <a:pt x="291577" y="135278"/>
                      <a:pt x="297751" y="130439"/>
                    </a:cubicBezTo>
                    <a:cubicBezTo>
                      <a:pt x="299085" y="129105"/>
                      <a:pt x="301254" y="128187"/>
                      <a:pt x="303090" y="127353"/>
                    </a:cubicBezTo>
                    <a:cubicBezTo>
                      <a:pt x="306176" y="126018"/>
                      <a:pt x="309263" y="124266"/>
                      <a:pt x="312434" y="121180"/>
                    </a:cubicBezTo>
                    <a:cubicBezTo>
                      <a:pt x="316855" y="117676"/>
                      <a:pt x="319108" y="111419"/>
                      <a:pt x="318190" y="105663"/>
                    </a:cubicBezTo>
                    <a:cubicBezTo>
                      <a:pt x="317773" y="101242"/>
                      <a:pt x="315520" y="97655"/>
                      <a:pt x="312016" y="95486"/>
                    </a:cubicBezTo>
                    <a:cubicBezTo>
                      <a:pt x="308930" y="93734"/>
                      <a:pt x="305843" y="93234"/>
                      <a:pt x="302255" y="92817"/>
                    </a:cubicBezTo>
                    <a:cubicBezTo>
                      <a:pt x="297834" y="92400"/>
                      <a:pt x="293829" y="90147"/>
                      <a:pt x="291660" y="86143"/>
                    </a:cubicBezTo>
                    <a:lnTo>
                      <a:pt x="290325" y="84391"/>
                    </a:lnTo>
                    <a:cubicBezTo>
                      <a:pt x="288991" y="81722"/>
                      <a:pt x="286822" y="77718"/>
                      <a:pt x="281899" y="75549"/>
                    </a:cubicBezTo>
                    <a:cubicBezTo>
                      <a:pt x="280982" y="75131"/>
                      <a:pt x="279647" y="74631"/>
                      <a:pt x="277478" y="74214"/>
                    </a:cubicBezTo>
                    <a:cubicBezTo>
                      <a:pt x="277061" y="73797"/>
                      <a:pt x="276560" y="71545"/>
                      <a:pt x="277478" y="70710"/>
                    </a:cubicBezTo>
                    <a:cubicBezTo>
                      <a:pt x="278812" y="68458"/>
                      <a:pt x="282317" y="67206"/>
                      <a:pt x="286321" y="67206"/>
                    </a:cubicBezTo>
                    <a:cubicBezTo>
                      <a:pt x="289408" y="66789"/>
                      <a:pt x="292495" y="67624"/>
                      <a:pt x="295164" y="67624"/>
                    </a:cubicBezTo>
                    <a:cubicBezTo>
                      <a:pt x="297417" y="68041"/>
                      <a:pt x="299586" y="68041"/>
                      <a:pt x="301838" y="68541"/>
                    </a:cubicBezTo>
                    <a:cubicBezTo>
                      <a:pt x="316021" y="68958"/>
                      <a:pt x="331538" y="65037"/>
                      <a:pt x="346138" y="55695"/>
                    </a:cubicBezTo>
                    <a:cubicBezTo>
                      <a:pt x="358569" y="47686"/>
                      <a:pt x="369581" y="37509"/>
                      <a:pt x="379842" y="27332"/>
                    </a:cubicBezTo>
                    <a:lnTo>
                      <a:pt x="386934" y="20241"/>
                    </a:lnTo>
                    <a:lnTo>
                      <a:pt x="397112" y="10063"/>
                    </a:lnTo>
                    <a:lnTo>
                      <a:pt x="400616" y="6977"/>
                    </a:lnTo>
                    <a:cubicBezTo>
                      <a:pt x="402868" y="4725"/>
                      <a:pt x="405037" y="2556"/>
                      <a:pt x="407290" y="1638"/>
                    </a:cubicBezTo>
                    <a:cubicBezTo>
                      <a:pt x="412629" y="-1448"/>
                      <a:pt x="419720" y="303"/>
                      <a:pt x="424559" y="2973"/>
                    </a:cubicBezTo>
                    <a:cubicBezTo>
                      <a:pt x="430733" y="6477"/>
                      <a:pt x="435655" y="11815"/>
                      <a:pt x="440911" y="18072"/>
                    </a:cubicBezTo>
                    <a:cubicBezTo>
                      <a:pt x="443998" y="21158"/>
                      <a:pt x="446250" y="24245"/>
                      <a:pt x="447085" y="26915"/>
                    </a:cubicBezTo>
                    <a:cubicBezTo>
                      <a:pt x="447502" y="29167"/>
                      <a:pt x="447502" y="31753"/>
                      <a:pt x="447085" y="34923"/>
                    </a:cubicBezTo>
                    <a:cubicBezTo>
                      <a:pt x="447085" y="38426"/>
                      <a:pt x="446667" y="42013"/>
                      <a:pt x="447502" y="46018"/>
                    </a:cubicBezTo>
                    <a:cubicBezTo>
                      <a:pt x="449754" y="57113"/>
                      <a:pt x="459014" y="64203"/>
                      <a:pt x="467858" y="69959"/>
                    </a:cubicBezTo>
                    <a:cubicBezTo>
                      <a:pt x="465605" y="74381"/>
                      <a:pt x="464354" y="79302"/>
                      <a:pt x="462519" y="83724"/>
                    </a:cubicBezTo>
                    <a:cubicBezTo>
                      <a:pt x="461184" y="87227"/>
                      <a:pt x="459849" y="90814"/>
                      <a:pt x="458514" y="94318"/>
                    </a:cubicBezTo>
                    <a:cubicBezTo>
                      <a:pt x="455844" y="100491"/>
                      <a:pt x="452757" y="106247"/>
                      <a:pt x="449671" y="111586"/>
                    </a:cubicBezTo>
                    <a:cubicBezTo>
                      <a:pt x="444832" y="120011"/>
                      <a:pt x="439910" y="129271"/>
                      <a:pt x="436823" y="140366"/>
                    </a:cubicBezTo>
                    <a:cubicBezTo>
                      <a:pt x="434571" y="150126"/>
                      <a:pt x="432818" y="150126"/>
                      <a:pt x="426645" y="151878"/>
                    </a:cubicBezTo>
                    <a:cubicBezTo>
                      <a:pt x="422640" y="152796"/>
                      <a:pt x="417301" y="154131"/>
                      <a:pt x="411127" y="158051"/>
                    </a:cubicBezTo>
                    <a:cubicBezTo>
                      <a:pt x="400949" y="164224"/>
                      <a:pt x="396945" y="175737"/>
                      <a:pt x="392940" y="185497"/>
                    </a:cubicBezTo>
                    <a:cubicBezTo>
                      <a:pt x="391606" y="189000"/>
                      <a:pt x="390271" y="192587"/>
                      <a:pt x="388519" y="196091"/>
                    </a:cubicBezTo>
                    <a:cubicBezTo>
                      <a:pt x="387601" y="198344"/>
                      <a:pt x="385849" y="200512"/>
                      <a:pt x="384514" y="202765"/>
                    </a:cubicBezTo>
                    <a:cubicBezTo>
                      <a:pt x="377840" y="212525"/>
                      <a:pt x="368163" y="227124"/>
                      <a:pt x="376505" y="241305"/>
                    </a:cubicBezTo>
                    <a:cubicBezTo>
                      <a:pt x="379175" y="245726"/>
                      <a:pt x="383597" y="247979"/>
                      <a:pt x="387101" y="249730"/>
                    </a:cubicBezTo>
                    <a:cubicBezTo>
                      <a:pt x="388853" y="250648"/>
                      <a:pt x="390604" y="251983"/>
                      <a:pt x="391939" y="252817"/>
                    </a:cubicBezTo>
                    <a:cubicBezTo>
                      <a:pt x="395443" y="257238"/>
                      <a:pt x="395443" y="263912"/>
                      <a:pt x="394609" y="272755"/>
                    </a:cubicBezTo>
                    <a:cubicBezTo>
                      <a:pt x="394192" y="274506"/>
                      <a:pt x="393691" y="276759"/>
                      <a:pt x="393274" y="278928"/>
                    </a:cubicBezTo>
                    <a:cubicBezTo>
                      <a:pt x="391939" y="284267"/>
                      <a:pt x="390187" y="290023"/>
                      <a:pt x="391522" y="296196"/>
                    </a:cubicBezTo>
                    <a:cubicBezTo>
                      <a:pt x="392857" y="301535"/>
                      <a:pt x="396361" y="305038"/>
                      <a:pt x="399531" y="308625"/>
                    </a:cubicBezTo>
                    <a:cubicBezTo>
                      <a:pt x="401283" y="310377"/>
                      <a:pt x="403035" y="312129"/>
                      <a:pt x="403536" y="313464"/>
                    </a:cubicBezTo>
                    <a:cubicBezTo>
                      <a:pt x="404453" y="315716"/>
                      <a:pt x="403118" y="321472"/>
                      <a:pt x="402618" y="325894"/>
                    </a:cubicBezTo>
                    <a:cubicBezTo>
                      <a:pt x="400366" y="335654"/>
                      <a:pt x="398196" y="347583"/>
                      <a:pt x="407457" y="354257"/>
                    </a:cubicBezTo>
                    <a:cubicBezTo>
                      <a:pt x="410544" y="356926"/>
                      <a:pt x="414548" y="357760"/>
                      <a:pt x="418552" y="357760"/>
                    </a:cubicBezTo>
                    <a:cubicBezTo>
                      <a:pt x="419470" y="357760"/>
                      <a:pt x="420805" y="357760"/>
                      <a:pt x="422056" y="357343"/>
                    </a:cubicBezTo>
                    <a:cubicBezTo>
                      <a:pt x="434487" y="354674"/>
                      <a:pt x="443747" y="339658"/>
                      <a:pt x="449087" y="330315"/>
                    </a:cubicBezTo>
                    <a:lnTo>
                      <a:pt x="450422" y="327645"/>
                    </a:lnTo>
                    <a:cubicBezTo>
                      <a:pt x="459265" y="313047"/>
                      <a:pt x="469026" y="304204"/>
                      <a:pt x="480956" y="301535"/>
                    </a:cubicBezTo>
                    <a:cubicBezTo>
                      <a:pt x="492469" y="298448"/>
                      <a:pt x="506234" y="300200"/>
                      <a:pt x="522169" y="307291"/>
                    </a:cubicBezTo>
                    <a:cubicBezTo>
                      <a:pt x="540773" y="315716"/>
                      <a:pt x="551368" y="312630"/>
                      <a:pt x="566051" y="308625"/>
                    </a:cubicBezTo>
                    <a:lnTo>
                      <a:pt x="573560" y="306873"/>
                    </a:lnTo>
                    <a:cubicBezTo>
                      <a:pt x="582903" y="304204"/>
                      <a:pt x="584155" y="306456"/>
                      <a:pt x="589494" y="313964"/>
                    </a:cubicBezTo>
                    <a:cubicBezTo>
                      <a:pt x="591747" y="317468"/>
                      <a:pt x="594333" y="321055"/>
                      <a:pt x="597920" y="324559"/>
                    </a:cubicBezTo>
                    <a:cubicBezTo>
                      <a:pt x="613438" y="340909"/>
                      <a:pt x="629789" y="329397"/>
                      <a:pt x="641302" y="321889"/>
                    </a:cubicBezTo>
                    <a:cubicBezTo>
                      <a:pt x="644389" y="319637"/>
                      <a:pt x="647476" y="317468"/>
                      <a:pt x="650145" y="316133"/>
                    </a:cubicBezTo>
                    <a:cubicBezTo>
                      <a:pt x="663410" y="309042"/>
                      <a:pt x="667415" y="310794"/>
                      <a:pt x="681180" y="316550"/>
                    </a:cubicBezTo>
                    <a:lnTo>
                      <a:pt x="682515" y="317468"/>
                    </a:lnTo>
                    <a:cubicBezTo>
                      <a:pt x="680263" y="323224"/>
                      <a:pt x="681180" y="330315"/>
                      <a:pt x="688689" y="339574"/>
                    </a:cubicBezTo>
                    <a:cubicBezTo>
                      <a:pt x="698449" y="352004"/>
                      <a:pt x="714384" y="360430"/>
                      <a:pt x="728149" y="368355"/>
                    </a:cubicBezTo>
                    <a:cubicBezTo>
                      <a:pt x="731653" y="370607"/>
                      <a:pt x="735241" y="372359"/>
                      <a:pt x="739245" y="374528"/>
                    </a:cubicBezTo>
                    <a:cubicBezTo>
                      <a:pt x="753011" y="382536"/>
                      <a:pt x="760936" y="387791"/>
                      <a:pt x="760519" y="399804"/>
                    </a:cubicBezTo>
                    <a:cubicBezTo>
                      <a:pt x="759601" y="413569"/>
                      <a:pt x="746754" y="425915"/>
                      <a:pt x="736159" y="435258"/>
                    </a:cubicBezTo>
                    <a:cubicBezTo>
                      <a:pt x="730819" y="439679"/>
                      <a:pt x="722393" y="445018"/>
                      <a:pt x="713550" y="449857"/>
                    </a:cubicBezTo>
                    <a:cubicBezTo>
                      <a:pt x="690524" y="463621"/>
                      <a:pt x="661241" y="480889"/>
                      <a:pt x="663494" y="507000"/>
                    </a:cubicBezTo>
                    <a:cubicBezTo>
                      <a:pt x="664411" y="518511"/>
                      <a:pt x="671002" y="525602"/>
                      <a:pt x="676341" y="531358"/>
                    </a:cubicBezTo>
                    <a:cubicBezTo>
                      <a:pt x="679845" y="535363"/>
                      <a:pt x="683433" y="538866"/>
                      <a:pt x="684768" y="543288"/>
                    </a:cubicBezTo>
                    <a:cubicBezTo>
                      <a:pt x="685685" y="547292"/>
                      <a:pt x="683850" y="550378"/>
                      <a:pt x="678594" y="556134"/>
                    </a:cubicBezTo>
                    <a:cubicBezTo>
                      <a:pt x="674589" y="560972"/>
                      <a:pt x="670168" y="566311"/>
                      <a:pt x="668416" y="573819"/>
                    </a:cubicBezTo>
                    <a:cubicBezTo>
                      <a:pt x="667498" y="577323"/>
                      <a:pt x="667498" y="580493"/>
                      <a:pt x="667498" y="582662"/>
                    </a:cubicBezTo>
                    <a:lnTo>
                      <a:pt x="667498" y="583997"/>
                    </a:lnTo>
                    <a:cubicBezTo>
                      <a:pt x="667498" y="588835"/>
                      <a:pt x="667498" y="591087"/>
                      <a:pt x="665246" y="593757"/>
                    </a:cubicBezTo>
                    <a:cubicBezTo>
                      <a:pt x="664328" y="594674"/>
                      <a:pt x="663494" y="595508"/>
                      <a:pt x="662159" y="596426"/>
                    </a:cubicBezTo>
                    <a:cubicBezTo>
                      <a:pt x="661241" y="596843"/>
                      <a:pt x="659906" y="597344"/>
                      <a:pt x="659072" y="597761"/>
                    </a:cubicBezTo>
                    <a:cubicBezTo>
                      <a:pt x="655985" y="599096"/>
                      <a:pt x="652398" y="600848"/>
                      <a:pt x="649728" y="603934"/>
                    </a:cubicBezTo>
                    <a:cubicBezTo>
                      <a:pt x="643972" y="609273"/>
                      <a:pt x="640384" y="615446"/>
                      <a:pt x="638215" y="622120"/>
                    </a:cubicBezTo>
                    <a:cubicBezTo>
                      <a:pt x="636463" y="621703"/>
                      <a:pt x="634711" y="621202"/>
                      <a:pt x="632876" y="620785"/>
                    </a:cubicBezTo>
                    <a:cubicBezTo>
                      <a:pt x="624867" y="618115"/>
                      <a:pt x="621780" y="614612"/>
                      <a:pt x="617359" y="608856"/>
                    </a:cubicBezTo>
                    <a:cubicBezTo>
                      <a:pt x="615106" y="606186"/>
                      <a:pt x="612937" y="603517"/>
                      <a:pt x="610267" y="600848"/>
                    </a:cubicBezTo>
                    <a:cubicBezTo>
                      <a:pt x="600506" y="590670"/>
                      <a:pt x="591663" y="591087"/>
                      <a:pt x="584155" y="591504"/>
                    </a:cubicBezTo>
                    <a:cubicBezTo>
                      <a:pt x="580651" y="591922"/>
                      <a:pt x="577481" y="591922"/>
                      <a:pt x="573560" y="591087"/>
                    </a:cubicBezTo>
                    <a:cubicBezTo>
                      <a:pt x="565551" y="589752"/>
                      <a:pt x="558960" y="584914"/>
                      <a:pt x="551869" y="579158"/>
                    </a:cubicBezTo>
                    <a:cubicBezTo>
                      <a:pt x="548782" y="576906"/>
                      <a:pt x="546112" y="574320"/>
                      <a:pt x="543025" y="572485"/>
                    </a:cubicBezTo>
                    <a:cubicBezTo>
                      <a:pt x="526674" y="561890"/>
                      <a:pt x="501812" y="549461"/>
                      <a:pt x="472613" y="568981"/>
                    </a:cubicBezTo>
                    <a:cubicBezTo>
                      <a:pt x="458430" y="578741"/>
                      <a:pt x="456679" y="592422"/>
                      <a:pt x="455344" y="604435"/>
                    </a:cubicBezTo>
                    <a:cubicBezTo>
                      <a:pt x="454426" y="612443"/>
                      <a:pt x="453091" y="619534"/>
                      <a:pt x="449587" y="626124"/>
                    </a:cubicBezTo>
                    <a:cubicBezTo>
                      <a:pt x="440243" y="641640"/>
                      <a:pt x="426144" y="665081"/>
                      <a:pt x="408374" y="670003"/>
                    </a:cubicBezTo>
                    <a:cubicBezTo>
                      <a:pt x="401283" y="671755"/>
                      <a:pt x="393775" y="670921"/>
                      <a:pt x="386683" y="667751"/>
                    </a:cubicBezTo>
                    <a:cubicBezTo>
                      <a:pt x="385349" y="667334"/>
                      <a:pt x="383180" y="665499"/>
                      <a:pt x="381344" y="664664"/>
                    </a:cubicBezTo>
                    <a:cubicBezTo>
                      <a:pt x="376505" y="661161"/>
                      <a:pt x="370248" y="656656"/>
                      <a:pt x="363157" y="657574"/>
                    </a:cubicBezTo>
                    <a:cubicBezTo>
                      <a:pt x="338796" y="659826"/>
                      <a:pt x="333457" y="706291"/>
                      <a:pt x="332122" y="726646"/>
                    </a:cubicBezTo>
                    <a:cubicBezTo>
                      <a:pt x="330787" y="750587"/>
                      <a:pt x="327284" y="759847"/>
                      <a:pt x="306844" y="769190"/>
                    </a:cubicBezTo>
                    <a:cubicBezTo>
                      <a:pt x="304591" y="770108"/>
                      <a:pt x="302839" y="770942"/>
                      <a:pt x="301088" y="771860"/>
                    </a:cubicBezTo>
                    <a:cubicBezTo>
                      <a:pt x="294413" y="774529"/>
                      <a:pt x="289158" y="776281"/>
                      <a:pt x="283401" y="786041"/>
                    </a:cubicBezTo>
                    <a:cubicBezTo>
                      <a:pt x="276310" y="797136"/>
                      <a:pt x="277645" y="806396"/>
                      <a:pt x="278562" y="815739"/>
                    </a:cubicBezTo>
                    <a:cubicBezTo>
                      <a:pt x="278979" y="817991"/>
                      <a:pt x="278979" y="819242"/>
                      <a:pt x="279480" y="821495"/>
                    </a:cubicBezTo>
                    <a:cubicBezTo>
                      <a:pt x="280398" y="831672"/>
                      <a:pt x="277728" y="841015"/>
                      <a:pt x="273306" y="844102"/>
                    </a:cubicBezTo>
                    <a:cubicBezTo>
                      <a:pt x="271971" y="845019"/>
                      <a:pt x="270220" y="845436"/>
                      <a:pt x="267967" y="845436"/>
                    </a:cubicBezTo>
                    <a:cubicBezTo>
                      <a:pt x="266215" y="845019"/>
                      <a:pt x="264463" y="844519"/>
                      <a:pt x="261793" y="843684"/>
                    </a:cubicBezTo>
                    <a:cubicBezTo>
                      <a:pt x="255453" y="843184"/>
                      <a:pt x="253284" y="840932"/>
                      <a:pt x="251949" y="83826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4301219" name="Полилиния 387"/>
              <p:cNvSpPr/>
              <p:nvPr/>
            </p:nvSpPr>
            <p:spPr bwMode="auto">
              <a:xfrm>
                <a:off x="2652944" y="4508010"/>
                <a:ext cx="855810" cy="1198429"/>
              </a:xfrm>
              <a:custGeom>
                <a:avLst/>
                <a:gdLst>
                  <a:gd name="connsiteX0" fmla="*/ 950649 w 961103"/>
                  <a:gd name="connsiteY0" fmla="*/ 1259178 h 1345876"/>
                  <a:gd name="connsiteX1" fmla="*/ 947145 w 961103"/>
                  <a:gd name="connsiteY1" fmla="*/ 1313652 h 1345876"/>
                  <a:gd name="connsiteX2" fmla="*/ 869641 w 961103"/>
                  <a:gd name="connsiteY2" fmla="*/ 1345518 h 1345876"/>
                  <a:gd name="connsiteX3" fmla="*/ 821337 w 961103"/>
                  <a:gd name="connsiteY3" fmla="*/ 1316321 h 1345876"/>
                  <a:gd name="connsiteX4" fmla="*/ 817333 w 961103"/>
                  <a:gd name="connsiteY4" fmla="*/ 1309230 h 1345876"/>
                  <a:gd name="connsiteX5" fmla="*/ 788550 w 961103"/>
                  <a:gd name="connsiteY5" fmla="*/ 1283537 h 1345876"/>
                  <a:gd name="connsiteX6" fmla="*/ 760602 w 961103"/>
                  <a:gd name="connsiteY6" fmla="*/ 1298636 h 1345876"/>
                  <a:gd name="connsiteX7" fmla="*/ 750842 w 961103"/>
                  <a:gd name="connsiteY7" fmla="*/ 1307479 h 1345876"/>
                  <a:gd name="connsiteX8" fmla="*/ 700785 w 961103"/>
                  <a:gd name="connsiteY8" fmla="*/ 1278282 h 1345876"/>
                  <a:gd name="connsiteX9" fmla="*/ 695029 w 961103"/>
                  <a:gd name="connsiteY9" fmla="*/ 1271191 h 1345876"/>
                  <a:gd name="connsiteX10" fmla="*/ 673755 w 961103"/>
                  <a:gd name="connsiteY10" fmla="*/ 1233985 h 1345876"/>
                  <a:gd name="connsiteX11" fmla="*/ 672837 w 961103"/>
                  <a:gd name="connsiteY11" fmla="*/ 1214965 h 1345876"/>
                  <a:gd name="connsiteX12" fmla="*/ 669751 w 961103"/>
                  <a:gd name="connsiteY12" fmla="*/ 1185768 h 1345876"/>
                  <a:gd name="connsiteX13" fmla="*/ 638299 w 961103"/>
                  <a:gd name="connsiteY13" fmla="*/ 1151232 h 1345876"/>
                  <a:gd name="connsiteX14" fmla="*/ 584655 w 961103"/>
                  <a:gd name="connsiteY14" fmla="*/ 1149480 h 1345876"/>
                  <a:gd name="connsiteX15" fmla="*/ 573560 w 961103"/>
                  <a:gd name="connsiteY15" fmla="*/ 1155236 h 1345876"/>
                  <a:gd name="connsiteX16" fmla="*/ 548281 w 961103"/>
                  <a:gd name="connsiteY16" fmla="*/ 1156154 h 1345876"/>
                  <a:gd name="connsiteX17" fmla="*/ 541190 w 961103"/>
                  <a:gd name="connsiteY17" fmla="*/ 1140638 h 1345876"/>
                  <a:gd name="connsiteX18" fmla="*/ 529260 w 961103"/>
                  <a:gd name="connsiteY18" fmla="*/ 1118531 h 1345876"/>
                  <a:gd name="connsiteX19" fmla="*/ 438408 w 961103"/>
                  <a:gd name="connsiteY19" fmla="*/ 1106602 h 1345876"/>
                  <a:gd name="connsiteX20" fmla="*/ 428647 w 961103"/>
                  <a:gd name="connsiteY20" fmla="*/ 1110106 h 1345876"/>
                  <a:gd name="connsiteX21" fmla="*/ 363491 w 961103"/>
                  <a:gd name="connsiteY21" fmla="*/ 1103933 h 1345876"/>
                  <a:gd name="connsiteX22" fmla="*/ 353313 w 961103"/>
                  <a:gd name="connsiteY22" fmla="*/ 1078239 h 1345876"/>
                  <a:gd name="connsiteX23" fmla="*/ 319608 w 961103"/>
                  <a:gd name="connsiteY23" fmla="*/ 1028604 h 1345876"/>
                  <a:gd name="connsiteX24" fmla="*/ 281065 w 961103"/>
                  <a:gd name="connsiteY24" fmla="*/ 1051628 h 1345876"/>
                  <a:gd name="connsiteX25" fmla="*/ 266465 w 961103"/>
                  <a:gd name="connsiteY25" fmla="*/ 1067561 h 1345876"/>
                  <a:gd name="connsiteX26" fmla="*/ 263796 w 961103"/>
                  <a:gd name="connsiteY26" fmla="*/ 1066644 h 1345876"/>
                  <a:gd name="connsiteX27" fmla="*/ 269135 w 961103"/>
                  <a:gd name="connsiteY27" fmla="*/ 1040033 h 1345876"/>
                  <a:gd name="connsiteX28" fmla="*/ 270887 w 961103"/>
                  <a:gd name="connsiteY28" fmla="*/ 1035611 h 1345876"/>
                  <a:gd name="connsiteX29" fmla="*/ 264713 w 961103"/>
                  <a:gd name="connsiteY29" fmla="*/ 978051 h 1345876"/>
                  <a:gd name="connsiteX30" fmla="*/ 254535 w 961103"/>
                  <a:gd name="connsiteY30" fmla="*/ 938176 h 1345876"/>
                  <a:gd name="connsiteX31" fmla="*/ 236849 w 961103"/>
                  <a:gd name="connsiteY31" fmla="*/ 882368 h 1345876"/>
                  <a:gd name="connsiteX32" fmla="*/ 196554 w 961103"/>
                  <a:gd name="connsiteY32" fmla="*/ 853588 h 1345876"/>
                  <a:gd name="connsiteX33" fmla="*/ 162849 w 961103"/>
                  <a:gd name="connsiteY33" fmla="*/ 827894 h 1345876"/>
                  <a:gd name="connsiteX34" fmla="*/ 158845 w 961103"/>
                  <a:gd name="connsiteY34" fmla="*/ 808374 h 1345876"/>
                  <a:gd name="connsiteX35" fmla="*/ 145997 w 961103"/>
                  <a:gd name="connsiteY35" fmla="*/ 776007 h 1345876"/>
                  <a:gd name="connsiteX36" fmla="*/ 120301 w 961103"/>
                  <a:gd name="connsiteY36" fmla="*/ 772920 h 1345876"/>
                  <a:gd name="connsiteX37" fmla="*/ 103950 w 961103"/>
                  <a:gd name="connsiteY37" fmla="*/ 778259 h 1345876"/>
                  <a:gd name="connsiteX38" fmla="*/ 69411 w 961103"/>
                  <a:gd name="connsiteY38" fmla="*/ 777842 h 1345876"/>
                  <a:gd name="connsiteX39" fmla="*/ 62737 w 961103"/>
                  <a:gd name="connsiteY39" fmla="*/ 755735 h 1345876"/>
                  <a:gd name="connsiteX40" fmla="*/ 38376 w 961103"/>
                  <a:gd name="connsiteY40" fmla="*/ 716278 h 1345876"/>
                  <a:gd name="connsiteX41" fmla="*/ 58733 w 961103"/>
                  <a:gd name="connsiteY41" fmla="*/ 713191 h 1345876"/>
                  <a:gd name="connsiteX42" fmla="*/ 111041 w 961103"/>
                  <a:gd name="connsiteY42" fmla="*/ 697258 h 1345876"/>
                  <a:gd name="connsiteX43" fmla="*/ 131397 w 961103"/>
                  <a:gd name="connsiteY43" fmla="*/ 668895 h 1345876"/>
                  <a:gd name="connsiteX44" fmla="*/ 147332 w 961103"/>
                  <a:gd name="connsiteY44" fmla="*/ 645871 h 1345876"/>
                  <a:gd name="connsiteX45" fmla="*/ 161514 w 961103"/>
                  <a:gd name="connsiteY45" fmla="*/ 639698 h 1345876"/>
                  <a:gd name="connsiteX46" fmla="*/ 169940 w 961103"/>
                  <a:gd name="connsiteY46" fmla="*/ 637028 h 1345876"/>
                  <a:gd name="connsiteX47" fmla="*/ 187627 w 961103"/>
                  <a:gd name="connsiteY47" fmla="*/ 624181 h 1345876"/>
                  <a:gd name="connsiteX48" fmla="*/ 193801 w 961103"/>
                  <a:gd name="connsiteY48" fmla="*/ 617091 h 1345876"/>
                  <a:gd name="connsiteX49" fmla="*/ 204396 w 961103"/>
                  <a:gd name="connsiteY49" fmla="*/ 612669 h 1345876"/>
                  <a:gd name="connsiteX50" fmla="*/ 210569 w 961103"/>
                  <a:gd name="connsiteY50" fmla="*/ 612669 h 1345876"/>
                  <a:gd name="connsiteX51" fmla="*/ 229591 w 961103"/>
                  <a:gd name="connsiteY51" fmla="*/ 610000 h 1345876"/>
                  <a:gd name="connsiteX52" fmla="*/ 275225 w 961103"/>
                  <a:gd name="connsiteY52" fmla="*/ 574546 h 1345876"/>
                  <a:gd name="connsiteX53" fmla="*/ 287155 w 961103"/>
                  <a:gd name="connsiteY53" fmla="*/ 552857 h 1345876"/>
                  <a:gd name="connsiteX54" fmla="*/ 301755 w 961103"/>
                  <a:gd name="connsiteY54" fmla="*/ 529833 h 1345876"/>
                  <a:gd name="connsiteX55" fmla="*/ 313685 w 961103"/>
                  <a:gd name="connsiteY55" fmla="*/ 520990 h 1345876"/>
                  <a:gd name="connsiteX56" fmla="*/ 340298 w 961103"/>
                  <a:gd name="connsiteY56" fmla="*/ 491292 h 1345876"/>
                  <a:gd name="connsiteX57" fmla="*/ 350059 w 961103"/>
                  <a:gd name="connsiteY57" fmla="*/ 473107 h 1345876"/>
                  <a:gd name="connsiteX58" fmla="*/ 365576 w 961103"/>
                  <a:gd name="connsiteY58" fmla="*/ 436819 h 1345876"/>
                  <a:gd name="connsiteX59" fmla="*/ 358902 w 961103"/>
                  <a:gd name="connsiteY59" fmla="*/ 377006 h 1345876"/>
                  <a:gd name="connsiteX60" fmla="*/ 315020 w 961103"/>
                  <a:gd name="connsiteY60" fmla="*/ 333127 h 1345876"/>
                  <a:gd name="connsiteX61" fmla="*/ 282650 w 961103"/>
                  <a:gd name="connsiteY61" fmla="*/ 336214 h 1345876"/>
                  <a:gd name="connsiteX62" fmla="*/ 261793 w 961103"/>
                  <a:gd name="connsiteY62" fmla="*/ 339300 h 1345876"/>
                  <a:gd name="connsiteX63" fmla="*/ 249363 w 961103"/>
                  <a:gd name="connsiteY63" fmla="*/ 330458 h 1345876"/>
                  <a:gd name="connsiteX64" fmla="*/ 242272 w 961103"/>
                  <a:gd name="connsiteY64" fmla="*/ 321615 h 1345876"/>
                  <a:gd name="connsiteX65" fmla="*/ 232511 w 961103"/>
                  <a:gd name="connsiteY65" fmla="*/ 314524 h 1345876"/>
                  <a:gd name="connsiteX66" fmla="*/ 225002 w 961103"/>
                  <a:gd name="connsiteY66" fmla="*/ 309185 h 1345876"/>
                  <a:gd name="connsiteX67" fmla="*/ 219663 w 961103"/>
                  <a:gd name="connsiteY67" fmla="*/ 299425 h 1345876"/>
                  <a:gd name="connsiteX68" fmla="*/ 215241 w 961103"/>
                  <a:gd name="connsiteY68" fmla="*/ 290082 h 1345876"/>
                  <a:gd name="connsiteX69" fmla="*/ 214824 w 961103"/>
                  <a:gd name="connsiteY69" fmla="*/ 289665 h 1345876"/>
                  <a:gd name="connsiteX70" fmla="*/ 201976 w 961103"/>
                  <a:gd name="connsiteY70" fmla="*/ 275067 h 1345876"/>
                  <a:gd name="connsiteX71" fmla="*/ 199307 w 961103"/>
                  <a:gd name="connsiteY71" fmla="*/ 272814 h 1345876"/>
                  <a:gd name="connsiteX72" fmla="*/ 194885 w 961103"/>
                  <a:gd name="connsiteY72" fmla="*/ 269311 h 1345876"/>
                  <a:gd name="connsiteX73" fmla="*/ 190046 w 961103"/>
                  <a:gd name="connsiteY73" fmla="*/ 264889 h 1345876"/>
                  <a:gd name="connsiteX74" fmla="*/ 177616 w 961103"/>
                  <a:gd name="connsiteY74" fmla="*/ 250708 h 1345876"/>
                  <a:gd name="connsiteX75" fmla="*/ 181120 w 961103"/>
                  <a:gd name="connsiteY75" fmla="*/ 244034 h 1345876"/>
                  <a:gd name="connsiteX76" fmla="*/ 187794 w 961103"/>
                  <a:gd name="connsiteY76" fmla="*/ 231604 h 1345876"/>
                  <a:gd name="connsiteX77" fmla="*/ 182955 w 961103"/>
                  <a:gd name="connsiteY77" fmla="*/ 211667 h 1345876"/>
                  <a:gd name="connsiteX78" fmla="*/ 148416 w 961103"/>
                  <a:gd name="connsiteY78" fmla="*/ 197485 h 1345876"/>
                  <a:gd name="connsiteX79" fmla="*/ 97025 w 961103"/>
                  <a:gd name="connsiteY79" fmla="*/ 179800 h 1345876"/>
                  <a:gd name="connsiteX80" fmla="*/ 87265 w 961103"/>
                  <a:gd name="connsiteY80" fmla="*/ 169206 h 1345876"/>
                  <a:gd name="connsiteX81" fmla="*/ 55396 w 961103"/>
                  <a:gd name="connsiteY81" fmla="*/ 144847 h 1345876"/>
                  <a:gd name="connsiteX82" fmla="*/ 27030 w 961103"/>
                  <a:gd name="connsiteY82" fmla="*/ 138674 h 1345876"/>
                  <a:gd name="connsiteX83" fmla="*/ 15100 w 961103"/>
                  <a:gd name="connsiteY83" fmla="*/ 142177 h 1345876"/>
                  <a:gd name="connsiteX84" fmla="*/ 5339 w 961103"/>
                  <a:gd name="connsiteY84" fmla="*/ 144847 h 1345876"/>
                  <a:gd name="connsiteX85" fmla="*/ 0 w 961103"/>
                  <a:gd name="connsiteY85" fmla="*/ 126662 h 1345876"/>
                  <a:gd name="connsiteX86" fmla="*/ 7091 w 961103"/>
                  <a:gd name="connsiteY86" fmla="*/ 123575 h 1345876"/>
                  <a:gd name="connsiteX87" fmla="*/ 15517 w 961103"/>
                  <a:gd name="connsiteY87" fmla="*/ 120071 h 1345876"/>
                  <a:gd name="connsiteX88" fmla="*/ 37208 w 961103"/>
                  <a:gd name="connsiteY88" fmla="*/ 123158 h 1345876"/>
                  <a:gd name="connsiteX89" fmla="*/ 39878 w 961103"/>
                  <a:gd name="connsiteY89" fmla="*/ 124492 h 1345876"/>
                  <a:gd name="connsiteX90" fmla="*/ 65156 w 961103"/>
                  <a:gd name="connsiteY90" fmla="*/ 129831 h 1345876"/>
                  <a:gd name="connsiteX91" fmla="*/ 93104 w 961103"/>
                  <a:gd name="connsiteY91" fmla="*/ 124075 h 1345876"/>
                  <a:gd name="connsiteX92" fmla="*/ 115213 w 961103"/>
                  <a:gd name="connsiteY92" fmla="*/ 97965 h 1345876"/>
                  <a:gd name="connsiteX93" fmla="*/ 109873 w 961103"/>
                  <a:gd name="connsiteY93" fmla="*/ 76692 h 1345876"/>
                  <a:gd name="connsiteX94" fmla="*/ 106369 w 961103"/>
                  <a:gd name="connsiteY94" fmla="*/ 69184 h 1345876"/>
                  <a:gd name="connsiteX95" fmla="*/ 122304 w 961103"/>
                  <a:gd name="connsiteY95" fmla="*/ 59424 h 1345876"/>
                  <a:gd name="connsiteX96" fmla="*/ 131147 w 961103"/>
                  <a:gd name="connsiteY96" fmla="*/ 56338 h 1345876"/>
                  <a:gd name="connsiteX97" fmla="*/ 149334 w 961103"/>
                  <a:gd name="connsiteY97" fmla="*/ 46995 h 1345876"/>
                  <a:gd name="connsiteX98" fmla="*/ 172777 w 961103"/>
                  <a:gd name="connsiteY98" fmla="*/ 35900 h 1345876"/>
                  <a:gd name="connsiteX99" fmla="*/ 185208 w 961103"/>
                  <a:gd name="connsiteY99" fmla="*/ 32813 h 1345876"/>
                  <a:gd name="connsiteX100" fmla="*/ 199807 w 961103"/>
                  <a:gd name="connsiteY100" fmla="*/ 29727 h 1345876"/>
                  <a:gd name="connsiteX101" fmla="*/ 205981 w 961103"/>
                  <a:gd name="connsiteY101" fmla="*/ 28809 h 1345876"/>
                  <a:gd name="connsiteX102" fmla="*/ 221915 w 961103"/>
                  <a:gd name="connsiteY102" fmla="*/ 25723 h 1345876"/>
                  <a:gd name="connsiteX103" fmla="*/ 265297 w 961103"/>
                  <a:gd name="connsiteY103" fmla="*/ 12459 h 1345876"/>
                  <a:gd name="connsiteX104" fmla="*/ 274641 w 961103"/>
                  <a:gd name="connsiteY104" fmla="*/ 6285 h 1345876"/>
                  <a:gd name="connsiteX105" fmla="*/ 292328 w 961103"/>
                  <a:gd name="connsiteY105" fmla="*/ 530 h 1345876"/>
                  <a:gd name="connsiteX106" fmla="*/ 299002 w 961103"/>
                  <a:gd name="connsiteY106" fmla="*/ 3616 h 1345876"/>
                  <a:gd name="connsiteX107" fmla="*/ 313602 w 961103"/>
                  <a:gd name="connsiteY107" fmla="*/ 8454 h 1345876"/>
                  <a:gd name="connsiteX108" fmla="*/ 314019 w 961103"/>
                  <a:gd name="connsiteY108" fmla="*/ 8454 h 1345876"/>
                  <a:gd name="connsiteX109" fmla="*/ 326866 w 961103"/>
                  <a:gd name="connsiteY109" fmla="*/ 4033 h 1345876"/>
                  <a:gd name="connsiteX110" fmla="*/ 331288 w 961103"/>
                  <a:gd name="connsiteY110" fmla="*/ 1781 h 1345876"/>
                  <a:gd name="connsiteX111" fmla="*/ 351227 w 961103"/>
                  <a:gd name="connsiteY111" fmla="*/ 7120 h 1345876"/>
                  <a:gd name="connsiteX112" fmla="*/ 353897 w 961103"/>
                  <a:gd name="connsiteY112" fmla="*/ 9372 h 1345876"/>
                  <a:gd name="connsiteX113" fmla="*/ 394692 w 961103"/>
                  <a:gd name="connsiteY113" fmla="*/ 16463 h 1345876"/>
                  <a:gd name="connsiteX114" fmla="*/ 400449 w 961103"/>
                  <a:gd name="connsiteY114" fmla="*/ 12959 h 1345876"/>
                  <a:gd name="connsiteX115" fmla="*/ 401367 w 961103"/>
                  <a:gd name="connsiteY115" fmla="*/ 13877 h 1345876"/>
                  <a:gd name="connsiteX116" fmla="*/ 406205 w 961103"/>
                  <a:gd name="connsiteY116" fmla="*/ 19216 h 1345876"/>
                  <a:gd name="connsiteX117" fmla="*/ 405788 w 961103"/>
                  <a:gd name="connsiteY117" fmla="*/ 30311 h 1345876"/>
                  <a:gd name="connsiteX118" fmla="*/ 404870 w 961103"/>
                  <a:gd name="connsiteY118" fmla="*/ 33814 h 1345876"/>
                  <a:gd name="connsiteX119" fmla="*/ 403953 w 961103"/>
                  <a:gd name="connsiteY119" fmla="*/ 36901 h 1345876"/>
                  <a:gd name="connsiteX120" fmla="*/ 403536 w 961103"/>
                  <a:gd name="connsiteY120" fmla="*/ 64847 h 1345876"/>
                  <a:gd name="connsiteX121" fmla="*/ 412379 w 961103"/>
                  <a:gd name="connsiteY121" fmla="*/ 76776 h 1345876"/>
                  <a:gd name="connsiteX122" fmla="*/ 417218 w 961103"/>
                  <a:gd name="connsiteY122" fmla="*/ 82532 h 1345876"/>
                  <a:gd name="connsiteX123" fmla="*/ 418552 w 961103"/>
                  <a:gd name="connsiteY123" fmla="*/ 98465 h 1345876"/>
                  <a:gd name="connsiteX124" fmla="*/ 434070 w 961103"/>
                  <a:gd name="connsiteY124" fmla="*/ 131667 h 1345876"/>
                  <a:gd name="connsiteX125" fmla="*/ 431817 w 961103"/>
                  <a:gd name="connsiteY125" fmla="*/ 170207 h 1345876"/>
                  <a:gd name="connsiteX126" fmla="*/ 430900 w 961103"/>
                  <a:gd name="connsiteY126" fmla="*/ 178632 h 1345876"/>
                  <a:gd name="connsiteX127" fmla="*/ 434904 w 961103"/>
                  <a:gd name="connsiteY127" fmla="*/ 229102 h 1345876"/>
                  <a:gd name="connsiteX128" fmla="*/ 488548 w 961103"/>
                  <a:gd name="connsiteY128" fmla="*/ 220259 h 1345876"/>
                  <a:gd name="connsiteX129" fmla="*/ 520417 w 961103"/>
                  <a:gd name="connsiteY129" fmla="*/ 197235 h 1345876"/>
                  <a:gd name="connsiteX130" fmla="*/ 530178 w 961103"/>
                  <a:gd name="connsiteY130" fmla="*/ 188393 h 1345876"/>
                  <a:gd name="connsiteX131" fmla="*/ 574060 w 961103"/>
                  <a:gd name="connsiteY131" fmla="*/ 168038 h 1345876"/>
                  <a:gd name="connsiteX132" fmla="*/ 586491 w 961103"/>
                  <a:gd name="connsiteY132" fmla="*/ 168955 h 1345876"/>
                  <a:gd name="connsiteX133" fmla="*/ 584238 w 961103"/>
                  <a:gd name="connsiteY133" fmla="*/ 175629 h 1345876"/>
                  <a:gd name="connsiteX134" fmla="*/ 581151 w 961103"/>
                  <a:gd name="connsiteY134" fmla="*/ 181802 h 1345876"/>
                  <a:gd name="connsiteX135" fmla="*/ 581569 w 961103"/>
                  <a:gd name="connsiteY135" fmla="*/ 215504 h 1345876"/>
                  <a:gd name="connsiteX136" fmla="*/ 601925 w 961103"/>
                  <a:gd name="connsiteY136" fmla="*/ 224347 h 1345876"/>
                  <a:gd name="connsiteX137" fmla="*/ 604177 w 961103"/>
                  <a:gd name="connsiteY137" fmla="*/ 223930 h 1345876"/>
                  <a:gd name="connsiteX138" fmla="*/ 610851 w 961103"/>
                  <a:gd name="connsiteY138" fmla="*/ 224847 h 1345876"/>
                  <a:gd name="connsiteX139" fmla="*/ 609517 w 961103"/>
                  <a:gd name="connsiteY139" fmla="*/ 228351 h 1345876"/>
                  <a:gd name="connsiteX140" fmla="*/ 595751 w 961103"/>
                  <a:gd name="connsiteY140" fmla="*/ 232355 h 1345876"/>
                  <a:gd name="connsiteX141" fmla="*/ 570473 w 961103"/>
                  <a:gd name="connsiteY141" fmla="*/ 254044 h 1345876"/>
                  <a:gd name="connsiteX142" fmla="*/ 609934 w 961103"/>
                  <a:gd name="connsiteY142" fmla="*/ 275317 h 1345876"/>
                  <a:gd name="connsiteX143" fmla="*/ 614772 w 961103"/>
                  <a:gd name="connsiteY143" fmla="*/ 275317 h 1345876"/>
                  <a:gd name="connsiteX144" fmla="*/ 618777 w 961103"/>
                  <a:gd name="connsiteY144" fmla="*/ 297423 h 1345876"/>
                  <a:gd name="connsiteX145" fmla="*/ 621447 w 961103"/>
                  <a:gd name="connsiteY145" fmla="*/ 309853 h 1345876"/>
                  <a:gd name="connsiteX146" fmla="*/ 609934 w 961103"/>
                  <a:gd name="connsiteY146" fmla="*/ 331959 h 1345876"/>
                  <a:gd name="connsiteX147" fmla="*/ 567886 w 961103"/>
                  <a:gd name="connsiteY147" fmla="*/ 349227 h 1345876"/>
                  <a:gd name="connsiteX148" fmla="*/ 564383 w 961103"/>
                  <a:gd name="connsiteY148" fmla="*/ 350145 h 1345876"/>
                  <a:gd name="connsiteX149" fmla="*/ 554622 w 961103"/>
                  <a:gd name="connsiteY149" fmla="*/ 354149 h 1345876"/>
                  <a:gd name="connsiteX150" fmla="*/ 541774 w 961103"/>
                  <a:gd name="connsiteY150" fmla="*/ 358153 h 1345876"/>
                  <a:gd name="connsiteX151" fmla="*/ 538270 w 961103"/>
                  <a:gd name="connsiteY151" fmla="*/ 355901 h 1345876"/>
                  <a:gd name="connsiteX152" fmla="*/ 529427 w 961103"/>
                  <a:gd name="connsiteY152" fmla="*/ 351063 h 1345876"/>
                  <a:gd name="connsiteX153" fmla="*/ 507736 w 961103"/>
                  <a:gd name="connsiteY153" fmla="*/ 355901 h 1345876"/>
                  <a:gd name="connsiteX154" fmla="*/ 499310 w 961103"/>
                  <a:gd name="connsiteY154" fmla="*/ 381177 h 1345876"/>
                  <a:gd name="connsiteX155" fmla="*/ 501562 w 961103"/>
                  <a:gd name="connsiteY155" fmla="*/ 396276 h 1345876"/>
                  <a:gd name="connsiteX156" fmla="*/ 500645 w 961103"/>
                  <a:gd name="connsiteY156" fmla="*/ 421970 h 1345876"/>
                  <a:gd name="connsiteX157" fmla="*/ 469193 w 961103"/>
                  <a:gd name="connsiteY157" fmla="*/ 468519 h 1345876"/>
                  <a:gd name="connsiteX158" fmla="*/ 443080 w 961103"/>
                  <a:gd name="connsiteY158" fmla="*/ 504807 h 1345876"/>
                  <a:gd name="connsiteX159" fmla="*/ 425394 w 961103"/>
                  <a:gd name="connsiteY159" fmla="*/ 558863 h 1345876"/>
                  <a:gd name="connsiteX160" fmla="*/ 428480 w 961103"/>
                  <a:gd name="connsiteY160" fmla="*/ 582805 h 1345876"/>
                  <a:gd name="connsiteX161" fmla="*/ 431567 w 961103"/>
                  <a:gd name="connsiteY161" fmla="*/ 604911 h 1345876"/>
                  <a:gd name="connsiteX162" fmla="*/ 431567 w 961103"/>
                  <a:gd name="connsiteY162" fmla="*/ 607998 h 1345876"/>
                  <a:gd name="connsiteX163" fmla="*/ 439993 w 961103"/>
                  <a:gd name="connsiteY163" fmla="*/ 645620 h 1345876"/>
                  <a:gd name="connsiteX164" fmla="*/ 450171 w 961103"/>
                  <a:gd name="connsiteY164" fmla="*/ 658050 h 1345876"/>
                  <a:gd name="connsiteX165" fmla="*/ 462602 w 961103"/>
                  <a:gd name="connsiteY165" fmla="*/ 674400 h 1345876"/>
                  <a:gd name="connsiteX166" fmla="*/ 478536 w 961103"/>
                  <a:gd name="connsiteY166" fmla="*/ 716445 h 1345876"/>
                  <a:gd name="connsiteX167" fmla="*/ 477619 w 961103"/>
                  <a:gd name="connsiteY167" fmla="*/ 734129 h 1345876"/>
                  <a:gd name="connsiteX168" fmla="*/ 481123 w 961103"/>
                  <a:gd name="connsiteY168" fmla="*/ 769083 h 1345876"/>
                  <a:gd name="connsiteX169" fmla="*/ 487296 w 961103"/>
                  <a:gd name="connsiteY169" fmla="*/ 779677 h 1345876"/>
                  <a:gd name="connsiteX170" fmla="*/ 494388 w 961103"/>
                  <a:gd name="connsiteY170" fmla="*/ 795611 h 1345876"/>
                  <a:gd name="connsiteX171" fmla="*/ 492135 w 961103"/>
                  <a:gd name="connsiteY171" fmla="*/ 812878 h 1345876"/>
                  <a:gd name="connsiteX172" fmla="*/ 489882 w 961103"/>
                  <a:gd name="connsiteY172" fmla="*/ 821721 h 1345876"/>
                  <a:gd name="connsiteX173" fmla="*/ 489465 w 961103"/>
                  <a:gd name="connsiteY173" fmla="*/ 825225 h 1345876"/>
                  <a:gd name="connsiteX174" fmla="*/ 492969 w 961103"/>
                  <a:gd name="connsiteY174" fmla="*/ 874860 h 1345876"/>
                  <a:gd name="connsiteX175" fmla="*/ 509821 w 961103"/>
                  <a:gd name="connsiteY175" fmla="*/ 881534 h 1345876"/>
                  <a:gd name="connsiteX176" fmla="*/ 529343 w 961103"/>
                  <a:gd name="connsiteY176" fmla="*/ 872691 h 1345876"/>
                  <a:gd name="connsiteX177" fmla="*/ 542191 w 961103"/>
                  <a:gd name="connsiteY177" fmla="*/ 866518 h 1345876"/>
                  <a:gd name="connsiteX178" fmla="*/ 563048 w 961103"/>
                  <a:gd name="connsiteY178" fmla="*/ 878030 h 1345876"/>
                  <a:gd name="connsiteX179" fmla="*/ 553704 w 961103"/>
                  <a:gd name="connsiteY179" fmla="*/ 909062 h 1345876"/>
                  <a:gd name="connsiteX180" fmla="*/ 547030 w 961103"/>
                  <a:gd name="connsiteY180" fmla="*/ 912149 h 1345876"/>
                  <a:gd name="connsiteX181" fmla="*/ 529343 w 961103"/>
                  <a:gd name="connsiteY181" fmla="*/ 929417 h 1345876"/>
                  <a:gd name="connsiteX182" fmla="*/ 543526 w 961103"/>
                  <a:gd name="connsiteY182" fmla="*/ 951106 h 1345876"/>
                  <a:gd name="connsiteX183" fmla="*/ 550200 w 961103"/>
                  <a:gd name="connsiteY183" fmla="*/ 955527 h 1345876"/>
                  <a:gd name="connsiteX184" fmla="*/ 546696 w 961103"/>
                  <a:gd name="connsiteY184" fmla="*/ 971461 h 1345876"/>
                  <a:gd name="connsiteX185" fmla="*/ 543192 w 961103"/>
                  <a:gd name="connsiteY185" fmla="*/ 975882 h 1345876"/>
                  <a:gd name="connsiteX186" fmla="*/ 541440 w 961103"/>
                  <a:gd name="connsiteY186" fmla="*/ 978552 h 1345876"/>
                  <a:gd name="connsiteX187" fmla="*/ 531679 w 961103"/>
                  <a:gd name="connsiteY187" fmla="*/ 1008666 h 1345876"/>
                  <a:gd name="connsiteX188" fmla="*/ 542274 w 961103"/>
                  <a:gd name="connsiteY188" fmla="*/ 1021513 h 1345876"/>
                  <a:gd name="connsiteX189" fmla="*/ 544026 w 961103"/>
                  <a:gd name="connsiteY189" fmla="*/ 1022848 h 1345876"/>
                  <a:gd name="connsiteX190" fmla="*/ 552452 w 961103"/>
                  <a:gd name="connsiteY190" fmla="*/ 1034777 h 1345876"/>
                  <a:gd name="connsiteX191" fmla="*/ 563048 w 961103"/>
                  <a:gd name="connsiteY191" fmla="*/ 1049375 h 1345876"/>
                  <a:gd name="connsiteX192" fmla="*/ 610851 w 961103"/>
                  <a:gd name="connsiteY192" fmla="*/ 1052462 h 1345876"/>
                  <a:gd name="connsiteX193" fmla="*/ 635629 w 961103"/>
                  <a:gd name="connsiteY193" fmla="*/ 1046706 h 1345876"/>
                  <a:gd name="connsiteX194" fmla="*/ 651564 w 961103"/>
                  <a:gd name="connsiteY194" fmla="*/ 1062223 h 1345876"/>
                  <a:gd name="connsiteX195" fmla="*/ 664829 w 961103"/>
                  <a:gd name="connsiteY195" fmla="*/ 1076821 h 1345876"/>
                  <a:gd name="connsiteX196" fmla="*/ 709545 w 961103"/>
                  <a:gd name="connsiteY196" fmla="*/ 1089251 h 1345876"/>
                  <a:gd name="connsiteX197" fmla="*/ 745836 w 961103"/>
                  <a:gd name="connsiteY197" fmla="*/ 1056466 h 1345876"/>
                  <a:gd name="connsiteX198" fmla="*/ 756014 w 961103"/>
                  <a:gd name="connsiteY198" fmla="*/ 1040533 h 1345876"/>
                  <a:gd name="connsiteX199" fmla="*/ 773283 w 961103"/>
                  <a:gd name="connsiteY199" fmla="*/ 1030773 h 1345876"/>
                  <a:gd name="connsiteX200" fmla="*/ 787466 w 961103"/>
                  <a:gd name="connsiteY200" fmla="*/ 1031691 h 1345876"/>
                  <a:gd name="connsiteX201" fmla="*/ 788384 w 961103"/>
                  <a:gd name="connsiteY201" fmla="*/ 1032108 h 1345876"/>
                  <a:gd name="connsiteX202" fmla="*/ 819418 w 961103"/>
                  <a:gd name="connsiteY202" fmla="*/ 1031190 h 1345876"/>
                  <a:gd name="connsiteX203" fmla="*/ 846449 w 961103"/>
                  <a:gd name="connsiteY203" fmla="*/ 1034694 h 1345876"/>
                  <a:gd name="connsiteX204" fmla="*/ 863301 w 961103"/>
                  <a:gd name="connsiteY204" fmla="*/ 1041367 h 1345876"/>
                  <a:gd name="connsiteX205" fmla="*/ 882823 w 961103"/>
                  <a:gd name="connsiteY205" fmla="*/ 1050710 h 1345876"/>
                  <a:gd name="connsiteX206" fmla="*/ 888996 w 961103"/>
                  <a:gd name="connsiteY206" fmla="*/ 1065809 h 1345876"/>
                  <a:gd name="connsiteX207" fmla="*/ 882823 w 961103"/>
                  <a:gd name="connsiteY207" fmla="*/ 1077321 h 1345876"/>
                  <a:gd name="connsiteX208" fmla="*/ 873479 w 961103"/>
                  <a:gd name="connsiteY208" fmla="*/ 1080825 h 1345876"/>
                  <a:gd name="connsiteX209" fmla="*/ 852205 w 961103"/>
                  <a:gd name="connsiteY209" fmla="*/ 1095924 h 1345876"/>
                  <a:gd name="connsiteX210" fmla="*/ 853123 w 961103"/>
                  <a:gd name="connsiteY210" fmla="*/ 1114527 h 1345876"/>
                  <a:gd name="connsiteX211" fmla="*/ 868640 w 961103"/>
                  <a:gd name="connsiteY211" fmla="*/ 1126456 h 1345876"/>
                  <a:gd name="connsiteX212" fmla="*/ 869558 w 961103"/>
                  <a:gd name="connsiteY212" fmla="*/ 1141972 h 1345876"/>
                  <a:gd name="connsiteX213" fmla="*/ 870476 w 961103"/>
                  <a:gd name="connsiteY213" fmla="*/ 1149063 h 1345876"/>
                  <a:gd name="connsiteX214" fmla="*/ 870059 w 961103"/>
                  <a:gd name="connsiteY214" fmla="*/ 1159658 h 1345876"/>
                  <a:gd name="connsiteX215" fmla="*/ 876733 w 961103"/>
                  <a:gd name="connsiteY215" fmla="*/ 1193359 h 1345876"/>
                  <a:gd name="connsiteX216" fmla="*/ 893084 w 961103"/>
                  <a:gd name="connsiteY216" fmla="*/ 1203120 h 1345876"/>
                  <a:gd name="connsiteX217" fmla="*/ 900176 w 961103"/>
                  <a:gd name="connsiteY217" fmla="*/ 1206206 h 1345876"/>
                  <a:gd name="connsiteX218" fmla="*/ 915693 w 961103"/>
                  <a:gd name="connsiteY218" fmla="*/ 1220805 h 1345876"/>
                  <a:gd name="connsiteX219" fmla="*/ 936049 w 961103"/>
                  <a:gd name="connsiteY219" fmla="*/ 1242911 h 1345876"/>
                  <a:gd name="connsiteX220" fmla="*/ 950649 w 961103"/>
                  <a:gd name="connsiteY220" fmla="*/ 1259178 h 1345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</a:cxnLst>
                <a:rect l="l" t="t" r="r" b="b"/>
                <a:pathLst>
                  <a:path w="961103" h="1345876" extrusionOk="0">
                    <a:moveTo>
                      <a:pt x="950649" y="1259178"/>
                    </a:moveTo>
                    <a:cubicBezTo>
                      <a:pt x="965749" y="1275529"/>
                      <a:pt x="964414" y="1295967"/>
                      <a:pt x="947145" y="1313652"/>
                    </a:cubicBezTo>
                    <a:cubicBezTo>
                      <a:pt x="925871" y="1335758"/>
                      <a:pt x="895754" y="1348188"/>
                      <a:pt x="869641" y="1345518"/>
                    </a:cubicBezTo>
                    <a:cubicBezTo>
                      <a:pt x="849702" y="1343767"/>
                      <a:pt x="832850" y="1333589"/>
                      <a:pt x="821337" y="1316321"/>
                    </a:cubicBezTo>
                    <a:cubicBezTo>
                      <a:pt x="820002" y="1314069"/>
                      <a:pt x="818668" y="1311900"/>
                      <a:pt x="817333" y="1309230"/>
                    </a:cubicBezTo>
                    <a:cubicBezTo>
                      <a:pt x="811159" y="1298636"/>
                      <a:pt x="803567" y="1285289"/>
                      <a:pt x="788550" y="1283537"/>
                    </a:cubicBezTo>
                    <a:cubicBezTo>
                      <a:pt x="774785" y="1282202"/>
                      <a:pt x="766859" y="1291045"/>
                      <a:pt x="760602" y="1298636"/>
                    </a:cubicBezTo>
                    <a:cubicBezTo>
                      <a:pt x="757516" y="1302140"/>
                      <a:pt x="754429" y="1305727"/>
                      <a:pt x="750842" y="1307479"/>
                    </a:cubicBezTo>
                    <a:cubicBezTo>
                      <a:pt x="733572" y="1317239"/>
                      <a:pt x="717638" y="1299053"/>
                      <a:pt x="700785" y="1278282"/>
                    </a:cubicBezTo>
                    <a:cubicBezTo>
                      <a:pt x="699034" y="1276029"/>
                      <a:pt x="697282" y="1273860"/>
                      <a:pt x="695029" y="1271191"/>
                    </a:cubicBezTo>
                    <a:cubicBezTo>
                      <a:pt x="684851" y="1258761"/>
                      <a:pt x="676425" y="1249085"/>
                      <a:pt x="673755" y="1233985"/>
                    </a:cubicBezTo>
                    <a:cubicBezTo>
                      <a:pt x="672837" y="1227812"/>
                      <a:pt x="672837" y="1221556"/>
                      <a:pt x="672837" y="1214965"/>
                    </a:cubicBezTo>
                    <a:cubicBezTo>
                      <a:pt x="672837" y="1205205"/>
                      <a:pt x="672420" y="1195445"/>
                      <a:pt x="669751" y="1185768"/>
                    </a:cubicBezTo>
                    <a:cubicBezTo>
                      <a:pt x="664912" y="1170669"/>
                      <a:pt x="653399" y="1158323"/>
                      <a:pt x="638299" y="1151232"/>
                    </a:cubicBezTo>
                    <a:cubicBezTo>
                      <a:pt x="621447" y="1143224"/>
                      <a:pt x="601507" y="1142806"/>
                      <a:pt x="584655" y="1149480"/>
                    </a:cubicBezTo>
                    <a:cubicBezTo>
                      <a:pt x="581151" y="1150815"/>
                      <a:pt x="577147" y="1152984"/>
                      <a:pt x="573560" y="1155236"/>
                    </a:cubicBezTo>
                    <a:cubicBezTo>
                      <a:pt x="559794" y="1162744"/>
                      <a:pt x="554955" y="1164579"/>
                      <a:pt x="548281" y="1156154"/>
                    </a:cubicBezTo>
                    <a:cubicBezTo>
                      <a:pt x="545194" y="1151733"/>
                      <a:pt x="542942" y="1146394"/>
                      <a:pt x="541190" y="1140638"/>
                    </a:cubicBezTo>
                    <a:cubicBezTo>
                      <a:pt x="538520" y="1133547"/>
                      <a:pt x="535851" y="1125122"/>
                      <a:pt x="529260" y="1118531"/>
                    </a:cubicBezTo>
                    <a:cubicBezTo>
                      <a:pt x="509321" y="1097259"/>
                      <a:pt x="476951" y="1093255"/>
                      <a:pt x="438408" y="1106602"/>
                    </a:cubicBezTo>
                    <a:lnTo>
                      <a:pt x="428647" y="1110106"/>
                    </a:lnTo>
                    <a:cubicBezTo>
                      <a:pt x="397612" y="1121201"/>
                      <a:pt x="378174" y="1126456"/>
                      <a:pt x="363491" y="1103933"/>
                    </a:cubicBezTo>
                    <a:cubicBezTo>
                      <a:pt x="359069" y="1097759"/>
                      <a:pt x="356399" y="1087999"/>
                      <a:pt x="353313" y="1078239"/>
                    </a:cubicBezTo>
                    <a:cubicBezTo>
                      <a:pt x="347139" y="1058302"/>
                      <a:pt x="340882" y="1036195"/>
                      <a:pt x="319608" y="1028604"/>
                    </a:cubicBezTo>
                    <a:cubicBezTo>
                      <a:pt x="297500" y="1020595"/>
                      <a:pt x="287739" y="1039198"/>
                      <a:pt x="281065" y="1051628"/>
                    </a:cubicBezTo>
                    <a:cubicBezTo>
                      <a:pt x="275726" y="1062223"/>
                      <a:pt x="271721" y="1068896"/>
                      <a:pt x="266465" y="1067561"/>
                    </a:cubicBezTo>
                    <a:cubicBezTo>
                      <a:pt x="264213" y="1067144"/>
                      <a:pt x="264213" y="1066644"/>
                      <a:pt x="263796" y="1066644"/>
                    </a:cubicBezTo>
                    <a:cubicBezTo>
                      <a:pt x="261126" y="1061805"/>
                      <a:pt x="267300" y="1045371"/>
                      <a:pt x="269135" y="1040033"/>
                    </a:cubicBezTo>
                    <a:cubicBezTo>
                      <a:pt x="270053" y="1038281"/>
                      <a:pt x="270470" y="1036946"/>
                      <a:pt x="270887" y="1035611"/>
                    </a:cubicBezTo>
                    <a:cubicBezTo>
                      <a:pt x="278395" y="1013922"/>
                      <a:pt x="272639" y="997071"/>
                      <a:pt x="264713" y="978051"/>
                    </a:cubicBezTo>
                    <a:cubicBezTo>
                      <a:pt x="259374" y="966122"/>
                      <a:pt x="257205" y="952358"/>
                      <a:pt x="254535" y="938176"/>
                    </a:cubicBezTo>
                    <a:cubicBezTo>
                      <a:pt x="251031" y="919156"/>
                      <a:pt x="247444" y="899219"/>
                      <a:pt x="236849" y="882368"/>
                    </a:cubicBezTo>
                    <a:cubicBezTo>
                      <a:pt x="227088" y="867269"/>
                      <a:pt x="211571" y="860261"/>
                      <a:pt x="196554" y="853588"/>
                    </a:cubicBezTo>
                    <a:cubicBezTo>
                      <a:pt x="181036" y="846914"/>
                      <a:pt x="168189" y="840741"/>
                      <a:pt x="162849" y="827894"/>
                    </a:cubicBezTo>
                    <a:cubicBezTo>
                      <a:pt x="160597" y="822555"/>
                      <a:pt x="159762" y="815047"/>
                      <a:pt x="158845" y="808374"/>
                    </a:cubicBezTo>
                    <a:cubicBezTo>
                      <a:pt x="157510" y="795944"/>
                      <a:pt x="155758" y="783097"/>
                      <a:pt x="145997" y="776007"/>
                    </a:cubicBezTo>
                    <a:cubicBezTo>
                      <a:pt x="139823" y="771585"/>
                      <a:pt x="131397" y="770668"/>
                      <a:pt x="120301" y="772920"/>
                    </a:cubicBezTo>
                    <a:cubicBezTo>
                      <a:pt x="114962" y="773838"/>
                      <a:pt x="109706" y="776007"/>
                      <a:pt x="103950" y="778259"/>
                    </a:cubicBezTo>
                    <a:cubicBezTo>
                      <a:pt x="84929" y="785767"/>
                      <a:pt x="75168" y="788436"/>
                      <a:pt x="69411" y="777842"/>
                    </a:cubicBezTo>
                    <a:cubicBezTo>
                      <a:pt x="65907" y="771168"/>
                      <a:pt x="64072" y="763660"/>
                      <a:pt x="62737" y="755735"/>
                    </a:cubicBezTo>
                    <a:cubicBezTo>
                      <a:pt x="60067" y="741137"/>
                      <a:pt x="57898" y="724703"/>
                      <a:pt x="38376" y="716278"/>
                    </a:cubicBezTo>
                    <a:cubicBezTo>
                      <a:pt x="44550" y="714943"/>
                      <a:pt x="51224" y="714025"/>
                      <a:pt x="58733" y="713191"/>
                    </a:cubicBezTo>
                    <a:cubicBezTo>
                      <a:pt x="77754" y="710939"/>
                      <a:pt x="97276" y="708770"/>
                      <a:pt x="111041" y="697258"/>
                    </a:cubicBezTo>
                    <a:cubicBezTo>
                      <a:pt x="120802" y="689249"/>
                      <a:pt x="126141" y="679072"/>
                      <a:pt x="131397" y="668895"/>
                    </a:cubicBezTo>
                    <a:cubicBezTo>
                      <a:pt x="136236" y="660052"/>
                      <a:pt x="140741" y="651627"/>
                      <a:pt x="147332" y="645871"/>
                    </a:cubicBezTo>
                    <a:cubicBezTo>
                      <a:pt x="151336" y="642367"/>
                      <a:pt x="155758" y="641032"/>
                      <a:pt x="161514" y="639698"/>
                    </a:cubicBezTo>
                    <a:cubicBezTo>
                      <a:pt x="164184" y="638780"/>
                      <a:pt x="166854" y="638363"/>
                      <a:pt x="169940" y="637028"/>
                    </a:cubicBezTo>
                    <a:cubicBezTo>
                      <a:pt x="179702" y="633941"/>
                      <a:pt x="183706" y="629520"/>
                      <a:pt x="187627" y="624181"/>
                    </a:cubicBezTo>
                    <a:lnTo>
                      <a:pt x="193801" y="617091"/>
                    </a:lnTo>
                    <a:cubicBezTo>
                      <a:pt x="197304" y="613086"/>
                      <a:pt x="197304" y="613086"/>
                      <a:pt x="204396" y="612669"/>
                    </a:cubicBezTo>
                    <a:lnTo>
                      <a:pt x="210569" y="612669"/>
                    </a:lnTo>
                    <a:cubicBezTo>
                      <a:pt x="216326" y="613086"/>
                      <a:pt x="222499" y="613086"/>
                      <a:pt x="229591" y="610000"/>
                    </a:cubicBezTo>
                    <a:cubicBezTo>
                      <a:pt x="247277" y="603326"/>
                      <a:pt x="265047" y="586976"/>
                      <a:pt x="275225" y="574546"/>
                    </a:cubicBezTo>
                    <a:cubicBezTo>
                      <a:pt x="280982" y="567455"/>
                      <a:pt x="284068" y="559948"/>
                      <a:pt x="287155" y="552857"/>
                    </a:cubicBezTo>
                    <a:cubicBezTo>
                      <a:pt x="290659" y="544014"/>
                      <a:pt x="294246" y="536506"/>
                      <a:pt x="301755" y="529833"/>
                    </a:cubicBezTo>
                    <a:cubicBezTo>
                      <a:pt x="306176" y="526329"/>
                      <a:pt x="310181" y="523660"/>
                      <a:pt x="313685" y="520990"/>
                    </a:cubicBezTo>
                    <a:cubicBezTo>
                      <a:pt x="324280" y="513899"/>
                      <a:pt x="333207" y="507226"/>
                      <a:pt x="340298" y="491292"/>
                    </a:cubicBezTo>
                    <a:cubicBezTo>
                      <a:pt x="342968" y="485119"/>
                      <a:pt x="346472" y="479363"/>
                      <a:pt x="350059" y="473107"/>
                    </a:cubicBezTo>
                    <a:cubicBezTo>
                      <a:pt x="356733" y="462512"/>
                      <a:pt x="362907" y="451417"/>
                      <a:pt x="365576" y="436819"/>
                    </a:cubicBezTo>
                    <a:cubicBezTo>
                      <a:pt x="366911" y="428393"/>
                      <a:pt x="370415" y="399196"/>
                      <a:pt x="358902" y="377006"/>
                    </a:cubicBezTo>
                    <a:cubicBezTo>
                      <a:pt x="352729" y="365494"/>
                      <a:pt x="336711" y="338049"/>
                      <a:pt x="315020" y="333127"/>
                    </a:cubicBezTo>
                    <a:cubicBezTo>
                      <a:pt x="303090" y="330458"/>
                      <a:pt x="292411" y="333544"/>
                      <a:pt x="282650" y="336214"/>
                    </a:cubicBezTo>
                    <a:cubicBezTo>
                      <a:pt x="275559" y="338466"/>
                      <a:pt x="268468" y="340218"/>
                      <a:pt x="261793" y="339300"/>
                    </a:cubicBezTo>
                    <a:cubicBezTo>
                      <a:pt x="255119" y="338383"/>
                      <a:pt x="253367" y="335796"/>
                      <a:pt x="249363" y="330458"/>
                    </a:cubicBezTo>
                    <a:cubicBezTo>
                      <a:pt x="247110" y="327371"/>
                      <a:pt x="244941" y="324285"/>
                      <a:pt x="242272" y="321615"/>
                    </a:cubicBezTo>
                    <a:cubicBezTo>
                      <a:pt x="239185" y="318529"/>
                      <a:pt x="235598" y="316276"/>
                      <a:pt x="232511" y="314524"/>
                    </a:cubicBezTo>
                    <a:cubicBezTo>
                      <a:pt x="229424" y="312772"/>
                      <a:pt x="227171" y="311438"/>
                      <a:pt x="225002" y="309185"/>
                    </a:cubicBezTo>
                    <a:cubicBezTo>
                      <a:pt x="222750" y="306516"/>
                      <a:pt x="221498" y="303429"/>
                      <a:pt x="219663" y="299425"/>
                    </a:cubicBezTo>
                    <a:cubicBezTo>
                      <a:pt x="218328" y="296339"/>
                      <a:pt x="216993" y="293252"/>
                      <a:pt x="215241" y="290082"/>
                    </a:cubicBezTo>
                    <a:cubicBezTo>
                      <a:pt x="214824" y="290082"/>
                      <a:pt x="214824" y="289665"/>
                      <a:pt x="214824" y="289665"/>
                    </a:cubicBezTo>
                    <a:cubicBezTo>
                      <a:pt x="211737" y="283909"/>
                      <a:pt x="206815" y="279488"/>
                      <a:pt x="201976" y="275067"/>
                    </a:cubicBezTo>
                    <a:cubicBezTo>
                      <a:pt x="201059" y="274149"/>
                      <a:pt x="200224" y="273732"/>
                      <a:pt x="199307" y="272814"/>
                    </a:cubicBezTo>
                    <a:lnTo>
                      <a:pt x="194885" y="269311"/>
                    </a:lnTo>
                    <a:cubicBezTo>
                      <a:pt x="193550" y="267976"/>
                      <a:pt x="191798" y="266641"/>
                      <a:pt x="190046" y="264889"/>
                    </a:cubicBezTo>
                    <a:cubicBezTo>
                      <a:pt x="185625" y="261386"/>
                      <a:pt x="177616" y="254712"/>
                      <a:pt x="177616" y="250708"/>
                    </a:cubicBezTo>
                    <a:cubicBezTo>
                      <a:pt x="177616" y="248956"/>
                      <a:pt x="179368" y="246704"/>
                      <a:pt x="181120" y="244034"/>
                    </a:cubicBezTo>
                    <a:cubicBezTo>
                      <a:pt x="183789" y="240948"/>
                      <a:pt x="186459" y="236943"/>
                      <a:pt x="187794" y="231604"/>
                    </a:cubicBezTo>
                    <a:cubicBezTo>
                      <a:pt x="188711" y="224097"/>
                      <a:pt x="187377" y="217423"/>
                      <a:pt x="182955" y="211667"/>
                    </a:cubicBezTo>
                    <a:cubicBezTo>
                      <a:pt x="174946" y="201489"/>
                      <a:pt x="159929" y="198403"/>
                      <a:pt x="148416" y="197485"/>
                    </a:cubicBezTo>
                    <a:cubicBezTo>
                      <a:pt x="126725" y="195734"/>
                      <a:pt x="111625" y="193481"/>
                      <a:pt x="97025" y="179800"/>
                    </a:cubicBezTo>
                    <a:cubicBezTo>
                      <a:pt x="93522" y="176297"/>
                      <a:pt x="90351" y="172709"/>
                      <a:pt x="87265" y="169206"/>
                    </a:cubicBezTo>
                    <a:cubicBezTo>
                      <a:pt x="78838" y="159863"/>
                      <a:pt x="70412" y="150186"/>
                      <a:pt x="55396" y="144847"/>
                    </a:cubicBezTo>
                    <a:cubicBezTo>
                      <a:pt x="46052" y="141343"/>
                      <a:pt x="35874" y="138173"/>
                      <a:pt x="27030" y="138674"/>
                    </a:cubicBezTo>
                    <a:cubicBezTo>
                      <a:pt x="22609" y="139091"/>
                      <a:pt x="19021" y="140926"/>
                      <a:pt x="15100" y="142177"/>
                    </a:cubicBezTo>
                    <a:cubicBezTo>
                      <a:pt x="10679" y="144430"/>
                      <a:pt x="7091" y="145681"/>
                      <a:pt x="5339" y="144847"/>
                    </a:cubicBezTo>
                    <a:cubicBezTo>
                      <a:pt x="1335" y="143512"/>
                      <a:pt x="0" y="135087"/>
                      <a:pt x="0" y="126662"/>
                    </a:cubicBezTo>
                    <a:cubicBezTo>
                      <a:pt x="2670" y="125744"/>
                      <a:pt x="4839" y="124409"/>
                      <a:pt x="7091" y="123575"/>
                    </a:cubicBezTo>
                    <a:cubicBezTo>
                      <a:pt x="9761" y="122240"/>
                      <a:pt x="12431" y="120905"/>
                      <a:pt x="15517" y="120071"/>
                    </a:cubicBezTo>
                    <a:cubicBezTo>
                      <a:pt x="25696" y="116985"/>
                      <a:pt x="27448" y="117819"/>
                      <a:pt x="37208" y="123158"/>
                    </a:cubicBezTo>
                    <a:lnTo>
                      <a:pt x="39878" y="124492"/>
                    </a:lnTo>
                    <a:cubicBezTo>
                      <a:pt x="46969" y="127996"/>
                      <a:pt x="55813" y="129831"/>
                      <a:pt x="65156" y="129831"/>
                    </a:cubicBezTo>
                    <a:cubicBezTo>
                      <a:pt x="74917" y="129831"/>
                      <a:pt x="84678" y="127579"/>
                      <a:pt x="93104" y="124075"/>
                    </a:cubicBezTo>
                    <a:cubicBezTo>
                      <a:pt x="105535" y="118319"/>
                      <a:pt x="113043" y="109477"/>
                      <a:pt x="115213" y="97965"/>
                    </a:cubicBezTo>
                    <a:cubicBezTo>
                      <a:pt x="117465" y="88205"/>
                      <a:pt x="112960" y="81614"/>
                      <a:pt x="109873" y="76692"/>
                    </a:cubicBezTo>
                    <a:cubicBezTo>
                      <a:pt x="107621" y="73606"/>
                      <a:pt x="106369" y="71353"/>
                      <a:pt x="106369" y="69184"/>
                    </a:cubicBezTo>
                    <a:cubicBezTo>
                      <a:pt x="106786" y="64763"/>
                      <a:pt x="111709" y="62511"/>
                      <a:pt x="122304" y="59424"/>
                    </a:cubicBezTo>
                    <a:cubicBezTo>
                      <a:pt x="125808" y="58507"/>
                      <a:pt x="128978" y="57673"/>
                      <a:pt x="131147" y="56338"/>
                    </a:cubicBezTo>
                    <a:cubicBezTo>
                      <a:pt x="137821" y="53669"/>
                      <a:pt x="143578" y="50165"/>
                      <a:pt x="149334" y="46995"/>
                    </a:cubicBezTo>
                    <a:cubicBezTo>
                      <a:pt x="157343" y="42573"/>
                      <a:pt x="164434" y="38569"/>
                      <a:pt x="172777" y="35900"/>
                    </a:cubicBezTo>
                    <a:cubicBezTo>
                      <a:pt x="177199" y="34565"/>
                      <a:pt x="181203" y="33231"/>
                      <a:pt x="185208" y="32813"/>
                    </a:cubicBezTo>
                    <a:cubicBezTo>
                      <a:pt x="190046" y="31479"/>
                      <a:pt x="194968" y="30561"/>
                      <a:pt x="199807" y="29727"/>
                    </a:cubicBezTo>
                    <a:cubicBezTo>
                      <a:pt x="202060" y="29310"/>
                      <a:pt x="204229" y="28809"/>
                      <a:pt x="205981" y="28809"/>
                    </a:cubicBezTo>
                    <a:lnTo>
                      <a:pt x="221915" y="25723"/>
                    </a:lnTo>
                    <a:cubicBezTo>
                      <a:pt x="236098" y="23053"/>
                      <a:pt x="252033" y="19966"/>
                      <a:pt x="265297" y="12459"/>
                    </a:cubicBezTo>
                    <a:cubicBezTo>
                      <a:pt x="268801" y="10206"/>
                      <a:pt x="271971" y="8037"/>
                      <a:pt x="274641" y="6285"/>
                    </a:cubicBezTo>
                    <a:cubicBezTo>
                      <a:pt x="280815" y="1447"/>
                      <a:pt x="284402" y="-805"/>
                      <a:pt x="292328" y="530"/>
                    </a:cubicBezTo>
                    <a:cubicBezTo>
                      <a:pt x="294580" y="947"/>
                      <a:pt x="296749" y="2281"/>
                      <a:pt x="299002" y="3616"/>
                    </a:cubicBezTo>
                    <a:cubicBezTo>
                      <a:pt x="303006" y="5868"/>
                      <a:pt x="307845" y="8454"/>
                      <a:pt x="313602" y="8454"/>
                    </a:cubicBezTo>
                    <a:cubicBezTo>
                      <a:pt x="314019" y="8454"/>
                      <a:pt x="314019" y="8454"/>
                      <a:pt x="314019" y="8454"/>
                    </a:cubicBezTo>
                    <a:cubicBezTo>
                      <a:pt x="320192" y="8454"/>
                      <a:pt x="324197" y="5785"/>
                      <a:pt x="326866" y="4033"/>
                    </a:cubicBezTo>
                    <a:cubicBezTo>
                      <a:pt x="328618" y="3116"/>
                      <a:pt x="329536" y="2281"/>
                      <a:pt x="331288" y="1781"/>
                    </a:cubicBezTo>
                    <a:cubicBezTo>
                      <a:pt x="341466" y="-1306"/>
                      <a:pt x="342384" y="-889"/>
                      <a:pt x="351227" y="7120"/>
                    </a:cubicBezTo>
                    <a:lnTo>
                      <a:pt x="353897" y="9372"/>
                    </a:lnTo>
                    <a:cubicBezTo>
                      <a:pt x="365410" y="19549"/>
                      <a:pt x="375170" y="28392"/>
                      <a:pt x="394692" y="16463"/>
                    </a:cubicBezTo>
                    <a:cubicBezTo>
                      <a:pt x="396945" y="15128"/>
                      <a:pt x="398697" y="14210"/>
                      <a:pt x="400449" y="12959"/>
                    </a:cubicBezTo>
                    <a:cubicBezTo>
                      <a:pt x="400866" y="13376"/>
                      <a:pt x="401367" y="13877"/>
                      <a:pt x="401367" y="13877"/>
                    </a:cubicBezTo>
                    <a:cubicBezTo>
                      <a:pt x="403619" y="15212"/>
                      <a:pt x="404870" y="16546"/>
                      <a:pt x="406205" y="19216"/>
                    </a:cubicBezTo>
                    <a:cubicBezTo>
                      <a:pt x="407957" y="22302"/>
                      <a:pt x="407123" y="25889"/>
                      <a:pt x="405788" y="30311"/>
                    </a:cubicBezTo>
                    <a:cubicBezTo>
                      <a:pt x="405371" y="31645"/>
                      <a:pt x="404870" y="32980"/>
                      <a:pt x="404870" y="33814"/>
                    </a:cubicBezTo>
                    <a:lnTo>
                      <a:pt x="403953" y="36901"/>
                    </a:lnTo>
                    <a:cubicBezTo>
                      <a:pt x="402201" y="45327"/>
                      <a:pt x="399948" y="55086"/>
                      <a:pt x="403536" y="64847"/>
                    </a:cubicBezTo>
                    <a:cubicBezTo>
                      <a:pt x="405788" y="71020"/>
                      <a:pt x="409709" y="74607"/>
                      <a:pt x="412379" y="76776"/>
                    </a:cubicBezTo>
                    <a:cubicBezTo>
                      <a:pt x="414631" y="79028"/>
                      <a:pt x="415883" y="79863"/>
                      <a:pt x="417218" y="82532"/>
                    </a:cubicBezTo>
                    <a:cubicBezTo>
                      <a:pt x="419470" y="86953"/>
                      <a:pt x="418970" y="92709"/>
                      <a:pt x="418552" y="98465"/>
                    </a:cubicBezTo>
                    <a:cubicBezTo>
                      <a:pt x="418135" y="109060"/>
                      <a:pt x="417635" y="124159"/>
                      <a:pt x="434070" y="131667"/>
                    </a:cubicBezTo>
                    <a:cubicBezTo>
                      <a:pt x="433653" y="144096"/>
                      <a:pt x="432735" y="156943"/>
                      <a:pt x="431817" y="170207"/>
                    </a:cubicBezTo>
                    <a:cubicBezTo>
                      <a:pt x="431817" y="171959"/>
                      <a:pt x="431400" y="175045"/>
                      <a:pt x="430900" y="178632"/>
                    </a:cubicBezTo>
                    <a:cubicBezTo>
                      <a:pt x="427813" y="202991"/>
                      <a:pt x="425560" y="222011"/>
                      <a:pt x="434904" y="229102"/>
                    </a:cubicBezTo>
                    <a:cubicBezTo>
                      <a:pt x="445499" y="237527"/>
                      <a:pt x="466356" y="230019"/>
                      <a:pt x="488548" y="220259"/>
                    </a:cubicBezTo>
                    <a:cubicBezTo>
                      <a:pt x="502313" y="214086"/>
                      <a:pt x="511156" y="206078"/>
                      <a:pt x="520417" y="197235"/>
                    </a:cubicBezTo>
                    <a:cubicBezTo>
                      <a:pt x="523503" y="194149"/>
                      <a:pt x="526590" y="191062"/>
                      <a:pt x="530178" y="188393"/>
                    </a:cubicBezTo>
                    <a:cubicBezTo>
                      <a:pt x="540356" y="179967"/>
                      <a:pt x="558960" y="169790"/>
                      <a:pt x="574060" y="168038"/>
                    </a:cubicBezTo>
                    <a:cubicBezTo>
                      <a:pt x="577564" y="167621"/>
                      <a:pt x="584655" y="166703"/>
                      <a:pt x="586491" y="168955"/>
                    </a:cubicBezTo>
                    <a:cubicBezTo>
                      <a:pt x="586908" y="169873"/>
                      <a:pt x="586908" y="171208"/>
                      <a:pt x="584238" y="175629"/>
                    </a:cubicBezTo>
                    <a:cubicBezTo>
                      <a:pt x="583320" y="177882"/>
                      <a:pt x="581986" y="180051"/>
                      <a:pt x="581151" y="181802"/>
                    </a:cubicBezTo>
                    <a:cubicBezTo>
                      <a:pt x="575812" y="195066"/>
                      <a:pt x="576313" y="207496"/>
                      <a:pt x="581569" y="215504"/>
                    </a:cubicBezTo>
                    <a:cubicBezTo>
                      <a:pt x="584655" y="219925"/>
                      <a:pt x="590912" y="224847"/>
                      <a:pt x="601925" y="224347"/>
                    </a:cubicBezTo>
                    <a:lnTo>
                      <a:pt x="604177" y="223930"/>
                    </a:lnTo>
                    <a:cubicBezTo>
                      <a:pt x="609016" y="223512"/>
                      <a:pt x="610351" y="223930"/>
                      <a:pt x="610851" y="224847"/>
                    </a:cubicBezTo>
                    <a:cubicBezTo>
                      <a:pt x="611769" y="225765"/>
                      <a:pt x="611769" y="226182"/>
                      <a:pt x="609517" y="228351"/>
                    </a:cubicBezTo>
                    <a:cubicBezTo>
                      <a:pt x="607264" y="230603"/>
                      <a:pt x="601090" y="231437"/>
                      <a:pt x="595751" y="232355"/>
                    </a:cubicBezTo>
                    <a:cubicBezTo>
                      <a:pt x="585573" y="233690"/>
                      <a:pt x="569138" y="236777"/>
                      <a:pt x="570473" y="254044"/>
                    </a:cubicBezTo>
                    <a:cubicBezTo>
                      <a:pt x="571808" y="275734"/>
                      <a:pt x="597503" y="275317"/>
                      <a:pt x="609934" y="275317"/>
                    </a:cubicBezTo>
                    <a:lnTo>
                      <a:pt x="614772" y="275317"/>
                    </a:lnTo>
                    <a:cubicBezTo>
                      <a:pt x="615690" y="282824"/>
                      <a:pt x="617025" y="289915"/>
                      <a:pt x="618777" y="297423"/>
                    </a:cubicBezTo>
                    <a:cubicBezTo>
                      <a:pt x="619695" y="301427"/>
                      <a:pt x="620529" y="305432"/>
                      <a:pt x="621447" y="309853"/>
                    </a:cubicBezTo>
                    <a:cubicBezTo>
                      <a:pt x="623699" y="321782"/>
                      <a:pt x="621864" y="324034"/>
                      <a:pt x="609934" y="331959"/>
                    </a:cubicBezTo>
                    <a:cubicBezTo>
                      <a:pt x="596168" y="340802"/>
                      <a:pt x="583821" y="344389"/>
                      <a:pt x="567886" y="349227"/>
                    </a:cubicBezTo>
                    <a:lnTo>
                      <a:pt x="564383" y="350145"/>
                    </a:lnTo>
                    <a:cubicBezTo>
                      <a:pt x="561296" y="351063"/>
                      <a:pt x="558209" y="352814"/>
                      <a:pt x="554622" y="354149"/>
                    </a:cubicBezTo>
                    <a:cubicBezTo>
                      <a:pt x="550200" y="356402"/>
                      <a:pt x="544861" y="358571"/>
                      <a:pt x="541774" y="358153"/>
                    </a:cubicBezTo>
                    <a:cubicBezTo>
                      <a:pt x="540856" y="358153"/>
                      <a:pt x="539521" y="357236"/>
                      <a:pt x="538270" y="355901"/>
                    </a:cubicBezTo>
                    <a:cubicBezTo>
                      <a:pt x="536017" y="354149"/>
                      <a:pt x="533431" y="351897"/>
                      <a:pt x="529427" y="351063"/>
                    </a:cubicBezTo>
                    <a:cubicBezTo>
                      <a:pt x="518331" y="348810"/>
                      <a:pt x="511240" y="352397"/>
                      <a:pt x="507736" y="355901"/>
                    </a:cubicBezTo>
                    <a:cubicBezTo>
                      <a:pt x="501562" y="361240"/>
                      <a:pt x="498892" y="370082"/>
                      <a:pt x="499310" y="381177"/>
                    </a:cubicBezTo>
                    <a:cubicBezTo>
                      <a:pt x="499727" y="386516"/>
                      <a:pt x="500645" y="391355"/>
                      <a:pt x="501562" y="396276"/>
                    </a:cubicBezTo>
                    <a:cubicBezTo>
                      <a:pt x="503314" y="405119"/>
                      <a:pt x="504649" y="411793"/>
                      <a:pt x="500645" y="421970"/>
                    </a:cubicBezTo>
                    <a:cubicBezTo>
                      <a:pt x="493553" y="438821"/>
                      <a:pt x="482040" y="453419"/>
                      <a:pt x="469193" y="468519"/>
                    </a:cubicBezTo>
                    <a:cubicBezTo>
                      <a:pt x="459849" y="480030"/>
                      <a:pt x="450171" y="491960"/>
                      <a:pt x="443080" y="504807"/>
                    </a:cubicBezTo>
                    <a:cubicBezTo>
                      <a:pt x="434237" y="520323"/>
                      <a:pt x="425394" y="538508"/>
                      <a:pt x="425394" y="558863"/>
                    </a:cubicBezTo>
                    <a:cubicBezTo>
                      <a:pt x="425811" y="567288"/>
                      <a:pt x="427145" y="574796"/>
                      <a:pt x="428480" y="582805"/>
                    </a:cubicBezTo>
                    <a:cubicBezTo>
                      <a:pt x="429815" y="590313"/>
                      <a:pt x="431567" y="597403"/>
                      <a:pt x="431567" y="604911"/>
                    </a:cubicBezTo>
                    <a:lnTo>
                      <a:pt x="431567" y="607998"/>
                    </a:lnTo>
                    <a:cubicBezTo>
                      <a:pt x="431150" y="620845"/>
                      <a:pt x="431150" y="632774"/>
                      <a:pt x="439993" y="645620"/>
                    </a:cubicBezTo>
                    <a:cubicBezTo>
                      <a:pt x="443080" y="650042"/>
                      <a:pt x="446667" y="654046"/>
                      <a:pt x="450171" y="658050"/>
                    </a:cubicBezTo>
                    <a:cubicBezTo>
                      <a:pt x="454593" y="662888"/>
                      <a:pt x="459014" y="667810"/>
                      <a:pt x="462602" y="674400"/>
                    </a:cubicBezTo>
                    <a:cubicBezTo>
                      <a:pt x="469276" y="687247"/>
                      <a:pt x="477202" y="703180"/>
                      <a:pt x="478536" y="716445"/>
                    </a:cubicBezTo>
                    <a:cubicBezTo>
                      <a:pt x="478954" y="722618"/>
                      <a:pt x="478119" y="728374"/>
                      <a:pt x="477619" y="734129"/>
                    </a:cubicBezTo>
                    <a:cubicBezTo>
                      <a:pt x="476284" y="744724"/>
                      <a:pt x="474949" y="756236"/>
                      <a:pt x="481123" y="769083"/>
                    </a:cubicBezTo>
                    <a:cubicBezTo>
                      <a:pt x="482875" y="772586"/>
                      <a:pt x="485127" y="776173"/>
                      <a:pt x="487296" y="779677"/>
                    </a:cubicBezTo>
                    <a:cubicBezTo>
                      <a:pt x="490800" y="785016"/>
                      <a:pt x="493970" y="789437"/>
                      <a:pt x="494388" y="795611"/>
                    </a:cubicBezTo>
                    <a:cubicBezTo>
                      <a:pt x="494805" y="800949"/>
                      <a:pt x="493470" y="807122"/>
                      <a:pt x="492135" y="812878"/>
                    </a:cubicBezTo>
                    <a:cubicBezTo>
                      <a:pt x="491217" y="815965"/>
                      <a:pt x="490800" y="819052"/>
                      <a:pt x="489882" y="821721"/>
                    </a:cubicBezTo>
                    <a:lnTo>
                      <a:pt x="489465" y="825225"/>
                    </a:lnTo>
                    <a:cubicBezTo>
                      <a:pt x="486378" y="843410"/>
                      <a:pt x="483709" y="863765"/>
                      <a:pt x="492969" y="874860"/>
                    </a:cubicBezTo>
                    <a:cubicBezTo>
                      <a:pt x="495639" y="877946"/>
                      <a:pt x="500978" y="881951"/>
                      <a:pt x="509821" y="881534"/>
                    </a:cubicBezTo>
                    <a:cubicBezTo>
                      <a:pt x="518247" y="881117"/>
                      <a:pt x="524004" y="876695"/>
                      <a:pt x="529343" y="872691"/>
                    </a:cubicBezTo>
                    <a:cubicBezTo>
                      <a:pt x="533765" y="869604"/>
                      <a:pt x="537769" y="866518"/>
                      <a:pt x="542191" y="866518"/>
                    </a:cubicBezTo>
                    <a:cubicBezTo>
                      <a:pt x="549700" y="866518"/>
                      <a:pt x="559878" y="872274"/>
                      <a:pt x="563048" y="878030"/>
                    </a:cubicBezTo>
                    <a:cubicBezTo>
                      <a:pt x="567469" y="886872"/>
                      <a:pt x="561713" y="902389"/>
                      <a:pt x="553704" y="909062"/>
                    </a:cubicBezTo>
                    <a:cubicBezTo>
                      <a:pt x="552369" y="910397"/>
                      <a:pt x="549282" y="911315"/>
                      <a:pt x="547030" y="912149"/>
                    </a:cubicBezTo>
                    <a:cubicBezTo>
                      <a:pt x="540856" y="914818"/>
                      <a:pt x="531095" y="918322"/>
                      <a:pt x="529343" y="929417"/>
                    </a:cubicBezTo>
                    <a:cubicBezTo>
                      <a:pt x="527091" y="942264"/>
                      <a:pt x="537769" y="947602"/>
                      <a:pt x="543526" y="951106"/>
                    </a:cubicBezTo>
                    <a:cubicBezTo>
                      <a:pt x="546195" y="952441"/>
                      <a:pt x="548865" y="954193"/>
                      <a:pt x="550200" y="955527"/>
                    </a:cubicBezTo>
                    <a:cubicBezTo>
                      <a:pt x="553704" y="961284"/>
                      <a:pt x="552452" y="963536"/>
                      <a:pt x="546696" y="971461"/>
                    </a:cubicBezTo>
                    <a:cubicBezTo>
                      <a:pt x="545361" y="972796"/>
                      <a:pt x="544444" y="974548"/>
                      <a:pt x="543192" y="975882"/>
                    </a:cubicBezTo>
                    <a:lnTo>
                      <a:pt x="541440" y="978552"/>
                    </a:lnTo>
                    <a:cubicBezTo>
                      <a:pt x="536101" y="986560"/>
                      <a:pt x="528593" y="996737"/>
                      <a:pt x="531679" y="1008666"/>
                    </a:cubicBezTo>
                    <a:cubicBezTo>
                      <a:pt x="533932" y="1017092"/>
                      <a:pt x="536518" y="1020595"/>
                      <a:pt x="542274" y="1021513"/>
                    </a:cubicBezTo>
                    <a:cubicBezTo>
                      <a:pt x="543192" y="1021930"/>
                      <a:pt x="543192" y="1021930"/>
                      <a:pt x="544026" y="1022848"/>
                    </a:cubicBezTo>
                    <a:cubicBezTo>
                      <a:pt x="547113" y="1025935"/>
                      <a:pt x="549366" y="1029939"/>
                      <a:pt x="552452" y="1034777"/>
                    </a:cubicBezTo>
                    <a:cubicBezTo>
                      <a:pt x="555539" y="1039615"/>
                      <a:pt x="558626" y="1044954"/>
                      <a:pt x="563048" y="1049375"/>
                    </a:cubicBezTo>
                    <a:cubicBezTo>
                      <a:pt x="580317" y="1067061"/>
                      <a:pt x="597586" y="1059136"/>
                      <a:pt x="610851" y="1052462"/>
                    </a:cubicBezTo>
                    <a:cubicBezTo>
                      <a:pt x="619695" y="1048041"/>
                      <a:pt x="627704" y="1044454"/>
                      <a:pt x="635629" y="1046706"/>
                    </a:cubicBezTo>
                    <a:cubicBezTo>
                      <a:pt x="641803" y="1048458"/>
                      <a:pt x="646224" y="1055132"/>
                      <a:pt x="651564" y="1062223"/>
                    </a:cubicBezTo>
                    <a:cubicBezTo>
                      <a:pt x="655568" y="1067561"/>
                      <a:pt x="659573" y="1072817"/>
                      <a:pt x="664829" y="1076821"/>
                    </a:cubicBezTo>
                    <a:cubicBezTo>
                      <a:pt x="678594" y="1087415"/>
                      <a:pt x="694946" y="1091920"/>
                      <a:pt x="709545" y="1089251"/>
                    </a:cubicBezTo>
                    <a:cubicBezTo>
                      <a:pt x="729067" y="1085747"/>
                      <a:pt x="737910" y="1070231"/>
                      <a:pt x="745836" y="1056466"/>
                    </a:cubicBezTo>
                    <a:cubicBezTo>
                      <a:pt x="748923" y="1050710"/>
                      <a:pt x="752510" y="1045371"/>
                      <a:pt x="756014" y="1040533"/>
                    </a:cubicBezTo>
                    <a:cubicBezTo>
                      <a:pt x="761771" y="1033442"/>
                      <a:pt x="767110" y="1030773"/>
                      <a:pt x="773283" y="1030773"/>
                    </a:cubicBezTo>
                    <a:cubicBezTo>
                      <a:pt x="777705" y="1030356"/>
                      <a:pt x="782127" y="1031190"/>
                      <a:pt x="787466" y="1031691"/>
                    </a:cubicBezTo>
                    <a:cubicBezTo>
                      <a:pt x="787883" y="1032108"/>
                      <a:pt x="788384" y="1032108"/>
                      <a:pt x="788384" y="1032108"/>
                    </a:cubicBezTo>
                    <a:cubicBezTo>
                      <a:pt x="797227" y="1033442"/>
                      <a:pt x="807906" y="1035194"/>
                      <a:pt x="819418" y="1031190"/>
                    </a:cubicBezTo>
                    <a:cubicBezTo>
                      <a:pt x="832266" y="1026769"/>
                      <a:pt x="832266" y="1026769"/>
                      <a:pt x="846449" y="1034694"/>
                    </a:cubicBezTo>
                    <a:cubicBezTo>
                      <a:pt x="851788" y="1037780"/>
                      <a:pt x="857545" y="1039532"/>
                      <a:pt x="863301" y="1041367"/>
                    </a:cubicBezTo>
                    <a:cubicBezTo>
                      <a:pt x="870809" y="1043620"/>
                      <a:pt x="877901" y="1045789"/>
                      <a:pt x="882823" y="1050710"/>
                    </a:cubicBezTo>
                    <a:cubicBezTo>
                      <a:pt x="886827" y="1054715"/>
                      <a:pt x="888996" y="1060471"/>
                      <a:pt x="888996" y="1065809"/>
                    </a:cubicBezTo>
                    <a:cubicBezTo>
                      <a:pt x="888579" y="1068896"/>
                      <a:pt x="887662" y="1073818"/>
                      <a:pt x="882823" y="1077321"/>
                    </a:cubicBezTo>
                    <a:cubicBezTo>
                      <a:pt x="880570" y="1079073"/>
                      <a:pt x="877484" y="1079991"/>
                      <a:pt x="873479" y="1080825"/>
                    </a:cubicBezTo>
                    <a:cubicBezTo>
                      <a:pt x="866388" y="1082577"/>
                      <a:pt x="857127" y="1085246"/>
                      <a:pt x="852205" y="1095924"/>
                    </a:cubicBezTo>
                    <a:cubicBezTo>
                      <a:pt x="849118" y="1104350"/>
                      <a:pt x="850870" y="1110523"/>
                      <a:pt x="853123" y="1114527"/>
                    </a:cubicBezTo>
                    <a:cubicBezTo>
                      <a:pt x="856210" y="1119866"/>
                      <a:pt x="861966" y="1123870"/>
                      <a:pt x="868640" y="1126456"/>
                    </a:cubicBezTo>
                    <a:cubicBezTo>
                      <a:pt x="868223" y="1131795"/>
                      <a:pt x="869057" y="1137051"/>
                      <a:pt x="869558" y="1141972"/>
                    </a:cubicBezTo>
                    <a:cubicBezTo>
                      <a:pt x="869975" y="1144642"/>
                      <a:pt x="869975" y="1146811"/>
                      <a:pt x="870476" y="1149063"/>
                    </a:cubicBezTo>
                    <a:cubicBezTo>
                      <a:pt x="870893" y="1152150"/>
                      <a:pt x="870476" y="1156154"/>
                      <a:pt x="870059" y="1159658"/>
                    </a:cubicBezTo>
                    <a:cubicBezTo>
                      <a:pt x="869641" y="1170752"/>
                      <a:pt x="869141" y="1183599"/>
                      <a:pt x="876733" y="1193359"/>
                    </a:cubicBezTo>
                    <a:cubicBezTo>
                      <a:pt x="881571" y="1199115"/>
                      <a:pt x="887828" y="1201368"/>
                      <a:pt x="893084" y="1203120"/>
                    </a:cubicBezTo>
                    <a:cubicBezTo>
                      <a:pt x="895337" y="1204037"/>
                      <a:pt x="897923" y="1204872"/>
                      <a:pt x="900176" y="1206206"/>
                    </a:cubicBezTo>
                    <a:cubicBezTo>
                      <a:pt x="906850" y="1209710"/>
                      <a:pt x="910354" y="1213714"/>
                      <a:pt x="915693" y="1220805"/>
                    </a:cubicBezTo>
                    <a:cubicBezTo>
                      <a:pt x="922367" y="1229230"/>
                      <a:pt x="929458" y="1236321"/>
                      <a:pt x="936049" y="1242911"/>
                    </a:cubicBezTo>
                    <a:cubicBezTo>
                      <a:pt x="942223" y="1250336"/>
                      <a:pt x="946644" y="1254340"/>
                      <a:pt x="950649" y="125917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4492225" name="Полилиния 388"/>
              <p:cNvSpPr/>
              <p:nvPr/>
            </p:nvSpPr>
            <p:spPr bwMode="auto">
              <a:xfrm>
                <a:off x="3043978" y="4719069"/>
                <a:ext cx="562169" cy="748418"/>
              </a:xfrm>
              <a:custGeom>
                <a:avLst/>
                <a:gdLst>
                  <a:gd name="connsiteX0" fmla="*/ 610699 w 631335"/>
                  <a:gd name="connsiteY0" fmla="*/ 297061 h 840499"/>
                  <a:gd name="connsiteX1" fmla="*/ 609364 w 631335"/>
                  <a:gd name="connsiteY1" fmla="*/ 308155 h 840499"/>
                  <a:gd name="connsiteX2" fmla="*/ 612868 w 631335"/>
                  <a:gd name="connsiteY2" fmla="*/ 322754 h 840499"/>
                  <a:gd name="connsiteX3" fmla="*/ 615121 w 631335"/>
                  <a:gd name="connsiteY3" fmla="*/ 328093 h 840499"/>
                  <a:gd name="connsiteX4" fmla="*/ 616456 w 631335"/>
                  <a:gd name="connsiteY4" fmla="*/ 336518 h 840499"/>
                  <a:gd name="connsiteX5" fmla="*/ 605861 w 631335"/>
                  <a:gd name="connsiteY5" fmla="*/ 338771 h 840499"/>
                  <a:gd name="connsiteX6" fmla="*/ 595683 w 631335"/>
                  <a:gd name="connsiteY6" fmla="*/ 340106 h 840499"/>
                  <a:gd name="connsiteX7" fmla="*/ 585087 w 631335"/>
                  <a:gd name="connsiteY7" fmla="*/ 342775 h 840499"/>
                  <a:gd name="connsiteX8" fmla="*/ 559809 w 631335"/>
                  <a:gd name="connsiteY8" fmla="*/ 345444 h 840499"/>
                  <a:gd name="connsiteX9" fmla="*/ 556722 w 631335"/>
                  <a:gd name="connsiteY9" fmla="*/ 345027 h 840499"/>
                  <a:gd name="connsiteX10" fmla="*/ 517261 w 631335"/>
                  <a:gd name="connsiteY10" fmla="*/ 345444 h 840499"/>
                  <a:gd name="connsiteX11" fmla="*/ 495987 w 631335"/>
                  <a:gd name="connsiteY11" fmla="*/ 333515 h 840499"/>
                  <a:gd name="connsiteX12" fmla="*/ 484892 w 631335"/>
                  <a:gd name="connsiteY12" fmla="*/ 312243 h 840499"/>
                  <a:gd name="connsiteX13" fmla="*/ 472962 w 631335"/>
                  <a:gd name="connsiteY13" fmla="*/ 303401 h 840499"/>
                  <a:gd name="connsiteX14" fmla="*/ 465870 w 631335"/>
                  <a:gd name="connsiteY14" fmla="*/ 298979 h 840499"/>
                  <a:gd name="connsiteX15" fmla="*/ 459196 w 631335"/>
                  <a:gd name="connsiteY15" fmla="*/ 291888 h 840499"/>
                  <a:gd name="connsiteX16" fmla="*/ 433083 w 631335"/>
                  <a:gd name="connsiteY16" fmla="*/ 276372 h 840499"/>
                  <a:gd name="connsiteX17" fmla="*/ 379941 w 631335"/>
                  <a:gd name="connsiteY17" fmla="*/ 315830 h 840499"/>
                  <a:gd name="connsiteX18" fmla="*/ 369345 w 631335"/>
                  <a:gd name="connsiteY18" fmla="*/ 344610 h 840499"/>
                  <a:gd name="connsiteX19" fmla="*/ 380441 w 631335"/>
                  <a:gd name="connsiteY19" fmla="*/ 367217 h 840499"/>
                  <a:gd name="connsiteX20" fmla="*/ 386198 w 631335"/>
                  <a:gd name="connsiteY20" fmla="*/ 373390 h 840499"/>
                  <a:gd name="connsiteX21" fmla="*/ 393289 w 631335"/>
                  <a:gd name="connsiteY21" fmla="*/ 401753 h 840499"/>
                  <a:gd name="connsiteX22" fmla="*/ 401298 w 631335"/>
                  <a:gd name="connsiteY22" fmla="*/ 433620 h 840499"/>
                  <a:gd name="connsiteX23" fmla="*/ 428745 w 631335"/>
                  <a:gd name="connsiteY23" fmla="*/ 444715 h 840499"/>
                  <a:gd name="connsiteX24" fmla="*/ 435419 w 631335"/>
                  <a:gd name="connsiteY24" fmla="*/ 444298 h 840499"/>
                  <a:gd name="connsiteX25" fmla="*/ 464619 w 631335"/>
                  <a:gd name="connsiteY25" fmla="*/ 452723 h 840499"/>
                  <a:gd name="connsiteX26" fmla="*/ 467288 w 631335"/>
                  <a:gd name="connsiteY26" fmla="*/ 454058 h 840499"/>
                  <a:gd name="connsiteX27" fmla="*/ 493401 w 631335"/>
                  <a:gd name="connsiteY27" fmla="*/ 462900 h 840499"/>
                  <a:gd name="connsiteX28" fmla="*/ 516844 w 631335"/>
                  <a:gd name="connsiteY28" fmla="*/ 465570 h 840499"/>
                  <a:gd name="connsiteX29" fmla="*/ 527022 w 631335"/>
                  <a:gd name="connsiteY29" fmla="*/ 466905 h 840499"/>
                  <a:gd name="connsiteX30" fmla="*/ 558891 w 631335"/>
                  <a:gd name="connsiteY30" fmla="*/ 458062 h 840499"/>
                  <a:gd name="connsiteX31" fmla="*/ 581500 w 631335"/>
                  <a:gd name="connsiteY31" fmla="*/ 450054 h 840499"/>
                  <a:gd name="connsiteX32" fmla="*/ 596100 w 631335"/>
                  <a:gd name="connsiteY32" fmla="*/ 458896 h 840499"/>
                  <a:gd name="connsiteX33" fmla="*/ 588091 w 631335"/>
                  <a:gd name="connsiteY33" fmla="*/ 480586 h 840499"/>
                  <a:gd name="connsiteX34" fmla="*/ 574325 w 631335"/>
                  <a:gd name="connsiteY34" fmla="*/ 491180 h 840499"/>
                  <a:gd name="connsiteX35" fmla="*/ 549965 w 631335"/>
                  <a:gd name="connsiteY35" fmla="*/ 526133 h 840499"/>
                  <a:gd name="connsiteX36" fmla="*/ 549547 w 631335"/>
                  <a:gd name="connsiteY36" fmla="*/ 529637 h 840499"/>
                  <a:gd name="connsiteX37" fmla="*/ 542873 w 631335"/>
                  <a:gd name="connsiteY37" fmla="*/ 540732 h 840499"/>
                  <a:gd name="connsiteX38" fmla="*/ 533112 w 631335"/>
                  <a:gd name="connsiteY38" fmla="*/ 536310 h 840499"/>
                  <a:gd name="connsiteX39" fmla="*/ 517595 w 631335"/>
                  <a:gd name="connsiteY39" fmla="*/ 528302 h 840499"/>
                  <a:gd name="connsiteX40" fmla="*/ 493234 w 631335"/>
                  <a:gd name="connsiteY40" fmla="*/ 538897 h 840499"/>
                  <a:gd name="connsiteX41" fmla="*/ 483473 w 631335"/>
                  <a:gd name="connsiteY41" fmla="*/ 545987 h 840499"/>
                  <a:gd name="connsiteX42" fmla="*/ 457778 w 631335"/>
                  <a:gd name="connsiteY42" fmla="*/ 549491 h 840499"/>
                  <a:gd name="connsiteX43" fmla="*/ 416982 w 631335"/>
                  <a:gd name="connsiteY43" fmla="*/ 611055 h 840499"/>
                  <a:gd name="connsiteX44" fmla="*/ 410308 w 631335"/>
                  <a:gd name="connsiteY44" fmla="*/ 627406 h 840499"/>
                  <a:gd name="connsiteX45" fmla="*/ 402299 w 631335"/>
                  <a:gd name="connsiteY45" fmla="*/ 649512 h 840499"/>
                  <a:gd name="connsiteX46" fmla="*/ 385030 w 631335"/>
                  <a:gd name="connsiteY46" fmla="*/ 682713 h 840499"/>
                  <a:gd name="connsiteX47" fmla="*/ 379273 w 631335"/>
                  <a:gd name="connsiteY47" fmla="*/ 687135 h 840499"/>
                  <a:gd name="connsiteX48" fmla="*/ 361587 w 631335"/>
                  <a:gd name="connsiteY48" fmla="*/ 706155 h 840499"/>
                  <a:gd name="connsiteX49" fmla="*/ 354078 w 631335"/>
                  <a:gd name="connsiteY49" fmla="*/ 718584 h 840499"/>
                  <a:gd name="connsiteX50" fmla="*/ 343483 w 631335"/>
                  <a:gd name="connsiteY50" fmla="*/ 737187 h 840499"/>
                  <a:gd name="connsiteX51" fmla="*/ 334640 w 631335"/>
                  <a:gd name="connsiteY51" fmla="*/ 781900 h 840499"/>
                  <a:gd name="connsiteX52" fmla="*/ 306275 w 631335"/>
                  <a:gd name="connsiteY52" fmla="*/ 796499 h 840499"/>
                  <a:gd name="connsiteX53" fmla="*/ 294762 w 631335"/>
                  <a:gd name="connsiteY53" fmla="*/ 814184 h 840499"/>
                  <a:gd name="connsiteX54" fmla="*/ 268149 w 631335"/>
                  <a:gd name="connsiteY54" fmla="*/ 839878 h 840499"/>
                  <a:gd name="connsiteX55" fmla="*/ 234444 w 631335"/>
                  <a:gd name="connsiteY55" fmla="*/ 830118 h 840499"/>
                  <a:gd name="connsiteX56" fmla="*/ 223849 w 631335"/>
                  <a:gd name="connsiteY56" fmla="*/ 818188 h 840499"/>
                  <a:gd name="connsiteX57" fmla="*/ 200406 w 631335"/>
                  <a:gd name="connsiteY57" fmla="*/ 797834 h 840499"/>
                  <a:gd name="connsiteX58" fmla="*/ 165450 w 631335"/>
                  <a:gd name="connsiteY58" fmla="*/ 804507 h 840499"/>
                  <a:gd name="connsiteX59" fmla="*/ 133998 w 631335"/>
                  <a:gd name="connsiteY59" fmla="*/ 804090 h 840499"/>
                  <a:gd name="connsiteX60" fmla="*/ 125155 w 631335"/>
                  <a:gd name="connsiteY60" fmla="*/ 791661 h 840499"/>
                  <a:gd name="connsiteX61" fmla="*/ 115394 w 631335"/>
                  <a:gd name="connsiteY61" fmla="*/ 777479 h 840499"/>
                  <a:gd name="connsiteX62" fmla="*/ 107385 w 631335"/>
                  <a:gd name="connsiteY62" fmla="*/ 772641 h 840499"/>
                  <a:gd name="connsiteX63" fmla="*/ 106467 w 631335"/>
                  <a:gd name="connsiteY63" fmla="*/ 769554 h 840499"/>
                  <a:gd name="connsiteX64" fmla="*/ 113976 w 631335"/>
                  <a:gd name="connsiteY64" fmla="*/ 751369 h 840499"/>
                  <a:gd name="connsiteX65" fmla="*/ 116228 w 631335"/>
                  <a:gd name="connsiteY65" fmla="*/ 748699 h 840499"/>
                  <a:gd name="connsiteX66" fmla="*/ 119315 w 631335"/>
                  <a:gd name="connsiteY66" fmla="*/ 744695 h 840499"/>
                  <a:gd name="connsiteX67" fmla="*/ 123320 w 631335"/>
                  <a:gd name="connsiteY67" fmla="*/ 712828 h 840499"/>
                  <a:gd name="connsiteX68" fmla="*/ 111807 w 631335"/>
                  <a:gd name="connsiteY68" fmla="*/ 703485 h 840499"/>
                  <a:gd name="connsiteX69" fmla="*/ 104716 w 631335"/>
                  <a:gd name="connsiteY69" fmla="*/ 696394 h 840499"/>
                  <a:gd name="connsiteX70" fmla="*/ 113559 w 631335"/>
                  <a:gd name="connsiteY70" fmla="*/ 690221 h 840499"/>
                  <a:gd name="connsiteX71" fmla="*/ 124154 w 631335"/>
                  <a:gd name="connsiteY71" fmla="*/ 684882 h 840499"/>
                  <a:gd name="connsiteX72" fmla="*/ 137002 w 631335"/>
                  <a:gd name="connsiteY72" fmla="*/ 636582 h 840499"/>
                  <a:gd name="connsiteX73" fmla="*/ 103798 w 631335"/>
                  <a:gd name="connsiteY73" fmla="*/ 617062 h 840499"/>
                  <a:gd name="connsiteX74" fmla="*/ 82524 w 631335"/>
                  <a:gd name="connsiteY74" fmla="*/ 626405 h 840499"/>
                  <a:gd name="connsiteX75" fmla="*/ 71011 w 631335"/>
                  <a:gd name="connsiteY75" fmla="*/ 632160 h 840499"/>
                  <a:gd name="connsiteX76" fmla="*/ 65672 w 631335"/>
                  <a:gd name="connsiteY76" fmla="*/ 630409 h 840499"/>
                  <a:gd name="connsiteX77" fmla="*/ 65255 w 631335"/>
                  <a:gd name="connsiteY77" fmla="*/ 593203 h 840499"/>
                  <a:gd name="connsiteX78" fmla="*/ 65672 w 631335"/>
                  <a:gd name="connsiteY78" fmla="*/ 589700 h 840499"/>
                  <a:gd name="connsiteX79" fmla="*/ 67424 w 631335"/>
                  <a:gd name="connsiteY79" fmla="*/ 581691 h 840499"/>
                  <a:gd name="connsiteX80" fmla="*/ 70093 w 631335"/>
                  <a:gd name="connsiteY80" fmla="*/ 560419 h 840499"/>
                  <a:gd name="connsiteX81" fmla="*/ 60332 w 631335"/>
                  <a:gd name="connsiteY81" fmla="*/ 536978 h 840499"/>
                  <a:gd name="connsiteX82" fmla="*/ 54993 w 631335"/>
                  <a:gd name="connsiteY82" fmla="*/ 528135 h 840499"/>
                  <a:gd name="connsiteX83" fmla="*/ 52741 w 631335"/>
                  <a:gd name="connsiteY83" fmla="*/ 501107 h 840499"/>
                  <a:gd name="connsiteX84" fmla="*/ 53658 w 631335"/>
                  <a:gd name="connsiteY84" fmla="*/ 480252 h 840499"/>
                  <a:gd name="connsiteX85" fmla="*/ 35054 w 631335"/>
                  <a:gd name="connsiteY85" fmla="*/ 431534 h 840499"/>
                  <a:gd name="connsiteX86" fmla="*/ 21289 w 631335"/>
                  <a:gd name="connsiteY86" fmla="*/ 413349 h 840499"/>
                  <a:gd name="connsiteX87" fmla="*/ 11945 w 631335"/>
                  <a:gd name="connsiteY87" fmla="*/ 402254 h 840499"/>
                  <a:gd name="connsiteX88" fmla="*/ 5771 w 631335"/>
                  <a:gd name="connsiteY88" fmla="*/ 373057 h 840499"/>
                  <a:gd name="connsiteX89" fmla="*/ 5771 w 631335"/>
                  <a:gd name="connsiteY89" fmla="*/ 369553 h 840499"/>
                  <a:gd name="connsiteX90" fmla="*/ 2685 w 631335"/>
                  <a:gd name="connsiteY90" fmla="*/ 344777 h 840499"/>
                  <a:gd name="connsiteX91" fmla="*/ 15 w 631335"/>
                  <a:gd name="connsiteY91" fmla="*/ 323505 h 840499"/>
                  <a:gd name="connsiteX92" fmla="*/ 15949 w 631335"/>
                  <a:gd name="connsiteY92" fmla="*/ 276956 h 840499"/>
                  <a:gd name="connsiteX93" fmla="*/ 41228 w 631335"/>
                  <a:gd name="connsiteY93" fmla="*/ 242420 h 840499"/>
                  <a:gd name="connsiteX94" fmla="*/ 74432 w 631335"/>
                  <a:gd name="connsiteY94" fmla="*/ 192368 h 840499"/>
                  <a:gd name="connsiteX95" fmla="*/ 76684 w 631335"/>
                  <a:gd name="connsiteY95" fmla="*/ 158249 h 840499"/>
                  <a:gd name="connsiteX96" fmla="*/ 74432 w 631335"/>
                  <a:gd name="connsiteY96" fmla="*/ 145402 h 840499"/>
                  <a:gd name="connsiteX97" fmla="*/ 77935 w 631335"/>
                  <a:gd name="connsiteY97" fmla="*/ 131637 h 840499"/>
                  <a:gd name="connsiteX98" fmla="*/ 88113 w 631335"/>
                  <a:gd name="connsiteY98" fmla="*/ 130303 h 840499"/>
                  <a:gd name="connsiteX99" fmla="*/ 90783 w 631335"/>
                  <a:gd name="connsiteY99" fmla="*/ 132055 h 840499"/>
                  <a:gd name="connsiteX100" fmla="*/ 101879 w 631335"/>
                  <a:gd name="connsiteY100" fmla="*/ 137394 h 840499"/>
                  <a:gd name="connsiteX101" fmla="*/ 121818 w 631335"/>
                  <a:gd name="connsiteY101" fmla="*/ 132055 h 840499"/>
                  <a:gd name="connsiteX102" fmla="*/ 129326 w 631335"/>
                  <a:gd name="connsiteY102" fmla="*/ 128968 h 840499"/>
                  <a:gd name="connsiteX103" fmla="*/ 132830 w 631335"/>
                  <a:gd name="connsiteY103" fmla="*/ 128050 h 840499"/>
                  <a:gd name="connsiteX104" fmla="*/ 178882 w 631335"/>
                  <a:gd name="connsiteY104" fmla="*/ 109031 h 840499"/>
                  <a:gd name="connsiteX105" fmla="*/ 196568 w 631335"/>
                  <a:gd name="connsiteY105" fmla="*/ 72242 h 840499"/>
                  <a:gd name="connsiteX106" fmla="*/ 193899 w 631335"/>
                  <a:gd name="connsiteY106" fmla="*/ 59813 h 840499"/>
                  <a:gd name="connsiteX107" fmla="*/ 190395 w 631335"/>
                  <a:gd name="connsiteY107" fmla="*/ 41210 h 840499"/>
                  <a:gd name="connsiteX108" fmla="*/ 193065 w 631335"/>
                  <a:gd name="connsiteY108" fmla="*/ 41210 h 840499"/>
                  <a:gd name="connsiteX109" fmla="*/ 204995 w 631335"/>
                  <a:gd name="connsiteY109" fmla="*/ 39875 h 840499"/>
                  <a:gd name="connsiteX110" fmla="*/ 215590 w 631335"/>
                  <a:gd name="connsiteY110" fmla="*/ 33201 h 840499"/>
                  <a:gd name="connsiteX111" fmla="*/ 219094 w 631335"/>
                  <a:gd name="connsiteY111" fmla="*/ 30115 h 840499"/>
                  <a:gd name="connsiteX112" fmla="*/ 233693 w 631335"/>
                  <a:gd name="connsiteY112" fmla="*/ 28363 h 840499"/>
                  <a:gd name="connsiteX113" fmla="*/ 261641 w 631335"/>
                  <a:gd name="connsiteY113" fmla="*/ 19520 h 840499"/>
                  <a:gd name="connsiteX114" fmla="*/ 268733 w 631335"/>
                  <a:gd name="connsiteY114" fmla="*/ 0 h 840499"/>
                  <a:gd name="connsiteX115" fmla="*/ 279328 w 631335"/>
                  <a:gd name="connsiteY115" fmla="*/ 918 h 840499"/>
                  <a:gd name="connsiteX116" fmla="*/ 289089 w 631335"/>
                  <a:gd name="connsiteY116" fmla="*/ 4004 h 840499"/>
                  <a:gd name="connsiteX117" fmla="*/ 291341 w 631335"/>
                  <a:gd name="connsiteY117" fmla="*/ 8426 h 840499"/>
                  <a:gd name="connsiteX118" fmla="*/ 333889 w 631335"/>
                  <a:gd name="connsiteY118" fmla="*/ 53139 h 840499"/>
                  <a:gd name="connsiteX119" fmla="*/ 376437 w 631335"/>
                  <a:gd name="connsiteY119" fmla="*/ 57977 h 840499"/>
                  <a:gd name="connsiteX120" fmla="*/ 383528 w 631335"/>
                  <a:gd name="connsiteY120" fmla="*/ 58895 h 840499"/>
                  <a:gd name="connsiteX121" fmla="*/ 388367 w 631335"/>
                  <a:gd name="connsiteY121" fmla="*/ 70824 h 840499"/>
                  <a:gd name="connsiteX122" fmla="*/ 398962 w 631335"/>
                  <a:gd name="connsiteY122" fmla="*/ 92096 h 840499"/>
                  <a:gd name="connsiteX123" fmla="*/ 413145 w 631335"/>
                  <a:gd name="connsiteY123" fmla="*/ 96935 h 840499"/>
                  <a:gd name="connsiteX124" fmla="*/ 420236 w 631335"/>
                  <a:gd name="connsiteY124" fmla="*/ 98686 h 840499"/>
                  <a:gd name="connsiteX125" fmla="*/ 425075 w 631335"/>
                  <a:gd name="connsiteY125" fmla="*/ 112451 h 840499"/>
                  <a:gd name="connsiteX126" fmla="*/ 425075 w 631335"/>
                  <a:gd name="connsiteY126" fmla="*/ 115955 h 840499"/>
                  <a:gd name="connsiteX127" fmla="*/ 429079 w 631335"/>
                  <a:gd name="connsiteY127" fmla="*/ 137227 h 840499"/>
                  <a:gd name="connsiteX128" fmla="*/ 449018 w 631335"/>
                  <a:gd name="connsiteY128" fmla="*/ 151825 h 840499"/>
                  <a:gd name="connsiteX129" fmla="*/ 470709 w 631335"/>
                  <a:gd name="connsiteY129" fmla="*/ 153577 h 840499"/>
                  <a:gd name="connsiteX130" fmla="*/ 485309 w 631335"/>
                  <a:gd name="connsiteY130" fmla="*/ 153160 h 840499"/>
                  <a:gd name="connsiteX131" fmla="*/ 487561 w 631335"/>
                  <a:gd name="connsiteY131" fmla="*/ 168259 h 840499"/>
                  <a:gd name="connsiteX132" fmla="*/ 511505 w 631335"/>
                  <a:gd name="connsiteY132" fmla="*/ 185944 h 840499"/>
                  <a:gd name="connsiteX133" fmla="*/ 520848 w 631335"/>
                  <a:gd name="connsiteY133" fmla="*/ 188614 h 840499"/>
                  <a:gd name="connsiteX134" fmla="*/ 533696 w 631335"/>
                  <a:gd name="connsiteY134" fmla="*/ 198374 h 840499"/>
                  <a:gd name="connsiteX135" fmla="*/ 545626 w 631335"/>
                  <a:gd name="connsiteY135" fmla="*/ 208134 h 840499"/>
                  <a:gd name="connsiteX136" fmla="*/ 561144 w 631335"/>
                  <a:gd name="connsiteY136" fmla="*/ 214808 h 840499"/>
                  <a:gd name="connsiteX137" fmla="*/ 576661 w 631335"/>
                  <a:gd name="connsiteY137" fmla="*/ 222816 h 840499"/>
                  <a:gd name="connsiteX138" fmla="*/ 581083 w 631335"/>
                  <a:gd name="connsiteY138" fmla="*/ 228155 h 840499"/>
                  <a:gd name="connsiteX139" fmla="*/ 593930 w 631335"/>
                  <a:gd name="connsiteY139" fmla="*/ 238333 h 840499"/>
                  <a:gd name="connsiteX140" fmla="*/ 597935 w 631335"/>
                  <a:gd name="connsiteY140" fmla="*/ 239667 h 840499"/>
                  <a:gd name="connsiteX141" fmla="*/ 612535 w 631335"/>
                  <a:gd name="connsiteY141" fmla="*/ 239250 h 840499"/>
                  <a:gd name="connsiteX142" fmla="*/ 615204 w 631335"/>
                  <a:gd name="connsiteY142" fmla="*/ 238833 h 840499"/>
                  <a:gd name="connsiteX143" fmla="*/ 615621 w 631335"/>
                  <a:gd name="connsiteY143" fmla="*/ 238416 h 840499"/>
                  <a:gd name="connsiteX144" fmla="*/ 623130 w 631335"/>
                  <a:gd name="connsiteY144" fmla="*/ 238833 h 840499"/>
                  <a:gd name="connsiteX145" fmla="*/ 631139 w 631335"/>
                  <a:gd name="connsiteY145" fmla="*/ 243671 h 840499"/>
                  <a:gd name="connsiteX146" fmla="*/ 622713 w 631335"/>
                  <a:gd name="connsiteY146" fmla="*/ 261356 h 840499"/>
                  <a:gd name="connsiteX147" fmla="*/ 619626 w 631335"/>
                  <a:gd name="connsiteY147" fmla="*/ 265361 h 840499"/>
                  <a:gd name="connsiteX148" fmla="*/ 611617 w 631335"/>
                  <a:gd name="connsiteY148" fmla="*/ 289302 h 840499"/>
                  <a:gd name="connsiteX149" fmla="*/ 611200 w 631335"/>
                  <a:gd name="connsiteY149" fmla="*/ 291972 h 840499"/>
                  <a:gd name="connsiteX150" fmla="*/ 610699 w 631335"/>
                  <a:gd name="connsiteY150" fmla="*/ 297061 h 840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</a:cxnLst>
                <a:rect l="l" t="t" r="r" b="b"/>
                <a:pathLst>
                  <a:path w="631335" h="840499" extrusionOk="0">
                    <a:moveTo>
                      <a:pt x="610699" y="297061"/>
                    </a:moveTo>
                    <a:cubicBezTo>
                      <a:pt x="609782" y="300564"/>
                      <a:pt x="608947" y="304151"/>
                      <a:pt x="609364" y="308155"/>
                    </a:cubicBezTo>
                    <a:cubicBezTo>
                      <a:pt x="609364" y="315663"/>
                      <a:pt x="611617" y="319250"/>
                      <a:pt x="612868" y="322754"/>
                    </a:cubicBezTo>
                    <a:cubicBezTo>
                      <a:pt x="613786" y="324089"/>
                      <a:pt x="614203" y="325841"/>
                      <a:pt x="615121" y="328093"/>
                    </a:cubicBezTo>
                    <a:cubicBezTo>
                      <a:pt x="617373" y="334766"/>
                      <a:pt x="616456" y="336518"/>
                      <a:pt x="616456" y="336518"/>
                    </a:cubicBezTo>
                    <a:cubicBezTo>
                      <a:pt x="615538" y="337436"/>
                      <a:pt x="609364" y="338270"/>
                      <a:pt x="605861" y="338771"/>
                    </a:cubicBezTo>
                    <a:cubicBezTo>
                      <a:pt x="602774" y="339188"/>
                      <a:pt x="599186" y="339688"/>
                      <a:pt x="595683" y="340106"/>
                    </a:cubicBezTo>
                    <a:cubicBezTo>
                      <a:pt x="592178" y="341023"/>
                      <a:pt x="588591" y="341440"/>
                      <a:pt x="585087" y="342775"/>
                    </a:cubicBezTo>
                    <a:cubicBezTo>
                      <a:pt x="576244" y="345027"/>
                      <a:pt x="568736" y="346779"/>
                      <a:pt x="559809" y="345444"/>
                    </a:cubicBezTo>
                    <a:lnTo>
                      <a:pt x="556722" y="345027"/>
                    </a:lnTo>
                    <a:cubicBezTo>
                      <a:pt x="541622" y="342775"/>
                      <a:pt x="534614" y="341941"/>
                      <a:pt x="517261" y="345444"/>
                    </a:cubicBezTo>
                    <a:cubicBezTo>
                      <a:pt x="501327" y="348531"/>
                      <a:pt x="499992" y="345027"/>
                      <a:pt x="495987" y="333515"/>
                    </a:cubicBezTo>
                    <a:cubicBezTo>
                      <a:pt x="493735" y="327342"/>
                      <a:pt x="491149" y="319334"/>
                      <a:pt x="484892" y="312243"/>
                    </a:cubicBezTo>
                    <a:cubicBezTo>
                      <a:pt x="481388" y="308239"/>
                      <a:pt x="476883" y="305569"/>
                      <a:pt x="472962" y="303401"/>
                    </a:cubicBezTo>
                    <a:cubicBezTo>
                      <a:pt x="470292" y="302066"/>
                      <a:pt x="468123" y="300731"/>
                      <a:pt x="465870" y="298979"/>
                    </a:cubicBezTo>
                    <a:cubicBezTo>
                      <a:pt x="463201" y="296727"/>
                      <a:pt x="461449" y="294141"/>
                      <a:pt x="459196" y="291888"/>
                    </a:cubicBezTo>
                    <a:cubicBezTo>
                      <a:pt x="453440" y="284798"/>
                      <a:pt x="446348" y="276372"/>
                      <a:pt x="433083" y="276372"/>
                    </a:cubicBezTo>
                    <a:cubicBezTo>
                      <a:pt x="406053" y="276372"/>
                      <a:pt x="384362" y="309157"/>
                      <a:pt x="379941" y="315830"/>
                    </a:cubicBezTo>
                    <a:cubicBezTo>
                      <a:pt x="374601" y="324673"/>
                      <a:pt x="369345" y="334433"/>
                      <a:pt x="369345" y="344610"/>
                    </a:cubicBezTo>
                    <a:cubicBezTo>
                      <a:pt x="369345" y="357040"/>
                      <a:pt x="375519" y="362796"/>
                      <a:pt x="380441" y="367217"/>
                    </a:cubicBezTo>
                    <a:cubicBezTo>
                      <a:pt x="382694" y="369469"/>
                      <a:pt x="384446" y="371221"/>
                      <a:pt x="386198" y="373390"/>
                    </a:cubicBezTo>
                    <a:cubicBezTo>
                      <a:pt x="391537" y="381399"/>
                      <a:pt x="392371" y="391075"/>
                      <a:pt x="393289" y="401753"/>
                    </a:cubicBezTo>
                    <a:cubicBezTo>
                      <a:pt x="394207" y="412347"/>
                      <a:pt x="395041" y="423860"/>
                      <a:pt x="401298" y="433620"/>
                    </a:cubicBezTo>
                    <a:cubicBezTo>
                      <a:pt x="409307" y="446467"/>
                      <a:pt x="419902" y="445549"/>
                      <a:pt x="428745" y="444715"/>
                    </a:cubicBezTo>
                    <a:cubicBezTo>
                      <a:pt x="430998" y="444715"/>
                      <a:pt x="433167" y="444298"/>
                      <a:pt x="435419" y="444298"/>
                    </a:cubicBezTo>
                    <a:cubicBezTo>
                      <a:pt x="447350" y="444715"/>
                      <a:pt x="453106" y="446967"/>
                      <a:pt x="464619" y="452723"/>
                    </a:cubicBezTo>
                    <a:lnTo>
                      <a:pt x="467288" y="454058"/>
                    </a:lnTo>
                    <a:cubicBezTo>
                      <a:pt x="475715" y="458479"/>
                      <a:pt x="482806" y="462066"/>
                      <a:pt x="493401" y="462900"/>
                    </a:cubicBezTo>
                    <a:cubicBezTo>
                      <a:pt x="502244" y="463317"/>
                      <a:pt x="509336" y="464235"/>
                      <a:pt x="516844" y="465570"/>
                    </a:cubicBezTo>
                    <a:lnTo>
                      <a:pt x="527022" y="466905"/>
                    </a:lnTo>
                    <a:cubicBezTo>
                      <a:pt x="540287" y="468656"/>
                      <a:pt x="550048" y="462900"/>
                      <a:pt x="558891" y="458062"/>
                    </a:cubicBezTo>
                    <a:cubicBezTo>
                      <a:pt x="566400" y="453641"/>
                      <a:pt x="573074" y="449637"/>
                      <a:pt x="581500" y="450054"/>
                    </a:cubicBezTo>
                    <a:cubicBezTo>
                      <a:pt x="589008" y="450471"/>
                      <a:pt x="594348" y="453557"/>
                      <a:pt x="596100" y="458896"/>
                    </a:cubicBezTo>
                    <a:cubicBezTo>
                      <a:pt x="598352" y="465570"/>
                      <a:pt x="595182" y="474413"/>
                      <a:pt x="588091" y="480586"/>
                    </a:cubicBezTo>
                    <a:cubicBezTo>
                      <a:pt x="583252" y="485007"/>
                      <a:pt x="578747" y="488093"/>
                      <a:pt x="574325" y="491180"/>
                    </a:cubicBezTo>
                    <a:cubicBezTo>
                      <a:pt x="563730" y="498688"/>
                      <a:pt x="554386" y="505361"/>
                      <a:pt x="549965" y="526133"/>
                    </a:cubicBezTo>
                    <a:lnTo>
                      <a:pt x="549547" y="529637"/>
                    </a:lnTo>
                    <a:cubicBezTo>
                      <a:pt x="547795" y="538479"/>
                      <a:pt x="546878" y="539814"/>
                      <a:pt x="542873" y="540732"/>
                    </a:cubicBezTo>
                    <a:cubicBezTo>
                      <a:pt x="539787" y="541649"/>
                      <a:pt x="537534" y="539814"/>
                      <a:pt x="533112" y="536310"/>
                    </a:cubicBezTo>
                    <a:cubicBezTo>
                      <a:pt x="529108" y="533224"/>
                      <a:pt x="524269" y="529220"/>
                      <a:pt x="517595" y="528302"/>
                    </a:cubicBezTo>
                    <a:cubicBezTo>
                      <a:pt x="505665" y="526968"/>
                      <a:pt x="498991" y="533641"/>
                      <a:pt x="493234" y="538897"/>
                    </a:cubicBezTo>
                    <a:cubicBezTo>
                      <a:pt x="490148" y="541983"/>
                      <a:pt x="487061" y="544652"/>
                      <a:pt x="483473" y="545987"/>
                    </a:cubicBezTo>
                    <a:cubicBezTo>
                      <a:pt x="476799" y="548240"/>
                      <a:pt x="467956" y="545070"/>
                      <a:pt x="457778" y="549491"/>
                    </a:cubicBezTo>
                    <a:cubicBezTo>
                      <a:pt x="437839" y="559251"/>
                      <a:pt x="426326" y="588031"/>
                      <a:pt x="416982" y="611055"/>
                    </a:cubicBezTo>
                    <a:cubicBezTo>
                      <a:pt x="414312" y="617228"/>
                      <a:pt x="412143" y="622984"/>
                      <a:pt x="410308" y="627406"/>
                    </a:cubicBezTo>
                    <a:cubicBezTo>
                      <a:pt x="406804" y="634497"/>
                      <a:pt x="404552" y="642004"/>
                      <a:pt x="402299" y="649512"/>
                    </a:cubicBezTo>
                    <a:cubicBezTo>
                      <a:pt x="398295" y="662359"/>
                      <a:pt x="394290" y="675206"/>
                      <a:pt x="385030" y="682713"/>
                    </a:cubicBezTo>
                    <a:cubicBezTo>
                      <a:pt x="382777" y="684048"/>
                      <a:pt x="381025" y="685800"/>
                      <a:pt x="379273" y="687135"/>
                    </a:cubicBezTo>
                    <a:cubicBezTo>
                      <a:pt x="372599" y="691973"/>
                      <a:pt x="367343" y="695977"/>
                      <a:pt x="361587" y="706155"/>
                    </a:cubicBezTo>
                    <a:cubicBezTo>
                      <a:pt x="359334" y="710576"/>
                      <a:pt x="356748" y="714580"/>
                      <a:pt x="354078" y="718584"/>
                    </a:cubicBezTo>
                    <a:cubicBezTo>
                      <a:pt x="350574" y="724757"/>
                      <a:pt x="346570" y="731014"/>
                      <a:pt x="343483" y="737187"/>
                    </a:cubicBezTo>
                    <a:cubicBezTo>
                      <a:pt x="336809" y="751369"/>
                      <a:pt x="335057" y="766384"/>
                      <a:pt x="334640" y="781900"/>
                    </a:cubicBezTo>
                    <a:cubicBezTo>
                      <a:pt x="325296" y="782317"/>
                      <a:pt x="316036" y="785404"/>
                      <a:pt x="306275" y="796499"/>
                    </a:cubicBezTo>
                    <a:cubicBezTo>
                      <a:pt x="301853" y="801838"/>
                      <a:pt x="298266" y="808011"/>
                      <a:pt x="294762" y="814184"/>
                    </a:cubicBezTo>
                    <a:cubicBezTo>
                      <a:pt x="287670" y="827031"/>
                      <a:pt x="280996" y="837625"/>
                      <a:pt x="268149" y="839878"/>
                    </a:cubicBezTo>
                    <a:cubicBezTo>
                      <a:pt x="257553" y="842130"/>
                      <a:pt x="245123" y="838126"/>
                      <a:pt x="234444" y="830118"/>
                    </a:cubicBezTo>
                    <a:cubicBezTo>
                      <a:pt x="230940" y="827448"/>
                      <a:pt x="227353" y="823027"/>
                      <a:pt x="223849" y="818188"/>
                    </a:cubicBezTo>
                    <a:cubicBezTo>
                      <a:pt x="217675" y="809763"/>
                      <a:pt x="211001" y="800920"/>
                      <a:pt x="200406" y="797834"/>
                    </a:cubicBezTo>
                    <a:cubicBezTo>
                      <a:pt x="187558" y="794330"/>
                      <a:pt x="175628" y="799586"/>
                      <a:pt x="165450" y="804507"/>
                    </a:cubicBezTo>
                    <a:cubicBezTo>
                      <a:pt x="151685" y="811181"/>
                      <a:pt x="143759" y="814268"/>
                      <a:pt x="133998" y="804090"/>
                    </a:cubicBezTo>
                    <a:cubicBezTo>
                      <a:pt x="130912" y="800587"/>
                      <a:pt x="127825" y="796082"/>
                      <a:pt x="125155" y="791661"/>
                    </a:cubicBezTo>
                    <a:cubicBezTo>
                      <a:pt x="122485" y="786822"/>
                      <a:pt x="119399" y="781900"/>
                      <a:pt x="115394" y="777479"/>
                    </a:cubicBezTo>
                    <a:cubicBezTo>
                      <a:pt x="112307" y="774392"/>
                      <a:pt x="109221" y="773058"/>
                      <a:pt x="107385" y="772641"/>
                    </a:cubicBezTo>
                    <a:cubicBezTo>
                      <a:pt x="106968" y="772224"/>
                      <a:pt x="106467" y="771306"/>
                      <a:pt x="106467" y="769554"/>
                    </a:cubicBezTo>
                    <a:cubicBezTo>
                      <a:pt x="105133" y="764215"/>
                      <a:pt x="109554" y="757125"/>
                      <a:pt x="113976" y="751369"/>
                    </a:cubicBezTo>
                    <a:lnTo>
                      <a:pt x="116228" y="748699"/>
                    </a:lnTo>
                    <a:cubicBezTo>
                      <a:pt x="117146" y="747364"/>
                      <a:pt x="118481" y="746029"/>
                      <a:pt x="119315" y="744695"/>
                    </a:cubicBezTo>
                    <a:cubicBezTo>
                      <a:pt x="125072" y="737187"/>
                      <a:pt x="133081" y="727010"/>
                      <a:pt x="123320" y="712828"/>
                    </a:cubicBezTo>
                    <a:cubicBezTo>
                      <a:pt x="120650" y="708407"/>
                      <a:pt x="115811" y="705738"/>
                      <a:pt x="111807" y="703485"/>
                    </a:cubicBezTo>
                    <a:cubicBezTo>
                      <a:pt x="105133" y="699982"/>
                      <a:pt x="104716" y="699064"/>
                      <a:pt x="104716" y="696394"/>
                    </a:cubicBezTo>
                    <a:cubicBezTo>
                      <a:pt x="105133" y="694142"/>
                      <a:pt x="107385" y="692891"/>
                      <a:pt x="113559" y="690221"/>
                    </a:cubicBezTo>
                    <a:cubicBezTo>
                      <a:pt x="117063" y="688886"/>
                      <a:pt x="120650" y="687135"/>
                      <a:pt x="124154" y="684882"/>
                    </a:cubicBezTo>
                    <a:cubicBezTo>
                      <a:pt x="136585" y="674705"/>
                      <a:pt x="144510" y="651681"/>
                      <a:pt x="137002" y="636582"/>
                    </a:cubicBezTo>
                    <a:cubicBezTo>
                      <a:pt x="130828" y="624653"/>
                      <a:pt x="114894" y="617062"/>
                      <a:pt x="103798" y="617062"/>
                    </a:cubicBezTo>
                    <a:cubicBezTo>
                      <a:pt x="94454" y="617062"/>
                      <a:pt x="87863" y="622401"/>
                      <a:pt x="82524" y="626405"/>
                    </a:cubicBezTo>
                    <a:cubicBezTo>
                      <a:pt x="78102" y="629491"/>
                      <a:pt x="74515" y="632160"/>
                      <a:pt x="71011" y="632160"/>
                    </a:cubicBezTo>
                    <a:cubicBezTo>
                      <a:pt x="67924" y="632160"/>
                      <a:pt x="66589" y="631243"/>
                      <a:pt x="65672" y="630409"/>
                    </a:cubicBezTo>
                    <a:cubicBezTo>
                      <a:pt x="59498" y="623735"/>
                      <a:pt x="63419" y="602463"/>
                      <a:pt x="65255" y="593203"/>
                    </a:cubicBezTo>
                    <a:lnTo>
                      <a:pt x="65672" y="589700"/>
                    </a:lnTo>
                    <a:cubicBezTo>
                      <a:pt x="66089" y="587030"/>
                      <a:pt x="66589" y="584361"/>
                      <a:pt x="67424" y="581691"/>
                    </a:cubicBezTo>
                    <a:cubicBezTo>
                      <a:pt x="68759" y="574600"/>
                      <a:pt x="70511" y="567510"/>
                      <a:pt x="70093" y="560419"/>
                    </a:cubicBezTo>
                    <a:cubicBezTo>
                      <a:pt x="69676" y="550242"/>
                      <a:pt x="64754" y="543151"/>
                      <a:pt x="60332" y="536978"/>
                    </a:cubicBezTo>
                    <a:cubicBezTo>
                      <a:pt x="58580" y="534308"/>
                      <a:pt x="56828" y="531639"/>
                      <a:pt x="54993" y="528135"/>
                    </a:cubicBezTo>
                    <a:cubicBezTo>
                      <a:pt x="50571" y="519293"/>
                      <a:pt x="51906" y="510867"/>
                      <a:pt x="52741" y="501107"/>
                    </a:cubicBezTo>
                    <a:cubicBezTo>
                      <a:pt x="53658" y="494434"/>
                      <a:pt x="54075" y="487843"/>
                      <a:pt x="53658" y="480252"/>
                    </a:cubicBezTo>
                    <a:cubicBezTo>
                      <a:pt x="52323" y="464319"/>
                      <a:pt x="43063" y="447050"/>
                      <a:pt x="35054" y="431534"/>
                    </a:cubicBezTo>
                    <a:cubicBezTo>
                      <a:pt x="31550" y="424443"/>
                      <a:pt x="26211" y="418687"/>
                      <a:pt x="21289" y="413349"/>
                    </a:cubicBezTo>
                    <a:cubicBezTo>
                      <a:pt x="18202" y="409845"/>
                      <a:pt x="14615" y="406258"/>
                      <a:pt x="11945" y="402254"/>
                    </a:cubicBezTo>
                    <a:cubicBezTo>
                      <a:pt x="5771" y="393411"/>
                      <a:pt x="5771" y="384569"/>
                      <a:pt x="5771" y="373057"/>
                    </a:cubicBezTo>
                    <a:lnTo>
                      <a:pt x="5771" y="369553"/>
                    </a:lnTo>
                    <a:cubicBezTo>
                      <a:pt x="5771" y="361127"/>
                      <a:pt x="4436" y="352702"/>
                      <a:pt x="2685" y="344777"/>
                    </a:cubicBezTo>
                    <a:cubicBezTo>
                      <a:pt x="1350" y="337686"/>
                      <a:pt x="15" y="330595"/>
                      <a:pt x="15" y="323505"/>
                    </a:cubicBezTo>
                    <a:cubicBezTo>
                      <a:pt x="-402" y="307154"/>
                      <a:pt x="8024" y="290720"/>
                      <a:pt x="15949" y="276956"/>
                    </a:cubicBezTo>
                    <a:cubicBezTo>
                      <a:pt x="22623" y="265027"/>
                      <a:pt x="31884" y="253932"/>
                      <a:pt x="41228" y="242420"/>
                    </a:cubicBezTo>
                    <a:cubicBezTo>
                      <a:pt x="53658" y="226904"/>
                      <a:pt x="66923" y="210970"/>
                      <a:pt x="74432" y="192368"/>
                    </a:cubicBezTo>
                    <a:cubicBezTo>
                      <a:pt x="80605" y="178186"/>
                      <a:pt x="77935" y="168009"/>
                      <a:pt x="76684" y="158249"/>
                    </a:cubicBezTo>
                    <a:cubicBezTo>
                      <a:pt x="75766" y="154244"/>
                      <a:pt x="74932" y="149823"/>
                      <a:pt x="74432" y="145402"/>
                    </a:cubicBezTo>
                    <a:cubicBezTo>
                      <a:pt x="74014" y="138728"/>
                      <a:pt x="75349" y="133890"/>
                      <a:pt x="77935" y="131637"/>
                    </a:cubicBezTo>
                    <a:cubicBezTo>
                      <a:pt x="80188" y="129886"/>
                      <a:pt x="83275" y="128968"/>
                      <a:pt x="88113" y="130303"/>
                    </a:cubicBezTo>
                    <a:cubicBezTo>
                      <a:pt x="88531" y="130303"/>
                      <a:pt x="89866" y="131220"/>
                      <a:pt x="90783" y="132055"/>
                    </a:cubicBezTo>
                    <a:cubicBezTo>
                      <a:pt x="93453" y="134307"/>
                      <a:pt x="96957" y="136893"/>
                      <a:pt x="101879" y="137394"/>
                    </a:cubicBezTo>
                    <a:cubicBezTo>
                      <a:pt x="108970" y="137811"/>
                      <a:pt x="116061" y="134724"/>
                      <a:pt x="121818" y="132055"/>
                    </a:cubicBezTo>
                    <a:cubicBezTo>
                      <a:pt x="124488" y="130720"/>
                      <a:pt x="127157" y="129802"/>
                      <a:pt x="129326" y="128968"/>
                    </a:cubicBezTo>
                    <a:lnTo>
                      <a:pt x="132830" y="128050"/>
                    </a:lnTo>
                    <a:cubicBezTo>
                      <a:pt x="149182" y="123212"/>
                      <a:pt x="163364" y="119208"/>
                      <a:pt x="178882" y="109031"/>
                    </a:cubicBezTo>
                    <a:cubicBezTo>
                      <a:pt x="194399" y="98853"/>
                      <a:pt x="200156" y="91345"/>
                      <a:pt x="196568" y="72242"/>
                    </a:cubicBezTo>
                    <a:cubicBezTo>
                      <a:pt x="195651" y="67821"/>
                      <a:pt x="194817" y="63817"/>
                      <a:pt x="193899" y="59813"/>
                    </a:cubicBezTo>
                    <a:cubicBezTo>
                      <a:pt x="192564" y="53139"/>
                      <a:pt x="191229" y="47383"/>
                      <a:pt x="190395" y="41210"/>
                    </a:cubicBezTo>
                    <a:lnTo>
                      <a:pt x="193065" y="41210"/>
                    </a:lnTo>
                    <a:cubicBezTo>
                      <a:pt x="197069" y="41210"/>
                      <a:pt x="201491" y="40793"/>
                      <a:pt x="204995" y="39875"/>
                    </a:cubicBezTo>
                    <a:cubicBezTo>
                      <a:pt x="209833" y="38540"/>
                      <a:pt x="213421" y="35454"/>
                      <a:pt x="215590" y="33201"/>
                    </a:cubicBezTo>
                    <a:cubicBezTo>
                      <a:pt x="216925" y="31867"/>
                      <a:pt x="217842" y="30532"/>
                      <a:pt x="219094" y="30115"/>
                    </a:cubicBezTo>
                    <a:cubicBezTo>
                      <a:pt x="223098" y="27862"/>
                      <a:pt x="228437" y="28363"/>
                      <a:pt x="233693" y="28363"/>
                    </a:cubicBezTo>
                    <a:cubicBezTo>
                      <a:pt x="242120" y="28780"/>
                      <a:pt x="253215" y="28780"/>
                      <a:pt x="261641" y="19520"/>
                    </a:cubicBezTo>
                    <a:cubicBezTo>
                      <a:pt x="266480" y="14181"/>
                      <a:pt x="268733" y="7591"/>
                      <a:pt x="268733" y="0"/>
                    </a:cubicBezTo>
                    <a:cubicBezTo>
                      <a:pt x="272236" y="417"/>
                      <a:pt x="275824" y="417"/>
                      <a:pt x="279328" y="918"/>
                    </a:cubicBezTo>
                    <a:cubicBezTo>
                      <a:pt x="282832" y="1335"/>
                      <a:pt x="287337" y="2253"/>
                      <a:pt x="289089" y="4004"/>
                    </a:cubicBezTo>
                    <a:cubicBezTo>
                      <a:pt x="290006" y="4922"/>
                      <a:pt x="290424" y="6674"/>
                      <a:pt x="291341" y="8426"/>
                    </a:cubicBezTo>
                    <a:cubicBezTo>
                      <a:pt x="298016" y="25693"/>
                      <a:pt x="307693" y="44296"/>
                      <a:pt x="333889" y="53139"/>
                    </a:cubicBezTo>
                    <a:cubicBezTo>
                      <a:pt x="348489" y="57977"/>
                      <a:pt x="364423" y="58478"/>
                      <a:pt x="376437" y="57977"/>
                    </a:cubicBezTo>
                    <a:cubicBezTo>
                      <a:pt x="379106" y="57977"/>
                      <a:pt x="381776" y="57977"/>
                      <a:pt x="383528" y="58895"/>
                    </a:cubicBezTo>
                    <a:cubicBezTo>
                      <a:pt x="386198" y="60230"/>
                      <a:pt x="387032" y="64234"/>
                      <a:pt x="388367" y="70824"/>
                    </a:cubicBezTo>
                    <a:cubicBezTo>
                      <a:pt x="389702" y="77915"/>
                      <a:pt x="391454" y="86757"/>
                      <a:pt x="398962" y="92096"/>
                    </a:cubicBezTo>
                    <a:cubicBezTo>
                      <a:pt x="403384" y="95183"/>
                      <a:pt x="408723" y="96101"/>
                      <a:pt x="413145" y="96935"/>
                    </a:cubicBezTo>
                    <a:cubicBezTo>
                      <a:pt x="415814" y="97352"/>
                      <a:pt x="418484" y="97852"/>
                      <a:pt x="420236" y="98686"/>
                    </a:cubicBezTo>
                    <a:cubicBezTo>
                      <a:pt x="424240" y="101356"/>
                      <a:pt x="425075" y="108447"/>
                      <a:pt x="425075" y="112451"/>
                    </a:cubicBezTo>
                    <a:lnTo>
                      <a:pt x="425075" y="115955"/>
                    </a:lnTo>
                    <a:cubicBezTo>
                      <a:pt x="425075" y="122628"/>
                      <a:pt x="425075" y="130136"/>
                      <a:pt x="429079" y="137227"/>
                    </a:cubicBezTo>
                    <a:cubicBezTo>
                      <a:pt x="432583" y="144317"/>
                      <a:pt x="439674" y="149656"/>
                      <a:pt x="449018" y="151825"/>
                    </a:cubicBezTo>
                    <a:cubicBezTo>
                      <a:pt x="456109" y="154078"/>
                      <a:pt x="463618" y="154078"/>
                      <a:pt x="470709" y="153577"/>
                    </a:cubicBezTo>
                    <a:lnTo>
                      <a:pt x="485309" y="153160"/>
                    </a:lnTo>
                    <a:cubicBezTo>
                      <a:pt x="484892" y="158499"/>
                      <a:pt x="485726" y="163754"/>
                      <a:pt x="487561" y="168259"/>
                    </a:cubicBezTo>
                    <a:cubicBezTo>
                      <a:pt x="492900" y="182024"/>
                      <a:pt x="503496" y="184192"/>
                      <a:pt x="511505" y="185944"/>
                    </a:cubicBezTo>
                    <a:cubicBezTo>
                      <a:pt x="514591" y="186361"/>
                      <a:pt x="517678" y="187279"/>
                      <a:pt x="520848" y="188614"/>
                    </a:cubicBezTo>
                    <a:cubicBezTo>
                      <a:pt x="525687" y="190866"/>
                      <a:pt x="529692" y="194370"/>
                      <a:pt x="533696" y="198374"/>
                    </a:cubicBezTo>
                    <a:cubicBezTo>
                      <a:pt x="537200" y="201461"/>
                      <a:pt x="540788" y="205047"/>
                      <a:pt x="545626" y="208134"/>
                    </a:cubicBezTo>
                    <a:cubicBezTo>
                      <a:pt x="550966" y="211221"/>
                      <a:pt x="555804" y="212972"/>
                      <a:pt x="561144" y="214808"/>
                    </a:cubicBezTo>
                    <a:cubicBezTo>
                      <a:pt x="567317" y="217060"/>
                      <a:pt x="572239" y="218812"/>
                      <a:pt x="576661" y="222816"/>
                    </a:cubicBezTo>
                    <a:cubicBezTo>
                      <a:pt x="578914" y="225068"/>
                      <a:pt x="579748" y="226320"/>
                      <a:pt x="581083" y="228155"/>
                    </a:cubicBezTo>
                    <a:cubicBezTo>
                      <a:pt x="584170" y="231659"/>
                      <a:pt x="587256" y="236164"/>
                      <a:pt x="593930" y="238333"/>
                    </a:cubicBezTo>
                    <a:cubicBezTo>
                      <a:pt x="595265" y="238750"/>
                      <a:pt x="596600" y="239250"/>
                      <a:pt x="597935" y="239667"/>
                    </a:cubicBezTo>
                    <a:cubicBezTo>
                      <a:pt x="603274" y="240585"/>
                      <a:pt x="608113" y="240084"/>
                      <a:pt x="612535" y="239250"/>
                    </a:cubicBezTo>
                    <a:cubicBezTo>
                      <a:pt x="613452" y="239250"/>
                      <a:pt x="614287" y="238833"/>
                      <a:pt x="615204" y="238833"/>
                    </a:cubicBezTo>
                    <a:cubicBezTo>
                      <a:pt x="615204" y="238833"/>
                      <a:pt x="615621" y="238833"/>
                      <a:pt x="615621" y="238416"/>
                    </a:cubicBezTo>
                    <a:cubicBezTo>
                      <a:pt x="618708" y="237999"/>
                      <a:pt x="620961" y="237999"/>
                      <a:pt x="623130" y="238833"/>
                    </a:cubicBezTo>
                    <a:cubicBezTo>
                      <a:pt x="627552" y="240168"/>
                      <a:pt x="630221" y="241919"/>
                      <a:pt x="631139" y="243671"/>
                    </a:cubicBezTo>
                    <a:cubicBezTo>
                      <a:pt x="632474" y="247175"/>
                      <a:pt x="626717" y="255600"/>
                      <a:pt x="622713" y="261356"/>
                    </a:cubicBezTo>
                    <a:lnTo>
                      <a:pt x="619626" y="265361"/>
                    </a:lnTo>
                    <a:cubicBezTo>
                      <a:pt x="612952" y="275121"/>
                      <a:pt x="612535" y="280877"/>
                      <a:pt x="611617" y="289302"/>
                    </a:cubicBezTo>
                    <a:lnTo>
                      <a:pt x="611200" y="291972"/>
                    </a:lnTo>
                    <a:cubicBezTo>
                      <a:pt x="611617" y="293056"/>
                      <a:pt x="611116" y="294808"/>
                      <a:pt x="610699" y="29706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66830448" name="Полилиния 389"/>
              <p:cNvSpPr/>
              <p:nvPr/>
            </p:nvSpPr>
            <p:spPr bwMode="auto">
              <a:xfrm>
                <a:off x="3418945" y="4070387"/>
                <a:ext cx="223423" cy="374601"/>
              </a:xfrm>
              <a:custGeom>
                <a:avLst/>
                <a:gdLst>
                  <a:gd name="connsiteX0" fmla="*/ 3557 w 250913"/>
                  <a:gd name="connsiteY0" fmla="*/ 363776 h 420690"/>
                  <a:gd name="connsiteX1" fmla="*/ 4475 w 250913"/>
                  <a:gd name="connsiteY1" fmla="*/ 354933 h 420690"/>
                  <a:gd name="connsiteX2" fmla="*/ 4892 w 250913"/>
                  <a:gd name="connsiteY2" fmla="*/ 347426 h 420690"/>
                  <a:gd name="connsiteX3" fmla="*/ 11983 w 250913"/>
                  <a:gd name="connsiteY3" fmla="*/ 335913 h 420690"/>
                  <a:gd name="connsiteX4" fmla="*/ 21327 w 250913"/>
                  <a:gd name="connsiteY4" fmla="*/ 309803 h 420690"/>
                  <a:gd name="connsiteX5" fmla="*/ 9397 w 250913"/>
                  <a:gd name="connsiteY5" fmla="*/ 291617 h 420690"/>
                  <a:gd name="connsiteX6" fmla="*/ 53 w 250913"/>
                  <a:gd name="connsiteY6" fmla="*/ 275684 h 420690"/>
                  <a:gd name="connsiteX7" fmla="*/ 43435 w 250913"/>
                  <a:gd name="connsiteY7" fmla="*/ 231388 h 420690"/>
                  <a:gd name="connsiteX8" fmla="*/ 67796 w 250913"/>
                  <a:gd name="connsiteY8" fmla="*/ 215454 h 420690"/>
                  <a:gd name="connsiteX9" fmla="*/ 96996 w 250913"/>
                  <a:gd name="connsiteY9" fmla="*/ 170240 h 420690"/>
                  <a:gd name="connsiteX10" fmla="*/ 68630 w 250913"/>
                  <a:gd name="connsiteY10" fmla="*/ 131700 h 420690"/>
                  <a:gd name="connsiteX11" fmla="*/ 58035 w 250913"/>
                  <a:gd name="connsiteY11" fmla="*/ 125527 h 420690"/>
                  <a:gd name="connsiteX12" fmla="*/ 23079 w 250913"/>
                  <a:gd name="connsiteY12" fmla="*/ 100751 h 420690"/>
                  <a:gd name="connsiteX13" fmla="*/ 19575 w 250913"/>
                  <a:gd name="connsiteY13" fmla="*/ 90991 h 420690"/>
                  <a:gd name="connsiteX14" fmla="*/ 22245 w 250913"/>
                  <a:gd name="connsiteY14" fmla="*/ 85652 h 420690"/>
                  <a:gd name="connsiteX15" fmla="*/ 26667 w 250913"/>
                  <a:gd name="connsiteY15" fmla="*/ 77643 h 420690"/>
                  <a:gd name="connsiteX16" fmla="*/ 28001 w 250913"/>
                  <a:gd name="connsiteY16" fmla="*/ 74974 h 420690"/>
                  <a:gd name="connsiteX17" fmla="*/ 21828 w 250913"/>
                  <a:gd name="connsiteY17" fmla="*/ 38186 h 420690"/>
                  <a:gd name="connsiteX18" fmla="*/ 14737 w 250913"/>
                  <a:gd name="connsiteY18" fmla="*/ 24004 h 420690"/>
                  <a:gd name="connsiteX19" fmla="*/ 17823 w 250913"/>
                  <a:gd name="connsiteY19" fmla="*/ 8071 h 420690"/>
                  <a:gd name="connsiteX20" fmla="*/ 31088 w 250913"/>
                  <a:gd name="connsiteY20" fmla="*/ 62 h 420690"/>
                  <a:gd name="connsiteX21" fmla="*/ 42601 w 250913"/>
                  <a:gd name="connsiteY21" fmla="*/ 3149 h 420690"/>
                  <a:gd name="connsiteX22" fmla="*/ 50610 w 250913"/>
                  <a:gd name="connsiteY22" fmla="*/ 6236 h 420690"/>
                  <a:gd name="connsiteX23" fmla="*/ 67879 w 250913"/>
                  <a:gd name="connsiteY23" fmla="*/ 7153 h 420690"/>
                  <a:gd name="connsiteX24" fmla="*/ 72718 w 250913"/>
                  <a:gd name="connsiteY24" fmla="*/ 6236 h 420690"/>
                  <a:gd name="connsiteX25" fmla="*/ 117435 w 250913"/>
                  <a:gd name="connsiteY25" fmla="*/ 8488 h 420690"/>
                  <a:gd name="connsiteX26" fmla="*/ 135122 w 250913"/>
                  <a:gd name="connsiteY26" fmla="*/ 33764 h 420690"/>
                  <a:gd name="connsiteX27" fmla="*/ 142213 w 250913"/>
                  <a:gd name="connsiteY27" fmla="*/ 56788 h 420690"/>
                  <a:gd name="connsiteX28" fmla="*/ 166991 w 250913"/>
                  <a:gd name="connsiteY28" fmla="*/ 68718 h 420690"/>
                  <a:gd name="connsiteX29" fmla="*/ 179838 w 250913"/>
                  <a:gd name="connsiteY29" fmla="*/ 66465 h 420690"/>
                  <a:gd name="connsiteX30" fmla="*/ 191768 w 250913"/>
                  <a:gd name="connsiteY30" fmla="*/ 67383 h 420690"/>
                  <a:gd name="connsiteX31" fmla="*/ 202864 w 250913"/>
                  <a:gd name="connsiteY31" fmla="*/ 77977 h 420690"/>
                  <a:gd name="connsiteX32" fmla="*/ 206368 w 250913"/>
                  <a:gd name="connsiteY32" fmla="*/ 82816 h 420690"/>
                  <a:gd name="connsiteX33" fmla="*/ 208620 w 250913"/>
                  <a:gd name="connsiteY33" fmla="*/ 85485 h 420690"/>
                  <a:gd name="connsiteX34" fmla="*/ 250668 w 250913"/>
                  <a:gd name="connsiteY34" fmla="*/ 109844 h 420690"/>
                  <a:gd name="connsiteX35" fmla="*/ 249750 w 250913"/>
                  <a:gd name="connsiteY35" fmla="*/ 124442 h 420690"/>
                  <a:gd name="connsiteX36" fmla="*/ 237820 w 250913"/>
                  <a:gd name="connsiteY36" fmla="*/ 143963 h 420690"/>
                  <a:gd name="connsiteX37" fmla="*/ 228476 w 250913"/>
                  <a:gd name="connsiteY37" fmla="*/ 156810 h 420690"/>
                  <a:gd name="connsiteX38" fmla="*/ 211207 w 250913"/>
                  <a:gd name="connsiteY38" fmla="*/ 198436 h 420690"/>
                  <a:gd name="connsiteX39" fmla="*/ 218715 w 250913"/>
                  <a:gd name="connsiteY39" fmla="*/ 227217 h 420690"/>
                  <a:gd name="connsiteX40" fmla="*/ 224889 w 250913"/>
                  <a:gd name="connsiteY40" fmla="*/ 239146 h 420690"/>
                  <a:gd name="connsiteX41" fmla="*/ 207619 w 250913"/>
                  <a:gd name="connsiteY41" fmla="*/ 255997 h 420690"/>
                  <a:gd name="connsiteX42" fmla="*/ 202781 w 250913"/>
                  <a:gd name="connsiteY42" fmla="*/ 258249 h 420690"/>
                  <a:gd name="connsiteX43" fmla="*/ 176168 w 250913"/>
                  <a:gd name="connsiteY43" fmla="*/ 288781 h 420690"/>
                  <a:gd name="connsiteX44" fmla="*/ 177920 w 250913"/>
                  <a:gd name="connsiteY44" fmla="*/ 376456 h 420690"/>
                  <a:gd name="connsiteX45" fmla="*/ 185428 w 250913"/>
                  <a:gd name="connsiteY45" fmla="*/ 384464 h 420690"/>
                  <a:gd name="connsiteX46" fmla="*/ 190267 w 250913"/>
                  <a:gd name="connsiteY46" fmla="*/ 395559 h 420690"/>
                  <a:gd name="connsiteX47" fmla="*/ 177836 w 250913"/>
                  <a:gd name="connsiteY47" fmla="*/ 420335 h 420690"/>
                  <a:gd name="connsiteX48" fmla="*/ 161901 w 250913"/>
                  <a:gd name="connsiteY48" fmla="*/ 416331 h 420690"/>
                  <a:gd name="connsiteX49" fmla="*/ 146384 w 250913"/>
                  <a:gd name="connsiteY49" fmla="*/ 410992 h 420690"/>
                  <a:gd name="connsiteX50" fmla="*/ 97663 w 250913"/>
                  <a:gd name="connsiteY50" fmla="*/ 404318 h 420690"/>
                  <a:gd name="connsiteX51" fmla="*/ 65794 w 250913"/>
                  <a:gd name="connsiteY51" fmla="*/ 409657 h 420690"/>
                  <a:gd name="connsiteX52" fmla="*/ 33007 w 250913"/>
                  <a:gd name="connsiteY52" fmla="*/ 402983 h 420690"/>
                  <a:gd name="connsiteX53" fmla="*/ 24164 w 250913"/>
                  <a:gd name="connsiteY53" fmla="*/ 390137 h 420690"/>
                  <a:gd name="connsiteX54" fmla="*/ 3557 w 250913"/>
                  <a:gd name="connsiteY54" fmla="*/ 363776 h 420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50913" h="420690" extrusionOk="0">
                    <a:moveTo>
                      <a:pt x="3557" y="363776"/>
                    </a:moveTo>
                    <a:cubicBezTo>
                      <a:pt x="4475" y="360689"/>
                      <a:pt x="4475" y="357603"/>
                      <a:pt x="4475" y="354933"/>
                    </a:cubicBezTo>
                    <a:cubicBezTo>
                      <a:pt x="4475" y="352264"/>
                      <a:pt x="4475" y="350095"/>
                      <a:pt x="4892" y="347426"/>
                    </a:cubicBezTo>
                    <a:cubicBezTo>
                      <a:pt x="5810" y="343421"/>
                      <a:pt x="8897" y="339918"/>
                      <a:pt x="11983" y="335913"/>
                    </a:cubicBezTo>
                    <a:cubicBezTo>
                      <a:pt x="17323" y="329740"/>
                      <a:pt x="24414" y="321732"/>
                      <a:pt x="21327" y="309803"/>
                    </a:cubicBezTo>
                    <a:cubicBezTo>
                      <a:pt x="19075" y="301794"/>
                      <a:pt x="14236" y="296539"/>
                      <a:pt x="9397" y="291617"/>
                    </a:cubicBezTo>
                    <a:cubicBezTo>
                      <a:pt x="4559" y="286278"/>
                      <a:pt x="554" y="282274"/>
                      <a:pt x="53" y="275684"/>
                    </a:cubicBezTo>
                    <a:cubicBezTo>
                      <a:pt x="-1281" y="258416"/>
                      <a:pt x="22662" y="244234"/>
                      <a:pt x="43435" y="231388"/>
                    </a:cubicBezTo>
                    <a:cubicBezTo>
                      <a:pt x="53196" y="226049"/>
                      <a:pt x="61622" y="220793"/>
                      <a:pt x="67796" y="215454"/>
                    </a:cubicBezTo>
                    <a:cubicBezTo>
                      <a:pt x="80644" y="204359"/>
                      <a:pt x="96161" y="189344"/>
                      <a:pt x="96996" y="170240"/>
                    </a:cubicBezTo>
                    <a:cubicBezTo>
                      <a:pt x="98330" y="149385"/>
                      <a:pt x="82396" y="139709"/>
                      <a:pt x="68630" y="131700"/>
                    </a:cubicBezTo>
                    <a:cubicBezTo>
                      <a:pt x="65543" y="129448"/>
                      <a:pt x="61539" y="127696"/>
                      <a:pt x="58035" y="125527"/>
                    </a:cubicBezTo>
                    <a:cubicBezTo>
                      <a:pt x="45187" y="118436"/>
                      <a:pt x="31005" y="110928"/>
                      <a:pt x="23079" y="100751"/>
                    </a:cubicBezTo>
                    <a:cubicBezTo>
                      <a:pt x="19575" y="96330"/>
                      <a:pt x="18240" y="94077"/>
                      <a:pt x="19575" y="90991"/>
                    </a:cubicBezTo>
                    <a:cubicBezTo>
                      <a:pt x="19993" y="89656"/>
                      <a:pt x="20910" y="87904"/>
                      <a:pt x="22245" y="85652"/>
                    </a:cubicBezTo>
                    <a:cubicBezTo>
                      <a:pt x="23580" y="82983"/>
                      <a:pt x="25332" y="80814"/>
                      <a:pt x="26667" y="77643"/>
                    </a:cubicBezTo>
                    <a:cubicBezTo>
                      <a:pt x="27084" y="76726"/>
                      <a:pt x="27584" y="75892"/>
                      <a:pt x="28001" y="74974"/>
                    </a:cubicBezTo>
                    <a:cubicBezTo>
                      <a:pt x="35093" y="57706"/>
                      <a:pt x="28001" y="47028"/>
                      <a:pt x="21828" y="38186"/>
                    </a:cubicBezTo>
                    <a:cubicBezTo>
                      <a:pt x="18741" y="33347"/>
                      <a:pt x="15654" y="29343"/>
                      <a:pt x="14737" y="24004"/>
                    </a:cubicBezTo>
                    <a:cubicBezTo>
                      <a:pt x="13402" y="18665"/>
                      <a:pt x="14319" y="12909"/>
                      <a:pt x="17823" y="8071"/>
                    </a:cubicBezTo>
                    <a:cubicBezTo>
                      <a:pt x="20910" y="3650"/>
                      <a:pt x="25832" y="563"/>
                      <a:pt x="31088" y="62"/>
                    </a:cubicBezTo>
                    <a:cubicBezTo>
                      <a:pt x="35093" y="-355"/>
                      <a:pt x="38180" y="1397"/>
                      <a:pt x="42601" y="3149"/>
                    </a:cubicBezTo>
                    <a:cubicBezTo>
                      <a:pt x="45271" y="4484"/>
                      <a:pt x="47440" y="5819"/>
                      <a:pt x="50610" y="6236"/>
                    </a:cubicBezTo>
                    <a:cubicBezTo>
                      <a:pt x="58619" y="8905"/>
                      <a:pt x="63041" y="8488"/>
                      <a:pt x="67879" y="7153"/>
                    </a:cubicBezTo>
                    <a:cubicBezTo>
                      <a:pt x="69214" y="6736"/>
                      <a:pt x="70966" y="6236"/>
                      <a:pt x="72718" y="6236"/>
                    </a:cubicBezTo>
                    <a:cubicBezTo>
                      <a:pt x="83313" y="5819"/>
                      <a:pt x="97997" y="6653"/>
                      <a:pt x="117435" y="8488"/>
                    </a:cubicBezTo>
                    <a:cubicBezTo>
                      <a:pt x="130700" y="9823"/>
                      <a:pt x="132535" y="18248"/>
                      <a:pt x="135122" y="33764"/>
                    </a:cubicBezTo>
                    <a:cubicBezTo>
                      <a:pt x="136039" y="40855"/>
                      <a:pt x="137791" y="49697"/>
                      <a:pt x="142213" y="56788"/>
                    </a:cubicBezTo>
                    <a:cubicBezTo>
                      <a:pt x="146635" y="63462"/>
                      <a:pt x="154143" y="68718"/>
                      <a:pt x="166991" y="68718"/>
                    </a:cubicBezTo>
                    <a:cubicBezTo>
                      <a:pt x="172747" y="68718"/>
                      <a:pt x="176751" y="67383"/>
                      <a:pt x="179838" y="66465"/>
                    </a:cubicBezTo>
                    <a:cubicBezTo>
                      <a:pt x="184260" y="65130"/>
                      <a:pt x="186512" y="64213"/>
                      <a:pt x="191768" y="67383"/>
                    </a:cubicBezTo>
                    <a:cubicBezTo>
                      <a:pt x="195773" y="69635"/>
                      <a:pt x="199277" y="73556"/>
                      <a:pt x="202864" y="77977"/>
                    </a:cubicBezTo>
                    <a:cubicBezTo>
                      <a:pt x="204199" y="79729"/>
                      <a:pt x="205534" y="81064"/>
                      <a:pt x="206368" y="82816"/>
                    </a:cubicBezTo>
                    <a:lnTo>
                      <a:pt x="208620" y="85485"/>
                    </a:lnTo>
                    <a:cubicBezTo>
                      <a:pt x="218799" y="96997"/>
                      <a:pt x="231229" y="111596"/>
                      <a:pt x="250668" y="109844"/>
                    </a:cubicBezTo>
                    <a:cubicBezTo>
                      <a:pt x="251085" y="115183"/>
                      <a:pt x="251085" y="120438"/>
                      <a:pt x="249750" y="124442"/>
                    </a:cubicBezTo>
                    <a:cubicBezTo>
                      <a:pt x="247998" y="131116"/>
                      <a:pt x="242659" y="137289"/>
                      <a:pt x="237820" y="143963"/>
                    </a:cubicBezTo>
                    <a:cubicBezTo>
                      <a:pt x="234733" y="148384"/>
                      <a:pt x="231146" y="152805"/>
                      <a:pt x="228476" y="156810"/>
                    </a:cubicBezTo>
                    <a:cubicBezTo>
                      <a:pt x="222303" y="166987"/>
                      <a:pt x="213876" y="182503"/>
                      <a:pt x="211207" y="198436"/>
                    </a:cubicBezTo>
                    <a:cubicBezTo>
                      <a:pt x="208954" y="212618"/>
                      <a:pt x="214294" y="220126"/>
                      <a:pt x="218715" y="227217"/>
                    </a:cubicBezTo>
                    <a:cubicBezTo>
                      <a:pt x="221385" y="231221"/>
                      <a:pt x="223554" y="234307"/>
                      <a:pt x="224889" y="239146"/>
                    </a:cubicBezTo>
                    <a:cubicBezTo>
                      <a:pt x="227141" y="247988"/>
                      <a:pt x="222219" y="251075"/>
                      <a:pt x="207619" y="255997"/>
                    </a:cubicBezTo>
                    <a:cubicBezTo>
                      <a:pt x="205868" y="256914"/>
                      <a:pt x="204533" y="257331"/>
                      <a:pt x="202781" y="258249"/>
                    </a:cubicBezTo>
                    <a:cubicBezTo>
                      <a:pt x="186846" y="264422"/>
                      <a:pt x="181090" y="273348"/>
                      <a:pt x="176168" y="288781"/>
                    </a:cubicBezTo>
                    <a:cubicBezTo>
                      <a:pt x="167324" y="316727"/>
                      <a:pt x="159315" y="352097"/>
                      <a:pt x="177920" y="376456"/>
                    </a:cubicBezTo>
                    <a:cubicBezTo>
                      <a:pt x="180589" y="379960"/>
                      <a:pt x="183259" y="382629"/>
                      <a:pt x="185428" y="384464"/>
                    </a:cubicBezTo>
                    <a:cubicBezTo>
                      <a:pt x="189432" y="387968"/>
                      <a:pt x="190267" y="388885"/>
                      <a:pt x="190267" y="395559"/>
                    </a:cubicBezTo>
                    <a:cubicBezTo>
                      <a:pt x="189849" y="403567"/>
                      <a:pt x="188014" y="417248"/>
                      <a:pt x="177836" y="420335"/>
                    </a:cubicBezTo>
                    <a:cubicBezTo>
                      <a:pt x="173414" y="421670"/>
                      <a:pt x="167658" y="419000"/>
                      <a:pt x="161901" y="416331"/>
                    </a:cubicBezTo>
                    <a:cubicBezTo>
                      <a:pt x="157063" y="413661"/>
                      <a:pt x="151723" y="411492"/>
                      <a:pt x="146384" y="410992"/>
                    </a:cubicBezTo>
                    <a:cubicBezTo>
                      <a:pt x="130450" y="408323"/>
                      <a:pt x="113597" y="406571"/>
                      <a:pt x="97663" y="404318"/>
                    </a:cubicBezTo>
                    <a:cubicBezTo>
                      <a:pt x="85232" y="402983"/>
                      <a:pt x="74637" y="406571"/>
                      <a:pt x="65794" y="409657"/>
                    </a:cubicBezTo>
                    <a:cubicBezTo>
                      <a:pt x="51611" y="414496"/>
                      <a:pt x="44103" y="417665"/>
                      <a:pt x="33007" y="402983"/>
                    </a:cubicBezTo>
                    <a:cubicBezTo>
                      <a:pt x="29920" y="398562"/>
                      <a:pt x="26833" y="394558"/>
                      <a:pt x="24164" y="390137"/>
                    </a:cubicBezTo>
                    <a:cubicBezTo>
                      <a:pt x="19075" y="381461"/>
                      <a:pt x="12818" y="372201"/>
                      <a:pt x="3557" y="36377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1044561" name="Полилиния 390"/>
              <p:cNvSpPr/>
              <p:nvPr/>
            </p:nvSpPr>
            <p:spPr bwMode="auto">
              <a:xfrm>
                <a:off x="3354214" y="4915455"/>
                <a:ext cx="471326" cy="585945"/>
              </a:xfrm>
              <a:custGeom>
                <a:avLst/>
                <a:gdLst>
                  <a:gd name="connsiteX0" fmla="*/ 512157 w 529316"/>
                  <a:gd name="connsiteY0" fmla="*/ 423792 h 658036"/>
                  <a:gd name="connsiteX1" fmla="*/ 495806 w 529316"/>
                  <a:gd name="connsiteY1" fmla="*/ 446816 h 658036"/>
                  <a:gd name="connsiteX2" fmla="*/ 494471 w 529316"/>
                  <a:gd name="connsiteY2" fmla="*/ 451654 h 658036"/>
                  <a:gd name="connsiteX3" fmla="*/ 448419 w 529316"/>
                  <a:gd name="connsiteY3" fmla="*/ 451654 h 658036"/>
                  <a:gd name="connsiteX4" fmla="*/ 405037 w 529316"/>
                  <a:gd name="connsiteY4" fmla="*/ 439225 h 658036"/>
                  <a:gd name="connsiteX5" fmla="*/ 399281 w 529316"/>
                  <a:gd name="connsiteY5" fmla="*/ 436555 h 658036"/>
                  <a:gd name="connsiteX6" fmla="*/ 358485 w 529316"/>
                  <a:gd name="connsiteY6" fmla="*/ 409527 h 658036"/>
                  <a:gd name="connsiteX7" fmla="*/ 355398 w 529316"/>
                  <a:gd name="connsiteY7" fmla="*/ 407275 h 658036"/>
                  <a:gd name="connsiteX8" fmla="*/ 305759 w 529316"/>
                  <a:gd name="connsiteY8" fmla="*/ 405523 h 658036"/>
                  <a:gd name="connsiteX9" fmla="*/ 274307 w 529316"/>
                  <a:gd name="connsiteY9" fmla="*/ 453323 h 658036"/>
                  <a:gd name="connsiteX10" fmla="*/ 286238 w 529316"/>
                  <a:gd name="connsiteY10" fmla="*/ 473261 h 658036"/>
                  <a:gd name="connsiteX11" fmla="*/ 297333 w 529316"/>
                  <a:gd name="connsiteY11" fmla="*/ 478599 h 658036"/>
                  <a:gd name="connsiteX12" fmla="*/ 311516 w 529316"/>
                  <a:gd name="connsiteY12" fmla="*/ 488359 h 658036"/>
                  <a:gd name="connsiteX13" fmla="*/ 297751 w 529316"/>
                  <a:gd name="connsiteY13" fmla="*/ 490612 h 658036"/>
                  <a:gd name="connsiteX14" fmla="*/ 275642 w 529316"/>
                  <a:gd name="connsiteY14" fmla="*/ 496368 h 658036"/>
                  <a:gd name="connsiteX15" fmla="*/ 271638 w 529316"/>
                  <a:gd name="connsiteY15" fmla="*/ 512301 h 658036"/>
                  <a:gd name="connsiteX16" fmla="*/ 302673 w 529316"/>
                  <a:gd name="connsiteY16" fmla="*/ 546003 h 658036"/>
                  <a:gd name="connsiteX17" fmla="*/ 327033 w 529316"/>
                  <a:gd name="connsiteY17" fmla="*/ 570779 h 658036"/>
                  <a:gd name="connsiteX18" fmla="*/ 324781 w 529316"/>
                  <a:gd name="connsiteY18" fmla="*/ 576535 h 658036"/>
                  <a:gd name="connsiteX19" fmla="*/ 294246 w 529316"/>
                  <a:gd name="connsiteY19" fmla="*/ 570779 h 658036"/>
                  <a:gd name="connsiteX20" fmla="*/ 281816 w 529316"/>
                  <a:gd name="connsiteY20" fmla="*/ 563688 h 658036"/>
                  <a:gd name="connsiteX21" fmla="*/ 200725 w 529316"/>
                  <a:gd name="connsiteY21" fmla="*/ 563271 h 658036"/>
                  <a:gd name="connsiteX22" fmla="*/ 186542 w 529316"/>
                  <a:gd name="connsiteY22" fmla="*/ 609820 h 658036"/>
                  <a:gd name="connsiteX23" fmla="*/ 170608 w 529316"/>
                  <a:gd name="connsiteY23" fmla="*/ 648360 h 658036"/>
                  <a:gd name="connsiteX24" fmla="*/ 139573 w 529316"/>
                  <a:gd name="connsiteY24" fmla="*/ 646108 h 658036"/>
                  <a:gd name="connsiteX25" fmla="*/ 87765 w 529316"/>
                  <a:gd name="connsiteY25" fmla="*/ 653615 h 658036"/>
                  <a:gd name="connsiteX26" fmla="*/ 85095 w 529316"/>
                  <a:gd name="connsiteY26" fmla="*/ 658037 h 658036"/>
                  <a:gd name="connsiteX27" fmla="*/ 78421 w 529316"/>
                  <a:gd name="connsiteY27" fmla="*/ 653198 h 658036"/>
                  <a:gd name="connsiteX28" fmla="*/ 78838 w 529316"/>
                  <a:gd name="connsiteY28" fmla="*/ 647025 h 658036"/>
                  <a:gd name="connsiteX29" fmla="*/ 90351 w 529316"/>
                  <a:gd name="connsiteY29" fmla="*/ 640352 h 658036"/>
                  <a:gd name="connsiteX30" fmla="*/ 104951 w 529316"/>
                  <a:gd name="connsiteY30" fmla="*/ 633678 h 658036"/>
                  <a:gd name="connsiteX31" fmla="*/ 116047 w 529316"/>
                  <a:gd name="connsiteY31" fmla="*/ 611989 h 658036"/>
                  <a:gd name="connsiteX32" fmla="*/ 105869 w 529316"/>
                  <a:gd name="connsiteY32" fmla="*/ 585878 h 658036"/>
                  <a:gd name="connsiteX33" fmla="*/ 80590 w 529316"/>
                  <a:gd name="connsiteY33" fmla="*/ 573031 h 658036"/>
                  <a:gd name="connsiteX34" fmla="*/ 66408 w 529316"/>
                  <a:gd name="connsiteY34" fmla="*/ 567692 h 658036"/>
                  <a:gd name="connsiteX35" fmla="*/ 27448 w 529316"/>
                  <a:gd name="connsiteY35" fmla="*/ 562854 h 658036"/>
                  <a:gd name="connsiteX36" fmla="*/ 3504 w 529316"/>
                  <a:gd name="connsiteY36" fmla="*/ 563271 h 658036"/>
                  <a:gd name="connsiteX37" fmla="*/ 0 w 529316"/>
                  <a:gd name="connsiteY37" fmla="*/ 562854 h 658036"/>
                  <a:gd name="connsiteX38" fmla="*/ 8009 w 529316"/>
                  <a:gd name="connsiteY38" fmla="*/ 523396 h 658036"/>
                  <a:gd name="connsiteX39" fmla="*/ 18187 w 529316"/>
                  <a:gd name="connsiteY39" fmla="*/ 506128 h 658036"/>
                  <a:gd name="connsiteX40" fmla="*/ 26196 w 529316"/>
                  <a:gd name="connsiteY40" fmla="*/ 492864 h 658036"/>
                  <a:gd name="connsiteX41" fmla="*/ 39962 w 529316"/>
                  <a:gd name="connsiteY41" fmla="*/ 478266 h 658036"/>
                  <a:gd name="connsiteX42" fmla="*/ 46135 w 529316"/>
                  <a:gd name="connsiteY42" fmla="*/ 473844 h 658036"/>
                  <a:gd name="connsiteX43" fmla="*/ 68243 w 529316"/>
                  <a:gd name="connsiteY43" fmla="*/ 433552 h 658036"/>
                  <a:gd name="connsiteX44" fmla="*/ 75334 w 529316"/>
                  <a:gd name="connsiteY44" fmla="*/ 413615 h 658036"/>
                  <a:gd name="connsiteX45" fmla="*/ 82426 w 529316"/>
                  <a:gd name="connsiteY45" fmla="*/ 396764 h 658036"/>
                  <a:gd name="connsiteX46" fmla="*/ 116130 w 529316"/>
                  <a:gd name="connsiteY46" fmla="*/ 342707 h 658036"/>
                  <a:gd name="connsiteX47" fmla="*/ 140074 w 529316"/>
                  <a:gd name="connsiteY47" fmla="*/ 339621 h 658036"/>
                  <a:gd name="connsiteX48" fmla="*/ 154673 w 529316"/>
                  <a:gd name="connsiteY48" fmla="*/ 329860 h 658036"/>
                  <a:gd name="connsiteX49" fmla="*/ 167938 w 529316"/>
                  <a:gd name="connsiteY49" fmla="*/ 322770 h 658036"/>
                  <a:gd name="connsiteX50" fmla="*/ 175947 w 529316"/>
                  <a:gd name="connsiteY50" fmla="*/ 327608 h 658036"/>
                  <a:gd name="connsiteX51" fmla="*/ 197638 w 529316"/>
                  <a:gd name="connsiteY51" fmla="*/ 335116 h 658036"/>
                  <a:gd name="connsiteX52" fmla="*/ 215325 w 529316"/>
                  <a:gd name="connsiteY52" fmla="*/ 312509 h 658036"/>
                  <a:gd name="connsiteX53" fmla="*/ 216242 w 529316"/>
                  <a:gd name="connsiteY53" fmla="*/ 309422 h 658036"/>
                  <a:gd name="connsiteX54" fmla="*/ 234429 w 529316"/>
                  <a:gd name="connsiteY54" fmla="*/ 283312 h 658036"/>
                  <a:gd name="connsiteX55" fmla="*/ 249530 w 529316"/>
                  <a:gd name="connsiteY55" fmla="*/ 271383 h 658036"/>
                  <a:gd name="connsiteX56" fmla="*/ 261043 w 529316"/>
                  <a:gd name="connsiteY56" fmla="*/ 234594 h 658036"/>
                  <a:gd name="connsiteX57" fmla="*/ 234012 w 529316"/>
                  <a:gd name="connsiteY57" fmla="*/ 215991 h 658036"/>
                  <a:gd name="connsiteX58" fmla="*/ 202978 w 529316"/>
                  <a:gd name="connsiteY58" fmla="*/ 225752 h 658036"/>
                  <a:gd name="connsiteX59" fmla="*/ 180369 w 529316"/>
                  <a:gd name="connsiteY59" fmla="*/ 232842 h 658036"/>
                  <a:gd name="connsiteX60" fmla="*/ 170191 w 529316"/>
                  <a:gd name="connsiteY60" fmla="*/ 231508 h 658036"/>
                  <a:gd name="connsiteX61" fmla="*/ 145830 w 529316"/>
                  <a:gd name="connsiteY61" fmla="*/ 228838 h 658036"/>
                  <a:gd name="connsiteX62" fmla="*/ 124973 w 529316"/>
                  <a:gd name="connsiteY62" fmla="*/ 221748 h 658036"/>
                  <a:gd name="connsiteX63" fmla="*/ 122304 w 529316"/>
                  <a:gd name="connsiteY63" fmla="*/ 220413 h 658036"/>
                  <a:gd name="connsiteX64" fmla="*/ 86847 w 529316"/>
                  <a:gd name="connsiteY64" fmla="*/ 210235 h 658036"/>
                  <a:gd name="connsiteX65" fmla="*/ 78838 w 529316"/>
                  <a:gd name="connsiteY65" fmla="*/ 210653 h 658036"/>
                  <a:gd name="connsiteX66" fmla="*/ 64656 w 529316"/>
                  <a:gd name="connsiteY66" fmla="*/ 206231 h 658036"/>
                  <a:gd name="connsiteX67" fmla="*/ 58899 w 529316"/>
                  <a:gd name="connsiteY67" fmla="*/ 180538 h 658036"/>
                  <a:gd name="connsiteX68" fmla="*/ 49139 w 529316"/>
                  <a:gd name="connsiteY68" fmla="*/ 145585 h 658036"/>
                  <a:gd name="connsiteX69" fmla="*/ 41129 w 529316"/>
                  <a:gd name="connsiteY69" fmla="*/ 137159 h 658036"/>
                  <a:gd name="connsiteX70" fmla="*/ 34455 w 529316"/>
                  <a:gd name="connsiteY70" fmla="*/ 124729 h 658036"/>
                  <a:gd name="connsiteX71" fmla="*/ 42882 w 529316"/>
                  <a:gd name="connsiteY71" fmla="*/ 103457 h 658036"/>
                  <a:gd name="connsiteX72" fmla="*/ 84094 w 529316"/>
                  <a:gd name="connsiteY72" fmla="*/ 70673 h 658036"/>
                  <a:gd name="connsiteX73" fmla="*/ 99612 w 529316"/>
                  <a:gd name="connsiteY73" fmla="*/ 80850 h 658036"/>
                  <a:gd name="connsiteX74" fmla="*/ 108038 w 529316"/>
                  <a:gd name="connsiteY74" fmla="*/ 89693 h 658036"/>
                  <a:gd name="connsiteX75" fmla="*/ 116881 w 529316"/>
                  <a:gd name="connsiteY75" fmla="*/ 95866 h 658036"/>
                  <a:gd name="connsiteX76" fmla="*/ 125307 w 529316"/>
                  <a:gd name="connsiteY76" fmla="*/ 102039 h 658036"/>
                  <a:gd name="connsiteX77" fmla="*/ 133733 w 529316"/>
                  <a:gd name="connsiteY77" fmla="*/ 118389 h 658036"/>
                  <a:gd name="connsiteX78" fmla="*/ 171359 w 529316"/>
                  <a:gd name="connsiteY78" fmla="*/ 139662 h 658036"/>
                  <a:gd name="connsiteX79" fmla="*/ 205897 w 529316"/>
                  <a:gd name="connsiteY79" fmla="*/ 139244 h 658036"/>
                  <a:gd name="connsiteX80" fmla="*/ 208984 w 529316"/>
                  <a:gd name="connsiteY80" fmla="*/ 139662 h 658036"/>
                  <a:gd name="connsiteX81" fmla="*/ 239519 w 529316"/>
                  <a:gd name="connsiteY81" fmla="*/ 136575 h 658036"/>
                  <a:gd name="connsiteX82" fmla="*/ 249697 w 529316"/>
                  <a:gd name="connsiteY82" fmla="*/ 134323 h 658036"/>
                  <a:gd name="connsiteX83" fmla="*/ 258540 w 529316"/>
                  <a:gd name="connsiteY83" fmla="*/ 132988 h 658036"/>
                  <a:gd name="connsiteX84" fmla="*/ 279814 w 529316"/>
                  <a:gd name="connsiteY84" fmla="*/ 124146 h 658036"/>
                  <a:gd name="connsiteX85" fmla="*/ 280231 w 529316"/>
                  <a:gd name="connsiteY85" fmla="*/ 103791 h 658036"/>
                  <a:gd name="connsiteX86" fmla="*/ 277144 w 529316"/>
                  <a:gd name="connsiteY86" fmla="*/ 95783 h 658036"/>
                  <a:gd name="connsiteX87" fmla="*/ 274891 w 529316"/>
                  <a:gd name="connsiteY87" fmla="*/ 87357 h 658036"/>
                  <a:gd name="connsiteX88" fmla="*/ 276226 w 529316"/>
                  <a:gd name="connsiteY88" fmla="*/ 79349 h 658036"/>
                  <a:gd name="connsiteX89" fmla="*/ 277561 w 529316"/>
                  <a:gd name="connsiteY89" fmla="*/ 72258 h 658036"/>
                  <a:gd name="connsiteX90" fmla="*/ 277978 w 529316"/>
                  <a:gd name="connsiteY90" fmla="*/ 69171 h 658036"/>
                  <a:gd name="connsiteX91" fmla="*/ 283735 w 529316"/>
                  <a:gd name="connsiteY91" fmla="*/ 51903 h 658036"/>
                  <a:gd name="connsiteX92" fmla="*/ 286404 w 529316"/>
                  <a:gd name="connsiteY92" fmla="*/ 48400 h 658036"/>
                  <a:gd name="connsiteX93" fmla="*/ 297000 w 529316"/>
                  <a:gd name="connsiteY93" fmla="*/ 17868 h 658036"/>
                  <a:gd name="connsiteX94" fmla="*/ 285487 w 529316"/>
                  <a:gd name="connsiteY94" fmla="*/ 5939 h 658036"/>
                  <a:gd name="connsiteX95" fmla="*/ 305009 w 529316"/>
                  <a:gd name="connsiteY95" fmla="*/ 183 h 658036"/>
                  <a:gd name="connsiteX96" fmla="*/ 342634 w 529316"/>
                  <a:gd name="connsiteY96" fmla="*/ 22790 h 658036"/>
                  <a:gd name="connsiteX97" fmla="*/ 362156 w 529316"/>
                  <a:gd name="connsiteY97" fmla="*/ 42310 h 658036"/>
                  <a:gd name="connsiteX98" fmla="*/ 391355 w 529316"/>
                  <a:gd name="connsiteY98" fmla="*/ 56074 h 658036"/>
                  <a:gd name="connsiteX99" fmla="*/ 415299 w 529316"/>
                  <a:gd name="connsiteY99" fmla="*/ 66669 h 658036"/>
                  <a:gd name="connsiteX100" fmla="*/ 464020 w 529316"/>
                  <a:gd name="connsiteY100" fmla="*/ 76012 h 658036"/>
                  <a:gd name="connsiteX101" fmla="*/ 495472 w 529316"/>
                  <a:gd name="connsiteY101" fmla="*/ 89776 h 658036"/>
                  <a:gd name="connsiteX102" fmla="*/ 496807 w 529316"/>
                  <a:gd name="connsiteY102" fmla="*/ 93280 h 658036"/>
                  <a:gd name="connsiteX103" fmla="*/ 517664 w 529316"/>
                  <a:gd name="connsiteY103" fmla="*/ 118556 h 658036"/>
                  <a:gd name="connsiteX104" fmla="*/ 518081 w 529316"/>
                  <a:gd name="connsiteY104" fmla="*/ 130986 h 658036"/>
                  <a:gd name="connsiteX105" fmla="*/ 523420 w 529316"/>
                  <a:gd name="connsiteY105" fmla="*/ 156680 h 658036"/>
                  <a:gd name="connsiteX106" fmla="*/ 527842 w 529316"/>
                  <a:gd name="connsiteY106" fmla="*/ 176200 h 658036"/>
                  <a:gd name="connsiteX107" fmla="*/ 511490 w 529316"/>
                  <a:gd name="connsiteY107" fmla="*/ 232008 h 658036"/>
                  <a:gd name="connsiteX108" fmla="*/ 500394 w 529316"/>
                  <a:gd name="connsiteY108" fmla="*/ 236012 h 658036"/>
                  <a:gd name="connsiteX109" fmla="*/ 481790 w 529316"/>
                  <a:gd name="connsiteY109" fmla="*/ 244021 h 658036"/>
                  <a:gd name="connsiteX110" fmla="*/ 469860 w 529316"/>
                  <a:gd name="connsiteY110" fmla="*/ 269714 h 658036"/>
                  <a:gd name="connsiteX111" fmla="*/ 467608 w 529316"/>
                  <a:gd name="connsiteY111" fmla="*/ 279892 h 658036"/>
                  <a:gd name="connsiteX112" fmla="*/ 453842 w 529316"/>
                  <a:gd name="connsiteY112" fmla="*/ 298495 h 658036"/>
                  <a:gd name="connsiteX113" fmla="*/ 435655 w 529316"/>
                  <a:gd name="connsiteY113" fmla="*/ 330361 h 658036"/>
                  <a:gd name="connsiteX114" fmla="*/ 455177 w 529316"/>
                  <a:gd name="connsiteY114" fmla="*/ 357389 h 658036"/>
                  <a:gd name="connsiteX115" fmla="*/ 477285 w 529316"/>
                  <a:gd name="connsiteY115" fmla="*/ 371988 h 658036"/>
                  <a:gd name="connsiteX116" fmla="*/ 505233 w 529316"/>
                  <a:gd name="connsiteY116" fmla="*/ 382165 h 658036"/>
                  <a:gd name="connsiteX117" fmla="*/ 529176 w 529316"/>
                  <a:gd name="connsiteY117" fmla="*/ 394595 h 658036"/>
                  <a:gd name="connsiteX118" fmla="*/ 512157 w 529316"/>
                  <a:gd name="connsiteY118" fmla="*/ 423792 h 658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529316" h="658036" extrusionOk="0">
                    <a:moveTo>
                      <a:pt x="512157" y="423792"/>
                    </a:moveTo>
                    <a:cubicBezTo>
                      <a:pt x="505483" y="430883"/>
                      <a:pt x="499310" y="438391"/>
                      <a:pt x="495806" y="446816"/>
                    </a:cubicBezTo>
                    <a:cubicBezTo>
                      <a:pt x="495389" y="448151"/>
                      <a:pt x="494471" y="449903"/>
                      <a:pt x="494471" y="451654"/>
                    </a:cubicBezTo>
                    <a:cubicBezTo>
                      <a:pt x="478953" y="450737"/>
                      <a:pt x="463937" y="450737"/>
                      <a:pt x="448419" y="451654"/>
                    </a:cubicBezTo>
                    <a:cubicBezTo>
                      <a:pt x="432485" y="452071"/>
                      <a:pt x="419637" y="446315"/>
                      <a:pt x="405037" y="439225"/>
                    </a:cubicBezTo>
                    <a:lnTo>
                      <a:pt x="399281" y="436555"/>
                    </a:lnTo>
                    <a:cubicBezTo>
                      <a:pt x="382929" y="429048"/>
                      <a:pt x="372251" y="420622"/>
                      <a:pt x="358485" y="409527"/>
                    </a:cubicBezTo>
                    <a:lnTo>
                      <a:pt x="355398" y="407275"/>
                    </a:lnTo>
                    <a:cubicBezTo>
                      <a:pt x="343468" y="398432"/>
                      <a:pt x="325698" y="388255"/>
                      <a:pt x="305759" y="405523"/>
                    </a:cubicBezTo>
                    <a:cubicBezTo>
                      <a:pt x="289825" y="419704"/>
                      <a:pt x="273890" y="436555"/>
                      <a:pt x="274307" y="453323"/>
                    </a:cubicBezTo>
                    <a:cubicBezTo>
                      <a:pt x="274725" y="458662"/>
                      <a:pt x="276977" y="466587"/>
                      <a:pt x="286238" y="473261"/>
                    </a:cubicBezTo>
                    <a:cubicBezTo>
                      <a:pt x="288907" y="475513"/>
                      <a:pt x="292912" y="476764"/>
                      <a:pt x="297333" y="478599"/>
                    </a:cubicBezTo>
                    <a:cubicBezTo>
                      <a:pt x="301338" y="480351"/>
                      <a:pt x="311516" y="484772"/>
                      <a:pt x="311516" y="488359"/>
                    </a:cubicBezTo>
                    <a:cubicBezTo>
                      <a:pt x="309263" y="490612"/>
                      <a:pt x="303090" y="490612"/>
                      <a:pt x="297751" y="490612"/>
                    </a:cubicBezTo>
                    <a:cubicBezTo>
                      <a:pt x="290242" y="490195"/>
                      <a:pt x="281399" y="490195"/>
                      <a:pt x="275642" y="496368"/>
                    </a:cubicBezTo>
                    <a:cubicBezTo>
                      <a:pt x="272555" y="499872"/>
                      <a:pt x="270804" y="505210"/>
                      <a:pt x="271638" y="512301"/>
                    </a:cubicBezTo>
                    <a:cubicBezTo>
                      <a:pt x="273390" y="529569"/>
                      <a:pt x="288907" y="537995"/>
                      <a:pt x="302673" y="546003"/>
                    </a:cubicBezTo>
                    <a:cubicBezTo>
                      <a:pt x="317773" y="554429"/>
                      <a:pt x="327033" y="560602"/>
                      <a:pt x="327033" y="570779"/>
                    </a:cubicBezTo>
                    <a:cubicBezTo>
                      <a:pt x="327033" y="575200"/>
                      <a:pt x="325698" y="576118"/>
                      <a:pt x="324781" y="576535"/>
                    </a:cubicBezTo>
                    <a:cubicBezTo>
                      <a:pt x="319024" y="579622"/>
                      <a:pt x="303507" y="576118"/>
                      <a:pt x="294246" y="570779"/>
                    </a:cubicBezTo>
                    <a:cubicBezTo>
                      <a:pt x="289825" y="568527"/>
                      <a:pt x="285820" y="565940"/>
                      <a:pt x="281816" y="563688"/>
                    </a:cubicBezTo>
                    <a:cubicBezTo>
                      <a:pt x="257872" y="549090"/>
                      <a:pt x="230008" y="531821"/>
                      <a:pt x="200725" y="563271"/>
                    </a:cubicBezTo>
                    <a:cubicBezTo>
                      <a:pt x="188795" y="576118"/>
                      <a:pt x="187877" y="594303"/>
                      <a:pt x="186542" y="609820"/>
                    </a:cubicBezTo>
                    <a:cubicBezTo>
                      <a:pt x="185625" y="630174"/>
                      <a:pt x="184290" y="643021"/>
                      <a:pt x="170608" y="648360"/>
                    </a:cubicBezTo>
                    <a:cubicBezTo>
                      <a:pt x="162599" y="651446"/>
                      <a:pt x="151086" y="648777"/>
                      <a:pt x="139573" y="646108"/>
                    </a:cubicBezTo>
                    <a:cubicBezTo>
                      <a:pt x="121887" y="642104"/>
                      <a:pt x="101447" y="637265"/>
                      <a:pt x="87765" y="653615"/>
                    </a:cubicBezTo>
                    <a:cubicBezTo>
                      <a:pt x="86847" y="654950"/>
                      <a:pt x="85513" y="656285"/>
                      <a:pt x="85095" y="658037"/>
                    </a:cubicBezTo>
                    <a:cubicBezTo>
                      <a:pt x="82009" y="656702"/>
                      <a:pt x="79756" y="655367"/>
                      <a:pt x="78421" y="653198"/>
                    </a:cubicBezTo>
                    <a:cubicBezTo>
                      <a:pt x="78004" y="652281"/>
                      <a:pt x="77087" y="650946"/>
                      <a:pt x="78838" y="647025"/>
                    </a:cubicBezTo>
                    <a:cubicBezTo>
                      <a:pt x="80173" y="643521"/>
                      <a:pt x="83260" y="642187"/>
                      <a:pt x="90351" y="640352"/>
                    </a:cubicBezTo>
                    <a:cubicBezTo>
                      <a:pt x="94773" y="639017"/>
                      <a:pt x="100529" y="637682"/>
                      <a:pt x="104951" y="633678"/>
                    </a:cubicBezTo>
                    <a:cubicBezTo>
                      <a:pt x="111625" y="628339"/>
                      <a:pt x="115546" y="620831"/>
                      <a:pt x="116047" y="611989"/>
                    </a:cubicBezTo>
                    <a:cubicBezTo>
                      <a:pt x="116464" y="602228"/>
                      <a:pt x="112960" y="592969"/>
                      <a:pt x="105869" y="585878"/>
                    </a:cubicBezTo>
                    <a:cubicBezTo>
                      <a:pt x="98777" y="578787"/>
                      <a:pt x="89517" y="575701"/>
                      <a:pt x="80590" y="573031"/>
                    </a:cubicBezTo>
                    <a:cubicBezTo>
                      <a:pt x="75752" y="571280"/>
                      <a:pt x="70412" y="569945"/>
                      <a:pt x="66408" y="567692"/>
                    </a:cubicBezTo>
                    <a:cubicBezTo>
                      <a:pt x="49139" y="557932"/>
                      <a:pt x="45551" y="557098"/>
                      <a:pt x="27448" y="562854"/>
                    </a:cubicBezTo>
                    <a:cubicBezTo>
                      <a:pt x="19438" y="565523"/>
                      <a:pt x="11930" y="564189"/>
                      <a:pt x="3504" y="563271"/>
                    </a:cubicBezTo>
                    <a:cubicBezTo>
                      <a:pt x="2586" y="562854"/>
                      <a:pt x="1251" y="562854"/>
                      <a:pt x="0" y="562854"/>
                    </a:cubicBezTo>
                    <a:cubicBezTo>
                      <a:pt x="417" y="548673"/>
                      <a:pt x="2252" y="534908"/>
                      <a:pt x="8009" y="523396"/>
                    </a:cubicBezTo>
                    <a:cubicBezTo>
                      <a:pt x="10679" y="517640"/>
                      <a:pt x="14183" y="512301"/>
                      <a:pt x="18187" y="506128"/>
                    </a:cubicBezTo>
                    <a:cubicBezTo>
                      <a:pt x="20857" y="501707"/>
                      <a:pt x="23526" y="497285"/>
                      <a:pt x="26196" y="492864"/>
                    </a:cubicBezTo>
                    <a:cubicBezTo>
                      <a:pt x="30200" y="485774"/>
                      <a:pt x="34205" y="482687"/>
                      <a:pt x="39962" y="478266"/>
                    </a:cubicBezTo>
                    <a:cubicBezTo>
                      <a:pt x="42214" y="476931"/>
                      <a:pt x="43966" y="475596"/>
                      <a:pt x="46135" y="473844"/>
                    </a:cubicBezTo>
                    <a:cubicBezTo>
                      <a:pt x="58983" y="463250"/>
                      <a:pt x="63822" y="448151"/>
                      <a:pt x="68243" y="433552"/>
                    </a:cubicBezTo>
                    <a:cubicBezTo>
                      <a:pt x="70496" y="426879"/>
                      <a:pt x="72248" y="419788"/>
                      <a:pt x="75334" y="413615"/>
                    </a:cubicBezTo>
                    <a:cubicBezTo>
                      <a:pt x="77587" y="408776"/>
                      <a:pt x="79756" y="403020"/>
                      <a:pt x="82426" y="396764"/>
                    </a:cubicBezTo>
                    <a:cubicBezTo>
                      <a:pt x="90435" y="376826"/>
                      <a:pt x="101030" y="350215"/>
                      <a:pt x="116130" y="342707"/>
                    </a:cubicBezTo>
                    <a:cubicBezTo>
                      <a:pt x="122304" y="340038"/>
                      <a:pt x="130730" y="343125"/>
                      <a:pt x="140074" y="339621"/>
                    </a:cubicBezTo>
                    <a:cubicBezTo>
                      <a:pt x="146247" y="337368"/>
                      <a:pt x="150669" y="333448"/>
                      <a:pt x="154673" y="329860"/>
                    </a:cubicBezTo>
                    <a:cubicBezTo>
                      <a:pt x="160013" y="325022"/>
                      <a:pt x="163099" y="322352"/>
                      <a:pt x="167938" y="322770"/>
                    </a:cubicBezTo>
                    <a:cubicBezTo>
                      <a:pt x="170608" y="323187"/>
                      <a:pt x="172777" y="325439"/>
                      <a:pt x="175947" y="327608"/>
                    </a:cubicBezTo>
                    <a:cubicBezTo>
                      <a:pt x="180786" y="331612"/>
                      <a:pt x="187877" y="336951"/>
                      <a:pt x="197638" y="335116"/>
                    </a:cubicBezTo>
                    <a:cubicBezTo>
                      <a:pt x="211821" y="332446"/>
                      <a:pt x="213990" y="320517"/>
                      <a:pt x="215325" y="312509"/>
                    </a:cubicBezTo>
                    <a:lnTo>
                      <a:pt x="216242" y="309422"/>
                    </a:lnTo>
                    <a:cubicBezTo>
                      <a:pt x="219329" y="293906"/>
                      <a:pt x="224669" y="289902"/>
                      <a:pt x="234429" y="283312"/>
                    </a:cubicBezTo>
                    <a:cubicBezTo>
                      <a:pt x="238851" y="280225"/>
                      <a:pt x="244190" y="276638"/>
                      <a:pt x="249530" y="271383"/>
                    </a:cubicBezTo>
                    <a:cubicBezTo>
                      <a:pt x="260626" y="261205"/>
                      <a:pt x="265464" y="246607"/>
                      <a:pt x="261043" y="234594"/>
                    </a:cubicBezTo>
                    <a:cubicBezTo>
                      <a:pt x="257539" y="224000"/>
                      <a:pt x="247277" y="216909"/>
                      <a:pt x="234012" y="215991"/>
                    </a:cubicBezTo>
                    <a:cubicBezTo>
                      <a:pt x="221582" y="215574"/>
                      <a:pt x="211821" y="220830"/>
                      <a:pt x="202978" y="225752"/>
                    </a:cubicBezTo>
                    <a:cubicBezTo>
                      <a:pt x="194968" y="230173"/>
                      <a:pt x="188378" y="234177"/>
                      <a:pt x="180369" y="232842"/>
                    </a:cubicBezTo>
                    <a:lnTo>
                      <a:pt x="170191" y="231508"/>
                    </a:lnTo>
                    <a:cubicBezTo>
                      <a:pt x="162182" y="230590"/>
                      <a:pt x="154673" y="229256"/>
                      <a:pt x="145830" y="228838"/>
                    </a:cubicBezTo>
                    <a:cubicBezTo>
                      <a:pt x="137821" y="228421"/>
                      <a:pt x="132983" y="225752"/>
                      <a:pt x="124973" y="221748"/>
                    </a:cubicBezTo>
                    <a:lnTo>
                      <a:pt x="122304" y="220413"/>
                    </a:lnTo>
                    <a:cubicBezTo>
                      <a:pt x="110791" y="214240"/>
                      <a:pt x="101948" y="210235"/>
                      <a:pt x="86847" y="210235"/>
                    </a:cubicBezTo>
                    <a:cubicBezTo>
                      <a:pt x="84178" y="210235"/>
                      <a:pt x="81508" y="210653"/>
                      <a:pt x="78838" y="210653"/>
                    </a:cubicBezTo>
                    <a:cubicBezTo>
                      <a:pt x="70412" y="211070"/>
                      <a:pt x="67743" y="211070"/>
                      <a:pt x="64656" y="206231"/>
                    </a:cubicBezTo>
                    <a:cubicBezTo>
                      <a:pt x="60234" y="199141"/>
                      <a:pt x="59817" y="190298"/>
                      <a:pt x="58899" y="180538"/>
                    </a:cubicBezTo>
                    <a:cubicBezTo>
                      <a:pt x="57982" y="168609"/>
                      <a:pt x="56647" y="156179"/>
                      <a:pt x="49139" y="145585"/>
                    </a:cubicBezTo>
                    <a:cubicBezTo>
                      <a:pt x="46469" y="142081"/>
                      <a:pt x="43799" y="139411"/>
                      <a:pt x="41129" y="137159"/>
                    </a:cubicBezTo>
                    <a:cubicBezTo>
                      <a:pt x="36708" y="132738"/>
                      <a:pt x="34455" y="130986"/>
                      <a:pt x="34455" y="124729"/>
                    </a:cubicBezTo>
                    <a:cubicBezTo>
                      <a:pt x="34455" y="118056"/>
                      <a:pt x="38460" y="110548"/>
                      <a:pt x="42882" y="103457"/>
                    </a:cubicBezTo>
                    <a:cubicBezTo>
                      <a:pt x="53060" y="87524"/>
                      <a:pt x="70329" y="70673"/>
                      <a:pt x="84094" y="70673"/>
                    </a:cubicBezTo>
                    <a:cubicBezTo>
                      <a:pt x="90268" y="70673"/>
                      <a:pt x="93855" y="74176"/>
                      <a:pt x="99612" y="80850"/>
                    </a:cubicBezTo>
                    <a:cubicBezTo>
                      <a:pt x="102281" y="83937"/>
                      <a:pt x="104951" y="87024"/>
                      <a:pt x="108038" y="89693"/>
                    </a:cubicBezTo>
                    <a:cubicBezTo>
                      <a:pt x="110707" y="92362"/>
                      <a:pt x="114211" y="94114"/>
                      <a:pt x="116881" y="95866"/>
                    </a:cubicBezTo>
                    <a:cubicBezTo>
                      <a:pt x="120385" y="97618"/>
                      <a:pt x="123555" y="99370"/>
                      <a:pt x="125307" y="102039"/>
                    </a:cubicBezTo>
                    <a:cubicBezTo>
                      <a:pt x="129729" y="106877"/>
                      <a:pt x="131481" y="113134"/>
                      <a:pt x="133733" y="118389"/>
                    </a:cubicBezTo>
                    <a:cubicBezTo>
                      <a:pt x="138155" y="130819"/>
                      <a:pt x="143077" y="145835"/>
                      <a:pt x="171359" y="139662"/>
                    </a:cubicBezTo>
                    <a:cubicBezTo>
                      <a:pt x="185959" y="136575"/>
                      <a:pt x="191715" y="137409"/>
                      <a:pt x="205897" y="139244"/>
                    </a:cubicBezTo>
                    <a:lnTo>
                      <a:pt x="208984" y="139662"/>
                    </a:lnTo>
                    <a:cubicBezTo>
                      <a:pt x="220080" y="140996"/>
                      <a:pt x="230258" y="138744"/>
                      <a:pt x="239519" y="136575"/>
                    </a:cubicBezTo>
                    <a:cubicBezTo>
                      <a:pt x="242605" y="135658"/>
                      <a:pt x="246193" y="135240"/>
                      <a:pt x="249697" y="134323"/>
                    </a:cubicBezTo>
                    <a:cubicBezTo>
                      <a:pt x="252783" y="133405"/>
                      <a:pt x="255870" y="133405"/>
                      <a:pt x="258540" y="132988"/>
                    </a:cubicBezTo>
                    <a:cubicBezTo>
                      <a:pt x="267383" y="131654"/>
                      <a:pt x="275392" y="130736"/>
                      <a:pt x="279814" y="124146"/>
                    </a:cubicBezTo>
                    <a:cubicBezTo>
                      <a:pt x="283818" y="117972"/>
                      <a:pt x="282483" y="109964"/>
                      <a:pt x="280231" y="103791"/>
                    </a:cubicBezTo>
                    <a:cubicBezTo>
                      <a:pt x="279313" y="100704"/>
                      <a:pt x="277978" y="98452"/>
                      <a:pt x="277144" y="95783"/>
                    </a:cubicBezTo>
                    <a:cubicBezTo>
                      <a:pt x="275809" y="93113"/>
                      <a:pt x="274891" y="91361"/>
                      <a:pt x="274891" y="87357"/>
                    </a:cubicBezTo>
                    <a:cubicBezTo>
                      <a:pt x="274891" y="85105"/>
                      <a:pt x="275809" y="82018"/>
                      <a:pt x="276226" y="79349"/>
                    </a:cubicBezTo>
                    <a:cubicBezTo>
                      <a:pt x="276643" y="76679"/>
                      <a:pt x="277144" y="74510"/>
                      <a:pt x="277561" y="72258"/>
                    </a:cubicBezTo>
                    <a:lnTo>
                      <a:pt x="277978" y="69171"/>
                    </a:lnTo>
                    <a:cubicBezTo>
                      <a:pt x="278896" y="61663"/>
                      <a:pt x="279313" y="58577"/>
                      <a:pt x="283735" y="51903"/>
                    </a:cubicBezTo>
                    <a:lnTo>
                      <a:pt x="286404" y="48400"/>
                    </a:lnTo>
                    <a:cubicBezTo>
                      <a:pt x="292578" y="39557"/>
                      <a:pt x="300587" y="28462"/>
                      <a:pt x="297000" y="17868"/>
                    </a:cubicBezTo>
                    <a:cubicBezTo>
                      <a:pt x="295665" y="13029"/>
                      <a:pt x="291660" y="9025"/>
                      <a:pt x="285487" y="5939"/>
                    </a:cubicBezTo>
                    <a:cubicBezTo>
                      <a:pt x="291660" y="2852"/>
                      <a:pt x="297917" y="1100"/>
                      <a:pt x="305009" y="183"/>
                    </a:cubicBezTo>
                    <a:cubicBezTo>
                      <a:pt x="321861" y="-1569"/>
                      <a:pt x="331622" y="9526"/>
                      <a:pt x="342634" y="22790"/>
                    </a:cubicBezTo>
                    <a:cubicBezTo>
                      <a:pt x="348391" y="29463"/>
                      <a:pt x="354564" y="36971"/>
                      <a:pt x="362156" y="42310"/>
                    </a:cubicBezTo>
                    <a:cubicBezTo>
                      <a:pt x="370999" y="48984"/>
                      <a:pt x="381678" y="52487"/>
                      <a:pt x="391355" y="56074"/>
                    </a:cubicBezTo>
                    <a:cubicBezTo>
                      <a:pt x="399781" y="59161"/>
                      <a:pt x="408208" y="61830"/>
                      <a:pt x="415299" y="66669"/>
                    </a:cubicBezTo>
                    <a:cubicBezTo>
                      <a:pt x="433486" y="78598"/>
                      <a:pt x="440577" y="81267"/>
                      <a:pt x="464020" y="76012"/>
                    </a:cubicBezTo>
                    <a:cubicBezTo>
                      <a:pt x="481707" y="72008"/>
                      <a:pt x="489299" y="75094"/>
                      <a:pt x="495472" y="89776"/>
                    </a:cubicBezTo>
                    <a:lnTo>
                      <a:pt x="496807" y="93280"/>
                    </a:lnTo>
                    <a:cubicBezTo>
                      <a:pt x="500311" y="102623"/>
                      <a:pt x="505650" y="114969"/>
                      <a:pt x="517664" y="118556"/>
                    </a:cubicBezTo>
                    <a:cubicBezTo>
                      <a:pt x="517664" y="122977"/>
                      <a:pt x="517664" y="126982"/>
                      <a:pt x="518081" y="130986"/>
                    </a:cubicBezTo>
                    <a:cubicBezTo>
                      <a:pt x="518998" y="139829"/>
                      <a:pt x="521167" y="148671"/>
                      <a:pt x="523420" y="156680"/>
                    </a:cubicBezTo>
                    <a:cubicBezTo>
                      <a:pt x="524755" y="163353"/>
                      <a:pt x="526507" y="169526"/>
                      <a:pt x="527842" y="176200"/>
                    </a:cubicBezTo>
                    <a:cubicBezTo>
                      <a:pt x="530094" y="189047"/>
                      <a:pt x="532681" y="220079"/>
                      <a:pt x="511490" y="232008"/>
                    </a:cubicBezTo>
                    <a:cubicBezTo>
                      <a:pt x="508403" y="233760"/>
                      <a:pt x="504399" y="235095"/>
                      <a:pt x="500394" y="236012"/>
                    </a:cubicBezTo>
                    <a:cubicBezTo>
                      <a:pt x="494221" y="237347"/>
                      <a:pt x="487547" y="239099"/>
                      <a:pt x="481790" y="244021"/>
                    </a:cubicBezTo>
                    <a:cubicBezTo>
                      <a:pt x="472947" y="251529"/>
                      <a:pt x="471195" y="261289"/>
                      <a:pt x="469860" y="269714"/>
                    </a:cubicBezTo>
                    <a:cubicBezTo>
                      <a:pt x="469443" y="273218"/>
                      <a:pt x="468525" y="276805"/>
                      <a:pt x="467608" y="279892"/>
                    </a:cubicBezTo>
                    <a:cubicBezTo>
                      <a:pt x="465355" y="286565"/>
                      <a:pt x="459599" y="292321"/>
                      <a:pt x="453842" y="298495"/>
                    </a:cubicBezTo>
                    <a:cubicBezTo>
                      <a:pt x="445416" y="306920"/>
                      <a:pt x="436156" y="316680"/>
                      <a:pt x="435655" y="330361"/>
                    </a:cubicBezTo>
                    <a:cubicBezTo>
                      <a:pt x="434320" y="348046"/>
                      <a:pt x="444999" y="352467"/>
                      <a:pt x="455177" y="357389"/>
                    </a:cubicBezTo>
                    <a:cubicBezTo>
                      <a:pt x="464938" y="361811"/>
                      <a:pt x="468942" y="364480"/>
                      <a:pt x="477285" y="371988"/>
                    </a:cubicBezTo>
                    <a:cubicBezTo>
                      <a:pt x="484376" y="378661"/>
                      <a:pt x="494971" y="380413"/>
                      <a:pt x="505233" y="382165"/>
                    </a:cubicBezTo>
                    <a:cubicBezTo>
                      <a:pt x="520750" y="384835"/>
                      <a:pt x="527842" y="387003"/>
                      <a:pt x="529176" y="394595"/>
                    </a:cubicBezTo>
                    <a:cubicBezTo>
                      <a:pt x="529844" y="403854"/>
                      <a:pt x="521001" y="414032"/>
                      <a:pt x="512157" y="42379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48442045" name="Полилиния 391"/>
              <p:cNvSpPr/>
              <p:nvPr/>
            </p:nvSpPr>
            <p:spPr bwMode="auto">
              <a:xfrm>
                <a:off x="3270954" y="4144686"/>
                <a:ext cx="688098" cy="696704"/>
              </a:xfrm>
              <a:custGeom>
                <a:avLst/>
                <a:gdLst>
                  <a:gd name="connsiteX0" fmla="*/ 565366 w 772759"/>
                  <a:gd name="connsiteY0" fmla="*/ 462860 h 782422"/>
                  <a:gd name="connsiteX1" fmla="*/ 554771 w 772759"/>
                  <a:gd name="connsiteY1" fmla="*/ 486301 h 782422"/>
                  <a:gd name="connsiteX2" fmla="*/ 560110 w 772759"/>
                  <a:gd name="connsiteY2" fmla="*/ 504487 h 782422"/>
                  <a:gd name="connsiteX3" fmla="*/ 564114 w 772759"/>
                  <a:gd name="connsiteY3" fmla="*/ 515081 h 782422"/>
                  <a:gd name="connsiteX4" fmla="*/ 534415 w 772759"/>
                  <a:gd name="connsiteY4" fmla="*/ 548783 h 782422"/>
                  <a:gd name="connsiteX5" fmla="*/ 514475 w 772759"/>
                  <a:gd name="connsiteY5" fmla="*/ 553621 h 782422"/>
                  <a:gd name="connsiteX6" fmla="*/ 466171 w 772759"/>
                  <a:gd name="connsiteY6" fmla="*/ 577980 h 782422"/>
                  <a:gd name="connsiteX7" fmla="*/ 462667 w 772759"/>
                  <a:gd name="connsiteY7" fmla="*/ 606760 h 782422"/>
                  <a:gd name="connsiteX8" fmla="*/ 454658 w 772759"/>
                  <a:gd name="connsiteY8" fmla="*/ 628867 h 782422"/>
                  <a:gd name="connsiteX9" fmla="*/ 431215 w 772759"/>
                  <a:gd name="connsiteY9" fmla="*/ 624028 h 782422"/>
                  <a:gd name="connsiteX10" fmla="*/ 392672 w 772759"/>
                  <a:gd name="connsiteY10" fmla="*/ 619607 h 782422"/>
                  <a:gd name="connsiteX11" fmla="*/ 363473 w 772759"/>
                  <a:gd name="connsiteY11" fmla="*/ 655061 h 782422"/>
                  <a:gd name="connsiteX12" fmla="*/ 349290 w 772759"/>
                  <a:gd name="connsiteY12" fmla="*/ 678085 h 782422"/>
                  <a:gd name="connsiteX13" fmla="*/ 321843 w 772759"/>
                  <a:gd name="connsiteY13" fmla="*/ 696687 h 782422"/>
                  <a:gd name="connsiteX14" fmla="*/ 306743 w 772759"/>
                  <a:gd name="connsiteY14" fmla="*/ 695353 h 782422"/>
                  <a:gd name="connsiteX15" fmla="*/ 296565 w 772759"/>
                  <a:gd name="connsiteY15" fmla="*/ 690932 h 782422"/>
                  <a:gd name="connsiteX16" fmla="*/ 274874 w 772759"/>
                  <a:gd name="connsiteY16" fmla="*/ 692266 h 782422"/>
                  <a:gd name="connsiteX17" fmla="*/ 265113 w 772759"/>
                  <a:gd name="connsiteY17" fmla="*/ 719295 h 782422"/>
                  <a:gd name="connsiteX18" fmla="*/ 264195 w 772759"/>
                  <a:gd name="connsiteY18" fmla="*/ 729889 h 782422"/>
                  <a:gd name="connsiteX19" fmla="*/ 250430 w 772759"/>
                  <a:gd name="connsiteY19" fmla="*/ 753831 h 782422"/>
                  <a:gd name="connsiteX20" fmla="*/ 236664 w 772759"/>
                  <a:gd name="connsiteY20" fmla="*/ 775103 h 782422"/>
                  <a:gd name="connsiteX21" fmla="*/ 233995 w 772759"/>
                  <a:gd name="connsiteY21" fmla="*/ 781776 h 782422"/>
                  <a:gd name="connsiteX22" fmla="*/ 215807 w 772759"/>
                  <a:gd name="connsiteY22" fmla="*/ 782194 h 782422"/>
                  <a:gd name="connsiteX23" fmla="*/ 198121 w 772759"/>
                  <a:gd name="connsiteY23" fmla="*/ 780859 h 782422"/>
                  <a:gd name="connsiteX24" fmla="*/ 187025 w 772759"/>
                  <a:gd name="connsiteY24" fmla="*/ 773351 h 782422"/>
                  <a:gd name="connsiteX25" fmla="*/ 184773 w 772759"/>
                  <a:gd name="connsiteY25" fmla="*/ 758752 h 782422"/>
                  <a:gd name="connsiteX26" fmla="*/ 184356 w 772759"/>
                  <a:gd name="connsiteY26" fmla="*/ 754748 h 782422"/>
                  <a:gd name="connsiteX27" fmla="*/ 172843 w 772759"/>
                  <a:gd name="connsiteY27" fmla="*/ 729472 h 782422"/>
                  <a:gd name="connsiteX28" fmla="*/ 159995 w 772759"/>
                  <a:gd name="connsiteY28" fmla="*/ 725968 h 782422"/>
                  <a:gd name="connsiteX29" fmla="*/ 151986 w 772759"/>
                  <a:gd name="connsiteY29" fmla="*/ 723716 h 782422"/>
                  <a:gd name="connsiteX30" fmla="*/ 147147 w 772759"/>
                  <a:gd name="connsiteY30" fmla="*/ 711286 h 782422"/>
                  <a:gd name="connsiteX31" fmla="*/ 134717 w 772759"/>
                  <a:gd name="connsiteY31" fmla="*/ 689180 h 782422"/>
                  <a:gd name="connsiteX32" fmla="*/ 120951 w 772759"/>
                  <a:gd name="connsiteY32" fmla="*/ 686928 h 782422"/>
                  <a:gd name="connsiteX33" fmla="*/ 83326 w 772759"/>
                  <a:gd name="connsiteY33" fmla="*/ 682506 h 782422"/>
                  <a:gd name="connsiteX34" fmla="*/ 49621 w 772759"/>
                  <a:gd name="connsiteY34" fmla="*/ 646218 h 782422"/>
                  <a:gd name="connsiteX35" fmla="*/ 45200 w 772759"/>
                  <a:gd name="connsiteY35" fmla="*/ 638210 h 782422"/>
                  <a:gd name="connsiteX36" fmla="*/ 26178 w 772759"/>
                  <a:gd name="connsiteY36" fmla="*/ 629784 h 782422"/>
                  <a:gd name="connsiteX37" fmla="*/ 12413 w 772759"/>
                  <a:gd name="connsiteY37" fmla="*/ 628867 h 782422"/>
                  <a:gd name="connsiteX38" fmla="*/ 5739 w 772759"/>
                  <a:gd name="connsiteY38" fmla="*/ 605426 h 782422"/>
                  <a:gd name="connsiteX39" fmla="*/ 399 w 772759"/>
                  <a:gd name="connsiteY39" fmla="*/ 580149 h 782422"/>
                  <a:gd name="connsiteX40" fmla="*/ 6156 w 772759"/>
                  <a:gd name="connsiteY40" fmla="*/ 581484 h 782422"/>
                  <a:gd name="connsiteX41" fmla="*/ 21673 w 772759"/>
                  <a:gd name="connsiteY41" fmla="*/ 584570 h 782422"/>
                  <a:gd name="connsiteX42" fmla="*/ 34521 w 772759"/>
                  <a:gd name="connsiteY42" fmla="*/ 571307 h 782422"/>
                  <a:gd name="connsiteX43" fmla="*/ 37190 w 772759"/>
                  <a:gd name="connsiteY43" fmla="*/ 566468 h 782422"/>
                  <a:gd name="connsiteX44" fmla="*/ 51790 w 772759"/>
                  <a:gd name="connsiteY44" fmla="*/ 555874 h 782422"/>
                  <a:gd name="connsiteX45" fmla="*/ 72146 w 772759"/>
                  <a:gd name="connsiteY45" fmla="*/ 539523 h 782422"/>
                  <a:gd name="connsiteX46" fmla="*/ 88081 w 772759"/>
                  <a:gd name="connsiteY46" fmla="*/ 484132 h 782422"/>
                  <a:gd name="connsiteX47" fmla="*/ 101846 w 772759"/>
                  <a:gd name="connsiteY47" fmla="*/ 451348 h 782422"/>
                  <a:gd name="connsiteX48" fmla="*/ 106685 w 772759"/>
                  <a:gd name="connsiteY48" fmla="*/ 444257 h 782422"/>
                  <a:gd name="connsiteX49" fmla="*/ 119116 w 772759"/>
                  <a:gd name="connsiteY49" fmla="*/ 397708 h 782422"/>
                  <a:gd name="connsiteX50" fmla="*/ 119533 w 772759"/>
                  <a:gd name="connsiteY50" fmla="*/ 388365 h 782422"/>
                  <a:gd name="connsiteX51" fmla="*/ 126624 w 772759"/>
                  <a:gd name="connsiteY51" fmla="*/ 359585 h 782422"/>
                  <a:gd name="connsiteX52" fmla="*/ 132798 w 772759"/>
                  <a:gd name="connsiteY52" fmla="*/ 340983 h 782422"/>
                  <a:gd name="connsiteX53" fmla="*/ 135467 w 772759"/>
                  <a:gd name="connsiteY53" fmla="*/ 327218 h 782422"/>
                  <a:gd name="connsiteX54" fmla="*/ 136385 w 772759"/>
                  <a:gd name="connsiteY54" fmla="*/ 323214 h 782422"/>
                  <a:gd name="connsiteX55" fmla="*/ 139889 w 772759"/>
                  <a:gd name="connsiteY55" fmla="*/ 309033 h 782422"/>
                  <a:gd name="connsiteX56" fmla="*/ 146563 w 772759"/>
                  <a:gd name="connsiteY56" fmla="*/ 298438 h 782422"/>
                  <a:gd name="connsiteX57" fmla="*/ 152320 w 772759"/>
                  <a:gd name="connsiteY57" fmla="*/ 295351 h 782422"/>
                  <a:gd name="connsiteX58" fmla="*/ 160746 w 772759"/>
                  <a:gd name="connsiteY58" fmla="*/ 290013 h 782422"/>
                  <a:gd name="connsiteX59" fmla="*/ 178432 w 772759"/>
                  <a:gd name="connsiteY59" fmla="*/ 312119 h 782422"/>
                  <a:gd name="connsiteX60" fmla="*/ 188193 w 772759"/>
                  <a:gd name="connsiteY60" fmla="*/ 325883 h 782422"/>
                  <a:gd name="connsiteX61" fmla="*/ 236914 w 772759"/>
                  <a:gd name="connsiteY61" fmla="*/ 337396 h 782422"/>
                  <a:gd name="connsiteX62" fmla="*/ 262193 w 772759"/>
                  <a:gd name="connsiteY62" fmla="*/ 332557 h 782422"/>
                  <a:gd name="connsiteX63" fmla="*/ 310497 w 772759"/>
                  <a:gd name="connsiteY63" fmla="*/ 338730 h 782422"/>
                  <a:gd name="connsiteX64" fmla="*/ 322427 w 772759"/>
                  <a:gd name="connsiteY64" fmla="*/ 343152 h 782422"/>
                  <a:gd name="connsiteX65" fmla="*/ 341949 w 772759"/>
                  <a:gd name="connsiteY65" fmla="*/ 348907 h 782422"/>
                  <a:gd name="connsiteX66" fmla="*/ 348122 w 772759"/>
                  <a:gd name="connsiteY66" fmla="*/ 347990 h 782422"/>
                  <a:gd name="connsiteX67" fmla="*/ 370314 w 772759"/>
                  <a:gd name="connsiteY67" fmla="*/ 309867 h 782422"/>
                  <a:gd name="connsiteX68" fmla="*/ 360970 w 772759"/>
                  <a:gd name="connsiteY68" fmla="*/ 287760 h 782422"/>
                  <a:gd name="connsiteX69" fmla="*/ 354796 w 772759"/>
                  <a:gd name="connsiteY69" fmla="*/ 281587 h 782422"/>
                  <a:gd name="connsiteX70" fmla="*/ 355214 w 772759"/>
                  <a:gd name="connsiteY70" fmla="*/ 206759 h 782422"/>
                  <a:gd name="connsiteX71" fmla="*/ 373401 w 772759"/>
                  <a:gd name="connsiteY71" fmla="*/ 185070 h 782422"/>
                  <a:gd name="connsiteX72" fmla="*/ 378239 w 772759"/>
                  <a:gd name="connsiteY72" fmla="*/ 183318 h 782422"/>
                  <a:gd name="connsiteX73" fmla="*/ 404352 w 772759"/>
                  <a:gd name="connsiteY73" fmla="*/ 149616 h 782422"/>
                  <a:gd name="connsiteX74" fmla="*/ 395926 w 772759"/>
                  <a:gd name="connsiteY74" fmla="*/ 132765 h 782422"/>
                  <a:gd name="connsiteX75" fmla="*/ 390587 w 772759"/>
                  <a:gd name="connsiteY75" fmla="*/ 114579 h 782422"/>
                  <a:gd name="connsiteX76" fmla="*/ 405687 w 772759"/>
                  <a:gd name="connsiteY76" fmla="*/ 77791 h 782422"/>
                  <a:gd name="connsiteX77" fmla="*/ 414113 w 772759"/>
                  <a:gd name="connsiteY77" fmla="*/ 66696 h 782422"/>
                  <a:gd name="connsiteX78" fmla="*/ 428713 w 772759"/>
                  <a:gd name="connsiteY78" fmla="*/ 42337 h 782422"/>
                  <a:gd name="connsiteX79" fmla="*/ 429630 w 772759"/>
                  <a:gd name="connsiteY79" fmla="*/ 20231 h 782422"/>
                  <a:gd name="connsiteX80" fmla="*/ 437139 w 772759"/>
                  <a:gd name="connsiteY80" fmla="*/ 16227 h 782422"/>
                  <a:gd name="connsiteX81" fmla="*/ 457996 w 772759"/>
                  <a:gd name="connsiteY81" fmla="*/ 13140 h 782422"/>
                  <a:gd name="connsiteX82" fmla="*/ 464169 w 772759"/>
                  <a:gd name="connsiteY82" fmla="*/ 17561 h 782422"/>
                  <a:gd name="connsiteX83" fmla="*/ 481438 w 772759"/>
                  <a:gd name="connsiteY83" fmla="*/ 25987 h 782422"/>
                  <a:gd name="connsiteX84" fmla="*/ 495621 w 772759"/>
                  <a:gd name="connsiteY84" fmla="*/ 20231 h 782422"/>
                  <a:gd name="connsiteX85" fmla="*/ 500043 w 772759"/>
                  <a:gd name="connsiteY85" fmla="*/ 17561 h 782422"/>
                  <a:gd name="connsiteX86" fmla="*/ 513808 w 772759"/>
                  <a:gd name="connsiteY86" fmla="*/ 20648 h 782422"/>
                  <a:gd name="connsiteX87" fmla="*/ 539086 w 772759"/>
                  <a:gd name="connsiteY87" fmla="*/ 23317 h 782422"/>
                  <a:gd name="connsiteX88" fmla="*/ 550599 w 772759"/>
                  <a:gd name="connsiteY88" fmla="*/ 13140 h 782422"/>
                  <a:gd name="connsiteX89" fmla="*/ 559026 w 772759"/>
                  <a:gd name="connsiteY89" fmla="*/ 5131 h 782422"/>
                  <a:gd name="connsiteX90" fmla="*/ 582468 w 772759"/>
                  <a:gd name="connsiteY90" fmla="*/ 293 h 782422"/>
                  <a:gd name="connsiteX91" fmla="*/ 590894 w 772759"/>
                  <a:gd name="connsiteY91" fmla="*/ 5632 h 782422"/>
                  <a:gd name="connsiteX92" fmla="*/ 597569 w 772759"/>
                  <a:gd name="connsiteY92" fmla="*/ 10971 h 782422"/>
                  <a:gd name="connsiteX93" fmla="*/ 614838 w 772759"/>
                  <a:gd name="connsiteY93" fmla="*/ 17645 h 782422"/>
                  <a:gd name="connsiteX94" fmla="*/ 621512 w 772759"/>
                  <a:gd name="connsiteY94" fmla="*/ 19396 h 782422"/>
                  <a:gd name="connsiteX95" fmla="*/ 660973 w 772759"/>
                  <a:gd name="connsiteY95" fmla="*/ 37082 h 782422"/>
                  <a:gd name="connsiteX96" fmla="*/ 667146 w 772759"/>
                  <a:gd name="connsiteY96" fmla="*/ 40168 h 782422"/>
                  <a:gd name="connsiteX97" fmla="*/ 753994 w 772759"/>
                  <a:gd name="connsiteY97" fmla="*/ 68114 h 782422"/>
                  <a:gd name="connsiteX98" fmla="*/ 771680 w 772759"/>
                  <a:gd name="connsiteY98" fmla="*/ 65028 h 782422"/>
                  <a:gd name="connsiteX99" fmla="*/ 765507 w 772759"/>
                  <a:gd name="connsiteY99" fmla="*/ 94225 h 782422"/>
                  <a:gd name="connsiteX100" fmla="*/ 757999 w 772759"/>
                  <a:gd name="connsiteY100" fmla="*/ 100898 h 782422"/>
                  <a:gd name="connsiteX101" fmla="*/ 742898 w 772759"/>
                  <a:gd name="connsiteY101" fmla="*/ 118583 h 782422"/>
                  <a:gd name="connsiteX102" fmla="*/ 738059 w 772759"/>
                  <a:gd name="connsiteY102" fmla="*/ 144277 h 782422"/>
                  <a:gd name="connsiteX103" fmla="*/ 736308 w 772759"/>
                  <a:gd name="connsiteY103" fmla="*/ 158041 h 782422"/>
                  <a:gd name="connsiteX104" fmla="*/ 658303 w 772759"/>
                  <a:gd name="connsiteY104" fmla="*/ 270075 h 782422"/>
                  <a:gd name="connsiteX105" fmla="*/ 645038 w 772759"/>
                  <a:gd name="connsiteY105" fmla="*/ 283839 h 782422"/>
                  <a:gd name="connsiteX106" fmla="*/ 595900 w 772759"/>
                  <a:gd name="connsiteY106" fmla="*/ 313037 h 782422"/>
                  <a:gd name="connsiteX107" fmla="*/ 552017 w 772759"/>
                  <a:gd name="connsiteY107" fmla="*/ 364841 h 782422"/>
                  <a:gd name="connsiteX108" fmla="*/ 567535 w 772759"/>
                  <a:gd name="connsiteY108" fmla="*/ 405133 h 782422"/>
                  <a:gd name="connsiteX109" fmla="*/ 568453 w 772759"/>
                  <a:gd name="connsiteY109" fmla="*/ 456103 h 782422"/>
                  <a:gd name="connsiteX110" fmla="*/ 565366 w 772759"/>
                  <a:gd name="connsiteY110" fmla="*/ 462860 h 782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772759" h="782422" extrusionOk="0">
                    <a:moveTo>
                      <a:pt x="565366" y="462860"/>
                    </a:moveTo>
                    <a:cubicBezTo>
                      <a:pt x="560527" y="469033"/>
                      <a:pt x="554771" y="475707"/>
                      <a:pt x="554771" y="486301"/>
                    </a:cubicBezTo>
                    <a:cubicBezTo>
                      <a:pt x="554771" y="493392"/>
                      <a:pt x="557440" y="499148"/>
                      <a:pt x="560110" y="504487"/>
                    </a:cubicBezTo>
                    <a:cubicBezTo>
                      <a:pt x="561862" y="507991"/>
                      <a:pt x="563197" y="511577"/>
                      <a:pt x="564114" y="515081"/>
                    </a:cubicBezTo>
                    <a:cubicBezTo>
                      <a:pt x="565032" y="520420"/>
                      <a:pt x="567201" y="536354"/>
                      <a:pt x="534415" y="548783"/>
                    </a:cubicBezTo>
                    <a:cubicBezTo>
                      <a:pt x="528658" y="551035"/>
                      <a:pt x="521984" y="552287"/>
                      <a:pt x="514475" y="553621"/>
                    </a:cubicBezTo>
                    <a:cubicBezTo>
                      <a:pt x="496789" y="557125"/>
                      <a:pt x="477267" y="561630"/>
                      <a:pt x="466171" y="577980"/>
                    </a:cubicBezTo>
                    <a:cubicBezTo>
                      <a:pt x="459998" y="587323"/>
                      <a:pt x="461333" y="597501"/>
                      <a:pt x="462667" y="606760"/>
                    </a:cubicBezTo>
                    <a:cubicBezTo>
                      <a:pt x="464002" y="620024"/>
                      <a:pt x="464002" y="624946"/>
                      <a:pt x="454658" y="628867"/>
                    </a:cubicBezTo>
                    <a:cubicBezTo>
                      <a:pt x="447150" y="631953"/>
                      <a:pt x="440893" y="629284"/>
                      <a:pt x="431215" y="624028"/>
                    </a:cubicBezTo>
                    <a:cubicBezTo>
                      <a:pt x="421037" y="618689"/>
                      <a:pt x="408190" y="612099"/>
                      <a:pt x="392672" y="619607"/>
                    </a:cubicBezTo>
                    <a:cubicBezTo>
                      <a:pt x="376738" y="627615"/>
                      <a:pt x="369646" y="642214"/>
                      <a:pt x="363473" y="655061"/>
                    </a:cubicBezTo>
                    <a:cubicBezTo>
                      <a:pt x="359468" y="663486"/>
                      <a:pt x="355464" y="671411"/>
                      <a:pt x="349290" y="678085"/>
                    </a:cubicBezTo>
                    <a:cubicBezTo>
                      <a:pt x="342616" y="684759"/>
                      <a:pt x="330686" y="694018"/>
                      <a:pt x="321843" y="696687"/>
                    </a:cubicBezTo>
                    <a:cubicBezTo>
                      <a:pt x="314752" y="699357"/>
                      <a:pt x="312499" y="698022"/>
                      <a:pt x="306743" y="695353"/>
                    </a:cubicBezTo>
                    <a:cubicBezTo>
                      <a:pt x="304073" y="694018"/>
                      <a:pt x="300569" y="692266"/>
                      <a:pt x="296565" y="690932"/>
                    </a:cubicBezTo>
                    <a:cubicBezTo>
                      <a:pt x="287221" y="688262"/>
                      <a:pt x="280213" y="688262"/>
                      <a:pt x="274874" y="692266"/>
                    </a:cubicBezTo>
                    <a:cubicBezTo>
                      <a:pt x="266447" y="698022"/>
                      <a:pt x="266030" y="708617"/>
                      <a:pt x="265113" y="719295"/>
                    </a:cubicBezTo>
                    <a:cubicBezTo>
                      <a:pt x="264695" y="722798"/>
                      <a:pt x="264695" y="726385"/>
                      <a:pt x="264195" y="729889"/>
                    </a:cubicBezTo>
                    <a:cubicBezTo>
                      <a:pt x="262443" y="738731"/>
                      <a:pt x="256687" y="746239"/>
                      <a:pt x="250430" y="753831"/>
                    </a:cubicBezTo>
                    <a:cubicBezTo>
                      <a:pt x="245591" y="760504"/>
                      <a:pt x="240252" y="766677"/>
                      <a:pt x="236664" y="775103"/>
                    </a:cubicBezTo>
                    <a:cubicBezTo>
                      <a:pt x="235746" y="777355"/>
                      <a:pt x="234412" y="779524"/>
                      <a:pt x="233995" y="781776"/>
                    </a:cubicBezTo>
                    <a:lnTo>
                      <a:pt x="215807" y="782194"/>
                    </a:lnTo>
                    <a:cubicBezTo>
                      <a:pt x="209634" y="782611"/>
                      <a:pt x="203377" y="782611"/>
                      <a:pt x="198121" y="780859"/>
                    </a:cubicBezTo>
                    <a:cubicBezTo>
                      <a:pt x="192782" y="779524"/>
                      <a:pt x="188777" y="776855"/>
                      <a:pt x="187025" y="773351"/>
                    </a:cubicBezTo>
                    <a:cubicBezTo>
                      <a:pt x="184773" y="769847"/>
                      <a:pt x="184773" y="764509"/>
                      <a:pt x="184773" y="758752"/>
                    </a:cubicBezTo>
                    <a:lnTo>
                      <a:pt x="184356" y="754748"/>
                    </a:lnTo>
                    <a:cubicBezTo>
                      <a:pt x="183938" y="742319"/>
                      <a:pt x="180351" y="733893"/>
                      <a:pt x="172843" y="729472"/>
                    </a:cubicBezTo>
                    <a:cubicBezTo>
                      <a:pt x="168421" y="726802"/>
                      <a:pt x="163999" y="726385"/>
                      <a:pt x="159995" y="725968"/>
                    </a:cubicBezTo>
                    <a:cubicBezTo>
                      <a:pt x="156908" y="725551"/>
                      <a:pt x="153821" y="725050"/>
                      <a:pt x="151986" y="723716"/>
                    </a:cubicBezTo>
                    <a:cubicBezTo>
                      <a:pt x="149316" y="721464"/>
                      <a:pt x="148482" y="716625"/>
                      <a:pt x="147147" y="711286"/>
                    </a:cubicBezTo>
                    <a:cubicBezTo>
                      <a:pt x="145812" y="703278"/>
                      <a:pt x="143643" y="693601"/>
                      <a:pt x="134717" y="689180"/>
                    </a:cubicBezTo>
                    <a:cubicBezTo>
                      <a:pt x="129878" y="686928"/>
                      <a:pt x="124955" y="686928"/>
                      <a:pt x="120951" y="686928"/>
                    </a:cubicBezTo>
                    <a:cubicBezTo>
                      <a:pt x="109438" y="687345"/>
                      <a:pt x="95673" y="686510"/>
                      <a:pt x="83326" y="682506"/>
                    </a:cubicBezTo>
                    <a:cubicBezTo>
                      <a:pt x="66974" y="677167"/>
                      <a:pt x="57213" y="666573"/>
                      <a:pt x="49621" y="646218"/>
                    </a:cubicBezTo>
                    <a:cubicBezTo>
                      <a:pt x="48703" y="643549"/>
                      <a:pt x="47369" y="640879"/>
                      <a:pt x="45200" y="638210"/>
                    </a:cubicBezTo>
                    <a:cubicBezTo>
                      <a:pt x="39860" y="631536"/>
                      <a:pt x="30600" y="630202"/>
                      <a:pt x="26178" y="629784"/>
                    </a:cubicBezTo>
                    <a:cubicBezTo>
                      <a:pt x="21757" y="629367"/>
                      <a:pt x="17335" y="628867"/>
                      <a:pt x="12413" y="628867"/>
                    </a:cubicBezTo>
                    <a:cubicBezTo>
                      <a:pt x="11078" y="620858"/>
                      <a:pt x="7991" y="612933"/>
                      <a:pt x="5739" y="605426"/>
                    </a:cubicBezTo>
                    <a:cubicBezTo>
                      <a:pt x="3069" y="597000"/>
                      <a:pt x="-1353" y="583319"/>
                      <a:pt x="399" y="580149"/>
                    </a:cubicBezTo>
                    <a:cubicBezTo>
                      <a:pt x="3069" y="579232"/>
                      <a:pt x="3486" y="579232"/>
                      <a:pt x="6156" y="581484"/>
                    </a:cubicBezTo>
                    <a:cubicBezTo>
                      <a:pt x="9242" y="583736"/>
                      <a:pt x="14165" y="587657"/>
                      <a:pt x="21673" y="584570"/>
                    </a:cubicBezTo>
                    <a:cubicBezTo>
                      <a:pt x="29182" y="581901"/>
                      <a:pt x="32268" y="575728"/>
                      <a:pt x="34521" y="571307"/>
                    </a:cubicBezTo>
                    <a:cubicBezTo>
                      <a:pt x="35439" y="569555"/>
                      <a:pt x="36273" y="568220"/>
                      <a:pt x="37190" y="566468"/>
                    </a:cubicBezTo>
                    <a:cubicBezTo>
                      <a:pt x="40694" y="561630"/>
                      <a:pt x="46034" y="558960"/>
                      <a:pt x="51790" y="555874"/>
                    </a:cubicBezTo>
                    <a:cubicBezTo>
                      <a:pt x="58881" y="552370"/>
                      <a:pt x="66390" y="547865"/>
                      <a:pt x="72146" y="539523"/>
                    </a:cubicBezTo>
                    <a:cubicBezTo>
                      <a:pt x="81490" y="524424"/>
                      <a:pt x="87247" y="504070"/>
                      <a:pt x="88081" y="484132"/>
                    </a:cubicBezTo>
                    <a:cubicBezTo>
                      <a:pt x="88999" y="469534"/>
                      <a:pt x="93420" y="462860"/>
                      <a:pt x="101846" y="451348"/>
                    </a:cubicBezTo>
                    <a:cubicBezTo>
                      <a:pt x="103181" y="449096"/>
                      <a:pt x="104933" y="446927"/>
                      <a:pt x="106685" y="444257"/>
                    </a:cubicBezTo>
                    <a:cubicBezTo>
                      <a:pt x="118615" y="427406"/>
                      <a:pt x="118615" y="413725"/>
                      <a:pt x="119116" y="397708"/>
                    </a:cubicBezTo>
                    <a:cubicBezTo>
                      <a:pt x="119116" y="394622"/>
                      <a:pt x="119533" y="391535"/>
                      <a:pt x="119533" y="388365"/>
                    </a:cubicBezTo>
                    <a:cubicBezTo>
                      <a:pt x="119950" y="378605"/>
                      <a:pt x="123537" y="369345"/>
                      <a:pt x="126624" y="359585"/>
                    </a:cubicBezTo>
                    <a:cubicBezTo>
                      <a:pt x="128877" y="353412"/>
                      <a:pt x="131046" y="347156"/>
                      <a:pt x="132798" y="340983"/>
                    </a:cubicBezTo>
                    <a:cubicBezTo>
                      <a:pt x="134132" y="336561"/>
                      <a:pt x="134550" y="332140"/>
                      <a:pt x="135467" y="327218"/>
                    </a:cubicBezTo>
                    <a:cubicBezTo>
                      <a:pt x="135884" y="325883"/>
                      <a:pt x="135884" y="324549"/>
                      <a:pt x="136385" y="323214"/>
                    </a:cubicBezTo>
                    <a:cubicBezTo>
                      <a:pt x="137303" y="318375"/>
                      <a:pt x="138137" y="313454"/>
                      <a:pt x="139889" y="309033"/>
                    </a:cubicBezTo>
                    <a:cubicBezTo>
                      <a:pt x="141224" y="305028"/>
                      <a:pt x="143393" y="301525"/>
                      <a:pt x="146563" y="298438"/>
                    </a:cubicBezTo>
                    <a:cubicBezTo>
                      <a:pt x="147898" y="297103"/>
                      <a:pt x="150067" y="296186"/>
                      <a:pt x="152320" y="295351"/>
                    </a:cubicBezTo>
                    <a:cubicBezTo>
                      <a:pt x="154989" y="294017"/>
                      <a:pt x="158076" y="292682"/>
                      <a:pt x="160746" y="290013"/>
                    </a:cubicBezTo>
                    <a:cubicBezTo>
                      <a:pt x="167420" y="296686"/>
                      <a:pt x="172676" y="304194"/>
                      <a:pt x="178432" y="312119"/>
                    </a:cubicBezTo>
                    <a:cubicBezTo>
                      <a:pt x="181519" y="316540"/>
                      <a:pt x="184606" y="321462"/>
                      <a:pt x="188193" y="325883"/>
                    </a:cubicBezTo>
                    <a:cubicBezTo>
                      <a:pt x="205462" y="348907"/>
                      <a:pt x="222315" y="342734"/>
                      <a:pt x="236914" y="337396"/>
                    </a:cubicBezTo>
                    <a:cubicBezTo>
                      <a:pt x="244923" y="334309"/>
                      <a:pt x="253266" y="331222"/>
                      <a:pt x="262193" y="332557"/>
                    </a:cubicBezTo>
                    <a:cubicBezTo>
                      <a:pt x="278127" y="334309"/>
                      <a:pt x="294979" y="336061"/>
                      <a:pt x="310497" y="338730"/>
                    </a:cubicBezTo>
                    <a:cubicBezTo>
                      <a:pt x="314001" y="339147"/>
                      <a:pt x="318005" y="340983"/>
                      <a:pt x="322427" y="343152"/>
                    </a:cubicBezTo>
                    <a:cubicBezTo>
                      <a:pt x="328183" y="345821"/>
                      <a:pt x="334857" y="348907"/>
                      <a:pt x="341949" y="348907"/>
                    </a:cubicBezTo>
                    <a:cubicBezTo>
                      <a:pt x="344201" y="348907"/>
                      <a:pt x="345953" y="348490"/>
                      <a:pt x="348122" y="347990"/>
                    </a:cubicBezTo>
                    <a:cubicBezTo>
                      <a:pt x="362305" y="343569"/>
                      <a:pt x="370314" y="330305"/>
                      <a:pt x="370314" y="309867"/>
                    </a:cubicBezTo>
                    <a:cubicBezTo>
                      <a:pt x="370731" y="297020"/>
                      <a:pt x="365892" y="292182"/>
                      <a:pt x="360970" y="287760"/>
                    </a:cubicBezTo>
                    <a:cubicBezTo>
                      <a:pt x="359218" y="286426"/>
                      <a:pt x="357466" y="284674"/>
                      <a:pt x="354796" y="281587"/>
                    </a:cubicBezTo>
                    <a:cubicBezTo>
                      <a:pt x="340197" y="262567"/>
                      <a:pt x="347705" y="231535"/>
                      <a:pt x="355214" y="206759"/>
                    </a:cubicBezTo>
                    <a:cubicBezTo>
                      <a:pt x="359635" y="194329"/>
                      <a:pt x="362305" y="189074"/>
                      <a:pt x="373401" y="185070"/>
                    </a:cubicBezTo>
                    <a:lnTo>
                      <a:pt x="378239" y="183318"/>
                    </a:lnTo>
                    <a:cubicBezTo>
                      <a:pt x="389335" y="179814"/>
                      <a:pt x="409691" y="172723"/>
                      <a:pt x="404352" y="149616"/>
                    </a:cubicBezTo>
                    <a:cubicBezTo>
                      <a:pt x="402600" y="142525"/>
                      <a:pt x="399013" y="137186"/>
                      <a:pt x="395926" y="132765"/>
                    </a:cubicBezTo>
                    <a:cubicBezTo>
                      <a:pt x="391921" y="126592"/>
                      <a:pt x="389252" y="123005"/>
                      <a:pt x="390587" y="114579"/>
                    </a:cubicBezTo>
                    <a:cubicBezTo>
                      <a:pt x="392839" y="100815"/>
                      <a:pt x="400348" y="87134"/>
                      <a:pt x="405687" y="77791"/>
                    </a:cubicBezTo>
                    <a:cubicBezTo>
                      <a:pt x="407939" y="74287"/>
                      <a:pt x="411026" y="70283"/>
                      <a:pt x="414113" y="66696"/>
                    </a:cubicBezTo>
                    <a:cubicBezTo>
                      <a:pt x="419869" y="59188"/>
                      <a:pt x="426043" y="51180"/>
                      <a:pt x="428713" y="42337"/>
                    </a:cubicBezTo>
                    <a:cubicBezTo>
                      <a:pt x="430965" y="35246"/>
                      <a:pt x="430465" y="27738"/>
                      <a:pt x="429630" y="20231"/>
                    </a:cubicBezTo>
                    <a:cubicBezTo>
                      <a:pt x="432300" y="18896"/>
                      <a:pt x="434970" y="17561"/>
                      <a:pt x="437139" y="16227"/>
                    </a:cubicBezTo>
                    <a:cubicBezTo>
                      <a:pt x="444230" y="11805"/>
                      <a:pt x="449569" y="9136"/>
                      <a:pt x="457996" y="13140"/>
                    </a:cubicBezTo>
                    <a:cubicBezTo>
                      <a:pt x="460248" y="14058"/>
                      <a:pt x="462000" y="15810"/>
                      <a:pt x="464169" y="17561"/>
                    </a:cubicBezTo>
                    <a:cubicBezTo>
                      <a:pt x="468591" y="21065"/>
                      <a:pt x="473930" y="25987"/>
                      <a:pt x="481438" y="25987"/>
                    </a:cubicBezTo>
                    <a:cubicBezTo>
                      <a:pt x="488530" y="25569"/>
                      <a:pt x="492534" y="22900"/>
                      <a:pt x="495621" y="20231"/>
                    </a:cubicBezTo>
                    <a:cubicBezTo>
                      <a:pt x="496956" y="18896"/>
                      <a:pt x="498708" y="17561"/>
                      <a:pt x="500043" y="17561"/>
                    </a:cubicBezTo>
                    <a:cubicBezTo>
                      <a:pt x="504047" y="16227"/>
                      <a:pt x="508052" y="17978"/>
                      <a:pt x="513808" y="20648"/>
                    </a:cubicBezTo>
                    <a:cubicBezTo>
                      <a:pt x="520482" y="23734"/>
                      <a:pt x="528908" y="27738"/>
                      <a:pt x="539086" y="23317"/>
                    </a:cubicBezTo>
                    <a:cubicBezTo>
                      <a:pt x="543925" y="21065"/>
                      <a:pt x="547095" y="17144"/>
                      <a:pt x="550599" y="13140"/>
                    </a:cubicBezTo>
                    <a:cubicBezTo>
                      <a:pt x="553269" y="10053"/>
                      <a:pt x="555939" y="6967"/>
                      <a:pt x="559026" y="5131"/>
                    </a:cubicBezTo>
                    <a:cubicBezTo>
                      <a:pt x="563864" y="2462"/>
                      <a:pt x="573208" y="-1042"/>
                      <a:pt x="582468" y="293"/>
                    </a:cubicBezTo>
                    <a:cubicBezTo>
                      <a:pt x="586473" y="1211"/>
                      <a:pt x="588225" y="2962"/>
                      <a:pt x="590894" y="5632"/>
                    </a:cubicBezTo>
                    <a:cubicBezTo>
                      <a:pt x="593147" y="7384"/>
                      <a:pt x="594899" y="9136"/>
                      <a:pt x="597569" y="10971"/>
                    </a:cubicBezTo>
                    <a:cubicBezTo>
                      <a:pt x="602408" y="14058"/>
                      <a:pt x="608665" y="15810"/>
                      <a:pt x="614838" y="17645"/>
                    </a:cubicBezTo>
                    <a:cubicBezTo>
                      <a:pt x="617090" y="18062"/>
                      <a:pt x="619259" y="18979"/>
                      <a:pt x="621512" y="19396"/>
                    </a:cubicBezTo>
                    <a:cubicBezTo>
                      <a:pt x="634777" y="23818"/>
                      <a:pt x="647207" y="29991"/>
                      <a:pt x="660973" y="37082"/>
                    </a:cubicBezTo>
                    <a:lnTo>
                      <a:pt x="667146" y="40168"/>
                    </a:lnTo>
                    <a:cubicBezTo>
                      <a:pt x="694177" y="54350"/>
                      <a:pt x="721624" y="68948"/>
                      <a:pt x="753994" y="68114"/>
                    </a:cubicBezTo>
                    <a:cubicBezTo>
                      <a:pt x="760668" y="67697"/>
                      <a:pt x="766424" y="66779"/>
                      <a:pt x="771680" y="65028"/>
                    </a:cubicBezTo>
                    <a:cubicBezTo>
                      <a:pt x="773933" y="76122"/>
                      <a:pt x="773015" y="86300"/>
                      <a:pt x="765507" y="94225"/>
                    </a:cubicBezTo>
                    <a:cubicBezTo>
                      <a:pt x="763254" y="96894"/>
                      <a:pt x="760668" y="98646"/>
                      <a:pt x="757999" y="100898"/>
                    </a:cubicBezTo>
                    <a:cubicBezTo>
                      <a:pt x="752659" y="104902"/>
                      <a:pt x="746903" y="109741"/>
                      <a:pt x="742898" y="118583"/>
                    </a:cubicBezTo>
                    <a:cubicBezTo>
                      <a:pt x="739394" y="127009"/>
                      <a:pt x="738476" y="135852"/>
                      <a:pt x="738059" y="144277"/>
                    </a:cubicBezTo>
                    <a:cubicBezTo>
                      <a:pt x="737642" y="148698"/>
                      <a:pt x="737142" y="153620"/>
                      <a:pt x="736308" y="158041"/>
                    </a:cubicBezTo>
                    <a:cubicBezTo>
                      <a:pt x="727464" y="200085"/>
                      <a:pt x="690673" y="236874"/>
                      <a:pt x="658303" y="270075"/>
                    </a:cubicBezTo>
                    <a:cubicBezTo>
                      <a:pt x="653882" y="274496"/>
                      <a:pt x="649460" y="278918"/>
                      <a:pt x="645038" y="283839"/>
                    </a:cubicBezTo>
                    <a:cubicBezTo>
                      <a:pt x="629938" y="299356"/>
                      <a:pt x="616256" y="304695"/>
                      <a:pt x="595900" y="313037"/>
                    </a:cubicBezTo>
                    <a:cubicBezTo>
                      <a:pt x="583052" y="317875"/>
                      <a:pt x="549348" y="331639"/>
                      <a:pt x="552017" y="364841"/>
                    </a:cubicBezTo>
                    <a:cubicBezTo>
                      <a:pt x="553352" y="381692"/>
                      <a:pt x="560861" y="394038"/>
                      <a:pt x="567535" y="405133"/>
                    </a:cubicBezTo>
                    <a:cubicBezTo>
                      <a:pt x="577713" y="422818"/>
                      <a:pt x="584804" y="434330"/>
                      <a:pt x="568453" y="456103"/>
                    </a:cubicBezTo>
                    <a:cubicBezTo>
                      <a:pt x="567535" y="460190"/>
                      <a:pt x="566200" y="461525"/>
                      <a:pt x="565366" y="46286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32104348" name="Полилиния 392"/>
              <p:cNvSpPr/>
              <p:nvPr/>
            </p:nvSpPr>
            <p:spPr bwMode="auto">
              <a:xfrm>
                <a:off x="3488232" y="4173917"/>
                <a:ext cx="741407" cy="860643"/>
              </a:xfrm>
              <a:custGeom>
                <a:avLst/>
                <a:gdLst>
                  <a:gd name="connsiteX0" fmla="*/ 679256 w 832625"/>
                  <a:gd name="connsiteY0" fmla="*/ 890263 h 966530"/>
                  <a:gd name="connsiteX1" fmla="*/ 673500 w 832625"/>
                  <a:gd name="connsiteY1" fmla="*/ 930139 h 966530"/>
                  <a:gd name="connsiteX2" fmla="*/ 673917 w 832625"/>
                  <a:gd name="connsiteY2" fmla="*/ 935478 h 966530"/>
                  <a:gd name="connsiteX3" fmla="*/ 668578 w 832625"/>
                  <a:gd name="connsiteY3" fmla="*/ 955832 h 966530"/>
                  <a:gd name="connsiteX4" fmla="*/ 611013 w 832625"/>
                  <a:gd name="connsiteY4" fmla="*/ 936812 h 966530"/>
                  <a:gd name="connsiteX5" fmla="*/ 587070 w 832625"/>
                  <a:gd name="connsiteY5" fmla="*/ 954080 h 966530"/>
                  <a:gd name="connsiteX6" fmla="*/ 567548 w 832625"/>
                  <a:gd name="connsiteY6" fmla="*/ 966510 h 966530"/>
                  <a:gd name="connsiteX7" fmla="*/ 554283 w 832625"/>
                  <a:gd name="connsiteY7" fmla="*/ 957167 h 966530"/>
                  <a:gd name="connsiteX8" fmla="*/ 459927 w 832625"/>
                  <a:gd name="connsiteY8" fmla="*/ 913288 h 966530"/>
                  <a:gd name="connsiteX9" fmla="*/ 447997 w 832625"/>
                  <a:gd name="connsiteY9" fmla="*/ 912370 h 966530"/>
                  <a:gd name="connsiteX10" fmla="*/ 417880 w 832625"/>
                  <a:gd name="connsiteY10" fmla="*/ 913288 h 966530"/>
                  <a:gd name="connsiteX11" fmla="*/ 397524 w 832625"/>
                  <a:gd name="connsiteY11" fmla="*/ 927052 h 966530"/>
                  <a:gd name="connsiteX12" fmla="*/ 380255 w 832625"/>
                  <a:gd name="connsiteY12" fmla="*/ 938147 h 966530"/>
                  <a:gd name="connsiteX13" fmla="*/ 379337 w 832625"/>
                  <a:gd name="connsiteY13" fmla="*/ 938564 h 966530"/>
                  <a:gd name="connsiteX14" fmla="*/ 365154 w 832625"/>
                  <a:gd name="connsiteY14" fmla="*/ 933726 h 966530"/>
                  <a:gd name="connsiteX15" fmla="*/ 358480 w 832625"/>
                  <a:gd name="connsiteY15" fmla="*/ 920879 h 966530"/>
                  <a:gd name="connsiteX16" fmla="*/ 357146 w 832625"/>
                  <a:gd name="connsiteY16" fmla="*/ 917375 h 966530"/>
                  <a:gd name="connsiteX17" fmla="*/ 309342 w 832625"/>
                  <a:gd name="connsiteY17" fmla="*/ 895686 h 966530"/>
                  <a:gd name="connsiteX18" fmla="*/ 271716 w 832625"/>
                  <a:gd name="connsiteY18" fmla="*/ 888595 h 966530"/>
                  <a:gd name="connsiteX19" fmla="*/ 244686 w 832625"/>
                  <a:gd name="connsiteY19" fmla="*/ 876165 h 966530"/>
                  <a:gd name="connsiteX20" fmla="*/ 218991 w 832625"/>
                  <a:gd name="connsiteY20" fmla="*/ 864654 h 966530"/>
                  <a:gd name="connsiteX21" fmla="*/ 201721 w 832625"/>
                  <a:gd name="connsiteY21" fmla="*/ 847385 h 966530"/>
                  <a:gd name="connsiteX22" fmla="*/ 151665 w 832625"/>
                  <a:gd name="connsiteY22" fmla="*/ 819940 h 966530"/>
                  <a:gd name="connsiteX23" fmla="*/ 110869 w 832625"/>
                  <a:gd name="connsiteY23" fmla="*/ 837625 h 966530"/>
                  <a:gd name="connsiteX24" fmla="*/ 110452 w 832625"/>
                  <a:gd name="connsiteY24" fmla="*/ 838043 h 966530"/>
                  <a:gd name="connsiteX25" fmla="*/ 102026 w 832625"/>
                  <a:gd name="connsiteY25" fmla="*/ 838460 h 966530"/>
                  <a:gd name="connsiteX26" fmla="*/ 93183 w 832625"/>
                  <a:gd name="connsiteY26" fmla="*/ 832286 h 966530"/>
                  <a:gd name="connsiteX27" fmla="*/ 87009 w 832625"/>
                  <a:gd name="connsiteY27" fmla="*/ 825613 h 966530"/>
                  <a:gd name="connsiteX28" fmla="*/ 66653 w 832625"/>
                  <a:gd name="connsiteY28" fmla="*/ 814518 h 966530"/>
                  <a:gd name="connsiteX29" fmla="*/ 54223 w 832625"/>
                  <a:gd name="connsiteY29" fmla="*/ 809179 h 966530"/>
                  <a:gd name="connsiteX30" fmla="*/ 44462 w 832625"/>
                  <a:gd name="connsiteY30" fmla="*/ 801171 h 966530"/>
                  <a:gd name="connsiteX31" fmla="*/ 27192 w 832625"/>
                  <a:gd name="connsiteY31" fmla="*/ 788741 h 966530"/>
                  <a:gd name="connsiteX32" fmla="*/ 15262 w 832625"/>
                  <a:gd name="connsiteY32" fmla="*/ 785237 h 966530"/>
                  <a:gd name="connsiteX33" fmla="*/ 1080 w 832625"/>
                  <a:gd name="connsiteY33" fmla="*/ 776394 h 966530"/>
                  <a:gd name="connsiteX34" fmla="*/ 162 w 832625"/>
                  <a:gd name="connsiteY34" fmla="*/ 766635 h 966530"/>
                  <a:gd name="connsiteX35" fmla="*/ 4584 w 832625"/>
                  <a:gd name="connsiteY35" fmla="*/ 752453 h 966530"/>
                  <a:gd name="connsiteX36" fmla="*/ 5001 w 832625"/>
                  <a:gd name="connsiteY36" fmla="*/ 751535 h 966530"/>
                  <a:gd name="connsiteX37" fmla="*/ 16931 w 832625"/>
                  <a:gd name="connsiteY37" fmla="*/ 733350 h 966530"/>
                  <a:gd name="connsiteX38" fmla="*/ 33282 w 832625"/>
                  <a:gd name="connsiteY38" fmla="*/ 702818 h 966530"/>
                  <a:gd name="connsiteX39" fmla="*/ 34617 w 832625"/>
                  <a:gd name="connsiteY39" fmla="*/ 690388 h 966530"/>
                  <a:gd name="connsiteX40" fmla="*/ 38121 w 832625"/>
                  <a:gd name="connsiteY40" fmla="*/ 674038 h 966530"/>
                  <a:gd name="connsiteX41" fmla="*/ 47465 w 832625"/>
                  <a:gd name="connsiteY41" fmla="*/ 674955 h 966530"/>
                  <a:gd name="connsiteX42" fmla="*/ 55891 w 832625"/>
                  <a:gd name="connsiteY42" fmla="*/ 678042 h 966530"/>
                  <a:gd name="connsiteX43" fmla="*/ 81587 w 832625"/>
                  <a:gd name="connsiteY43" fmla="*/ 680294 h 966530"/>
                  <a:gd name="connsiteX44" fmla="*/ 114790 w 832625"/>
                  <a:gd name="connsiteY44" fmla="*/ 658104 h 966530"/>
                  <a:gd name="connsiteX45" fmla="*/ 131142 w 832625"/>
                  <a:gd name="connsiteY45" fmla="*/ 631076 h 966530"/>
                  <a:gd name="connsiteX46" fmla="*/ 153751 w 832625"/>
                  <a:gd name="connsiteY46" fmla="*/ 602296 h 966530"/>
                  <a:gd name="connsiteX47" fmla="*/ 179446 w 832625"/>
                  <a:gd name="connsiteY47" fmla="*/ 606300 h 966530"/>
                  <a:gd name="connsiteX48" fmla="*/ 214903 w 832625"/>
                  <a:gd name="connsiteY48" fmla="*/ 611639 h 966530"/>
                  <a:gd name="connsiteX49" fmla="*/ 231254 w 832625"/>
                  <a:gd name="connsiteY49" fmla="*/ 574851 h 966530"/>
                  <a:gd name="connsiteX50" fmla="*/ 232589 w 832625"/>
                  <a:gd name="connsiteY50" fmla="*/ 555831 h 966530"/>
                  <a:gd name="connsiteX51" fmla="*/ 272050 w 832625"/>
                  <a:gd name="connsiteY51" fmla="*/ 537228 h 966530"/>
                  <a:gd name="connsiteX52" fmla="*/ 294241 w 832625"/>
                  <a:gd name="connsiteY52" fmla="*/ 531055 h 966530"/>
                  <a:gd name="connsiteX53" fmla="*/ 332785 w 832625"/>
                  <a:gd name="connsiteY53" fmla="*/ 481920 h 966530"/>
                  <a:gd name="connsiteX54" fmla="*/ 327946 w 832625"/>
                  <a:gd name="connsiteY54" fmla="*/ 467739 h 966530"/>
                  <a:gd name="connsiteX55" fmla="*/ 323524 w 832625"/>
                  <a:gd name="connsiteY55" fmla="*/ 455309 h 966530"/>
                  <a:gd name="connsiteX56" fmla="*/ 330616 w 832625"/>
                  <a:gd name="connsiteY56" fmla="*/ 441128 h 966530"/>
                  <a:gd name="connsiteX57" fmla="*/ 334120 w 832625"/>
                  <a:gd name="connsiteY57" fmla="*/ 436706 h 966530"/>
                  <a:gd name="connsiteX58" fmla="*/ 334537 w 832625"/>
                  <a:gd name="connsiteY58" fmla="*/ 370304 h 966530"/>
                  <a:gd name="connsiteX59" fmla="*/ 320771 w 832625"/>
                  <a:gd name="connsiteY59" fmla="*/ 335768 h 966530"/>
                  <a:gd name="connsiteX60" fmla="*/ 355727 w 832625"/>
                  <a:gd name="connsiteY60" fmla="*/ 298145 h 966530"/>
                  <a:gd name="connsiteX61" fmla="*/ 409788 w 832625"/>
                  <a:gd name="connsiteY61" fmla="*/ 265778 h 966530"/>
                  <a:gd name="connsiteX62" fmla="*/ 423053 w 832625"/>
                  <a:gd name="connsiteY62" fmla="*/ 252013 h 966530"/>
                  <a:gd name="connsiteX63" fmla="*/ 504978 w 832625"/>
                  <a:gd name="connsiteY63" fmla="*/ 133306 h 966530"/>
                  <a:gd name="connsiteX64" fmla="*/ 507230 w 832625"/>
                  <a:gd name="connsiteY64" fmla="*/ 117372 h 966530"/>
                  <a:gd name="connsiteX65" fmla="*/ 510734 w 832625"/>
                  <a:gd name="connsiteY65" fmla="*/ 96517 h 966530"/>
                  <a:gd name="connsiteX66" fmla="*/ 521329 w 832625"/>
                  <a:gd name="connsiteY66" fmla="*/ 84588 h 966530"/>
                  <a:gd name="connsiteX67" fmla="*/ 530673 w 832625"/>
                  <a:gd name="connsiteY67" fmla="*/ 76163 h 966530"/>
                  <a:gd name="connsiteX68" fmla="*/ 539516 w 832625"/>
                  <a:gd name="connsiteY68" fmla="*/ 31449 h 966530"/>
                  <a:gd name="connsiteX69" fmla="*/ 568299 w 832625"/>
                  <a:gd name="connsiteY69" fmla="*/ 0 h 966530"/>
                  <a:gd name="connsiteX70" fmla="*/ 582064 w 832625"/>
                  <a:gd name="connsiteY70" fmla="*/ 21272 h 966530"/>
                  <a:gd name="connsiteX71" fmla="*/ 583399 w 832625"/>
                  <a:gd name="connsiteY71" fmla="*/ 24776 h 966530"/>
                  <a:gd name="connsiteX72" fmla="*/ 610846 w 832625"/>
                  <a:gd name="connsiteY72" fmla="*/ 65986 h 966530"/>
                  <a:gd name="connsiteX73" fmla="*/ 625446 w 832625"/>
                  <a:gd name="connsiteY73" fmla="*/ 75746 h 966530"/>
                  <a:gd name="connsiteX74" fmla="*/ 654228 w 832625"/>
                  <a:gd name="connsiteY74" fmla="*/ 97018 h 966530"/>
                  <a:gd name="connsiteX75" fmla="*/ 701198 w 832625"/>
                  <a:gd name="connsiteY75" fmla="*/ 161669 h 966530"/>
                  <a:gd name="connsiteX76" fmla="*/ 714045 w 832625"/>
                  <a:gd name="connsiteY76" fmla="*/ 181606 h 966530"/>
                  <a:gd name="connsiteX77" fmla="*/ 732232 w 832625"/>
                  <a:gd name="connsiteY77" fmla="*/ 223650 h 966530"/>
                  <a:gd name="connsiteX78" fmla="*/ 725141 w 832625"/>
                  <a:gd name="connsiteY78" fmla="*/ 260856 h 966530"/>
                  <a:gd name="connsiteX79" fmla="*/ 720302 w 832625"/>
                  <a:gd name="connsiteY79" fmla="*/ 275955 h 966530"/>
                  <a:gd name="connsiteX80" fmla="*/ 730481 w 832625"/>
                  <a:gd name="connsiteY80" fmla="*/ 392494 h 966530"/>
                  <a:gd name="connsiteX81" fmla="*/ 729146 w 832625"/>
                  <a:gd name="connsiteY81" fmla="*/ 474913 h 966530"/>
                  <a:gd name="connsiteX82" fmla="*/ 766354 w 832625"/>
                  <a:gd name="connsiteY82" fmla="*/ 549324 h 966530"/>
                  <a:gd name="connsiteX83" fmla="*/ 806649 w 832625"/>
                  <a:gd name="connsiteY83" fmla="*/ 586530 h 966530"/>
                  <a:gd name="connsiteX84" fmla="*/ 814158 w 832625"/>
                  <a:gd name="connsiteY84" fmla="*/ 634329 h 966530"/>
                  <a:gd name="connsiteX85" fmla="*/ 819914 w 832625"/>
                  <a:gd name="connsiteY85" fmla="*/ 678626 h 966530"/>
                  <a:gd name="connsiteX86" fmla="*/ 823001 w 832625"/>
                  <a:gd name="connsiteY86" fmla="*/ 689220 h 966530"/>
                  <a:gd name="connsiteX87" fmla="*/ 829675 w 832625"/>
                  <a:gd name="connsiteY87" fmla="*/ 715331 h 966530"/>
                  <a:gd name="connsiteX88" fmla="*/ 831927 w 832625"/>
                  <a:gd name="connsiteY88" fmla="*/ 729512 h 966530"/>
                  <a:gd name="connsiteX89" fmla="*/ 829258 w 832625"/>
                  <a:gd name="connsiteY89" fmla="*/ 764048 h 966530"/>
                  <a:gd name="connsiteX90" fmla="*/ 765436 w 832625"/>
                  <a:gd name="connsiteY90" fmla="*/ 803923 h 966530"/>
                  <a:gd name="connsiteX91" fmla="*/ 719385 w 832625"/>
                  <a:gd name="connsiteY91" fmla="*/ 818105 h 966530"/>
                  <a:gd name="connsiteX92" fmla="*/ 681259 w 832625"/>
                  <a:gd name="connsiteY92" fmla="*/ 879669 h 966530"/>
                  <a:gd name="connsiteX93" fmla="*/ 678172 w 832625"/>
                  <a:gd name="connsiteY93" fmla="*/ 890764 h 966530"/>
                  <a:gd name="connsiteX94" fmla="*/ 679256 w 832625"/>
                  <a:gd name="connsiteY94" fmla="*/ 890263 h 966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832625" h="966530" extrusionOk="0">
                    <a:moveTo>
                      <a:pt x="679256" y="890263"/>
                    </a:moveTo>
                    <a:cubicBezTo>
                      <a:pt x="675252" y="903528"/>
                      <a:pt x="671748" y="914622"/>
                      <a:pt x="673500" y="930139"/>
                    </a:cubicBezTo>
                    <a:lnTo>
                      <a:pt x="673917" y="935478"/>
                    </a:lnTo>
                    <a:cubicBezTo>
                      <a:pt x="675252" y="946072"/>
                      <a:pt x="675669" y="949659"/>
                      <a:pt x="668578" y="955832"/>
                    </a:cubicBezTo>
                    <a:cubicBezTo>
                      <a:pt x="646470" y="931056"/>
                      <a:pt x="625613" y="931056"/>
                      <a:pt x="611013" y="936812"/>
                    </a:cubicBezTo>
                    <a:cubicBezTo>
                      <a:pt x="601669" y="940316"/>
                      <a:pt x="593744" y="947407"/>
                      <a:pt x="587070" y="954080"/>
                    </a:cubicBezTo>
                    <a:cubicBezTo>
                      <a:pt x="579978" y="960754"/>
                      <a:pt x="573304" y="966927"/>
                      <a:pt x="567548" y="966510"/>
                    </a:cubicBezTo>
                    <a:cubicBezTo>
                      <a:pt x="564044" y="966093"/>
                      <a:pt x="559122" y="963423"/>
                      <a:pt x="554283" y="957167"/>
                    </a:cubicBezTo>
                    <a:cubicBezTo>
                      <a:pt x="530339" y="927970"/>
                      <a:pt x="500223" y="914205"/>
                      <a:pt x="459927" y="913288"/>
                    </a:cubicBezTo>
                    <a:cubicBezTo>
                      <a:pt x="456424" y="912870"/>
                      <a:pt x="451918" y="912370"/>
                      <a:pt x="447997" y="912370"/>
                    </a:cubicBezTo>
                    <a:cubicBezTo>
                      <a:pt x="438653" y="911035"/>
                      <a:pt x="428058" y="909701"/>
                      <a:pt x="417880" y="913288"/>
                    </a:cubicBezTo>
                    <a:cubicBezTo>
                      <a:pt x="409454" y="915957"/>
                      <a:pt x="403281" y="921713"/>
                      <a:pt x="397524" y="927052"/>
                    </a:cubicBezTo>
                    <a:cubicBezTo>
                      <a:pt x="392185" y="931891"/>
                      <a:pt x="386929" y="936395"/>
                      <a:pt x="380255" y="938147"/>
                    </a:cubicBezTo>
                    <a:cubicBezTo>
                      <a:pt x="379837" y="938564"/>
                      <a:pt x="379837" y="938564"/>
                      <a:pt x="379337" y="938564"/>
                    </a:cubicBezTo>
                    <a:cubicBezTo>
                      <a:pt x="372663" y="940316"/>
                      <a:pt x="368742" y="938981"/>
                      <a:pt x="365154" y="933726"/>
                    </a:cubicBezTo>
                    <a:cubicBezTo>
                      <a:pt x="362902" y="930639"/>
                      <a:pt x="360733" y="926635"/>
                      <a:pt x="358480" y="920879"/>
                    </a:cubicBezTo>
                    <a:lnTo>
                      <a:pt x="357146" y="917375"/>
                    </a:lnTo>
                    <a:cubicBezTo>
                      <a:pt x="346050" y="891265"/>
                      <a:pt x="327446" y="891682"/>
                      <a:pt x="309342" y="895686"/>
                    </a:cubicBezTo>
                    <a:cubicBezTo>
                      <a:pt x="290738" y="899690"/>
                      <a:pt x="287234" y="898773"/>
                      <a:pt x="271716" y="888595"/>
                    </a:cubicBezTo>
                    <a:cubicBezTo>
                      <a:pt x="262873" y="882839"/>
                      <a:pt x="253529" y="879753"/>
                      <a:pt x="244686" y="876165"/>
                    </a:cubicBezTo>
                    <a:cubicBezTo>
                      <a:pt x="235342" y="873079"/>
                      <a:pt x="226499" y="869992"/>
                      <a:pt x="218991" y="864654"/>
                    </a:cubicBezTo>
                    <a:cubicBezTo>
                      <a:pt x="212817" y="860232"/>
                      <a:pt x="207478" y="854059"/>
                      <a:pt x="201721" y="847385"/>
                    </a:cubicBezTo>
                    <a:cubicBezTo>
                      <a:pt x="189791" y="833204"/>
                      <a:pt x="176026" y="817688"/>
                      <a:pt x="151665" y="819940"/>
                    </a:cubicBezTo>
                    <a:cubicBezTo>
                      <a:pt x="137065" y="821275"/>
                      <a:pt x="122883" y="828366"/>
                      <a:pt x="110869" y="837625"/>
                    </a:cubicBezTo>
                    <a:cubicBezTo>
                      <a:pt x="110452" y="838043"/>
                      <a:pt x="110452" y="838043"/>
                      <a:pt x="110452" y="838043"/>
                    </a:cubicBezTo>
                    <a:cubicBezTo>
                      <a:pt x="107366" y="838460"/>
                      <a:pt x="104279" y="838960"/>
                      <a:pt x="102026" y="838460"/>
                    </a:cubicBezTo>
                    <a:cubicBezTo>
                      <a:pt x="97188" y="837542"/>
                      <a:pt x="95853" y="836207"/>
                      <a:pt x="93183" y="832286"/>
                    </a:cubicBezTo>
                    <a:cubicBezTo>
                      <a:pt x="91431" y="830034"/>
                      <a:pt x="89679" y="827865"/>
                      <a:pt x="87009" y="825613"/>
                    </a:cubicBezTo>
                    <a:cubicBezTo>
                      <a:pt x="80335" y="819440"/>
                      <a:pt x="72827" y="816770"/>
                      <a:pt x="66653" y="814518"/>
                    </a:cubicBezTo>
                    <a:cubicBezTo>
                      <a:pt x="62232" y="812766"/>
                      <a:pt x="58227" y="811431"/>
                      <a:pt x="54223" y="809179"/>
                    </a:cubicBezTo>
                    <a:cubicBezTo>
                      <a:pt x="51136" y="806926"/>
                      <a:pt x="48049" y="804340"/>
                      <a:pt x="44462" y="801171"/>
                    </a:cubicBezTo>
                    <a:cubicBezTo>
                      <a:pt x="39623" y="796332"/>
                      <a:pt x="34284" y="791410"/>
                      <a:pt x="27192" y="788741"/>
                    </a:cubicBezTo>
                    <a:cubicBezTo>
                      <a:pt x="23188" y="786989"/>
                      <a:pt x="19183" y="786071"/>
                      <a:pt x="15262" y="785237"/>
                    </a:cubicBezTo>
                    <a:cubicBezTo>
                      <a:pt x="7253" y="783485"/>
                      <a:pt x="3749" y="782568"/>
                      <a:pt x="1080" y="776394"/>
                    </a:cubicBezTo>
                    <a:cubicBezTo>
                      <a:pt x="162" y="773725"/>
                      <a:pt x="-255" y="770221"/>
                      <a:pt x="162" y="766635"/>
                    </a:cubicBezTo>
                    <a:cubicBezTo>
                      <a:pt x="579" y="762630"/>
                      <a:pt x="1914" y="757792"/>
                      <a:pt x="4584" y="752453"/>
                    </a:cubicBezTo>
                    <a:cubicBezTo>
                      <a:pt x="4584" y="752036"/>
                      <a:pt x="5001" y="752036"/>
                      <a:pt x="5001" y="751535"/>
                    </a:cubicBezTo>
                    <a:cubicBezTo>
                      <a:pt x="7670" y="744862"/>
                      <a:pt x="12092" y="739106"/>
                      <a:pt x="16931" y="733350"/>
                    </a:cubicBezTo>
                    <a:cubicBezTo>
                      <a:pt x="24022" y="724507"/>
                      <a:pt x="31113" y="715164"/>
                      <a:pt x="33282" y="702818"/>
                    </a:cubicBezTo>
                    <a:cubicBezTo>
                      <a:pt x="34200" y="699314"/>
                      <a:pt x="34200" y="694809"/>
                      <a:pt x="34617" y="690388"/>
                    </a:cubicBezTo>
                    <a:cubicBezTo>
                      <a:pt x="35035" y="684215"/>
                      <a:pt x="35535" y="675790"/>
                      <a:pt x="38121" y="674038"/>
                    </a:cubicBezTo>
                    <a:cubicBezTo>
                      <a:pt x="39456" y="673120"/>
                      <a:pt x="42960" y="673120"/>
                      <a:pt x="47465" y="674955"/>
                    </a:cubicBezTo>
                    <a:cubicBezTo>
                      <a:pt x="50552" y="675873"/>
                      <a:pt x="53221" y="677208"/>
                      <a:pt x="55891" y="678042"/>
                    </a:cubicBezTo>
                    <a:cubicBezTo>
                      <a:pt x="62565" y="681128"/>
                      <a:pt x="69156" y="684715"/>
                      <a:pt x="81587" y="680294"/>
                    </a:cubicBezTo>
                    <a:cubicBezTo>
                      <a:pt x="93099" y="676290"/>
                      <a:pt x="106865" y="665696"/>
                      <a:pt x="114790" y="658104"/>
                    </a:cubicBezTo>
                    <a:cubicBezTo>
                      <a:pt x="122800" y="650096"/>
                      <a:pt x="127221" y="640419"/>
                      <a:pt x="131142" y="631076"/>
                    </a:cubicBezTo>
                    <a:cubicBezTo>
                      <a:pt x="136899" y="618647"/>
                      <a:pt x="142238" y="608052"/>
                      <a:pt x="153751" y="602296"/>
                    </a:cubicBezTo>
                    <a:cubicBezTo>
                      <a:pt x="162594" y="597875"/>
                      <a:pt x="169268" y="600961"/>
                      <a:pt x="179446" y="606300"/>
                    </a:cubicBezTo>
                    <a:cubicBezTo>
                      <a:pt x="189207" y="611139"/>
                      <a:pt x="200720" y="617395"/>
                      <a:pt x="214903" y="611639"/>
                    </a:cubicBezTo>
                    <a:cubicBezTo>
                      <a:pt x="234842" y="603214"/>
                      <a:pt x="233090" y="586863"/>
                      <a:pt x="231254" y="574851"/>
                    </a:cubicBezTo>
                    <a:cubicBezTo>
                      <a:pt x="230337" y="567760"/>
                      <a:pt x="229920" y="560669"/>
                      <a:pt x="232589" y="555831"/>
                    </a:cubicBezTo>
                    <a:cubicBezTo>
                      <a:pt x="240598" y="543902"/>
                      <a:pt x="256032" y="540314"/>
                      <a:pt x="272050" y="537228"/>
                    </a:cubicBezTo>
                    <a:cubicBezTo>
                      <a:pt x="279558" y="535476"/>
                      <a:pt x="287567" y="534141"/>
                      <a:pt x="294241" y="531055"/>
                    </a:cubicBezTo>
                    <a:cubicBezTo>
                      <a:pt x="330532" y="517291"/>
                      <a:pt x="335038" y="496519"/>
                      <a:pt x="332785" y="481920"/>
                    </a:cubicBezTo>
                    <a:cubicBezTo>
                      <a:pt x="331867" y="476581"/>
                      <a:pt x="329698" y="472160"/>
                      <a:pt x="327946" y="467739"/>
                    </a:cubicBezTo>
                    <a:cubicBezTo>
                      <a:pt x="325694" y="463317"/>
                      <a:pt x="323524" y="459313"/>
                      <a:pt x="323524" y="455309"/>
                    </a:cubicBezTo>
                    <a:cubicBezTo>
                      <a:pt x="323524" y="450471"/>
                      <a:pt x="326194" y="446883"/>
                      <a:pt x="330616" y="441128"/>
                    </a:cubicBezTo>
                    <a:cubicBezTo>
                      <a:pt x="331951" y="439793"/>
                      <a:pt x="332868" y="438458"/>
                      <a:pt x="334120" y="436706"/>
                    </a:cubicBezTo>
                    <a:cubicBezTo>
                      <a:pt x="356228" y="407509"/>
                      <a:pt x="345215" y="388406"/>
                      <a:pt x="334537" y="370304"/>
                    </a:cubicBezTo>
                    <a:cubicBezTo>
                      <a:pt x="328363" y="360126"/>
                      <a:pt x="322106" y="349031"/>
                      <a:pt x="320771" y="335768"/>
                    </a:cubicBezTo>
                    <a:cubicBezTo>
                      <a:pt x="319437" y="319417"/>
                      <a:pt x="330115" y="308322"/>
                      <a:pt x="355727" y="298145"/>
                    </a:cubicBezTo>
                    <a:cubicBezTo>
                      <a:pt x="377418" y="289719"/>
                      <a:pt x="392936" y="283546"/>
                      <a:pt x="409788" y="265778"/>
                    </a:cubicBezTo>
                    <a:cubicBezTo>
                      <a:pt x="414210" y="261356"/>
                      <a:pt x="418631" y="256935"/>
                      <a:pt x="423053" y="252013"/>
                    </a:cubicBezTo>
                    <a:cubicBezTo>
                      <a:pt x="456757" y="218311"/>
                      <a:pt x="494800" y="179354"/>
                      <a:pt x="504978" y="133306"/>
                    </a:cubicBezTo>
                    <a:cubicBezTo>
                      <a:pt x="505896" y="128468"/>
                      <a:pt x="506313" y="123129"/>
                      <a:pt x="507230" y="117372"/>
                    </a:cubicBezTo>
                    <a:cubicBezTo>
                      <a:pt x="507648" y="109865"/>
                      <a:pt x="508148" y="102774"/>
                      <a:pt x="510734" y="96517"/>
                    </a:cubicBezTo>
                    <a:cubicBezTo>
                      <a:pt x="512987" y="91178"/>
                      <a:pt x="516908" y="88092"/>
                      <a:pt x="521329" y="84588"/>
                    </a:cubicBezTo>
                    <a:cubicBezTo>
                      <a:pt x="524416" y="81919"/>
                      <a:pt x="527503" y="79750"/>
                      <a:pt x="530673" y="76163"/>
                    </a:cubicBezTo>
                    <a:cubicBezTo>
                      <a:pt x="542603" y="63316"/>
                      <a:pt x="543104" y="46966"/>
                      <a:pt x="539516" y="31449"/>
                    </a:cubicBezTo>
                    <a:cubicBezTo>
                      <a:pt x="551447" y="24359"/>
                      <a:pt x="560373" y="12847"/>
                      <a:pt x="568299" y="0"/>
                    </a:cubicBezTo>
                    <a:cubicBezTo>
                      <a:pt x="574473" y="5339"/>
                      <a:pt x="578894" y="12430"/>
                      <a:pt x="582064" y="21272"/>
                    </a:cubicBezTo>
                    <a:lnTo>
                      <a:pt x="583399" y="24776"/>
                    </a:lnTo>
                    <a:cubicBezTo>
                      <a:pt x="588738" y="41126"/>
                      <a:pt x="593577" y="53973"/>
                      <a:pt x="610846" y="65986"/>
                    </a:cubicBezTo>
                    <a:cubicBezTo>
                      <a:pt x="615685" y="69072"/>
                      <a:pt x="620607" y="72659"/>
                      <a:pt x="625446" y="75746"/>
                    </a:cubicBezTo>
                    <a:cubicBezTo>
                      <a:pt x="636041" y="81919"/>
                      <a:pt x="645802" y="88175"/>
                      <a:pt x="654228" y="97018"/>
                    </a:cubicBezTo>
                    <a:cubicBezTo>
                      <a:pt x="671915" y="115621"/>
                      <a:pt x="687015" y="139062"/>
                      <a:pt x="701198" y="161669"/>
                    </a:cubicBezTo>
                    <a:cubicBezTo>
                      <a:pt x="705619" y="168342"/>
                      <a:pt x="709624" y="174933"/>
                      <a:pt x="714045" y="181606"/>
                    </a:cubicBezTo>
                    <a:cubicBezTo>
                      <a:pt x="722472" y="194453"/>
                      <a:pt x="730397" y="208218"/>
                      <a:pt x="732232" y="223650"/>
                    </a:cubicBezTo>
                    <a:cubicBezTo>
                      <a:pt x="733567" y="236497"/>
                      <a:pt x="729563" y="248009"/>
                      <a:pt x="725141" y="260856"/>
                    </a:cubicBezTo>
                    <a:cubicBezTo>
                      <a:pt x="723807" y="265694"/>
                      <a:pt x="722055" y="271033"/>
                      <a:pt x="720302" y="275955"/>
                    </a:cubicBezTo>
                    <a:cubicBezTo>
                      <a:pt x="710541" y="310908"/>
                      <a:pt x="713628" y="347697"/>
                      <a:pt x="730481" y="392494"/>
                    </a:cubicBezTo>
                    <a:cubicBezTo>
                      <a:pt x="742911" y="424861"/>
                      <a:pt x="739324" y="442546"/>
                      <a:pt x="729146" y="474913"/>
                    </a:cubicBezTo>
                    <a:cubicBezTo>
                      <a:pt x="714963" y="520127"/>
                      <a:pt x="741993" y="535560"/>
                      <a:pt x="766354" y="549324"/>
                    </a:cubicBezTo>
                    <a:cubicBezTo>
                      <a:pt x="782706" y="558667"/>
                      <a:pt x="799558" y="567927"/>
                      <a:pt x="806649" y="586530"/>
                    </a:cubicBezTo>
                    <a:cubicBezTo>
                      <a:pt x="811988" y="601628"/>
                      <a:pt x="813323" y="617562"/>
                      <a:pt x="814158" y="634329"/>
                    </a:cubicBezTo>
                    <a:cubicBezTo>
                      <a:pt x="815075" y="648928"/>
                      <a:pt x="815910" y="664027"/>
                      <a:pt x="819914" y="678626"/>
                    </a:cubicBezTo>
                    <a:lnTo>
                      <a:pt x="823001" y="689220"/>
                    </a:lnTo>
                    <a:cubicBezTo>
                      <a:pt x="825670" y="698063"/>
                      <a:pt x="827840" y="706905"/>
                      <a:pt x="829675" y="715331"/>
                    </a:cubicBezTo>
                    <a:cubicBezTo>
                      <a:pt x="830593" y="720169"/>
                      <a:pt x="831427" y="724674"/>
                      <a:pt x="831927" y="729512"/>
                    </a:cubicBezTo>
                    <a:cubicBezTo>
                      <a:pt x="833262" y="741024"/>
                      <a:pt x="832845" y="752954"/>
                      <a:pt x="829258" y="764048"/>
                    </a:cubicBezTo>
                    <a:cubicBezTo>
                      <a:pt x="819914" y="792411"/>
                      <a:pt x="794719" y="797750"/>
                      <a:pt x="765436" y="803923"/>
                    </a:cubicBezTo>
                    <a:cubicBezTo>
                      <a:pt x="749502" y="807010"/>
                      <a:pt x="733067" y="810597"/>
                      <a:pt x="719385" y="818105"/>
                    </a:cubicBezTo>
                    <a:cubicBezTo>
                      <a:pt x="694607" y="831869"/>
                      <a:pt x="687933" y="855727"/>
                      <a:pt x="681259" y="879669"/>
                    </a:cubicBezTo>
                    <a:cubicBezTo>
                      <a:pt x="680341" y="883173"/>
                      <a:pt x="679006" y="886760"/>
                      <a:pt x="678172" y="890764"/>
                    </a:cubicBezTo>
                    <a:lnTo>
                      <a:pt x="679256" y="890263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13744769" name="Полилиния 393"/>
              <p:cNvSpPr/>
              <p:nvPr/>
            </p:nvSpPr>
            <p:spPr bwMode="auto">
              <a:xfrm>
                <a:off x="3753510" y="4998008"/>
                <a:ext cx="526097" cy="351657"/>
              </a:xfrm>
              <a:custGeom>
                <a:avLst/>
                <a:gdLst>
                  <a:gd name="connsiteX0" fmla="*/ 580230 w 590825"/>
                  <a:gd name="connsiteY0" fmla="*/ 332417 h 394923"/>
                  <a:gd name="connsiteX1" fmla="*/ 590825 w 590825"/>
                  <a:gd name="connsiteY1" fmla="*/ 360363 h 394923"/>
                  <a:gd name="connsiteX2" fmla="*/ 554034 w 590825"/>
                  <a:gd name="connsiteY2" fmla="*/ 378048 h 394923"/>
                  <a:gd name="connsiteX3" fmla="*/ 547860 w 590825"/>
                  <a:gd name="connsiteY3" fmla="*/ 382469 h 394923"/>
                  <a:gd name="connsiteX4" fmla="*/ 514657 w 590825"/>
                  <a:gd name="connsiteY4" fmla="*/ 394899 h 394923"/>
                  <a:gd name="connsiteX5" fmla="*/ 484957 w 590825"/>
                  <a:gd name="connsiteY5" fmla="*/ 391813 h 394923"/>
                  <a:gd name="connsiteX6" fmla="*/ 446413 w 590825"/>
                  <a:gd name="connsiteY6" fmla="*/ 388726 h 394923"/>
                  <a:gd name="connsiteX7" fmla="*/ 391018 w 590825"/>
                  <a:gd name="connsiteY7" fmla="*/ 387391 h 394923"/>
                  <a:gd name="connsiteX8" fmla="*/ 326779 w 590825"/>
                  <a:gd name="connsiteY8" fmla="*/ 373627 h 394923"/>
                  <a:gd name="connsiteX9" fmla="*/ 324527 w 590825"/>
                  <a:gd name="connsiteY9" fmla="*/ 372709 h 394923"/>
                  <a:gd name="connsiteX10" fmla="*/ 272719 w 590825"/>
                  <a:gd name="connsiteY10" fmla="*/ 371375 h 394923"/>
                  <a:gd name="connsiteX11" fmla="*/ 257618 w 590825"/>
                  <a:gd name="connsiteY11" fmla="*/ 383304 h 394923"/>
                  <a:gd name="connsiteX12" fmla="*/ 236345 w 590825"/>
                  <a:gd name="connsiteY12" fmla="*/ 394398 h 394923"/>
                  <a:gd name="connsiteX13" fmla="*/ 216406 w 590825"/>
                  <a:gd name="connsiteY13" fmla="*/ 384221 h 394923"/>
                  <a:gd name="connsiteX14" fmla="*/ 195132 w 590825"/>
                  <a:gd name="connsiteY14" fmla="*/ 372292 h 394923"/>
                  <a:gd name="connsiteX15" fmla="*/ 150832 w 590825"/>
                  <a:gd name="connsiteY15" fmla="*/ 370040 h 394923"/>
                  <a:gd name="connsiteX16" fmla="*/ 132645 w 590825"/>
                  <a:gd name="connsiteY16" fmla="*/ 370957 h 394923"/>
                  <a:gd name="connsiteX17" fmla="*/ 71493 w 590825"/>
                  <a:gd name="connsiteY17" fmla="*/ 362949 h 394923"/>
                  <a:gd name="connsiteX18" fmla="*/ 68824 w 590825"/>
                  <a:gd name="connsiteY18" fmla="*/ 362532 h 394923"/>
                  <a:gd name="connsiteX19" fmla="*/ 59480 w 590825"/>
                  <a:gd name="connsiteY19" fmla="*/ 361197 h 394923"/>
                  <a:gd name="connsiteX20" fmla="*/ 59897 w 590825"/>
                  <a:gd name="connsiteY20" fmla="*/ 359862 h 394923"/>
                  <a:gd name="connsiteX21" fmla="*/ 73662 w 590825"/>
                  <a:gd name="connsiteY21" fmla="*/ 341260 h 394923"/>
                  <a:gd name="connsiteX22" fmla="*/ 93184 w 590825"/>
                  <a:gd name="connsiteY22" fmla="*/ 300050 h 394923"/>
                  <a:gd name="connsiteX23" fmla="*/ 58228 w 590825"/>
                  <a:gd name="connsiteY23" fmla="*/ 276108 h 394923"/>
                  <a:gd name="connsiteX24" fmla="*/ 36954 w 590825"/>
                  <a:gd name="connsiteY24" fmla="*/ 269435 h 394923"/>
                  <a:gd name="connsiteX25" fmla="*/ 11259 w 590825"/>
                  <a:gd name="connsiteY25" fmla="*/ 252166 h 394923"/>
                  <a:gd name="connsiteX26" fmla="*/ 163 w 590825"/>
                  <a:gd name="connsiteY26" fmla="*/ 238903 h 394923"/>
                  <a:gd name="connsiteX27" fmla="*/ 14763 w 590825"/>
                  <a:gd name="connsiteY27" fmla="*/ 215878 h 394923"/>
                  <a:gd name="connsiteX28" fmla="*/ 31115 w 590825"/>
                  <a:gd name="connsiteY28" fmla="*/ 191937 h 394923"/>
                  <a:gd name="connsiteX29" fmla="*/ 34202 w 590825"/>
                  <a:gd name="connsiteY29" fmla="*/ 179507 h 394923"/>
                  <a:gd name="connsiteX30" fmla="*/ 41293 w 590825"/>
                  <a:gd name="connsiteY30" fmla="*/ 162656 h 394923"/>
                  <a:gd name="connsiteX31" fmla="*/ 54558 w 590825"/>
                  <a:gd name="connsiteY31" fmla="*/ 157317 h 394923"/>
                  <a:gd name="connsiteX32" fmla="*/ 69157 w 590825"/>
                  <a:gd name="connsiteY32" fmla="*/ 151979 h 394923"/>
                  <a:gd name="connsiteX33" fmla="*/ 92600 w 590825"/>
                  <a:gd name="connsiteY33" fmla="*/ 81571 h 394923"/>
                  <a:gd name="connsiteX34" fmla="*/ 88178 w 590825"/>
                  <a:gd name="connsiteY34" fmla="*/ 61217 h 394923"/>
                  <a:gd name="connsiteX35" fmla="*/ 83340 w 590825"/>
                  <a:gd name="connsiteY35" fmla="*/ 37275 h 394923"/>
                  <a:gd name="connsiteX36" fmla="*/ 82422 w 590825"/>
                  <a:gd name="connsiteY36" fmla="*/ 27098 h 394923"/>
                  <a:gd name="connsiteX37" fmla="*/ 84675 w 590825"/>
                  <a:gd name="connsiteY37" fmla="*/ 26681 h 394923"/>
                  <a:gd name="connsiteX38" fmla="*/ 108618 w 590825"/>
                  <a:gd name="connsiteY38" fmla="*/ 12499 h 394923"/>
                  <a:gd name="connsiteX39" fmla="*/ 124553 w 590825"/>
                  <a:gd name="connsiteY39" fmla="*/ 1405 h 394923"/>
                  <a:gd name="connsiteX40" fmla="*/ 148496 w 590825"/>
                  <a:gd name="connsiteY40" fmla="*/ 988 h 394923"/>
                  <a:gd name="connsiteX41" fmla="*/ 161344 w 590825"/>
                  <a:gd name="connsiteY41" fmla="*/ 1905 h 394923"/>
                  <a:gd name="connsiteX42" fmla="*/ 245104 w 590825"/>
                  <a:gd name="connsiteY42" fmla="*/ 40862 h 394923"/>
                  <a:gd name="connsiteX43" fmla="*/ 268130 w 590825"/>
                  <a:gd name="connsiteY43" fmla="*/ 55461 h 394923"/>
                  <a:gd name="connsiteX44" fmla="*/ 298665 w 590825"/>
                  <a:gd name="connsiteY44" fmla="*/ 39110 h 394923"/>
                  <a:gd name="connsiteX45" fmla="*/ 317686 w 590825"/>
                  <a:gd name="connsiteY45" fmla="*/ 24929 h 394923"/>
                  <a:gd name="connsiteX46" fmla="*/ 358481 w 590825"/>
                  <a:gd name="connsiteY46" fmla="*/ 39110 h 394923"/>
                  <a:gd name="connsiteX47" fmla="*/ 338960 w 590825"/>
                  <a:gd name="connsiteY47" fmla="*/ 68808 h 394923"/>
                  <a:gd name="connsiteX48" fmla="*/ 356229 w 590825"/>
                  <a:gd name="connsiteY48" fmla="*/ 112687 h 394923"/>
                  <a:gd name="connsiteX49" fmla="*/ 363320 w 590825"/>
                  <a:gd name="connsiteY49" fmla="*/ 120195 h 394923"/>
                  <a:gd name="connsiteX50" fmla="*/ 379255 w 590825"/>
                  <a:gd name="connsiteY50" fmla="*/ 141468 h 394923"/>
                  <a:gd name="connsiteX51" fmla="*/ 382342 w 590825"/>
                  <a:gd name="connsiteY51" fmla="*/ 149893 h 394923"/>
                  <a:gd name="connsiteX52" fmla="*/ 397859 w 590825"/>
                  <a:gd name="connsiteY52" fmla="*/ 176921 h 394923"/>
                  <a:gd name="connsiteX53" fmla="*/ 446163 w 590825"/>
                  <a:gd name="connsiteY53" fmla="*/ 201280 h 394923"/>
                  <a:gd name="connsiteX54" fmla="*/ 471858 w 590825"/>
                  <a:gd name="connsiteY54" fmla="*/ 211040 h 394923"/>
                  <a:gd name="connsiteX55" fmla="*/ 501558 w 590825"/>
                  <a:gd name="connsiteY55" fmla="*/ 234481 h 394923"/>
                  <a:gd name="connsiteX56" fmla="*/ 506898 w 590825"/>
                  <a:gd name="connsiteY56" fmla="*/ 250832 h 394923"/>
                  <a:gd name="connsiteX57" fmla="*/ 515741 w 590825"/>
                  <a:gd name="connsiteY57" fmla="*/ 273856 h 394923"/>
                  <a:gd name="connsiteX58" fmla="*/ 543188 w 590825"/>
                  <a:gd name="connsiteY58" fmla="*/ 292459 h 394923"/>
                  <a:gd name="connsiteX59" fmla="*/ 559540 w 590825"/>
                  <a:gd name="connsiteY59" fmla="*/ 300884 h 394923"/>
                  <a:gd name="connsiteX60" fmla="*/ 580230 w 590825"/>
                  <a:gd name="connsiteY60" fmla="*/ 332417 h 394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90825" h="394923" extrusionOk="0">
                    <a:moveTo>
                      <a:pt x="580230" y="332417"/>
                    </a:moveTo>
                    <a:cubicBezTo>
                      <a:pt x="583734" y="341260"/>
                      <a:pt x="587321" y="350603"/>
                      <a:pt x="590825" y="360363"/>
                    </a:cubicBezTo>
                    <a:cubicBezTo>
                      <a:pt x="576643" y="365702"/>
                      <a:pt x="564713" y="371458"/>
                      <a:pt x="554034" y="378048"/>
                    </a:cubicBezTo>
                    <a:lnTo>
                      <a:pt x="547860" y="382469"/>
                    </a:lnTo>
                    <a:cubicBezTo>
                      <a:pt x="536348" y="390478"/>
                      <a:pt x="528339" y="395316"/>
                      <a:pt x="514657" y="394899"/>
                    </a:cubicBezTo>
                    <a:cubicBezTo>
                      <a:pt x="504478" y="394482"/>
                      <a:pt x="495135" y="393147"/>
                      <a:pt x="484957" y="391813"/>
                    </a:cubicBezTo>
                    <a:cubicBezTo>
                      <a:pt x="472526" y="390061"/>
                      <a:pt x="459678" y="388309"/>
                      <a:pt x="446413" y="388726"/>
                    </a:cubicBezTo>
                    <a:cubicBezTo>
                      <a:pt x="428226" y="389143"/>
                      <a:pt x="409622" y="389644"/>
                      <a:pt x="391018" y="387391"/>
                    </a:cubicBezTo>
                    <a:cubicBezTo>
                      <a:pt x="370662" y="385139"/>
                      <a:pt x="349805" y="380717"/>
                      <a:pt x="326779" y="373627"/>
                    </a:cubicBezTo>
                    <a:lnTo>
                      <a:pt x="324527" y="372709"/>
                    </a:lnTo>
                    <a:cubicBezTo>
                      <a:pt x="308592" y="367871"/>
                      <a:pt x="289988" y="362115"/>
                      <a:pt x="272719" y="371375"/>
                    </a:cubicBezTo>
                    <a:cubicBezTo>
                      <a:pt x="266962" y="374461"/>
                      <a:pt x="262123" y="379383"/>
                      <a:pt x="257618" y="383304"/>
                    </a:cubicBezTo>
                    <a:cubicBezTo>
                      <a:pt x="249609" y="390811"/>
                      <a:pt x="244771" y="395233"/>
                      <a:pt x="236345" y="394398"/>
                    </a:cubicBezTo>
                    <a:cubicBezTo>
                      <a:pt x="229670" y="393481"/>
                      <a:pt x="223497" y="389059"/>
                      <a:pt x="216406" y="384221"/>
                    </a:cubicBezTo>
                    <a:cubicBezTo>
                      <a:pt x="209732" y="379383"/>
                      <a:pt x="203141" y="374461"/>
                      <a:pt x="195132" y="372292"/>
                    </a:cubicBezTo>
                    <a:cubicBezTo>
                      <a:pt x="180532" y="367871"/>
                      <a:pt x="165432" y="369206"/>
                      <a:pt x="150832" y="370040"/>
                    </a:cubicBezTo>
                    <a:cubicBezTo>
                      <a:pt x="144659" y="370457"/>
                      <a:pt x="138902" y="370957"/>
                      <a:pt x="132645" y="370957"/>
                    </a:cubicBezTo>
                    <a:cubicBezTo>
                      <a:pt x="112289" y="371375"/>
                      <a:pt x="92350" y="367454"/>
                      <a:pt x="71493" y="362949"/>
                    </a:cubicBezTo>
                    <a:lnTo>
                      <a:pt x="68824" y="362532"/>
                    </a:lnTo>
                    <a:cubicBezTo>
                      <a:pt x="65737" y="362115"/>
                      <a:pt x="62650" y="361197"/>
                      <a:pt x="59480" y="361197"/>
                    </a:cubicBezTo>
                    <a:cubicBezTo>
                      <a:pt x="59897" y="360780"/>
                      <a:pt x="59897" y="360279"/>
                      <a:pt x="59897" y="359862"/>
                    </a:cubicBezTo>
                    <a:cubicBezTo>
                      <a:pt x="62150" y="354106"/>
                      <a:pt x="67906" y="347933"/>
                      <a:pt x="73662" y="341260"/>
                    </a:cubicBezTo>
                    <a:cubicBezTo>
                      <a:pt x="84258" y="329330"/>
                      <a:pt x="95770" y="315983"/>
                      <a:pt x="93184" y="300050"/>
                    </a:cubicBezTo>
                    <a:cubicBezTo>
                      <a:pt x="90098" y="282365"/>
                      <a:pt x="72327" y="278778"/>
                      <a:pt x="58228" y="276108"/>
                    </a:cubicBezTo>
                    <a:cubicBezTo>
                      <a:pt x="49802" y="274773"/>
                      <a:pt x="41376" y="273021"/>
                      <a:pt x="36954" y="269435"/>
                    </a:cubicBezTo>
                    <a:cubicBezTo>
                      <a:pt x="27610" y="261009"/>
                      <a:pt x="22355" y="257506"/>
                      <a:pt x="11259" y="252166"/>
                    </a:cubicBezTo>
                    <a:cubicBezTo>
                      <a:pt x="1498" y="247745"/>
                      <a:pt x="-671" y="246828"/>
                      <a:pt x="163" y="238903"/>
                    </a:cubicBezTo>
                    <a:cubicBezTo>
                      <a:pt x="580" y="230477"/>
                      <a:pt x="7254" y="223386"/>
                      <a:pt x="14763" y="215878"/>
                    </a:cubicBezTo>
                    <a:cubicBezTo>
                      <a:pt x="21437" y="208788"/>
                      <a:pt x="28028" y="201697"/>
                      <a:pt x="31115" y="191937"/>
                    </a:cubicBezTo>
                    <a:cubicBezTo>
                      <a:pt x="32449" y="187933"/>
                      <a:pt x="33367" y="183511"/>
                      <a:pt x="34202" y="179507"/>
                    </a:cubicBezTo>
                    <a:cubicBezTo>
                      <a:pt x="35536" y="171499"/>
                      <a:pt x="36454" y="166660"/>
                      <a:pt x="41293" y="162656"/>
                    </a:cubicBezTo>
                    <a:cubicBezTo>
                      <a:pt x="44796" y="159987"/>
                      <a:pt x="49719" y="158652"/>
                      <a:pt x="54558" y="157317"/>
                    </a:cubicBezTo>
                    <a:cubicBezTo>
                      <a:pt x="59396" y="155983"/>
                      <a:pt x="64735" y="154648"/>
                      <a:pt x="69157" y="151979"/>
                    </a:cubicBezTo>
                    <a:cubicBezTo>
                      <a:pt x="89513" y="140466"/>
                      <a:pt x="98357" y="114773"/>
                      <a:pt x="92600" y="81571"/>
                    </a:cubicBezTo>
                    <a:cubicBezTo>
                      <a:pt x="91683" y="74481"/>
                      <a:pt x="89930" y="67807"/>
                      <a:pt x="88178" y="61217"/>
                    </a:cubicBezTo>
                    <a:cubicBezTo>
                      <a:pt x="85926" y="53208"/>
                      <a:pt x="83757" y="45283"/>
                      <a:pt x="83340" y="37275"/>
                    </a:cubicBezTo>
                    <a:cubicBezTo>
                      <a:pt x="82923" y="33772"/>
                      <a:pt x="82422" y="30602"/>
                      <a:pt x="82422" y="27098"/>
                    </a:cubicBezTo>
                    <a:cubicBezTo>
                      <a:pt x="82839" y="27098"/>
                      <a:pt x="83757" y="27098"/>
                      <a:pt x="84675" y="26681"/>
                    </a:cubicBezTo>
                    <a:cubicBezTo>
                      <a:pt x="94435" y="24428"/>
                      <a:pt x="101944" y="18255"/>
                      <a:pt x="108618" y="12499"/>
                    </a:cubicBezTo>
                    <a:cubicBezTo>
                      <a:pt x="113957" y="7661"/>
                      <a:pt x="118796" y="3657"/>
                      <a:pt x="124553" y="1405"/>
                    </a:cubicBezTo>
                    <a:cubicBezTo>
                      <a:pt x="131227" y="-848"/>
                      <a:pt x="139653" y="70"/>
                      <a:pt x="148496" y="988"/>
                    </a:cubicBezTo>
                    <a:cubicBezTo>
                      <a:pt x="152918" y="1405"/>
                      <a:pt x="157339" y="1905"/>
                      <a:pt x="161344" y="1905"/>
                    </a:cubicBezTo>
                    <a:cubicBezTo>
                      <a:pt x="197635" y="2823"/>
                      <a:pt x="223330" y="14752"/>
                      <a:pt x="245104" y="40862"/>
                    </a:cubicBezTo>
                    <a:cubicBezTo>
                      <a:pt x="252613" y="50206"/>
                      <a:pt x="260205" y="55044"/>
                      <a:pt x="268130" y="55461"/>
                    </a:cubicBezTo>
                    <a:cubicBezTo>
                      <a:pt x="280060" y="55878"/>
                      <a:pt x="289404" y="47452"/>
                      <a:pt x="298665" y="39110"/>
                    </a:cubicBezTo>
                    <a:cubicBezTo>
                      <a:pt x="304838" y="33772"/>
                      <a:pt x="311095" y="27599"/>
                      <a:pt x="317686" y="24929"/>
                    </a:cubicBezTo>
                    <a:cubicBezTo>
                      <a:pt x="332786" y="18756"/>
                      <a:pt x="346885" y="26264"/>
                      <a:pt x="358481" y="39110"/>
                    </a:cubicBezTo>
                    <a:cubicBezTo>
                      <a:pt x="349638" y="45283"/>
                      <a:pt x="340795" y="52875"/>
                      <a:pt x="338960" y="68808"/>
                    </a:cubicBezTo>
                    <a:cubicBezTo>
                      <a:pt x="337625" y="83407"/>
                      <a:pt x="343381" y="99340"/>
                      <a:pt x="356229" y="112687"/>
                    </a:cubicBezTo>
                    <a:cubicBezTo>
                      <a:pt x="358481" y="115357"/>
                      <a:pt x="361068" y="117526"/>
                      <a:pt x="363320" y="120195"/>
                    </a:cubicBezTo>
                    <a:cubicBezTo>
                      <a:pt x="370412" y="126869"/>
                      <a:pt x="375751" y="132124"/>
                      <a:pt x="379255" y="141468"/>
                    </a:cubicBezTo>
                    <a:cubicBezTo>
                      <a:pt x="380590" y="144554"/>
                      <a:pt x="381507" y="147224"/>
                      <a:pt x="382342" y="149893"/>
                    </a:cubicBezTo>
                    <a:cubicBezTo>
                      <a:pt x="385429" y="159236"/>
                      <a:pt x="389016" y="168496"/>
                      <a:pt x="397859" y="176921"/>
                    </a:cubicBezTo>
                    <a:cubicBezTo>
                      <a:pt x="411624" y="189768"/>
                      <a:pt x="429311" y="195524"/>
                      <a:pt x="446163" y="201280"/>
                    </a:cubicBezTo>
                    <a:cubicBezTo>
                      <a:pt x="455507" y="204367"/>
                      <a:pt x="463850" y="207036"/>
                      <a:pt x="471858" y="211040"/>
                    </a:cubicBezTo>
                    <a:cubicBezTo>
                      <a:pt x="482954" y="216379"/>
                      <a:pt x="495301" y="223470"/>
                      <a:pt x="501558" y="234481"/>
                    </a:cubicBezTo>
                    <a:cubicBezTo>
                      <a:pt x="504228" y="239320"/>
                      <a:pt x="505980" y="244658"/>
                      <a:pt x="506898" y="250832"/>
                    </a:cubicBezTo>
                    <a:cubicBezTo>
                      <a:pt x="509150" y="258840"/>
                      <a:pt x="510402" y="266765"/>
                      <a:pt x="515741" y="273856"/>
                    </a:cubicBezTo>
                    <a:cubicBezTo>
                      <a:pt x="522832" y="284033"/>
                      <a:pt x="533928" y="288454"/>
                      <a:pt x="543188" y="292459"/>
                    </a:cubicBezTo>
                    <a:cubicBezTo>
                      <a:pt x="549362" y="295128"/>
                      <a:pt x="555119" y="297297"/>
                      <a:pt x="559540" y="300884"/>
                    </a:cubicBezTo>
                    <a:cubicBezTo>
                      <a:pt x="570469" y="308058"/>
                      <a:pt x="574974" y="318653"/>
                      <a:pt x="580230" y="33241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47130779" name="Полилиния 394"/>
              <p:cNvSpPr/>
              <p:nvPr/>
            </p:nvSpPr>
            <p:spPr bwMode="auto">
              <a:xfrm>
                <a:off x="4068366" y="4704822"/>
                <a:ext cx="836293" cy="663484"/>
              </a:xfrm>
              <a:custGeom>
                <a:avLst/>
                <a:gdLst>
                  <a:gd name="connsiteX0" fmla="*/ 434454 w 939186"/>
                  <a:gd name="connsiteY0" fmla="*/ 704220 h 745115"/>
                  <a:gd name="connsiteX1" fmla="*/ 424693 w 939186"/>
                  <a:gd name="connsiteY1" fmla="*/ 716650 h 745115"/>
                  <a:gd name="connsiteX2" fmla="*/ 416684 w 939186"/>
                  <a:gd name="connsiteY2" fmla="*/ 725075 h 745115"/>
                  <a:gd name="connsiteX3" fmla="*/ 406923 w 939186"/>
                  <a:gd name="connsiteY3" fmla="*/ 740592 h 745115"/>
                  <a:gd name="connsiteX4" fmla="*/ 406006 w 939186"/>
                  <a:gd name="connsiteY4" fmla="*/ 741009 h 745115"/>
                  <a:gd name="connsiteX5" fmla="*/ 364792 w 939186"/>
                  <a:gd name="connsiteY5" fmla="*/ 726827 h 745115"/>
                  <a:gd name="connsiteX6" fmla="*/ 353697 w 939186"/>
                  <a:gd name="connsiteY6" fmla="*/ 712646 h 745115"/>
                  <a:gd name="connsiteX7" fmla="*/ 255754 w 939186"/>
                  <a:gd name="connsiteY7" fmla="*/ 683866 h 745115"/>
                  <a:gd name="connsiteX8" fmla="*/ 250915 w 939186"/>
                  <a:gd name="connsiteY8" fmla="*/ 685201 h 745115"/>
                  <a:gd name="connsiteX9" fmla="*/ 239819 w 939186"/>
                  <a:gd name="connsiteY9" fmla="*/ 656838 h 745115"/>
                  <a:gd name="connsiteX10" fmla="*/ 215458 w 939186"/>
                  <a:gd name="connsiteY10" fmla="*/ 619215 h 745115"/>
                  <a:gd name="connsiteX11" fmla="*/ 196437 w 939186"/>
                  <a:gd name="connsiteY11" fmla="*/ 609037 h 745115"/>
                  <a:gd name="connsiteX12" fmla="*/ 174746 w 939186"/>
                  <a:gd name="connsiteY12" fmla="*/ 594856 h 745115"/>
                  <a:gd name="connsiteX13" fmla="*/ 168072 w 939186"/>
                  <a:gd name="connsiteY13" fmla="*/ 577171 h 745115"/>
                  <a:gd name="connsiteX14" fmla="*/ 160981 w 939186"/>
                  <a:gd name="connsiteY14" fmla="*/ 556816 h 745115"/>
                  <a:gd name="connsiteX15" fmla="*/ 125107 w 939186"/>
                  <a:gd name="connsiteY15" fmla="*/ 528036 h 745115"/>
                  <a:gd name="connsiteX16" fmla="*/ 97660 w 939186"/>
                  <a:gd name="connsiteY16" fmla="*/ 517859 h 745115"/>
                  <a:gd name="connsiteX17" fmla="*/ 54695 w 939186"/>
                  <a:gd name="connsiteY17" fmla="*/ 496587 h 745115"/>
                  <a:gd name="connsiteX18" fmla="*/ 42765 w 939186"/>
                  <a:gd name="connsiteY18" fmla="*/ 474897 h 745115"/>
                  <a:gd name="connsiteX19" fmla="*/ 39678 w 939186"/>
                  <a:gd name="connsiteY19" fmla="*/ 466055 h 745115"/>
                  <a:gd name="connsiteX20" fmla="*/ 20157 w 939186"/>
                  <a:gd name="connsiteY20" fmla="*/ 439944 h 745115"/>
                  <a:gd name="connsiteX21" fmla="*/ 13065 w 939186"/>
                  <a:gd name="connsiteY21" fmla="*/ 432854 h 745115"/>
                  <a:gd name="connsiteX22" fmla="*/ 217 w 939186"/>
                  <a:gd name="connsiteY22" fmla="*/ 400069 h 745115"/>
                  <a:gd name="connsiteX23" fmla="*/ 14817 w 939186"/>
                  <a:gd name="connsiteY23" fmla="*/ 379714 h 745115"/>
                  <a:gd name="connsiteX24" fmla="*/ 15735 w 939186"/>
                  <a:gd name="connsiteY24" fmla="*/ 378797 h 745115"/>
                  <a:gd name="connsiteX25" fmla="*/ 25496 w 939186"/>
                  <a:gd name="connsiteY25" fmla="*/ 371706 h 745115"/>
                  <a:gd name="connsiteX26" fmla="*/ 25913 w 939186"/>
                  <a:gd name="connsiteY26" fmla="*/ 371289 h 745115"/>
                  <a:gd name="connsiteX27" fmla="*/ 36508 w 939186"/>
                  <a:gd name="connsiteY27" fmla="*/ 338088 h 745115"/>
                  <a:gd name="connsiteX28" fmla="*/ 36091 w 939186"/>
                  <a:gd name="connsiteY28" fmla="*/ 332749 h 745115"/>
                  <a:gd name="connsiteX29" fmla="*/ 41430 w 939186"/>
                  <a:gd name="connsiteY29" fmla="*/ 298212 h 745115"/>
                  <a:gd name="connsiteX30" fmla="*/ 41847 w 939186"/>
                  <a:gd name="connsiteY30" fmla="*/ 296461 h 745115"/>
                  <a:gd name="connsiteX31" fmla="*/ 44934 w 939186"/>
                  <a:gd name="connsiteY31" fmla="*/ 285366 h 745115"/>
                  <a:gd name="connsiteX32" fmla="*/ 76386 w 939186"/>
                  <a:gd name="connsiteY32" fmla="*/ 232644 h 745115"/>
                  <a:gd name="connsiteX33" fmla="*/ 118433 w 939186"/>
                  <a:gd name="connsiteY33" fmla="*/ 219797 h 745115"/>
                  <a:gd name="connsiteX34" fmla="*/ 193267 w 939186"/>
                  <a:gd name="connsiteY34" fmla="*/ 170663 h 745115"/>
                  <a:gd name="connsiteX35" fmla="*/ 196771 w 939186"/>
                  <a:gd name="connsiteY35" fmla="*/ 131205 h 745115"/>
                  <a:gd name="connsiteX36" fmla="*/ 207366 w 939186"/>
                  <a:gd name="connsiteY36" fmla="*/ 130788 h 745115"/>
                  <a:gd name="connsiteX37" fmla="*/ 209619 w 939186"/>
                  <a:gd name="connsiteY37" fmla="*/ 130788 h 745115"/>
                  <a:gd name="connsiteX38" fmla="*/ 210036 w 939186"/>
                  <a:gd name="connsiteY38" fmla="*/ 130788 h 745115"/>
                  <a:gd name="connsiteX39" fmla="*/ 261010 w 939186"/>
                  <a:gd name="connsiteY39" fmla="*/ 114854 h 745115"/>
                  <a:gd name="connsiteX40" fmla="*/ 266349 w 939186"/>
                  <a:gd name="connsiteY40" fmla="*/ 108681 h 745115"/>
                  <a:gd name="connsiteX41" fmla="*/ 296049 w 939186"/>
                  <a:gd name="connsiteY41" fmla="*/ 94500 h 745115"/>
                  <a:gd name="connsiteX42" fmla="*/ 336844 w 939186"/>
                  <a:gd name="connsiteY42" fmla="*/ 86074 h 745115"/>
                  <a:gd name="connsiteX43" fmla="*/ 351027 w 939186"/>
                  <a:gd name="connsiteY43" fmla="*/ 80735 h 745115"/>
                  <a:gd name="connsiteX44" fmla="*/ 385983 w 939186"/>
                  <a:gd name="connsiteY44" fmla="*/ 78066 h 745115"/>
                  <a:gd name="connsiteX45" fmla="*/ 406339 w 939186"/>
                  <a:gd name="connsiteY45" fmla="*/ 78984 h 745115"/>
                  <a:gd name="connsiteX46" fmla="*/ 443965 w 939186"/>
                  <a:gd name="connsiteY46" fmla="*/ 59463 h 745115"/>
                  <a:gd name="connsiteX47" fmla="*/ 450639 w 939186"/>
                  <a:gd name="connsiteY47" fmla="*/ 53290 h 745115"/>
                  <a:gd name="connsiteX48" fmla="*/ 485178 w 939186"/>
                  <a:gd name="connsiteY48" fmla="*/ 38692 h 745115"/>
                  <a:gd name="connsiteX49" fmla="*/ 496273 w 939186"/>
                  <a:gd name="connsiteY49" fmla="*/ 36439 h 745115"/>
                  <a:gd name="connsiteX50" fmla="*/ 514461 w 939186"/>
                  <a:gd name="connsiteY50" fmla="*/ 16919 h 745115"/>
                  <a:gd name="connsiteX51" fmla="*/ 516713 w 939186"/>
                  <a:gd name="connsiteY51" fmla="*/ 6741 h 745115"/>
                  <a:gd name="connsiteX52" fmla="*/ 524221 w 939186"/>
                  <a:gd name="connsiteY52" fmla="*/ 568 h 745115"/>
                  <a:gd name="connsiteX53" fmla="*/ 565017 w 939186"/>
                  <a:gd name="connsiteY53" fmla="*/ 12998 h 745115"/>
                  <a:gd name="connsiteX54" fmla="*/ 573026 w 939186"/>
                  <a:gd name="connsiteY54" fmla="*/ 17836 h 745115"/>
                  <a:gd name="connsiteX55" fmla="*/ 611986 w 939186"/>
                  <a:gd name="connsiteY55" fmla="*/ 37774 h 745115"/>
                  <a:gd name="connsiteX56" fmla="*/ 636347 w 939186"/>
                  <a:gd name="connsiteY56" fmla="*/ 43530 h 745115"/>
                  <a:gd name="connsiteX57" fmla="*/ 658038 w 939186"/>
                  <a:gd name="connsiteY57" fmla="*/ 48368 h 745115"/>
                  <a:gd name="connsiteX58" fmla="*/ 683316 w 939186"/>
                  <a:gd name="connsiteY58" fmla="*/ 70558 h 745115"/>
                  <a:gd name="connsiteX59" fmla="*/ 689991 w 939186"/>
                  <a:gd name="connsiteY59" fmla="*/ 78984 h 745115"/>
                  <a:gd name="connsiteX60" fmla="*/ 702421 w 939186"/>
                  <a:gd name="connsiteY60" fmla="*/ 93165 h 745115"/>
                  <a:gd name="connsiteX61" fmla="*/ 722360 w 939186"/>
                  <a:gd name="connsiteY61" fmla="*/ 117524 h 745115"/>
                  <a:gd name="connsiteX62" fmla="*/ 734790 w 939186"/>
                  <a:gd name="connsiteY62" fmla="*/ 147221 h 745115"/>
                  <a:gd name="connsiteX63" fmla="*/ 744134 w 939186"/>
                  <a:gd name="connsiteY63" fmla="*/ 171580 h 745115"/>
                  <a:gd name="connsiteX64" fmla="*/ 762738 w 939186"/>
                  <a:gd name="connsiteY64" fmla="*/ 195522 h 745115"/>
                  <a:gd name="connsiteX65" fmla="*/ 776504 w 939186"/>
                  <a:gd name="connsiteY65" fmla="*/ 211455 h 745115"/>
                  <a:gd name="connsiteX66" fmla="*/ 786682 w 939186"/>
                  <a:gd name="connsiteY66" fmla="*/ 229641 h 745115"/>
                  <a:gd name="connsiteX67" fmla="*/ 833234 w 939186"/>
                  <a:gd name="connsiteY67" fmla="*/ 270851 h 745115"/>
                  <a:gd name="connsiteX68" fmla="*/ 861182 w 939186"/>
                  <a:gd name="connsiteY68" fmla="*/ 283697 h 745115"/>
                  <a:gd name="connsiteX69" fmla="*/ 880704 w 939186"/>
                  <a:gd name="connsiteY69" fmla="*/ 293458 h 745115"/>
                  <a:gd name="connsiteX70" fmla="*/ 902395 w 939186"/>
                  <a:gd name="connsiteY70" fmla="*/ 300966 h 745115"/>
                  <a:gd name="connsiteX71" fmla="*/ 924086 w 939186"/>
                  <a:gd name="connsiteY71" fmla="*/ 308473 h 745115"/>
                  <a:gd name="connsiteX72" fmla="*/ 939186 w 939186"/>
                  <a:gd name="connsiteY72" fmla="*/ 320402 h 745115"/>
                  <a:gd name="connsiteX73" fmla="*/ 925004 w 939186"/>
                  <a:gd name="connsiteY73" fmla="*/ 334167 h 745115"/>
                  <a:gd name="connsiteX74" fmla="*/ 860348 w 939186"/>
                  <a:gd name="connsiteY74" fmla="*/ 369621 h 745115"/>
                  <a:gd name="connsiteX75" fmla="*/ 807622 w 939186"/>
                  <a:gd name="connsiteY75" fmla="*/ 364282 h 745115"/>
                  <a:gd name="connsiteX76" fmla="*/ 787266 w 939186"/>
                  <a:gd name="connsiteY76" fmla="*/ 357608 h 745115"/>
                  <a:gd name="connsiteX77" fmla="*/ 748723 w 939186"/>
                  <a:gd name="connsiteY77" fmla="*/ 361112 h 745115"/>
                  <a:gd name="connsiteX78" fmla="*/ 722110 w 939186"/>
                  <a:gd name="connsiteY78" fmla="*/ 365533 h 745115"/>
                  <a:gd name="connsiteX79" fmla="*/ 675557 w 939186"/>
                  <a:gd name="connsiteY79" fmla="*/ 342092 h 745115"/>
                  <a:gd name="connsiteX80" fmla="*/ 637932 w 939186"/>
                  <a:gd name="connsiteY80" fmla="*/ 325741 h 745115"/>
                  <a:gd name="connsiteX81" fmla="*/ 629923 w 939186"/>
                  <a:gd name="connsiteY81" fmla="*/ 325324 h 745115"/>
                  <a:gd name="connsiteX82" fmla="*/ 610401 w 939186"/>
                  <a:gd name="connsiteY82" fmla="*/ 318233 h 745115"/>
                  <a:gd name="connsiteX83" fmla="*/ 609984 w 939186"/>
                  <a:gd name="connsiteY83" fmla="*/ 305387 h 745115"/>
                  <a:gd name="connsiteX84" fmla="*/ 613488 w 939186"/>
                  <a:gd name="connsiteY84" fmla="*/ 295210 h 745115"/>
                  <a:gd name="connsiteX85" fmla="*/ 601975 w 939186"/>
                  <a:gd name="connsiteY85" fmla="*/ 251831 h 745115"/>
                  <a:gd name="connsiteX86" fmla="*/ 547497 w 939186"/>
                  <a:gd name="connsiteY86" fmla="*/ 285950 h 745115"/>
                  <a:gd name="connsiteX87" fmla="*/ 542659 w 939186"/>
                  <a:gd name="connsiteY87" fmla="*/ 294375 h 745115"/>
                  <a:gd name="connsiteX88" fmla="*/ 532898 w 939186"/>
                  <a:gd name="connsiteY88" fmla="*/ 307222 h 745115"/>
                  <a:gd name="connsiteX89" fmla="*/ 514711 w 939186"/>
                  <a:gd name="connsiteY89" fmla="*/ 350184 h 745115"/>
                  <a:gd name="connsiteX90" fmla="*/ 514711 w 939186"/>
                  <a:gd name="connsiteY90" fmla="*/ 356357 h 745115"/>
                  <a:gd name="connsiteX91" fmla="*/ 504115 w 939186"/>
                  <a:gd name="connsiteY91" fmla="*/ 408161 h 745115"/>
                  <a:gd name="connsiteX92" fmla="*/ 519633 w 939186"/>
                  <a:gd name="connsiteY92" fmla="*/ 457796 h 745115"/>
                  <a:gd name="connsiteX93" fmla="*/ 564350 w 939186"/>
                  <a:gd name="connsiteY93" fmla="*/ 498589 h 745115"/>
                  <a:gd name="connsiteX94" fmla="*/ 569689 w 939186"/>
                  <a:gd name="connsiteY94" fmla="*/ 524699 h 745115"/>
                  <a:gd name="connsiteX95" fmla="*/ 558593 w 939186"/>
                  <a:gd name="connsiteY95" fmla="*/ 536629 h 745115"/>
                  <a:gd name="connsiteX96" fmla="*/ 541741 w 939186"/>
                  <a:gd name="connsiteY96" fmla="*/ 543719 h 745115"/>
                  <a:gd name="connsiteX97" fmla="*/ 501446 w 939186"/>
                  <a:gd name="connsiteY97" fmla="*/ 569830 h 745115"/>
                  <a:gd name="connsiteX98" fmla="*/ 473498 w 939186"/>
                  <a:gd name="connsiteY98" fmla="*/ 624721 h 745115"/>
                  <a:gd name="connsiteX99" fmla="*/ 472580 w 939186"/>
                  <a:gd name="connsiteY99" fmla="*/ 628224 h 745115"/>
                  <a:gd name="connsiteX100" fmla="*/ 456228 w 939186"/>
                  <a:gd name="connsiteY100" fmla="*/ 650331 h 745115"/>
                  <a:gd name="connsiteX101" fmla="*/ 438542 w 939186"/>
                  <a:gd name="connsiteY101" fmla="*/ 673772 h 745115"/>
                  <a:gd name="connsiteX102" fmla="*/ 435455 w 939186"/>
                  <a:gd name="connsiteY102" fmla="*/ 691040 h 745115"/>
                  <a:gd name="connsiteX103" fmla="*/ 434454 w 939186"/>
                  <a:gd name="connsiteY103" fmla="*/ 704220 h 745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939186" h="745115" extrusionOk="0">
                    <a:moveTo>
                      <a:pt x="434454" y="704220"/>
                    </a:moveTo>
                    <a:cubicBezTo>
                      <a:pt x="432702" y="709059"/>
                      <a:pt x="429115" y="712646"/>
                      <a:pt x="424693" y="716650"/>
                    </a:cubicBezTo>
                    <a:cubicBezTo>
                      <a:pt x="422023" y="719319"/>
                      <a:pt x="419354" y="721989"/>
                      <a:pt x="416684" y="725075"/>
                    </a:cubicBezTo>
                    <a:cubicBezTo>
                      <a:pt x="413180" y="729914"/>
                      <a:pt x="409593" y="735253"/>
                      <a:pt x="406923" y="740592"/>
                    </a:cubicBezTo>
                    <a:cubicBezTo>
                      <a:pt x="406506" y="740592"/>
                      <a:pt x="406506" y="741009"/>
                      <a:pt x="406006" y="741009"/>
                    </a:cubicBezTo>
                    <a:cubicBezTo>
                      <a:pt x="381645" y="749851"/>
                      <a:pt x="377223" y="744095"/>
                      <a:pt x="364792" y="726827"/>
                    </a:cubicBezTo>
                    <a:cubicBezTo>
                      <a:pt x="361706" y="722406"/>
                      <a:pt x="358118" y="717985"/>
                      <a:pt x="353697" y="712646"/>
                    </a:cubicBezTo>
                    <a:cubicBezTo>
                      <a:pt x="329753" y="684283"/>
                      <a:pt x="292128" y="673188"/>
                      <a:pt x="255754" y="683866"/>
                    </a:cubicBezTo>
                    <a:cubicBezTo>
                      <a:pt x="254002" y="684283"/>
                      <a:pt x="252667" y="684783"/>
                      <a:pt x="250915" y="685201"/>
                    </a:cubicBezTo>
                    <a:cubicBezTo>
                      <a:pt x="247411" y="675440"/>
                      <a:pt x="243406" y="665680"/>
                      <a:pt x="239819" y="656838"/>
                    </a:cubicBezTo>
                    <a:cubicBezTo>
                      <a:pt x="234981" y="643991"/>
                      <a:pt x="229224" y="629392"/>
                      <a:pt x="215458" y="619215"/>
                    </a:cubicBezTo>
                    <a:cubicBezTo>
                      <a:pt x="209702" y="614793"/>
                      <a:pt x="203028" y="611707"/>
                      <a:pt x="196437" y="609037"/>
                    </a:cubicBezTo>
                    <a:cubicBezTo>
                      <a:pt x="187594" y="605534"/>
                      <a:pt x="179585" y="601947"/>
                      <a:pt x="174746" y="594856"/>
                    </a:cubicBezTo>
                    <a:cubicBezTo>
                      <a:pt x="171242" y="590018"/>
                      <a:pt x="169908" y="583761"/>
                      <a:pt x="168072" y="577171"/>
                    </a:cubicBezTo>
                    <a:cubicBezTo>
                      <a:pt x="166737" y="570497"/>
                      <a:pt x="164985" y="563407"/>
                      <a:pt x="160981" y="556816"/>
                    </a:cubicBezTo>
                    <a:cubicBezTo>
                      <a:pt x="152555" y="542635"/>
                      <a:pt x="137955" y="534710"/>
                      <a:pt x="125107" y="528036"/>
                    </a:cubicBezTo>
                    <a:cubicBezTo>
                      <a:pt x="116264" y="524032"/>
                      <a:pt x="106920" y="520945"/>
                      <a:pt x="97660" y="517859"/>
                    </a:cubicBezTo>
                    <a:cubicBezTo>
                      <a:pt x="81308" y="512520"/>
                      <a:pt x="65791" y="507264"/>
                      <a:pt x="54695" y="496587"/>
                    </a:cubicBezTo>
                    <a:cubicBezTo>
                      <a:pt x="48522" y="490414"/>
                      <a:pt x="45852" y="483740"/>
                      <a:pt x="42765" y="474897"/>
                    </a:cubicBezTo>
                    <a:cubicBezTo>
                      <a:pt x="41847" y="471811"/>
                      <a:pt x="40513" y="468724"/>
                      <a:pt x="39678" y="466055"/>
                    </a:cubicBezTo>
                    <a:cubicBezTo>
                      <a:pt x="34839" y="454126"/>
                      <a:pt x="27748" y="447452"/>
                      <a:pt x="20157" y="439944"/>
                    </a:cubicBezTo>
                    <a:cubicBezTo>
                      <a:pt x="17904" y="437692"/>
                      <a:pt x="15318" y="435523"/>
                      <a:pt x="13065" y="432854"/>
                    </a:cubicBezTo>
                    <a:cubicBezTo>
                      <a:pt x="7726" y="426680"/>
                      <a:pt x="-1534" y="414668"/>
                      <a:pt x="217" y="400069"/>
                    </a:cubicBezTo>
                    <a:cubicBezTo>
                      <a:pt x="1135" y="389475"/>
                      <a:pt x="6391" y="385470"/>
                      <a:pt x="14817" y="379714"/>
                    </a:cubicBezTo>
                    <a:cubicBezTo>
                      <a:pt x="15234" y="379297"/>
                      <a:pt x="15735" y="379297"/>
                      <a:pt x="15735" y="378797"/>
                    </a:cubicBezTo>
                    <a:cubicBezTo>
                      <a:pt x="18822" y="376545"/>
                      <a:pt x="22409" y="374376"/>
                      <a:pt x="25496" y="371706"/>
                    </a:cubicBezTo>
                    <a:cubicBezTo>
                      <a:pt x="25913" y="371289"/>
                      <a:pt x="25913" y="371289"/>
                      <a:pt x="25913" y="371289"/>
                    </a:cubicBezTo>
                    <a:cubicBezTo>
                      <a:pt x="39178" y="360194"/>
                      <a:pt x="37843" y="349600"/>
                      <a:pt x="36508" y="338088"/>
                    </a:cubicBezTo>
                    <a:lnTo>
                      <a:pt x="36091" y="332749"/>
                    </a:lnTo>
                    <a:cubicBezTo>
                      <a:pt x="34756" y="320319"/>
                      <a:pt x="37426" y="310559"/>
                      <a:pt x="41430" y="298212"/>
                    </a:cubicBezTo>
                    <a:lnTo>
                      <a:pt x="41847" y="296461"/>
                    </a:lnTo>
                    <a:cubicBezTo>
                      <a:pt x="43182" y="292957"/>
                      <a:pt x="44100" y="288953"/>
                      <a:pt x="44934" y="285366"/>
                    </a:cubicBezTo>
                    <a:cubicBezTo>
                      <a:pt x="51108" y="263676"/>
                      <a:pt x="56447" y="243322"/>
                      <a:pt x="76386" y="232644"/>
                    </a:cubicBezTo>
                    <a:cubicBezTo>
                      <a:pt x="88316" y="225971"/>
                      <a:pt x="102999" y="222884"/>
                      <a:pt x="118433" y="219797"/>
                    </a:cubicBezTo>
                    <a:cubicBezTo>
                      <a:pt x="147633" y="213624"/>
                      <a:pt x="181337" y="206951"/>
                      <a:pt x="193267" y="170663"/>
                    </a:cubicBezTo>
                    <a:cubicBezTo>
                      <a:pt x="197689" y="157399"/>
                      <a:pt x="198106" y="144552"/>
                      <a:pt x="196771" y="131205"/>
                    </a:cubicBezTo>
                    <a:cubicBezTo>
                      <a:pt x="200275" y="130788"/>
                      <a:pt x="203862" y="130788"/>
                      <a:pt x="207366" y="130788"/>
                    </a:cubicBezTo>
                    <a:lnTo>
                      <a:pt x="209619" y="130788"/>
                    </a:lnTo>
                    <a:cubicBezTo>
                      <a:pt x="210036" y="130788"/>
                      <a:pt x="210036" y="130788"/>
                      <a:pt x="210036" y="130788"/>
                    </a:cubicBezTo>
                    <a:cubicBezTo>
                      <a:pt x="228223" y="130788"/>
                      <a:pt x="245492" y="130788"/>
                      <a:pt x="261010" y="114854"/>
                    </a:cubicBezTo>
                    <a:cubicBezTo>
                      <a:pt x="262762" y="112602"/>
                      <a:pt x="264514" y="110850"/>
                      <a:pt x="266349" y="108681"/>
                    </a:cubicBezTo>
                    <a:cubicBezTo>
                      <a:pt x="276527" y="98087"/>
                      <a:pt x="280114" y="93165"/>
                      <a:pt x="296049" y="94500"/>
                    </a:cubicBezTo>
                    <a:cubicBezTo>
                      <a:pt x="313318" y="95835"/>
                      <a:pt x="323997" y="91413"/>
                      <a:pt x="336844" y="86074"/>
                    </a:cubicBezTo>
                    <a:cubicBezTo>
                      <a:pt x="341266" y="84322"/>
                      <a:pt x="345688" y="82570"/>
                      <a:pt x="351027" y="80735"/>
                    </a:cubicBezTo>
                    <a:cubicBezTo>
                      <a:pt x="362957" y="76731"/>
                      <a:pt x="374053" y="77649"/>
                      <a:pt x="385983" y="78066"/>
                    </a:cubicBezTo>
                    <a:cubicBezTo>
                      <a:pt x="392657" y="78483"/>
                      <a:pt x="399248" y="78984"/>
                      <a:pt x="406339" y="78984"/>
                    </a:cubicBezTo>
                    <a:cubicBezTo>
                      <a:pt x="424526" y="78066"/>
                      <a:pt x="433787" y="69223"/>
                      <a:pt x="443965" y="59463"/>
                    </a:cubicBezTo>
                    <a:cubicBezTo>
                      <a:pt x="446217" y="57211"/>
                      <a:pt x="448386" y="55042"/>
                      <a:pt x="450639" y="53290"/>
                    </a:cubicBezTo>
                    <a:cubicBezTo>
                      <a:pt x="462569" y="42696"/>
                      <a:pt x="471496" y="40860"/>
                      <a:pt x="485178" y="38692"/>
                    </a:cubicBezTo>
                    <a:cubicBezTo>
                      <a:pt x="488681" y="38274"/>
                      <a:pt x="492269" y="37357"/>
                      <a:pt x="496273" y="36439"/>
                    </a:cubicBezTo>
                    <a:cubicBezTo>
                      <a:pt x="511791" y="32935"/>
                      <a:pt x="514461" y="26679"/>
                      <a:pt x="514461" y="16919"/>
                    </a:cubicBezTo>
                    <a:cubicBezTo>
                      <a:pt x="514461" y="13832"/>
                      <a:pt x="514461" y="10746"/>
                      <a:pt x="516713" y="6741"/>
                    </a:cubicBezTo>
                    <a:cubicBezTo>
                      <a:pt x="518465" y="3655"/>
                      <a:pt x="521135" y="1402"/>
                      <a:pt x="524221" y="568"/>
                    </a:cubicBezTo>
                    <a:cubicBezTo>
                      <a:pt x="533065" y="-1684"/>
                      <a:pt x="547664" y="2821"/>
                      <a:pt x="565017" y="12998"/>
                    </a:cubicBezTo>
                    <a:lnTo>
                      <a:pt x="573026" y="17836"/>
                    </a:lnTo>
                    <a:cubicBezTo>
                      <a:pt x="585456" y="24927"/>
                      <a:pt x="597804" y="32435"/>
                      <a:pt x="611986" y="37774"/>
                    </a:cubicBezTo>
                    <a:cubicBezTo>
                      <a:pt x="619995" y="40860"/>
                      <a:pt x="628338" y="42195"/>
                      <a:pt x="636347" y="43530"/>
                    </a:cubicBezTo>
                    <a:cubicBezTo>
                      <a:pt x="644356" y="44865"/>
                      <a:pt x="650947" y="46199"/>
                      <a:pt x="658038" y="48368"/>
                    </a:cubicBezTo>
                    <a:cubicBezTo>
                      <a:pt x="669134" y="52372"/>
                      <a:pt x="675724" y="60798"/>
                      <a:pt x="683316" y="70558"/>
                    </a:cubicBezTo>
                    <a:cubicBezTo>
                      <a:pt x="685569" y="73645"/>
                      <a:pt x="687738" y="76314"/>
                      <a:pt x="689991" y="78984"/>
                    </a:cubicBezTo>
                    <a:cubicBezTo>
                      <a:pt x="693995" y="83822"/>
                      <a:pt x="698417" y="88744"/>
                      <a:pt x="702421" y="93165"/>
                    </a:cubicBezTo>
                    <a:cubicBezTo>
                      <a:pt x="709929" y="101173"/>
                      <a:pt x="717021" y="108681"/>
                      <a:pt x="722360" y="117524"/>
                    </a:cubicBezTo>
                    <a:cubicBezTo>
                      <a:pt x="727699" y="126867"/>
                      <a:pt x="731203" y="136544"/>
                      <a:pt x="734790" y="147221"/>
                    </a:cubicBezTo>
                    <a:cubicBezTo>
                      <a:pt x="737460" y="155230"/>
                      <a:pt x="740130" y="163572"/>
                      <a:pt x="744134" y="171580"/>
                    </a:cubicBezTo>
                    <a:cubicBezTo>
                      <a:pt x="748973" y="181341"/>
                      <a:pt x="756064" y="188849"/>
                      <a:pt x="762738" y="195522"/>
                    </a:cubicBezTo>
                    <a:cubicBezTo>
                      <a:pt x="767577" y="200861"/>
                      <a:pt x="772500" y="205699"/>
                      <a:pt x="776504" y="211455"/>
                    </a:cubicBezTo>
                    <a:cubicBezTo>
                      <a:pt x="780926" y="218129"/>
                      <a:pt x="783595" y="224302"/>
                      <a:pt x="786682" y="229641"/>
                    </a:cubicBezTo>
                    <a:cubicBezTo>
                      <a:pt x="796443" y="247326"/>
                      <a:pt x="803952" y="261507"/>
                      <a:pt x="833234" y="270851"/>
                    </a:cubicBezTo>
                    <a:cubicBezTo>
                      <a:pt x="842995" y="273937"/>
                      <a:pt x="851839" y="278859"/>
                      <a:pt x="861182" y="283697"/>
                    </a:cubicBezTo>
                    <a:cubicBezTo>
                      <a:pt x="867856" y="286784"/>
                      <a:pt x="874030" y="290371"/>
                      <a:pt x="880704" y="293458"/>
                    </a:cubicBezTo>
                    <a:cubicBezTo>
                      <a:pt x="887796" y="296544"/>
                      <a:pt x="895304" y="298797"/>
                      <a:pt x="902395" y="300966"/>
                    </a:cubicBezTo>
                    <a:cubicBezTo>
                      <a:pt x="910404" y="303218"/>
                      <a:pt x="917495" y="305387"/>
                      <a:pt x="924086" y="308473"/>
                    </a:cubicBezTo>
                    <a:cubicBezTo>
                      <a:pt x="931595" y="311977"/>
                      <a:pt x="936517" y="315564"/>
                      <a:pt x="939186" y="320402"/>
                    </a:cubicBezTo>
                    <a:cubicBezTo>
                      <a:pt x="934765" y="325241"/>
                      <a:pt x="930343" y="330163"/>
                      <a:pt x="925004" y="334167"/>
                    </a:cubicBezTo>
                    <a:cubicBezTo>
                      <a:pt x="901060" y="351852"/>
                      <a:pt x="878952" y="363865"/>
                      <a:pt x="860348" y="369621"/>
                    </a:cubicBezTo>
                    <a:cubicBezTo>
                      <a:pt x="840826" y="375794"/>
                      <a:pt x="825392" y="370538"/>
                      <a:pt x="807622" y="364282"/>
                    </a:cubicBezTo>
                    <a:cubicBezTo>
                      <a:pt x="801449" y="362029"/>
                      <a:pt x="794775" y="359443"/>
                      <a:pt x="787266" y="357608"/>
                    </a:cubicBezTo>
                    <a:cubicBezTo>
                      <a:pt x="772667" y="353604"/>
                      <a:pt x="759819" y="358025"/>
                      <a:pt x="748723" y="361112"/>
                    </a:cubicBezTo>
                    <a:cubicBezTo>
                      <a:pt x="739880" y="364198"/>
                      <a:pt x="731453" y="366868"/>
                      <a:pt x="722110" y="365533"/>
                    </a:cubicBezTo>
                    <a:cubicBezTo>
                      <a:pt x="703923" y="362863"/>
                      <a:pt x="685819" y="353604"/>
                      <a:pt x="675557" y="342092"/>
                    </a:cubicBezTo>
                    <a:cubicBezTo>
                      <a:pt x="662710" y="327910"/>
                      <a:pt x="651614" y="326575"/>
                      <a:pt x="637932" y="325741"/>
                    </a:cubicBezTo>
                    <a:cubicBezTo>
                      <a:pt x="635262" y="325324"/>
                      <a:pt x="633093" y="325324"/>
                      <a:pt x="629923" y="325324"/>
                    </a:cubicBezTo>
                    <a:cubicBezTo>
                      <a:pt x="619328" y="323990"/>
                      <a:pt x="612654" y="321821"/>
                      <a:pt x="610401" y="318233"/>
                    </a:cubicBezTo>
                    <a:cubicBezTo>
                      <a:pt x="608149" y="315564"/>
                      <a:pt x="608149" y="311143"/>
                      <a:pt x="609984" y="305387"/>
                    </a:cubicBezTo>
                    <a:cubicBezTo>
                      <a:pt x="610902" y="302300"/>
                      <a:pt x="612237" y="298713"/>
                      <a:pt x="613488" y="295210"/>
                    </a:cubicBezTo>
                    <a:cubicBezTo>
                      <a:pt x="618327" y="283280"/>
                      <a:pt x="626336" y="262842"/>
                      <a:pt x="601975" y="251831"/>
                    </a:cubicBezTo>
                    <a:cubicBezTo>
                      <a:pt x="574027" y="239401"/>
                      <a:pt x="557675" y="268181"/>
                      <a:pt x="547497" y="285950"/>
                    </a:cubicBezTo>
                    <a:cubicBezTo>
                      <a:pt x="545746" y="289036"/>
                      <a:pt x="543994" y="292123"/>
                      <a:pt x="542659" y="294375"/>
                    </a:cubicBezTo>
                    <a:cubicBezTo>
                      <a:pt x="539572" y="299214"/>
                      <a:pt x="535984" y="303218"/>
                      <a:pt x="532898" y="307222"/>
                    </a:cubicBezTo>
                    <a:cubicBezTo>
                      <a:pt x="524055" y="318734"/>
                      <a:pt x="514711" y="330663"/>
                      <a:pt x="514711" y="350184"/>
                    </a:cubicBezTo>
                    <a:lnTo>
                      <a:pt x="514711" y="356357"/>
                    </a:lnTo>
                    <a:cubicBezTo>
                      <a:pt x="515128" y="378046"/>
                      <a:pt x="515128" y="388724"/>
                      <a:pt x="504115" y="408161"/>
                    </a:cubicBezTo>
                    <a:cubicBezTo>
                      <a:pt x="489516" y="433854"/>
                      <a:pt x="503698" y="447619"/>
                      <a:pt x="519633" y="457796"/>
                    </a:cubicBezTo>
                    <a:cubicBezTo>
                      <a:pt x="539572" y="469725"/>
                      <a:pt x="554171" y="479903"/>
                      <a:pt x="564350" y="498589"/>
                    </a:cubicBezTo>
                    <a:cubicBezTo>
                      <a:pt x="567854" y="505679"/>
                      <a:pt x="572359" y="516274"/>
                      <a:pt x="569689" y="524699"/>
                    </a:cubicBezTo>
                    <a:cubicBezTo>
                      <a:pt x="568354" y="529538"/>
                      <a:pt x="564350" y="533542"/>
                      <a:pt x="558593" y="536629"/>
                    </a:cubicBezTo>
                    <a:cubicBezTo>
                      <a:pt x="552837" y="539715"/>
                      <a:pt x="547080" y="541967"/>
                      <a:pt x="541741" y="543719"/>
                    </a:cubicBezTo>
                    <a:cubicBezTo>
                      <a:pt x="527975" y="549475"/>
                      <a:pt x="514711" y="554814"/>
                      <a:pt x="501446" y="569830"/>
                    </a:cubicBezTo>
                    <a:cubicBezTo>
                      <a:pt x="484176" y="588433"/>
                      <a:pt x="479755" y="603031"/>
                      <a:pt x="473498" y="624721"/>
                    </a:cubicBezTo>
                    <a:lnTo>
                      <a:pt x="472580" y="628224"/>
                    </a:lnTo>
                    <a:cubicBezTo>
                      <a:pt x="469910" y="637984"/>
                      <a:pt x="463236" y="644158"/>
                      <a:pt x="456228" y="650331"/>
                    </a:cubicBezTo>
                    <a:cubicBezTo>
                      <a:pt x="449554" y="657004"/>
                      <a:pt x="442463" y="664095"/>
                      <a:pt x="438542" y="673772"/>
                    </a:cubicBezTo>
                    <a:cubicBezTo>
                      <a:pt x="435872" y="679945"/>
                      <a:pt x="435872" y="685701"/>
                      <a:pt x="435455" y="691040"/>
                    </a:cubicBezTo>
                    <a:cubicBezTo>
                      <a:pt x="435789" y="697130"/>
                      <a:pt x="435789" y="701050"/>
                      <a:pt x="434454" y="70422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82402080" name="Полилиния 395"/>
              <p:cNvSpPr/>
              <p:nvPr/>
            </p:nvSpPr>
            <p:spPr bwMode="auto">
              <a:xfrm>
                <a:off x="4446754" y="4939465"/>
                <a:ext cx="496035" cy="743568"/>
              </a:xfrm>
              <a:custGeom>
                <a:avLst/>
                <a:gdLst>
                  <a:gd name="connsiteX0" fmla="*/ 429899 w 557064"/>
                  <a:gd name="connsiteY0" fmla="*/ 711740 h 835052"/>
                  <a:gd name="connsiteX1" fmla="*/ 421055 w 557064"/>
                  <a:gd name="connsiteY1" fmla="*/ 745859 h 835052"/>
                  <a:gd name="connsiteX2" fmla="*/ 412629 w 557064"/>
                  <a:gd name="connsiteY2" fmla="*/ 777309 h 835052"/>
                  <a:gd name="connsiteX3" fmla="*/ 390521 w 557064"/>
                  <a:gd name="connsiteY3" fmla="*/ 789238 h 835052"/>
                  <a:gd name="connsiteX4" fmla="*/ 367495 w 557064"/>
                  <a:gd name="connsiteY4" fmla="*/ 801167 h 835052"/>
                  <a:gd name="connsiteX5" fmla="*/ 345804 w 557064"/>
                  <a:gd name="connsiteY5" fmla="*/ 805588 h 835052"/>
                  <a:gd name="connsiteX6" fmla="*/ 313435 w 557064"/>
                  <a:gd name="connsiteY6" fmla="*/ 814014 h 835052"/>
                  <a:gd name="connsiteX7" fmla="*/ 299252 w 557064"/>
                  <a:gd name="connsiteY7" fmla="*/ 823774 h 835052"/>
                  <a:gd name="connsiteX8" fmla="*/ 277561 w 557064"/>
                  <a:gd name="connsiteY8" fmla="*/ 834869 h 835052"/>
                  <a:gd name="connsiteX9" fmla="*/ 249613 w 557064"/>
                  <a:gd name="connsiteY9" fmla="*/ 830031 h 835052"/>
                  <a:gd name="connsiteX10" fmla="*/ 222166 w 557064"/>
                  <a:gd name="connsiteY10" fmla="*/ 824692 h 835052"/>
                  <a:gd name="connsiteX11" fmla="*/ 211070 w 557064"/>
                  <a:gd name="connsiteY11" fmla="*/ 825109 h 835052"/>
                  <a:gd name="connsiteX12" fmla="*/ 181370 w 557064"/>
                  <a:gd name="connsiteY12" fmla="*/ 815349 h 835052"/>
                  <a:gd name="connsiteX13" fmla="*/ 186710 w 557064"/>
                  <a:gd name="connsiteY13" fmla="*/ 792325 h 835052"/>
                  <a:gd name="connsiteX14" fmla="*/ 202227 w 557064"/>
                  <a:gd name="connsiteY14" fmla="*/ 787904 h 835052"/>
                  <a:gd name="connsiteX15" fmla="*/ 230175 w 557064"/>
                  <a:gd name="connsiteY15" fmla="*/ 775474 h 835052"/>
                  <a:gd name="connsiteX16" fmla="*/ 235514 w 557064"/>
                  <a:gd name="connsiteY16" fmla="*/ 755119 h 835052"/>
                  <a:gd name="connsiteX17" fmla="*/ 215992 w 557064"/>
                  <a:gd name="connsiteY17" fmla="*/ 739603 h 835052"/>
                  <a:gd name="connsiteX18" fmla="*/ 200058 w 557064"/>
                  <a:gd name="connsiteY18" fmla="*/ 736934 h 835052"/>
                  <a:gd name="connsiteX19" fmla="*/ 175280 w 557064"/>
                  <a:gd name="connsiteY19" fmla="*/ 725838 h 835052"/>
                  <a:gd name="connsiteX20" fmla="*/ 136319 w 557064"/>
                  <a:gd name="connsiteY20" fmla="*/ 724921 h 835052"/>
                  <a:gd name="connsiteX21" fmla="*/ 121720 w 557064"/>
                  <a:gd name="connsiteY21" fmla="*/ 730260 h 835052"/>
                  <a:gd name="connsiteX22" fmla="*/ 116881 w 557064"/>
                  <a:gd name="connsiteY22" fmla="*/ 699728 h 835052"/>
                  <a:gd name="connsiteX23" fmla="*/ 116881 w 557064"/>
                  <a:gd name="connsiteY23" fmla="*/ 695724 h 835052"/>
                  <a:gd name="connsiteX24" fmla="*/ 100946 w 557064"/>
                  <a:gd name="connsiteY24" fmla="*/ 662939 h 835052"/>
                  <a:gd name="connsiteX25" fmla="*/ 65073 w 557064"/>
                  <a:gd name="connsiteY25" fmla="*/ 672700 h 835052"/>
                  <a:gd name="connsiteX26" fmla="*/ 54478 w 557064"/>
                  <a:gd name="connsiteY26" fmla="*/ 679373 h 835052"/>
                  <a:gd name="connsiteX27" fmla="*/ 10178 w 557064"/>
                  <a:gd name="connsiteY27" fmla="*/ 670948 h 835052"/>
                  <a:gd name="connsiteX28" fmla="*/ 7508 w 557064"/>
                  <a:gd name="connsiteY28" fmla="*/ 647924 h 835052"/>
                  <a:gd name="connsiteX29" fmla="*/ 13265 w 557064"/>
                  <a:gd name="connsiteY29" fmla="*/ 637330 h 835052"/>
                  <a:gd name="connsiteX30" fmla="*/ 27447 w 557064"/>
                  <a:gd name="connsiteY30" fmla="*/ 592115 h 835052"/>
                  <a:gd name="connsiteX31" fmla="*/ 30951 w 557064"/>
                  <a:gd name="connsiteY31" fmla="*/ 559331 h 835052"/>
                  <a:gd name="connsiteX32" fmla="*/ 34038 w 557064"/>
                  <a:gd name="connsiteY32" fmla="*/ 533221 h 835052"/>
                  <a:gd name="connsiteX33" fmla="*/ 17687 w 557064"/>
                  <a:gd name="connsiteY33" fmla="*/ 480499 h 835052"/>
                  <a:gd name="connsiteX34" fmla="*/ 0 w 557064"/>
                  <a:gd name="connsiteY34" fmla="*/ 474326 h 835052"/>
                  <a:gd name="connsiteX35" fmla="*/ 2670 w 557064"/>
                  <a:gd name="connsiteY35" fmla="*/ 470822 h 835052"/>
                  <a:gd name="connsiteX36" fmla="*/ 9344 w 557064"/>
                  <a:gd name="connsiteY36" fmla="*/ 464148 h 835052"/>
                  <a:gd name="connsiteX37" fmla="*/ 22192 w 557064"/>
                  <a:gd name="connsiteY37" fmla="*/ 446463 h 835052"/>
                  <a:gd name="connsiteX38" fmla="*/ 24861 w 557064"/>
                  <a:gd name="connsiteY38" fmla="*/ 430113 h 835052"/>
                  <a:gd name="connsiteX39" fmla="*/ 26613 w 557064"/>
                  <a:gd name="connsiteY39" fmla="*/ 417683 h 835052"/>
                  <a:gd name="connsiteX40" fmla="*/ 41213 w 557064"/>
                  <a:gd name="connsiteY40" fmla="*/ 399080 h 835052"/>
                  <a:gd name="connsiteX41" fmla="*/ 61152 w 557064"/>
                  <a:gd name="connsiteY41" fmla="*/ 370300 h 835052"/>
                  <a:gd name="connsiteX42" fmla="*/ 62487 w 557064"/>
                  <a:gd name="connsiteY42" fmla="*/ 366797 h 835052"/>
                  <a:gd name="connsiteX43" fmla="*/ 87265 w 557064"/>
                  <a:gd name="connsiteY43" fmla="*/ 317161 h 835052"/>
                  <a:gd name="connsiteX44" fmla="*/ 122721 w 557064"/>
                  <a:gd name="connsiteY44" fmla="*/ 295055 h 835052"/>
                  <a:gd name="connsiteX45" fmla="*/ 140408 w 557064"/>
                  <a:gd name="connsiteY45" fmla="*/ 287046 h 835052"/>
                  <a:gd name="connsiteX46" fmla="*/ 159012 w 557064"/>
                  <a:gd name="connsiteY46" fmla="*/ 266692 h 835052"/>
                  <a:gd name="connsiteX47" fmla="*/ 152337 w 557064"/>
                  <a:gd name="connsiteY47" fmla="*/ 229486 h 835052"/>
                  <a:gd name="connsiteX48" fmla="*/ 102699 w 557064"/>
                  <a:gd name="connsiteY48" fmla="*/ 183438 h 835052"/>
                  <a:gd name="connsiteX49" fmla="*/ 92103 w 557064"/>
                  <a:gd name="connsiteY49" fmla="*/ 152906 h 835052"/>
                  <a:gd name="connsiteX50" fmla="*/ 104951 w 557064"/>
                  <a:gd name="connsiteY50" fmla="*/ 93511 h 835052"/>
                  <a:gd name="connsiteX51" fmla="*/ 104951 w 557064"/>
                  <a:gd name="connsiteY51" fmla="*/ 87338 h 835052"/>
                  <a:gd name="connsiteX52" fmla="*/ 120051 w 557064"/>
                  <a:gd name="connsiteY52" fmla="*/ 53219 h 835052"/>
                  <a:gd name="connsiteX53" fmla="*/ 130229 w 557064"/>
                  <a:gd name="connsiteY53" fmla="*/ 39037 h 835052"/>
                  <a:gd name="connsiteX54" fmla="*/ 135569 w 557064"/>
                  <a:gd name="connsiteY54" fmla="*/ 29694 h 835052"/>
                  <a:gd name="connsiteX55" fmla="*/ 171859 w 557064"/>
                  <a:gd name="connsiteY55" fmla="*/ 1748 h 835052"/>
                  <a:gd name="connsiteX56" fmla="*/ 175864 w 557064"/>
                  <a:gd name="connsiteY56" fmla="*/ 27025 h 835052"/>
                  <a:gd name="connsiteX57" fmla="*/ 171859 w 557064"/>
                  <a:gd name="connsiteY57" fmla="*/ 38537 h 835052"/>
                  <a:gd name="connsiteX58" fmla="*/ 174112 w 557064"/>
                  <a:gd name="connsiteY58" fmla="*/ 63313 h 835052"/>
                  <a:gd name="connsiteX59" fmla="*/ 204229 w 557064"/>
                  <a:gd name="connsiteY59" fmla="*/ 76160 h 835052"/>
                  <a:gd name="connsiteX60" fmla="*/ 212238 w 557064"/>
                  <a:gd name="connsiteY60" fmla="*/ 77077 h 835052"/>
                  <a:gd name="connsiteX61" fmla="*/ 240186 w 557064"/>
                  <a:gd name="connsiteY61" fmla="*/ 88172 h 835052"/>
                  <a:gd name="connsiteX62" fmla="*/ 295582 w 557064"/>
                  <a:gd name="connsiteY62" fmla="*/ 116118 h 835052"/>
                  <a:gd name="connsiteX63" fmla="*/ 328785 w 557064"/>
                  <a:gd name="connsiteY63" fmla="*/ 111280 h 835052"/>
                  <a:gd name="connsiteX64" fmla="*/ 359320 w 557064"/>
                  <a:gd name="connsiteY64" fmla="*/ 107776 h 835052"/>
                  <a:gd name="connsiteX65" fmla="*/ 378841 w 557064"/>
                  <a:gd name="connsiteY65" fmla="*/ 113949 h 835052"/>
                  <a:gd name="connsiteX66" fmla="*/ 440410 w 557064"/>
                  <a:gd name="connsiteY66" fmla="*/ 119288 h 835052"/>
                  <a:gd name="connsiteX67" fmla="*/ 509071 w 557064"/>
                  <a:gd name="connsiteY67" fmla="*/ 81665 h 835052"/>
                  <a:gd name="connsiteX68" fmla="*/ 517080 w 557064"/>
                  <a:gd name="connsiteY68" fmla="*/ 74992 h 835052"/>
                  <a:gd name="connsiteX69" fmla="*/ 509071 w 557064"/>
                  <a:gd name="connsiteY69" fmla="*/ 101102 h 835052"/>
                  <a:gd name="connsiteX70" fmla="*/ 508153 w 557064"/>
                  <a:gd name="connsiteY70" fmla="*/ 102854 h 835052"/>
                  <a:gd name="connsiteX71" fmla="*/ 503314 w 557064"/>
                  <a:gd name="connsiteY71" fmla="*/ 145816 h 835052"/>
                  <a:gd name="connsiteX72" fmla="*/ 517914 w 557064"/>
                  <a:gd name="connsiteY72" fmla="*/ 162166 h 835052"/>
                  <a:gd name="connsiteX73" fmla="*/ 528509 w 557064"/>
                  <a:gd name="connsiteY73" fmla="*/ 173261 h 835052"/>
                  <a:gd name="connsiteX74" fmla="*/ 528092 w 557064"/>
                  <a:gd name="connsiteY74" fmla="*/ 200289 h 835052"/>
                  <a:gd name="connsiteX75" fmla="*/ 525840 w 557064"/>
                  <a:gd name="connsiteY75" fmla="*/ 225566 h 835052"/>
                  <a:gd name="connsiteX76" fmla="*/ 538270 w 557064"/>
                  <a:gd name="connsiteY76" fmla="*/ 264106 h 835052"/>
                  <a:gd name="connsiteX77" fmla="*/ 544944 w 557064"/>
                  <a:gd name="connsiteY77" fmla="*/ 279622 h 835052"/>
                  <a:gd name="connsiteX78" fmla="*/ 548448 w 557064"/>
                  <a:gd name="connsiteY78" fmla="*/ 290717 h 835052"/>
                  <a:gd name="connsiteX79" fmla="*/ 552453 w 557064"/>
                  <a:gd name="connsiteY79" fmla="*/ 304899 h 835052"/>
                  <a:gd name="connsiteX80" fmla="*/ 550701 w 557064"/>
                  <a:gd name="connsiteY80" fmla="*/ 370050 h 835052"/>
                  <a:gd name="connsiteX81" fmla="*/ 540105 w 557064"/>
                  <a:gd name="connsiteY81" fmla="*/ 384648 h 835052"/>
                  <a:gd name="connsiteX82" fmla="*/ 523754 w 557064"/>
                  <a:gd name="connsiteY82" fmla="*/ 413011 h 835052"/>
                  <a:gd name="connsiteX83" fmla="*/ 529093 w 557064"/>
                  <a:gd name="connsiteY83" fmla="*/ 440040 h 835052"/>
                  <a:gd name="connsiteX84" fmla="*/ 533932 w 557064"/>
                  <a:gd name="connsiteY84" fmla="*/ 453304 h 835052"/>
                  <a:gd name="connsiteX85" fmla="*/ 506902 w 557064"/>
                  <a:gd name="connsiteY85" fmla="*/ 466150 h 835052"/>
                  <a:gd name="connsiteX86" fmla="*/ 495806 w 557064"/>
                  <a:gd name="connsiteY86" fmla="*/ 467068 h 835052"/>
                  <a:gd name="connsiteX87" fmla="*/ 424059 w 557064"/>
                  <a:gd name="connsiteY87" fmla="*/ 520707 h 835052"/>
                  <a:gd name="connsiteX88" fmla="*/ 414715 w 557064"/>
                  <a:gd name="connsiteY88" fmla="*/ 552574 h 835052"/>
                  <a:gd name="connsiteX89" fmla="*/ 410293 w 557064"/>
                  <a:gd name="connsiteY89" fmla="*/ 572095 h 835052"/>
                  <a:gd name="connsiteX90" fmla="*/ 402284 w 557064"/>
                  <a:gd name="connsiteY90" fmla="*/ 626151 h 835052"/>
                  <a:gd name="connsiteX91" fmla="*/ 416884 w 557064"/>
                  <a:gd name="connsiteY91" fmla="*/ 665609 h 835052"/>
                  <a:gd name="connsiteX92" fmla="*/ 429899 w 557064"/>
                  <a:gd name="connsiteY92" fmla="*/ 711740 h 835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557064" h="835052" extrusionOk="0">
                    <a:moveTo>
                      <a:pt x="429899" y="711740"/>
                    </a:moveTo>
                    <a:cubicBezTo>
                      <a:pt x="428147" y="723670"/>
                      <a:pt x="424559" y="735182"/>
                      <a:pt x="421055" y="745859"/>
                    </a:cubicBezTo>
                    <a:cubicBezTo>
                      <a:pt x="417968" y="756037"/>
                      <a:pt x="414381" y="766214"/>
                      <a:pt x="412629" y="777309"/>
                    </a:cubicBezTo>
                    <a:cubicBezTo>
                      <a:pt x="404620" y="780396"/>
                      <a:pt x="397529" y="784817"/>
                      <a:pt x="390521" y="789238"/>
                    </a:cubicBezTo>
                    <a:cubicBezTo>
                      <a:pt x="383013" y="794077"/>
                      <a:pt x="375921" y="798581"/>
                      <a:pt x="367495" y="801167"/>
                    </a:cubicBezTo>
                    <a:cubicBezTo>
                      <a:pt x="360821" y="803419"/>
                      <a:pt x="353313" y="804671"/>
                      <a:pt x="345804" y="805588"/>
                    </a:cubicBezTo>
                    <a:cubicBezTo>
                      <a:pt x="335209" y="806923"/>
                      <a:pt x="324113" y="808675"/>
                      <a:pt x="313435" y="814014"/>
                    </a:cubicBezTo>
                    <a:cubicBezTo>
                      <a:pt x="308096" y="816684"/>
                      <a:pt x="303674" y="820187"/>
                      <a:pt x="299252" y="823774"/>
                    </a:cubicBezTo>
                    <a:cubicBezTo>
                      <a:pt x="292161" y="829113"/>
                      <a:pt x="285487" y="833951"/>
                      <a:pt x="277561" y="834869"/>
                    </a:cubicBezTo>
                    <a:cubicBezTo>
                      <a:pt x="268718" y="835787"/>
                      <a:pt x="259374" y="833117"/>
                      <a:pt x="249613" y="830031"/>
                    </a:cubicBezTo>
                    <a:cubicBezTo>
                      <a:pt x="240770" y="827361"/>
                      <a:pt x="231927" y="824692"/>
                      <a:pt x="222166" y="824692"/>
                    </a:cubicBezTo>
                    <a:cubicBezTo>
                      <a:pt x="218662" y="824692"/>
                      <a:pt x="215075" y="824692"/>
                      <a:pt x="211070" y="825109"/>
                    </a:cubicBezTo>
                    <a:cubicBezTo>
                      <a:pt x="196470" y="826026"/>
                      <a:pt x="187627" y="825526"/>
                      <a:pt x="181370" y="815349"/>
                    </a:cubicBezTo>
                    <a:cubicBezTo>
                      <a:pt x="176031" y="806506"/>
                      <a:pt x="178283" y="797163"/>
                      <a:pt x="186710" y="792325"/>
                    </a:cubicBezTo>
                    <a:cubicBezTo>
                      <a:pt x="191131" y="790072"/>
                      <a:pt x="196470" y="789238"/>
                      <a:pt x="202227" y="787904"/>
                    </a:cubicBezTo>
                    <a:cubicBezTo>
                      <a:pt x="211571" y="786569"/>
                      <a:pt x="222166" y="784400"/>
                      <a:pt x="230175" y="775474"/>
                    </a:cubicBezTo>
                    <a:cubicBezTo>
                      <a:pt x="237266" y="767048"/>
                      <a:pt x="237266" y="759541"/>
                      <a:pt x="235514" y="755119"/>
                    </a:cubicBezTo>
                    <a:cubicBezTo>
                      <a:pt x="233262" y="748028"/>
                      <a:pt x="226671" y="742272"/>
                      <a:pt x="215992" y="739603"/>
                    </a:cubicBezTo>
                    <a:cubicBezTo>
                      <a:pt x="209318" y="738268"/>
                      <a:pt x="204479" y="737351"/>
                      <a:pt x="200058" y="736934"/>
                    </a:cubicBezTo>
                    <a:cubicBezTo>
                      <a:pt x="190297" y="735599"/>
                      <a:pt x="184957" y="734681"/>
                      <a:pt x="175280" y="725838"/>
                    </a:cubicBezTo>
                    <a:cubicBezTo>
                      <a:pt x="159345" y="711240"/>
                      <a:pt x="150002" y="715661"/>
                      <a:pt x="136319" y="724921"/>
                    </a:cubicBezTo>
                    <a:cubicBezTo>
                      <a:pt x="128311" y="730260"/>
                      <a:pt x="123472" y="731094"/>
                      <a:pt x="121720" y="730260"/>
                    </a:cubicBezTo>
                    <a:cubicBezTo>
                      <a:pt x="116881" y="727590"/>
                      <a:pt x="116881" y="709405"/>
                      <a:pt x="116881" y="699728"/>
                    </a:cubicBezTo>
                    <a:lnTo>
                      <a:pt x="116881" y="695724"/>
                    </a:lnTo>
                    <a:cubicBezTo>
                      <a:pt x="116881" y="685546"/>
                      <a:pt x="116464" y="669613"/>
                      <a:pt x="100946" y="662939"/>
                    </a:cubicBezTo>
                    <a:cubicBezTo>
                      <a:pt x="86764" y="656766"/>
                      <a:pt x="74834" y="665609"/>
                      <a:pt x="65073" y="672700"/>
                    </a:cubicBezTo>
                    <a:cubicBezTo>
                      <a:pt x="61569" y="675369"/>
                      <a:pt x="57982" y="677538"/>
                      <a:pt x="54478" y="679373"/>
                    </a:cubicBezTo>
                    <a:cubicBezTo>
                      <a:pt x="40713" y="685546"/>
                      <a:pt x="20356" y="681626"/>
                      <a:pt x="10178" y="670948"/>
                    </a:cubicBezTo>
                    <a:cubicBezTo>
                      <a:pt x="4005" y="664274"/>
                      <a:pt x="3504" y="656766"/>
                      <a:pt x="7508" y="647924"/>
                    </a:cubicBezTo>
                    <a:cubicBezTo>
                      <a:pt x="9761" y="643920"/>
                      <a:pt x="11513" y="640416"/>
                      <a:pt x="13265" y="637330"/>
                    </a:cubicBezTo>
                    <a:cubicBezTo>
                      <a:pt x="20356" y="623565"/>
                      <a:pt x="26530" y="612971"/>
                      <a:pt x="27447" y="592115"/>
                    </a:cubicBezTo>
                    <a:cubicBezTo>
                      <a:pt x="28365" y="581521"/>
                      <a:pt x="29700" y="570426"/>
                      <a:pt x="30951" y="559331"/>
                    </a:cubicBezTo>
                    <a:cubicBezTo>
                      <a:pt x="32286" y="550906"/>
                      <a:pt x="33204" y="542063"/>
                      <a:pt x="34038" y="533221"/>
                    </a:cubicBezTo>
                    <a:cubicBezTo>
                      <a:pt x="36291" y="509279"/>
                      <a:pt x="30034" y="489842"/>
                      <a:pt x="17687" y="480499"/>
                    </a:cubicBezTo>
                    <a:cubicBezTo>
                      <a:pt x="13682" y="477412"/>
                      <a:pt x="7926" y="474743"/>
                      <a:pt x="0" y="474326"/>
                    </a:cubicBezTo>
                    <a:cubicBezTo>
                      <a:pt x="918" y="472991"/>
                      <a:pt x="1335" y="471656"/>
                      <a:pt x="2670" y="470822"/>
                    </a:cubicBezTo>
                    <a:cubicBezTo>
                      <a:pt x="4922" y="468152"/>
                      <a:pt x="7091" y="466401"/>
                      <a:pt x="9344" y="464148"/>
                    </a:cubicBezTo>
                    <a:cubicBezTo>
                      <a:pt x="14183" y="459727"/>
                      <a:pt x="19522" y="454388"/>
                      <a:pt x="22192" y="446463"/>
                    </a:cubicBezTo>
                    <a:cubicBezTo>
                      <a:pt x="24444" y="441124"/>
                      <a:pt x="24444" y="435368"/>
                      <a:pt x="24861" y="430113"/>
                    </a:cubicBezTo>
                    <a:cubicBezTo>
                      <a:pt x="24861" y="425692"/>
                      <a:pt x="25279" y="421270"/>
                      <a:pt x="26613" y="417683"/>
                    </a:cubicBezTo>
                    <a:cubicBezTo>
                      <a:pt x="29700" y="410175"/>
                      <a:pt x="35456" y="404836"/>
                      <a:pt x="41213" y="399080"/>
                    </a:cubicBezTo>
                    <a:cubicBezTo>
                      <a:pt x="48721" y="391990"/>
                      <a:pt x="57147" y="383564"/>
                      <a:pt x="61152" y="370300"/>
                    </a:cubicBezTo>
                    <a:lnTo>
                      <a:pt x="62487" y="366797"/>
                    </a:lnTo>
                    <a:cubicBezTo>
                      <a:pt x="68661" y="346442"/>
                      <a:pt x="72248" y="333595"/>
                      <a:pt x="87265" y="317161"/>
                    </a:cubicBezTo>
                    <a:cubicBezTo>
                      <a:pt x="98360" y="304732"/>
                      <a:pt x="108956" y="300311"/>
                      <a:pt x="122721" y="295055"/>
                    </a:cubicBezTo>
                    <a:cubicBezTo>
                      <a:pt x="128060" y="292803"/>
                      <a:pt x="133817" y="290217"/>
                      <a:pt x="140408" y="287046"/>
                    </a:cubicBezTo>
                    <a:cubicBezTo>
                      <a:pt x="150168" y="282208"/>
                      <a:pt x="156342" y="275535"/>
                      <a:pt x="159012" y="266692"/>
                    </a:cubicBezTo>
                    <a:cubicBezTo>
                      <a:pt x="162099" y="256098"/>
                      <a:pt x="159929" y="243251"/>
                      <a:pt x="152337" y="229486"/>
                    </a:cubicBezTo>
                    <a:cubicBezTo>
                      <a:pt x="140408" y="207797"/>
                      <a:pt x="123555" y="196285"/>
                      <a:pt x="102699" y="183438"/>
                    </a:cubicBezTo>
                    <a:cubicBezTo>
                      <a:pt x="86347" y="173261"/>
                      <a:pt x="84094" y="167088"/>
                      <a:pt x="92103" y="152906"/>
                    </a:cubicBezTo>
                    <a:cubicBezTo>
                      <a:pt x="105368" y="129882"/>
                      <a:pt x="104951" y="116619"/>
                      <a:pt x="104951" y="93511"/>
                    </a:cubicBezTo>
                    <a:lnTo>
                      <a:pt x="104951" y="87338"/>
                    </a:lnTo>
                    <a:cubicBezTo>
                      <a:pt x="104534" y="72739"/>
                      <a:pt x="111625" y="64314"/>
                      <a:pt x="120051" y="53219"/>
                    </a:cubicBezTo>
                    <a:cubicBezTo>
                      <a:pt x="123555" y="48798"/>
                      <a:pt x="127142" y="44376"/>
                      <a:pt x="130229" y="39037"/>
                    </a:cubicBezTo>
                    <a:cubicBezTo>
                      <a:pt x="131981" y="36368"/>
                      <a:pt x="133733" y="32864"/>
                      <a:pt x="135569" y="29694"/>
                    </a:cubicBezTo>
                    <a:cubicBezTo>
                      <a:pt x="147082" y="9757"/>
                      <a:pt x="157260" y="-5259"/>
                      <a:pt x="171859" y="1748"/>
                    </a:cubicBezTo>
                    <a:cubicBezTo>
                      <a:pt x="182955" y="6587"/>
                      <a:pt x="182038" y="11926"/>
                      <a:pt x="175864" y="27025"/>
                    </a:cubicBezTo>
                    <a:cubicBezTo>
                      <a:pt x="174529" y="31029"/>
                      <a:pt x="172777" y="35033"/>
                      <a:pt x="171859" y="38537"/>
                    </a:cubicBezTo>
                    <a:cubicBezTo>
                      <a:pt x="169190" y="48714"/>
                      <a:pt x="169607" y="57140"/>
                      <a:pt x="174112" y="63313"/>
                    </a:cubicBezTo>
                    <a:cubicBezTo>
                      <a:pt x="180786" y="73073"/>
                      <a:pt x="193634" y="75242"/>
                      <a:pt x="204229" y="76160"/>
                    </a:cubicBezTo>
                    <a:cubicBezTo>
                      <a:pt x="206899" y="76577"/>
                      <a:pt x="209568" y="76577"/>
                      <a:pt x="212238" y="77077"/>
                    </a:cubicBezTo>
                    <a:cubicBezTo>
                      <a:pt x="224669" y="77995"/>
                      <a:pt x="231259" y="78412"/>
                      <a:pt x="240186" y="88172"/>
                    </a:cubicBezTo>
                    <a:cubicBezTo>
                      <a:pt x="252617" y="102354"/>
                      <a:pt x="273891" y="112948"/>
                      <a:pt x="295582" y="116118"/>
                    </a:cubicBezTo>
                    <a:cubicBezTo>
                      <a:pt x="308012" y="117870"/>
                      <a:pt x="318607" y="114366"/>
                      <a:pt x="328785" y="111280"/>
                    </a:cubicBezTo>
                    <a:cubicBezTo>
                      <a:pt x="339381" y="107776"/>
                      <a:pt x="348307" y="104606"/>
                      <a:pt x="359320" y="107776"/>
                    </a:cubicBezTo>
                    <a:cubicBezTo>
                      <a:pt x="365994" y="109528"/>
                      <a:pt x="372167" y="111780"/>
                      <a:pt x="378841" y="113949"/>
                    </a:cubicBezTo>
                    <a:cubicBezTo>
                      <a:pt x="397028" y="120623"/>
                      <a:pt x="416050" y="127213"/>
                      <a:pt x="440410" y="119288"/>
                    </a:cubicBezTo>
                    <a:cubicBezTo>
                      <a:pt x="460350" y="113115"/>
                      <a:pt x="483375" y="100685"/>
                      <a:pt x="509071" y="81665"/>
                    </a:cubicBezTo>
                    <a:cubicBezTo>
                      <a:pt x="511740" y="79413"/>
                      <a:pt x="514410" y="77244"/>
                      <a:pt x="517080" y="74992"/>
                    </a:cubicBezTo>
                    <a:cubicBezTo>
                      <a:pt x="515745" y="82500"/>
                      <a:pt x="512658" y="90925"/>
                      <a:pt x="509071" y="101102"/>
                    </a:cubicBezTo>
                    <a:lnTo>
                      <a:pt x="508153" y="102854"/>
                    </a:lnTo>
                    <a:cubicBezTo>
                      <a:pt x="502814" y="117036"/>
                      <a:pt x="497558" y="132552"/>
                      <a:pt x="503314" y="145816"/>
                    </a:cubicBezTo>
                    <a:cubicBezTo>
                      <a:pt x="506401" y="152906"/>
                      <a:pt x="512658" y="157745"/>
                      <a:pt x="517914" y="162166"/>
                    </a:cubicBezTo>
                    <a:cubicBezTo>
                      <a:pt x="522335" y="165670"/>
                      <a:pt x="526757" y="168840"/>
                      <a:pt x="528509" y="173261"/>
                    </a:cubicBezTo>
                    <a:cubicBezTo>
                      <a:pt x="532013" y="180769"/>
                      <a:pt x="530261" y="190112"/>
                      <a:pt x="528092" y="200289"/>
                    </a:cubicBezTo>
                    <a:cubicBezTo>
                      <a:pt x="526757" y="208715"/>
                      <a:pt x="525005" y="217140"/>
                      <a:pt x="525840" y="225566"/>
                    </a:cubicBezTo>
                    <a:cubicBezTo>
                      <a:pt x="527591" y="239330"/>
                      <a:pt x="532931" y="251676"/>
                      <a:pt x="538270" y="264106"/>
                    </a:cubicBezTo>
                    <a:cubicBezTo>
                      <a:pt x="540522" y="268944"/>
                      <a:pt x="542692" y="274283"/>
                      <a:pt x="544944" y="279622"/>
                    </a:cubicBezTo>
                    <a:cubicBezTo>
                      <a:pt x="545862" y="282292"/>
                      <a:pt x="547197" y="285795"/>
                      <a:pt x="548448" y="290717"/>
                    </a:cubicBezTo>
                    <a:cubicBezTo>
                      <a:pt x="549783" y="295138"/>
                      <a:pt x="551118" y="299560"/>
                      <a:pt x="552453" y="304899"/>
                    </a:cubicBezTo>
                    <a:cubicBezTo>
                      <a:pt x="557291" y="324836"/>
                      <a:pt x="560462" y="351447"/>
                      <a:pt x="550701" y="370050"/>
                    </a:cubicBezTo>
                    <a:cubicBezTo>
                      <a:pt x="548031" y="375389"/>
                      <a:pt x="544026" y="380227"/>
                      <a:pt x="540105" y="384648"/>
                    </a:cubicBezTo>
                    <a:cubicBezTo>
                      <a:pt x="533431" y="392657"/>
                      <a:pt x="526340" y="400999"/>
                      <a:pt x="523754" y="413011"/>
                    </a:cubicBezTo>
                    <a:cubicBezTo>
                      <a:pt x="521084" y="425441"/>
                      <a:pt x="525506" y="433366"/>
                      <a:pt x="529093" y="440040"/>
                    </a:cubicBezTo>
                    <a:cubicBezTo>
                      <a:pt x="531763" y="444461"/>
                      <a:pt x="533932" y="448465"/>
                      <a:pt x="533932" y="453304"/>
                    </a:cubicBezTo>
                    <a:cubicBezTo>
                      <a:pt x="533932" y="463064"/>
                      <a:pt x="525923" y="464816"/>
                      <a:pt x="506902" y="466150"/>
                    </a:cubicBezTo>
                    <a:cubicBezTo>
                      <a:pt x="502480" y="466568"/>
                      <a:pt x="498892" y="466568"/>
                      <a:pt x="495806" y="467068"/>
                    </a:cubicBezTo>
                    <a:cubicBezTo>
                      <a:pt x="463937" y="471906"/>
                      <a:pt x="436406" y="492344"/>
                      <a:pt x="424059" y="520707"/>
                    </a:cubicBezTo>
                    <a:cubicBezTo>
                      <a:pt x="419637" y="530885"/>
                      <a:pt x="417385" y="542397"/>
                      <a:pt x="414715" y="552574"/>
                    </a:cubicBezTo>
                    <a:cubicBezTo>
                      <a:pt x="413380" y="559248"/>
                      <a:pt x="412045" y="565421"/>
                      <a:pt x="410293" y="572095"/>
                    </a:cubicBezTo>
                    <a:cubicBezTo>
                      <a:pt x="405454" y="589363"/>
                      <a:pt x="400115" y="607048"/>
                      <a:pt x="402284" y="626151"/>
                    </a:cubicBezTo>
                    <a:cubicBezTo>
                      <a:pt x="404036" y="640332"/>
                      <a:pt x="410711" y="653179"/>
                      <a:pt x="416884" y="665609"/>
                    </a:cubicBezTo>
                    <a:cubicBezTo>
                      <a:pt x="424976" y="680791"/>
                      <a:pt x="432068" y="695807"/>
                      <a:pt x="429899" y="71174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53213244" name="Полилиния 396"/>
              <p:cNvSpPr/>
              <p:nvPr/>
            </p:nvSpPr>
            <p:spPr bwMode="auto">
              <a:xfrm>
                <a:off x="4818135" y="5211258"/>
                <a:ext cx="793413" cy="603239"/>
              </a:xfrm>
              <a:custGeom>
                <a:avLst/>
                <a:gdLst>
                  <a:gd name="connsiteX0" fmla="*/ 187355 w 891029"/>
                  <a:gd name="connsiteY0" fmla="*/ 634246 h 677458"/>
                  <a:gd name="connsiteX1" fmla="*/ 166999 w 891029"/>
                  <a:gd name="connsiteY1" fmla="*/ 603214 h 677458"/>
                  <a:gd name="connsiteX2" fmla="*/ 135130 w 891029"/>
                  <a:gd name="connsiteY2" fmla="*/ 572682 h 677458"/>
                  <a:gd name="connsiteX3" fmla="*/ 102343 w 891029"/>
                  <a:gd name="connsiteY3" fmla="*/ 541232 h 677458"/>
                  <a:gd name="connsiteX4" fmla="*/ 117444 w 891029"/>
                  <a:gd name="connsiteY4" fmla="*/ 487593 h 677458"/>
                  <a:gd name="connsiteX5" fmla="*/ 133378 w 891029"/>
                  <a:gd name="connsiteY5" fmla="*/ 445048 h 677458"/>
                  <a:gd name="connsiteX6" fmla="*/ 103261 w 891029"/>
                  <a:gd name="connsiteY6" fmla="*/ 439710 h 677458"/>
                  <a:gd name="connsiteX7" fmla="*/ 78900 w 891029"/>
                  <a:gd name="connsiteY7" fmla="*/ 444131 h 677458"/>
                  <a:gd name="connsiteX8" fmla="*/ 43944 w 891029"/>
                  <a:gd name="connsiteY8" fmla="*/ 452556 h 677458"/>
                  <a:gd name="connsiteX9" fmla="*/ 15162 w 891029"/>
                  <a:gd name="connsiteY9" fmla="*/ 464068 h 677458"/>
                  <a:gd name="connsiteX10" fmla="*/ 11658 w 891029"/>
                  <a:gd name="connsiteY10" fmla="*/ 465403 h 677458"/>
                  <a:gd name="connsiteX11" fmla="*/ 17832 w 891029"/>
                  <a:gd name="connsiteY11" fmla="*/ 444131 h 677458"/>
                  <a:gd name="connsiteX12" fmla="*/ 27593 w 891029"/>
                  <a:gd name="connsiteY12" fmla="*/ 407843 h 677458"/>
                  <a:gd name="connsiteX13" fmla="*/ 13410 w 891029"/>
                  <a:gd name="connsiteY13" fmla="*/ 353369 h 677458"/>
                  <a:gd name="connsiteX14" fmla="*/ 563 w 891029"/>
                  <a:gd name="connsiteY14" fmla="*/ 318416 h 677458"/>
                  <a:gd name="connsiteX15" fmla="*/ 8071 w 891029"/>
                  <a:gd name="connsiteY15" fmla="*/ 269698 h 677458"/>
                  <a:gd name="connsiteX16" fmla="*/ 12910 w 891029"/>
                  <a:gd name="connsiteY16" fmla="*/ 249761 h 677458"/>
                  <a:gd name="connsiteX17" fmla="*/ 21336 w 891029"/>
                  <a:gd name="connsiteY17" fmla="*/ 220564 h 677458"/>
                  <a:gd name="connsiteX18" fmla="*/ 81987 w 891029"/>
                  <a:gd name="connsiteY18" fmla="*/ 175350 h 677458"/>
                  <a:gd name="connsiteX19" fmla="*/ 92165 w 891029"/>
                  <a:gd name="connsiteY19" fmla="*/ 174432 h 677458"/>
                  <a:gd name="connsiteX20" fmla="*/ 132460 w 891029"/>
                  <a:gd name="connsiteY20" fmla="*/ 147404 h 677458"/>
                  <a:gd name="connsiteX21" fmla="*/ 125786 w 891029"/>
                  <a:gd name="connsiteY21" fmla="*/ 127466 h 677458"/>
                  <a:gd name="connsiteX22" fmla="*/ 121782 w 891029"/>
                  <a:gd name="connsiteY22" fmla="*/ 110199 h 677458"/>
                  <a:gd name="connsiteX23" fmla="*/ 135047 w 891029"/>
                  <a:gd name="connsiteY23" fmla="*/ 88092 h 677458"/>
                  <a:gd name="connsiteX24" fmla="*/ 147477 w 891029"/>
                  <a:gd name="connsiteY24" fmla="*/ 70407 h 677458"/>
                  <a:gd name="connsiteX25" fmla="*/ 151482 w 891029"/>
                  <a:gd name="connsiteY25" fmla="*/ 0 h 677458"/>
                  <a:gd name="connsiteX26" fmla="*/ 161660 w 891029"/>
                  <a:gd name="connsiteY26" fmla="*/ 1752 h 677458"/>
                  <a:gd name="connsiteX27" fmla="*/ 223229 w 891029"/>
                  <a:gd name="connsiteY27" fmla="*/ 19437 h 677458"/>
                  <a:gd name="connsiteX28" fmla="*/ 261772 w 891029"/>
                  <a:gd name="connsiteY28" fmla="*/ 30949 h 677458"/>
                  <a:gd name="connsiteX29" fmla="*/ 281711 w 891029"/>
                  <a:gd name="connsiteY29" fmla="*/ 36288 h 677458"/>
                  <a:gd name="connsiteX30" fmla="*/ 427041 w 891029"/>
                  <a:gd name="connsiteY30" fmla="*/ 99604 h 677458"/>
                  <a:gd name="connsiteX31" fmla="*/ 450066 w 891029"/>
                  <a:gd name="connsiteY31" fmla="*/ 135892 h 677458"/>
                  <a:gd name="connsiteX32" fmla="*/ 467336 w 891029"/>
                  <a:gd name="connsiteY32" fmla="*/ 167342 h 677458"/>
                  <a:gd name="connsiteX33" fmla="*/ 527570 w 891029"/>
                  <a:gd name="connsiteY33" fmla="*/ 190365 h 677458"/>
                  <a:gd name="connsiteX34" fmla="*/ 538666 w 891029"/>
                  <a:gd name="connsiteY34" fmla="*/ 191283 h 677458"/>
                  <a:gd name="connsiteX35" fmla="*/ 573204 w 891029"/>
                  <a:gd name="connsiteY35" fmla="*/ 207216 h 677458"/>
                  <a:gd name="connsiteX36" fmla="*/ 602904 w 891029"/>
                  <a:gd name="connsiteY36" fmla="*/ 224902 h 677458"/>
                  <a:gd name="connsiteX37" fmla="*/ 652543 w 891029"/>
                  <a:gd name="connsiteY37" fmla="*/ 225819 h 677458"/>
                  <a:gd name="connsiteX38" fmla="*/ 671147 w 891029"/>
                  <a:gd name="connsiteY38" fmla="*/ 224485 h 677458"/>
                  <a:gd name="connsiteX39" fmla="*/ 710608 w 891029"/>
                  <a:gd name="connsiteY39" fmla="*/ 217394 h 677458"/>
                  <a:gd name="connsiteX40" fmla="*/ 720786 w 891029"/>
                  <a:gd name="connsiteY40" fmla="*/ 210720 h 677458"/>
                  <a:gd name="connsiteX41" fmla="*/ 736721 w 891029"/>
                  <a:gd name="connsiteY41" fmla="*/ 203630 h 677458"/>
                  <a:gd name="connsiteX42" fmla="*/ 741560 w 891029"/>
                  <a:gd name="connsiteY42" fmla="*/ 206299 h 677458"/>
                  <a:gd name="connsiteX43" fmla="*/ 741977 w 891029"/>
                  <a:gd name="connsiteY43" fmla="*/ 239083 h 677458"/>
                  <a:gd name="connsiteX44" fmla="*/ 740225 w 891029"/>
                  <a:gd name="connsiteY44" fmla="*/ 247091 h 677458"/>
                  <a:gd name="connsiteX45" fmla="*/ 737555 w 891029"/>
                  <a:gd name="connsiteY45" fmla="*/ 269698 h 677458"/>
                  <a:gd name="connsiteX46" fmla="*/ 744646 w 891029"/>
                  <a:gd name="connsiteY46" fmla="*/ 284798 h 677458"/>
                  <a:gd name="connsiteX47" fmla="*/ 749485 w 891029"/>
                  <a:gd name="connsiteY47" fmla="*/ 294975 h 677458"/>
                  <a:gd name="connsiteX48" fmla="*/ 748150 w 891029"/>
                  <a:gd name="connsiteY48" fmla="*/ 308239 h 677458"/>
                  <a:gd name="connsiteX49" fmla="*/ 750403 w 891029"/>
                  <a:gd name="connsiteY49" fmla="*/ 337937 h 677458"/>
                  <a:gd name="connsiteX50" fmla="*/ 769424 w 891029"/>
                  <a:gd name="connsiteY50" fmla="*/ 345945 h 677458"/>
                  <a:gd name="connsiteX51" fmla="*/ 770759 w 891029"/>
                  <a:gd name="connsiteY51" fmla="*/ 345945 h 677458"/>
                  <a:gd name="connsiteX52" fmla="*/ 807550 w 891029"/>
                  <a:gd name="connsiteY52" fmla="*/ 322003 h 677458"/>
                  <a:gd name="connsiteX53" fmla="*/ 832829 w 891029"/>
                  <a:gd name="connsiteY53" fmla="*/ 302066 h 677458"/>
                  <a:gd name="connsiteX54" fmla="*/ 845259 w 891029"/>
                  <a:gd name="connsiteY54" fmla="*/ 300731 h 677458"/>
                  <a:gd name="connsiteX55" fmla="*/ 856355 w 891029"/>
                  <a:gd name="connsiteY55" fmla="*/ 299396 h 677458"/>
                  <a:gd name="connsiteX56" fmla="*/ 856772 w 891029"/>
                  <a:gd name="connsiteY56" fmla="*/ 303400 h 677458"/>
                  <a:gd name="connsiteX57" fmla="*/ 873124 w 891029"/>
                  <a:gd name="connsiteY57" fmla="*/ 357457 h 677458"/>
                  <a:gd name="connsiteX58" fmla="*/ 876211 w 891029"/>
                  <a:gd name="connsiteY58" fmla="*/ 367634 h 677458"/>
                  <a:gd name="connsiteX59" fmla="*/ 874876 w 891029"/>
                  <a:gd name="connsiteY59" fmla="*/ 370721 h 677458"/>
                  <a:gd name="connsiteX60" fmla="*/ 873541 w 891029"/>
                  <a:gd name="connsiteY60" fmla="*/ 373807 h 677458"/>
                  <a:gd name="connsiteX61" fmla="*/ 874876 w 891029"/>
                  <a:gd name="connsiteY61" fmla="*/ 398166 h 677458"/>
                  <a:gd name="connsiteX62" fmla="*/ 877128 w 891029"/>
                  <a:gd name="connsiteY62" fmla="*/ 401670 h 677458"/>
                  <a:gd name="connsiteX63" fmla="*/ 879381 w 891029"/>
                  <a:gd name="connsiteY63" fmla="*/ 406091 h 677458"/>
                  <a:gd name="connsiteX64" fmla="*/ 878463 w 891029"/>
                  <a:gd name="connsiteY64" fmla="*/ 410930 h 677458"/>
                  <a:gd name="connsiteX65" fmla="*/ 877128 w 891029"/>
                  <a:gd name="connsiteY65" fmla="*/ 414934 h 677458"/>
                  <a:gd name="connsiteX66" fmla="*/ 881550 w 891029"/>
                  <a:gd name="connsiteY66" fmla="*/ 438375 h 677458"/>
                  <a:gd name="connsiteX67" fmla="*/ 882885 w 891029"/>
                  <a:gd name="connsiteY67" fmla="*/ 440127 h 677458"/>
                  <a:gd name="connsiteX68" fmla="*/ 884220 w 891029"/>
                  <a:gd name="connsiteY68" fmla="*/ 442379 h 677458"/>
                  <a:gd name="connsiteX69" fmla="*/ 883302 w 891029"/>
                  <a:gd name="connsiteY69" fmla="*/ 446383 h 677458"/>
                  <a:gd name="connsiteX70" fmla="*/ 881550 w 891029"/>
                  <a:gd name="connsiteY70" fmla="*/ 453057 h 677458"/>
                  <a:gd name="connsiteX71" fmla="*/ 886889 w 891029"/>
                  <a:gd name="connsiteY71" fmla="*/ 471659 h 677458"/>
                  <a:gd name="connsiteX72" fmla="*/ 890393 w 891029"/>
                  <a:gd name="connsiteY72" fmla="*/ 478750 h 677458"/>
                  <a:gd name="connsiteX73" fmla="*/ 889058 w 891029"/>
                  <a:gd name="connsiteY73" fmla="*/ 496436 h 677458"/>
                  <a:gd name="connsiteX74" fmla="*/ 887723 w 891029"/>
                  <a:gd name="connsiteY74" fmla="*/ 502609 h 677458"/>
                  <a:gd name="connsiteX75" fmla="*/ 888141 w 891029"/>
                  <a:gd name="connsiteY75" fmla="*/ 524298 h 677458"/>
                  <a:gd name="connsiteX76" fmla="*/ 889058 w 891029"/>
                  <a:gd name="connsiteY76" fmla="*/ 535393 h 677458"/>
                  <a:gd name="connsiteX77" fmla="*/ 885554 w 891029"/>
                  <a:gd name="connsiteY77" fmla="*/ 548656 h 677458"/>
                  <a:gd name="connsiteX78" fmla="*/ 885137 w 891029"/>
                  <a:gd name="connsiteY78" fmla="*/ 549074 h 677458"/>
                  <a:gd name="connsiteX79" fmla="*/ 876294 w 891029"/>
                  <a:gd name="connsiteY79" fmla="*/ 557499 h 677458"/>
                  <a:gd name="connsiteX80" fmla="*/ 844425 w 891029"/>
                  <a:gd name="connsiteY80" fmla="*/ 582776 h 677458"/>
                  <a:gd name="connsiteX81" fmla="*/ 837334 w 891029"/>
                  <a:gd name="connsiteY81" fmla="*/ 587197 h 677458"/>
                  <a:gd name="connsiteX82" fmla="*/ 828490 w 891029"/>
                  <a:gd name="connsiteY82" fmla="*/ 585862 h 677458"/>
                  <a:gd name="connsiteX83" fmla="*/ 817395 w 891029"/>
                  <a:gd name="connsiteY83" fmla="*/ 583610 h 677458"/>
                  <a:gd name="connsiteX84" fmla="*/ 796121 w 891029"/>
                  <a:gd name="connsiteY84" fmla="*/ 591118 h 677458"/>
                  <a:gd name="connsiteX85" fmla="*/ 783690 w 891029"/>
                  <a:gd name="connsiteY85" fmla="*/ 596457 h 677458"/>
                  <a:gd name="connsiteX86" fmla="*/ 771760 w 891029"/>
                  <a:gd name="connsiteY86" fmla="*/ 594705 h 677458"/>
                  <a:gd name="connsiteX87" fmla="*/ 767756 w 891029"/>
                  <a:gd name="connsiteY87" fmla="*/ 593787 h 677458"/>
                  <a:gd name="connsiteX88" fmla="*/ 743812 w 891029"/>
                  <a:gd name="connsiteY88" fmla="*/ 597291 h 677458"/>
                  <a:gd name="connsiteX89" fmla="*/ 736721 w 891029"/>
                  <a:gd name="connsiteY89" fmla="*/ 606134 h 677458"/>
                  <a:gd name="connsiteX90" fmla="*/ 734469 w 891029"/>
                  <a:gd name="connsiteY90" fmla="*/ 609220 h 677458"/>
                  <a:gd name="connsiteX91" fmla="*/ 731382 w 891029"/>
                  <a:gd name="connsiteY91" fmla="*/ 611889 h 677458"/>
                  <a:gd name="connsiteX92" fmla="*/ 729630 w 891029"/>
                  <a:gd name="connsiteY92" fmla="*/ 609637 h 677458"/>
                  <a:gd name="connsiteX93" fmla="*/ 726126 w 891029"/>
                  <a:gd name="connsiteY93" fmla="*/ 605216 h 677458"/>
                  <a:gd name="connsiteX94" fmla="*/ 707104 w 891029"/>
                  <a:gd name="connsiteY94" fmla="*/ 601712 h 677458"/>
                  <a:gd name="connsiteX95" fmla="*/ 693339 w 891029"/>
                  <a:gd name="connsiteY95" fmla="*/ 608803 h 677458"/>
                  <a:gd name="connsiteX96" fmla="*/ 657882 w 891029"/>
                  <a:gd name="connsiteY96" fmla="*/ 642004 h 677458"/>
                  <a:gd name="connsiteX97" fmla="*/ 651208 w 891029"/>
                  <a:gd name="connsiteY97" fmla="*/ 655769 h 677458"/>
                  <a:gd name="connsiteX98" fmla="*/ 646787 w 891029"/>
                  <a:gd name="connsiteY98" fmla="*/ 665529 h 677458"/>
                  <a:gd name="connsiteX99" fmla="*/ 636192 w 891029"/>
                  <a:gd name="connsiteY99" fmla="*/ 677458 h 677458"/>
                  <a:gd name="connsiteX100" fmla="*/ 623344 w 891029"/>
                  <a:gd name="connsiteY100" fmla="*/ 670367 h 677458"/>
                  <a:gd name="connsiteX101" fmla="*/ 619340 w 891029"/>
                  <a:gd name="connsiteY101" fmla="*/ 663277 h 677458"/>
                  <a:gd name="connsiteX102" fmla="*/ 611330 w 891029"/>
                  <a:gd name="connsiteY102" fmla="*/ 651347 h 677458"/>
                  <a:gd name="connsiteX103" fmla="*/ 597565 w 891029"/>
                  <a:gd name="connsiteY103" fmla="*/ 643839 h 677458"/>
                  <a:gd name="connsiteX104" fmla="*/ 594478 w 891029"/>
                  <a:gd name="connsiteY104" fmla="*/ 642505 h 677458"/>
                  <a:gd name="connsiteX105" fmla="*/ 586469 w 891029"/>
                  <a:gd name="connsiteY105" fmla="*/ 636332 h 677458"/>
                  <a:gd name="connsiteX106" fmla="*/ 586052 w 891029"/>
                  <a:gd name="connsiteY106" fmla="*/ 630993 h 677458"/>
                  <a:gd name="connsiteX107" fmla="*/ 586469 w 891029"/>
                  <a:gd name="connsiteY107" fmla="*/ 626154 h 677458"/>
                  <a:gd name="connsiteX108" fmla="*/ 581630 w 891029"/>
                  <a:gd name="connsiteY108" fmla="*/ 607969 h 677458"/>
                  <a:gd name="connsiteX109" fmla="*/ 551096 w 891029"/>
                  <a:gd name="connsiteY109" fmla="*/ 578771 h 677458"/>
                  <a:gd name="connsiteX110" fmla="*/ 527153 w 891029"/>
                  <a:gd name="connsiteY110" fmla="*/ 557499 h 677458"/>
                  <a:gd name="connsiteX111" fmla="*/ 524066 w 891029"/>
                  <a:gd name="connsiteY111" fmla="*/ 550825 h 677458"/>
                  <a:gd name="connsiteX112" fmla="*/ 511218 w 891029"/>
                  <a:gd name="connsiteY112" fmla="*/ 532640 h 677458"/>
                  <a:gd name="connsiteX113" fmla="*/ 478014 w 891029"/>
                  <a:gd name="connsiteY113" fmla="*/ 535309 h 677458"/>
                  <a:gd name="connsiteX114" fmla="*/ 467836 w 891029"/>
                  <a:gd name="connsiteY114" fmla="*/ 543318 h 677458"/>
                  <a:gd name="connsiteX115" fmla="*/ 457241 w 891029"/>
                  <a:gd name="connsiteY115" fmla="*/ 551743 h 677458"/>
                  <a:gd name="connsiteX116" fmla="*/ 435550 w 891029"/>
                  <a:gd name="connsiteY116" fmla="*/ 558834 h 677458"/>
                  <a:gd name="connsiteX117" fmla="*/ 408937 w 891029"/>
                  <a:gd name="connsiteY117" fmla="*/ 568177 h 677458"/>
                  <a:gd name="connsiteX118" fmla="*/ 396506 w 891029"/>
                  <a:gd name="connsiteY118" fmla="*/ 578354 h 677458"/>
                  <a:gd name="connsiteX119" fmla="*/ 394254 w 891029"/>
                  <a:gd name="connsiteY119" fmla="*/ 580607 h 677458"/>
                  <a:gd name="connsiteX120" fmla="*/ 294141 w 891029"/>
                  <a:gd name="connsiteY120" fmla="*/ 609387 h 677458"/>
                  <a:gd name="connsiteX121" fmla="*/ 283547 w 891029"/>
                  <a:gd name="connsiteY121" fmla="*/ 607134 h 677458"/>
                  <a:gd name="connsiteX122" fmla="*/ 257434 w 891029"/>
                  <a:gd name="connsiteY122" fmla="*/ 619981 h 677458"/>
                  <a:gd name="connsiteX123" fmla="*/ 254764 w 891029"/>
                  <a:gd name="connsiteY123" fmla="*/ 622651 h 677458"/>
                  <a:gd name="connsiteX124" fmla="*/ 237078 w 891029"/>
                  <a:gd name="connsiteY124" fmla="*/ 627989 h 677458"/>
                  <a:gd name="connsiteX125" fmla="*/ 235743 w 891029"/>
                  <a:gd name="connsiteY125" fmla="*/ 624486 h 677458"/>
                  <a:gd name="connsiteX126" fmla="*/ 233073 w 891029"/>
                  <a:gd name="connsiteY126" fmla="*/ 615643 h 677458"/>
                  <a:gd name="connsiteX127" fmla="*/ 221143 w 891029"/>
                  <a:gd name="connsiteY127" fmla="*/ 606801 h 677458"/>
                  <a:gd name="connsiteX128" fmla="*/ 206543 w 891029"/>
                  <a:gd name="connsiteY128" fmla="*/ 609053 h 677458"/>
                  <a:gd name="connsiteX129" fmla="*/ 187355 w 891029"/>
                  <a:gd name="connsiteY129" fmla="*/ 634246 h 67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891029" h="677458" extrusionOk="0">
                    <a:moveTo>
                      <a:pt x="187355" y="634246"/>
                    </a:moveTo>
                    <a:cubicBezTo>
                      <a:pt x="181599" y="623652"/>
                      <a:pt x="174925" y="612974"/>
                      <a:pt x="166999" y="603214"/>
                    </a:cubicBezTo>
                    <a:cubicBezTo>
                      <a:pt x="157655" y="591284"/>
                      <a:pt x="146142" y="581942"/>
                      <a:pt x="135130" y="572682"/>
                    </a:cubicBezTo>
                    <a:cubicBezTo>
                      <a:pt x="122699" y="562504"/>
                      <a:pt x="111187" y="553162"/>
                      <a:pt x="102343" y="541232"/>
                    </a:cubicBezTo>
                    <a:cubicBezTo>
                      <a:pt x="86826" y="519960"/>
                      <a:pt x="94334" y="507530"/>
                      <a:pt x="117444" y="487593"/>
                    </a:cubicBezTo>
                    <a:cubicBezTo>
                      <a:pt x="130291" y="476081"/>
                      <a:pt x="140469" y="457061"/>
                      <a:pt x="133378" y="445048"/>
                    </a:cubicBezTo>
                    <a:cubicBezTo>
                      <a:pt x="130291" y="439292"/>
                      <a:pt x="122282" y="433536"/>
                      <a:pt x="103261" y="439710"/>
                    </a:cubicBezTo>
                    <a:cubicBezTo>
                      <a:pt x="95252" y="442379"/>
                      <a:pt x="87326" y="443213"/>
                      <a:pt x="78900" y="444131"/>
                    </a:cubicBezTo>
                    <a:cubicBezTo>
                      <a:pt x="66970" y="445466"/>
                      <a:pt x="55457" y="447217"/>
                      <a:pt x="43944" y="452556"/>
                    </a:cubicBezTo>
                    <a:cubicBezTo>
                      <a:pt x="34183" y="457395"/>
                      <a:pt x="25340" y="460565"/>
                      <a:pt x="15162" y="464068"/>
                    </a:cubicBezTo>
                    <a:cubicBezTo>
                      <a:pt x="13827" y="464485"/>
                      <a:pt x="12910" y="464986"/>
                      <a:pt x="11658" y="465403"/>
                    </a:cubicBezTo>
                    <a:cubicBezTo>
                      <a:pt x="12993" y="458312"/>
                      <a:pt x="15162" y="451639"/>
                      <a:pt x="17832" y="444131"/>
                    </a:cubicBezTo>
                    <a:cubicBezTo>
                      <a:pt x="21336" y="433036"/>
                      <a:pt x="25340" y="421107"/>
                      <a:pt x="27593" y="407843"/>
                    </a:cubicBezTo>
                    <a:cubicBezTo>
                      <a:pt x="30680" y="387488"/>
                      <a:pt x="21836" y="370220"/>
                      <a:pt x="13410" y="353369"/>
                    </a:cubicBezTo>
                    <a:cubicBezTo>
                      <a:pt x="7654" y="341440"/>
                      <a:pt x="1897" y="330345"/>
                      <a:pt x="563" y="318416"/>
                    </a:cubicBezTo>
                    <a:cubicBezTo>
                      <a:pt x="-1690" y="302483"/>
                      <a:pt x="3232" y="286967"/>
                      <a:pt x="8071" y="269698"/>
                    </a:cubicBezTo>
                    <a:cubicBezTo>
                      <a:pt x="10324" y="263525"/>
                      <a:pt x="11158" y="256852"/>
                      <a:pt x="12910" y="249761"/>
                    </a:cubicBezTo>
                    <a:cubicBezTo>
                      <a:pt x="15162" y="239166"/>
                      <a:pt x="17331" y="229406"/>
                      <a:pt x="21336" y="220564"/>
                    </a:cubicBezTo>
                    <a:cubicBezTo>
                      <a:pt x="31931" y="196622"/>
                      <a:pt x="55040" y="179354"/>
                      <a:pt x="81987" y="175350"/>
                    </a:cubicBezTo>
                    <a:cubicBezTo>
                      <a:pt x="85074" y="174933"/>
                      <a:pt x="88661" y="174432"/>
                      <a:pt x="92165" y="174432"/>
                    </a:cubicBezTo>
                    <a:cubicBezTo>
                      <a:pt x="107682" y="173515"/>
                      <a:pt x="132961" y="171763"/>
                      <a:pt x="132460" y="147404"/>
                    </a:cubicBezTo>
                    <a:cubicBezTo>
                      <a:pt x="132043" y="138979"/>
                      <a:pt x="128956" y="132805"/>
                      <a:pt x="125786" y="127466"/>
                    </a:cubicBezTo>
                    <a:cubicBezTo>
                      <a:pt x="122699" y="121710"/>
                      <a:pt x="120447" y="117289"/>
                      <a:pt x="121782" y="110199"/>
                    </a:cubicBezTo>
                    <a:cubicBezTo>
                      <a:pt x="124034" y="101773"/>
                      <a:pt x="129290" y="94682"/>
                      <a:pt x="135047" y="88092"/>
                    </a:cubicBezTo>
                    <a:cubicBezTo>
                      <a:pt x="139468" y="82753"/>
                      <a:pt x="143890" y="77498"/>
                      <a:pt x="147477" y="70407"/>
                    </a:cubicBezTo>
                    <a:cubicBezTo>
                      <a:pt x="158072" y="49552"/>
                      <a:pt x="156321" y="22106"/>
                      <a:pt x="151482" y="0"/>
                    </a:cubicBezTo>
                    <a:cubicBezTo>
                      <a:pt x="154986" y="417"/>
                      <a:pt x="158156" y="918"/>
                      <a:pt x="161660" y="1752"/>
                    </a:cubicBezTo>
                    <a:cubicBezTo>
                      <a:pt x="182016" y="6590"/>
                      <a:pt x="202873" y="12847"/>
                      <a:pt x="223229" y="19437"/>
                    </a:cubicBezTo>
                    <a:cubicBezTo>
                      <a:pt x="236076" y="23441"/>
                      <a:pt x="248924" y="27445"/>
                      <a:pt x="261772" y="30949"/>
                    </a:cubicBezTo>
                    <a:lnTo>
                      <a:pt x="281711" y="36288"/>
                    </a:lnTo>
                    <a:cubicBezTo>
                      <a:pt x="333519" y="50469"/>
                      <a:pt x="387580" y="65068"/>
                      <a:pt x="427041" y="99604"/>
                    </a:cubicBezTo>
                    <a:cubicBezTo>
                      <a:pt x="438136" y="109364"/>
                      <a:pt x="444310" y="122211"/>
                      <a:pt x="450066" y="135892"/>
                    </a:cubicBezTo>
                    <a:cubicBezTo>
                      <a:pt x="454488" y="146487"/>
                      <a:pt x="459827" y="157164"/>
                      <a:pt x="467336" y="167342"/>
                    </a:cubicBezTo>
                    <a:cubicBezTo>
                      <a:pt x="483687" y="188197"/>
                      <a:pt x="506296" y="189031"/>
                      <a:pt x="527570" y="190365"/>
                    </a:cubicBezTo>
                    <a:cubicBezTo>
                      <a:pt x="531074" y="190782"/>
                      <a:pt x="535078" y="190782"/>
                      <a:pt x="538666" y="191283"/>
                    </a:cubicBezTo>
                    <a:cubicBezTo>
                      <a:pt x="554600" y="192618"/>
                      <a:pt x="561692" y="195705"/>
                      <a:pt x="573204" y="207216"/>
                    </a:cubicBezTo>
                    <a:cubicBezTo>
                      <a:pt x="582548" y="216977"/>
                      <a:pt x="590057" y="222316"/>
                      <a:pt x="602904" y="224902"/>
                    </a:cubicBezTo>
                    <a:cubicBezTo>
                      <a:pt x="619256" y="228405"/>
                      <a:pt x="636108" y="227154"/>
                      <a:pt x="652543" y="225819"/>
                    </a:cubicBezTo>
                    <a:cubicBezTo>
                      <a:pt x="658717" y="225402"/>
                      <a:pt x="664473" y="224902"/>
                      <a:pt x="671147" y="224485"/>
                    </a:cubicBezTo>
                    <a:cubicBezTo>
                      <a:pt x="684412" y="224068"/>
                      <a:pt x="696843" y="223567"/>
                      <a:pt x="710608" y="217394"/>
                    </a:cubicBezTo>
                    <a:cubicBezTo>
                      <a:pt x="713695" y="216059"/>
                      <a:pt x="717283" y="213390"/>
                      <a:pt x="720786" y="210720"/>
                    </a:cubicBezTo>
                    <a:cubicBezTo>
                      <a:pt x="726126" y="207216"/>
                      <a:pt x="732717" y="202712"/>
                      <a:pt x="736721" y="203630"/>
                    </a:cubicBezTo>
                    <a:cubicBezTo>
                      <a:pt x="739808" y="204047"/>
                      <a:pt x="741143" y="204964"/>
                      <a:pt x="741560" y="206299"/>
                    </a:cubicBezTo>
                    <a:cubicBezTo>
                      <a:pt x="746398" y="212972"/>
                      <a:pt x="743812" y="229740"/>
                      <a:pt x="741977" y="239083"/>
                    </a:cubicBezTo>
                    <a:cubicBezTo>
                      <a:pt x="741560" y="241752"/>
                      <a:pt x="740642" y="244422"/>
                      <a:pt x="740225" y="247091"/>
                    </a:cubicBezTo>
                    <a:cubicBezTo>
                      <a:pt x="737972" y="254182"/>
                      <a:pt x="736220" y="262191"/>
                      <a:pt x="737555" y="269698"/>
                    </a:cubicBezTo>
                    <a:cubicBezTo>
                      <a:pt x="738890" y="275871"/>
                      <a:pt x="741977" y="280293"/>
                      <a:pt x="744646" y="284798"/>
                    </a:cubicBezTo>
                    <a:cubicBezTo>
                      <a:pt x="747316" y="288301"/>
                      <a:pt x="749068" y="291888"/>
                      <a:pt x="749485" y="294975"/>
                    </a:cubicBezTo>
                    <a:cubicBezTo>
                      <a:pt x="749903" y="298061"/>
                      <a:pt x="749068" y="303400"/>
                      <a:pt x="748150" y="308239"/>
                    </a:cubicBezTo>
                    <a:cubicBezTo>
                      <a:pt x="745898" y="318416"/>
                      <a:pt x="743729" y="329928"/>
                      <a:pt x="750403" y="337937"/>
                    </a:cubicBezTo>
                    <a:cubicBezTo>
                      <a:pt x="753907" y="342775"/>
                      <a:pt x="760581" y="345444"/>
                      <a:pt x="769424" y="345945"/>
                    </a:cubicBezTo>
                    <a:lnTo>
                      <a:pt x="770759" y="345945"/>
                    </a:lnTo>
                    <a:cubicBezTo>
                      <a:pt x="788028" y="345945"/>
                      <a:pt x="798207" y="333098"/>
                      <a:pt x="807550" y="322003"/>
                    </a:cubicBezTo>
                    <a:cubicBezTo>
                      <a:pt x="815559" y="312243"/>
                      <a:pt x="822650" y="303817"/>
                      <a:pt x="832829" y="302066"/>
                    </a:cubicBezTo>
                    <a:cubicBezTo>
                      <a:pt x="837250" y="301148"/>
                      <a:pt x="841255" y="300731"/>
                      <a:pt x="845259" y="300731"/>
                    </a:cubicBezTo>
                    <a:cubicBezTo>
                      <a:pt x="848763" y="300314"/>
                      <a:pt x="852351" y="299813"/>
                      <a:pt x="856355" y="299396"/>
                    </a:cubicBezTo>
                    <a:cubicBezTo>
                      <a:pt x="856772" y="300731"/>
                      <a:pt x="856772" y="302066"/>
                      <a:pt x="856772" y="303400"/>
                    </a:cubicBezTo>
                    <a:cubicBezTo>
                      <a:pt x="858524" y="321586"/>
                      <a:pt x="863863" y="340189"/>
                      <a:pt x="873124" y="357457"/>
                    </a:cubicBezTo>
                    <a:cubicBezTo>
                      <a:pt x="875376" y="360960"/>
                      <a:pt x="877128" y="364965"/>
                      <a:pt x="876211" y="367634"/>
                    </a:cubicBezTo>
                    <a:cubicBezTo>
                      <a:pt x="876211" y="368552"/>
                      <a:pt x="875293" y="369886"/>
                      <a:pt x="874876" y="370721"/>
                    </a:cubicBezTo>
                    <a:cubicBezTo>
                      <a:pt x="874459" y="371638"/>
                      <a:pt x="873958" y="372973"/>
                      <a:pt x="873541" y="373807"/>
                    </a:cubicBezTo>
                    <a:cubicBezTo>
                      <a:pt x="870454" y="381815"/>
                      <a:pt x="870871" y="391075"/>
                      <a:pt x="874876" y="398166"/>
                    </a:cubicBezTo>
                    <a:cubicBezTo>
                      <a:pt x="875293" y="399501"/>
                      <a:pt x="876211" y="400418"/>
                      <a:pt x="877128" y="401670"/>
                    </a:cubicBezTo>
                    <a:cubicBezTo>
                      <a:pt x="878046" y="403422"/>
                      <a:pt x="879381" y="404756"/>
                      <a:pt x="879381" y="406091"/>
                    </a:cubicBezTo>
                    <a:cubicBezTo>
                      <a:pt x="879798" y="407009"/>
                      <a:pt x="878964" y="408761"/>
                      <a:pt x="878463" y="410930"/>
                    </a:cubicBezTo>
                    <a:cubicBezTo>
                      <a:pt x="878046" y="412264"/>
                      <a:pt x="877546" y="413599"/>
                      <a:pt x="877128" y="414934"/>
                    </a:cubicBezTo>
                    <a:cubicBezTo>
                      <a:pt x="874876" y="422942"/>
                      <a:pt x="876711" y="431785"/>
                      <a:pt x="881550" y="438375"/>
                    </a:cubicBezTo>
                    <a:lnTo>
                      <a:pt x="882885" y="440127"/>
                    </a:lnTo>
                    <a:cubicBezTo>
                      <a:pt x="883302" y="440544"/>
                      <a:pt x="884220" y="441878"/>
                      <a:pt x="884220" y="442379"/>
                    </a:cubicBezTo>
                    <a:cubicBezTo>
                      <a:pt x="884637" y="442796"/>
                      <a:pt x="883803" y="445048"/>
                      <a:pt x="883302" y="446383"/>
                    </a:cubicBezTo>
                    <a:cubicBezTo>
                      <a:pt x="882384" y="448635"/>
                      <a:pt x="881967" y="450387"/>
                      <a:pt x="881550" y="453057"/>
                    </a:cubicBezTo>
                    <a:cubicBezTo>
                      <a:pt x="880632" y="460565"/>
                      <a:pt x="883803" y="466821"/>
                      <a:pt x="886889" y="471659"/>
                    </a:cubicBezTo>
                    <a:cubicBezTo>
                      <a:pt x="888224" y="474329"/>
                      <a:pt x="889559" y="476498"/>
                      <a:pt x="890393" y="478750"/>
                    </a:cubicBezTo>
                    <a:cubicBezTo>
                      <a:pt x="891728" y="483588"/>
                      <a:pt x="890810" y="489845"/>
                      <a:pt x="889058" y="496436"/>
                    </a:cubicBezTo>
                    <a:cubicBezTo>
                      <a:pt x="888641" y="498688"/>
                      <a:pt x="888141" y="500440"/>
                      <a:pt x="887723" y="502609"/>
                    </a:cubicBezTo>
                    <a:cubicBezTo>
                      <a:pt x="886388" y="510116"/>
                      <a:pt x="887306" y="517207"/>
                      <a:pt x="888141" y="524298"/>
                    </a:cubicBezTo>
                    <a:cubicBezTo>
                      <a:pt x="888558" y="528302"/>
                      <a:pt x="889058" y="532306"/>
                      <a:pt x="889058" y="535393"/>
                    </a:cubicBezTo>
                    <a:cubicBezTo>
                      <a:pt x="889058" y="540231"/>
                      <a:pt x="888141" y="545153"/>
                      <a:pt x="885554" y="548656"/>
                    </a:cubicBezTo>
                    <a:cubicBezTo>
                      <a:pt x="885554" y="549074"/>
                      <a:pt x="885137" y="549074"/>
                      <a:pt x="885137" y="549074"/>
                    </a:cubicBezTo>
                    <a:cubicBezTo>
                      <a:pt x="882885" y="552160"/>
                      <a:pt x="879798" y="554830"/>
                      <a:pt x="876294" y="557499"/>
                    </a:cubicBezTo>
                    <a:lnTo>
                      <a:pt x="844425" y="582776"/>
                    </a:lnTo>
                    <a:cubicBezTo>
                      <a:pt x="841755" y="585028"/>
                      <a:pt x="839586" y="586780"/>
                      <a:pt x="837334" y="587197"/>
                    </a:cubicBezTo>
                    <a:cubicBezTo>
                      <a:pt x="834664" y="587614"/>
                      <a:pt x="831994" y="586780"/>
                      <a:pt x="828490" y="585862"/>
                    </a:cubicBezTo>
                    <a:cubicBezTo>
                      <a:pt x="824987" y="584944"/>
                      <a:pt x="821399" y="583610"/>
                      <a:pt x="817395" y="583610"/>
                    </a:cubicBezTo>
                    <a:cubicBezTo>
                      <a:pt x="808969" y="584027"/>
                      <a:pt x="802294" y="587614"/>
                      <a:pt x="796121" y="591118"/>
                    </a:cubicBezTo>
                    <a:cubicBezTo>
                      <a:pt x="791699" y="593787"/>
                      <a:pt x="787695" y="595956"/>
                      <a:pt x="783690" y="596457"/>
                    </a:cubicBezTo>
                    <a:cubicBezTo>
                      <a:pt x="780186" y="596874"/>
                      <a:pt x="775681" y="595539"/>
                      <a:pt x="771760" y="594705"/>
                    </a:cubicBezTo>
                    <a:lnTo>
                      <a:pt x="767756" y="593787"/>
                    </a:lnTo>
                    <a:cubicBezTo>
                      <a:pt x="757578" y="591535"/>
                      <a:pt x="749568" y="592869"/>
                      <a:pt x="743812" y="597291"/>
                    </a:cubicBezTo>
                    <a:cubicBezTo>
                      <a:pt x="740726" y="599960"/>
                      <a:pt x="738473" y="603047"/>
                      <a:pt x="736721" y="606134"/>
                    </a:cubicBezTo>
                    <a:cubicBezTo>
                      <a:pt x="735803" y="607051"/>
                      <a:pt x="735386" y="608386"/>
                      <a:pt x="734469" y="609220"/>
                    </a:cubicBezTo>
                    <a:cubicBezTo>
                      <a:pt x="733134" y="610972"/>
                      <a:pt x="731799" y="611889"/>
                      <a:pt x="731382" y="611889"/>
                    </a:cubicBezTo>
                    <a:cubicBezTo>
                      <a:pt x="730964" y="611472"/>
                      <a:pt x="730047" y="610555"/>
                      <a:pt x="729630" y="609637"/>
                    </a:cubicBezTo>
                    <a:cubicBezTo>
                      <a:pt x="728712" y="608302"/>
                      <a:pt x="727377" y="606551"/>
                      <a:pt x="726126" y="605216"/>
                    </a:cubicBezTo>
                    <a:cubicBezTo>
                      <a:pt x="721287" y="601211"/>
                      <a:pt x="714196" y="599877"/>
                      <a:pt x="707104" y="601712"/>
                    </a:cubicBezTo>
                    <a:cubicBezTo>
                      <a:pt x="701765" y="603047"/>
                      <a:pt x="697344" y="606134"/>
                      <a:pt x="693339" y="608803"/>
                    </a:cubicBezTo>
                    <a:cubicBezTo>
                      <a:pt x="680908" y="617228"/>
                      <a:pt x="666726" y="627406"/>
                      <a:pt x="657882" y="642004"/>
                    </a:cubicBezTo>
                    <a:cubicBezTo>
                      <a:pt x="655213" y="646425"/>
                      <a:pt x="653044" y="650847"/>
                      <a:pt x="651208" y="655769"/>
                    </a:cubicBezTo>
                    <a:cubicBezTo>
                      <a:pt x="649873" y="658855"/>
                      <a:pt x="648539" y="661942"/>
                      <a:pt x="646787" y="665529"/>
                    </a:cubicBezTo>
                    <a:cubicBezTo>
                      <a:pt x="641948" y="675289"/>
                      <a:pt x="637944" y="677458"/>
                      <a:pt x="636192" y="677458"/>
                    </a:cubicBezTo>
                    <a:cubicBezTo>
                      <a:pt x="633105" y="677458"/>
                      <a:pt x="626014" y="673454"/>
                      <a:pt x="623344" y="670367"/>
                    </a:cubicBezTo>
                    <a:cubicBezTo>
                      <a:pt x="622009" y="668115"/>
                      <a:pt x="620674" y="665946"/>
                      <a:pt x="619340" y="663277"/>
                    </a:cubicBezTo>
                    <a:cubicBezTo>
                      <a:pt x="617087" y="659272"/>
                      <a:pt x="614918" y="654851"/>
                      <a:pt x="611330" y="651347"/>
                    </a:cubicBezTo>
                    <a:cubicBezTo>
                      <a:pt x="606909" y="647343"/>
                      <a:pt x="601987" y="645591"/>
                      <a:pt x="597565" y="643839"/>
                    </a:cubicBezTo>
                    <a:lnTo>
                      <a:pt x="594478" y="642505"/>
                    </a:lnTo>
                    <a:cubicBezTo>
                      <a:pt x="590057" y="640252"/>
                      <a:pt x="587387" y="638501"/>
                      <a:pt x="586469" y="636332"/>
                    </a:cubicBezTo>
                    <a:cubicBezTo>
                      <a:pt x="586052" y="634997"/>
                      <a:pt x="586052" y="633245"/>
                      <a:pt x="586052" y="630993"/>
                    </a:cubicBezTo>
                    <a:cubicBezTo>
                      <a:pt x="586469" y="629658"/>
                      <a:pt x="586469" y="627906"/>
                      <a:pt x="586469" y="626154"/>
                    </a:cubicBezTo>
                    <a:cubicBezTo>
                      <a:pt x="586469" y="619481"/>
                      <a:pt x="583800" y="612890"/>
                      <a:pt x="581630" y="607969"/>
                    </a:cubicBezTo>
                    <a:cubicBezTo>
                      <a:pt x="575457" y="594204"/>
                      <a:pt x="563444" y="586279"/>
                      <a:pt x="551096" y="578771"/>
                    </a:cubicBezTo>
                    <a:cubicBezTo>
                      <a:pt x="541335" y="572598"/>
                      <a:pt x="532075" y="566842"/>
                      <a:pt x="527153" y="557499"/>
                    </a:cubicBezTo>
                    <a:cubicBezTo>
                      <a:pt x="525818" y="555247"/>
                      <a:pt x="524900" y="553078"/>
                      <a:pt x="524066" y="550825"/>
                    </a:cubicBezTo>
                    <a:cubicBezTo>
                      <a:pt x="521396" y="544152"/>
                      <a:pt x="518310" y="537061"/>
                      <a:pt x="511218" y="532640"/>
                    </a:cubicBezTo>
                    <a:cubicBezTo>
                      <a:pt x="500623" y="525966"/>
                      <a:pt x="487275" y="529553"/>
                      <a:pt x="478014" y="535309"/>
                    </a:cubicBezTo>
                    <a:cubicBezTo>
                      <a:pt x="474510" y="537979"/>
                      <a:pt x="470923" y="540648"/>
                      <a:pt x="467836" y="543318"/>
                    </a:cubicBezTo>
                    <a:cubicBezTo>
                      <a:pt x="464332" y="546404"/>
                      <a:pt x="460745" y="549491"/>
                      <a:pt x="457241" y="551743"/>
                    </a:cubicBezTo>
                    <a:cubicBezTo>
                      <a:pt x="451067" y="555247"/>
                      <a:pt x="443476" y="557082"/>
                      <a:pt x="435550" y="558834"/>
                    </a:cubicBezTo>
                    <a:cubicBezTo>
                      <a:pt x="426707" y="561086"/>
                      <a:pt x="417363" y="563255"/>
                      <a:pt x="408937" y="568177"/>
                    </a:cubicBezTo>
                    <a:cubicBezTo>
                      <a:pt x="404098" y="571264"/>
                      <a:pt x="400511" y="574851"/>
                      <a:pt x="396506" y="578354"/>
                    </a:cubicBezTo>
                    <a:lnTo>
                      <a:pt x="394254" y="580607"/>
                    </a:lnTo>
                    <a:cubicBezTo>
                      <a:pt x="370811" y="601879"/>
                      <a:pt x="332268" y="620482"/>
                      <a:pt x="294141" y="609387"/>
                    </a:cubicBezTo>
                    <a:cubicBezTo>
                      <a:pt x="291055" y="608469"/>
                      <a:pt x="287467" y="607134"/>
                      <a:pt x="283547" y="607134"/>
                    </a:cubicBezTo>
                    <a:cubicBezTo>
                      <a:pt x="272450" y="607551"/>
                      <a:pt x="264024" y="613808"/>
                      <a:pt x="257434" y="619981"/>
                    </a:cubicBezTo>
                    <a:lnTo>
                      <a:pt x="254764" y="622651"/>
                    </a:lnTo>
                    <a:cubicBezTo>
                      <a:pt x="249007" y="627489"/>
                      <a:pt x="241499" y="630659"/>
                      <a:pt x="237078" y="627989"/>
                    </a:cubicBezTo>
                    <a:cubicBezTo>
                      <a:pt x="236660" y="627572"/>
                      <a:pt x="236160" y="626655"/>
                      <a:pt x="235743" y="624486"/>
                    </a:cubicBezTo>
                    <a:cubicBezTo>
                      <a:pt x="235326" y="621816"/>
                      <a:pt x="234825" y="618730"/>
                      <a:pt x="233073" y="615643"/>
                    </a:cubicBezTo>
                    <a:cubicBezTo>
                      <a:pt x="230821" y="611222"/>
                      <a:pt x="226399" y="608553"/>
                      <a:pt x="221143" y="606801"/>
                    </a:cubicBezTo>
                    <a:cubicBezTo>
                      <a:pt x="215804" y="605466"/>
                      <a:pt x="210548" y="605883"/>
                      <a:pt x="206543" y="609053"/>
                    </a:cubicBezTo>
                    <a:cubicBezTo>
                      <a:pt x="196198" y="612473"/>
                      <a:pt x="190859" y="624486"/>
                      <a:pt x="187355" y="6342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20296785" name="Полилиния 397"/>
              <p:cNvSpPr/>
              <p:nvPr/>
            </p:nvSpPr>
            <p:spPr bwMode="auto">
              <a:xfrm>
                <a:off x="4002295" y="3738925"/>
                <a:ext cx="1740517" cy="1240499"/>
              </a:xfrm>
              <a:custGeom>
                <a:avLst/>
                <a:gdLst>
                  <a:gd name="connsiteX0" fmla="*/ 257872 w 1954659"/>
                  <a:gd name="connsiteY0" fmla="*/ 1160796 h 1393122"/>
                  <a:gd name="connsiteX1" fmla="*/ 252533 w 1954659"/>
                  <a:gd name="connsiteY1" fmla="*/ 1119170 h 1393122"/>
                  <a:gd name="connsiteX2" fmla="*/ 244107 w 1954659"/>
                  <a:gd name="connsiteY2" fmla="*/ 1067365 h 1393122"/>
                  <a:gd name="connsiteX3" fmla="*/ 197555 w 1954659"/>
                  <a:gd name="connsiteY3" fmla="*/ 1022652 h 1393122"/>
                  <a:gd name="connsiteX4" fmla="*/ 166520 w 1954659"/>
                  <a:gd name="connsiteY4" fmla="*/ 965092 h 1393122"/>
                  <a:gd name="connsiteX5" fmla="*/ 167855 w 1954659"/>
                  <a:gd name="connsiteY5" fmla="*/ 873413 h 1393122"/>
                  <a:gd name="connsiteX6" fmla="*/ 158094 w 1954659"/>
                  <a:gd name="connsiteY6" fmla="*/ 765800 h 1393122"/>
                  <a:gd name="connsiteX7" fmla="*/ 162515 w 1954659"/>
                  <a:gd name="connsiteY7" fmla="*/ 751619 h 1393122"/>
                  <a:gd name="connsiteX8" fmla="*/ 170524 w 1954659"/>
                  <a:gd name="connsiteY8" fmla="*/ 708240 h 1393122"/>
                  <a:gd name="connsiteX9" fmla="*/ 150168 w 1954659"/>
                  <a:gd name="connsiteY9" fmla="*/ 659940 h 1393122"/>
                  <a:gd name="connsiteX10" fmla="*/ 137321 w 1954659"/>
                  <a:gd name="connsiteY10" fmla="*/ 640419 h 1393122"/>
                  <a:gd name="connsiteX11" fmla="*/ 89016 w 1954659"/>
                  <a:gd name="connsiteY11" fmla="*/ 573516 h 1393122"/>
                  <a:gd name="connsiteX12" fmla="*/ 57565 w 1954659"/>
                  <a:gd name="connsiteY12" fmla="*/ 549574 h 1393122"/>
                  <a:gd name="connsiteX13" fmla="*/ 43382 w 1954659"/>
                  <a:gd name="connsiteY13" fmla="*/ 540732 h 1393122"/>
                  <a:gd name="connsiteX14" fmla="*/ 21274 w 1954659"/>
                  <a:gd name="connsiteY14" fmla="*/ 506195 h 1393122"/>
                  <a:gd name="connsiteX15" fmla="*/ 19939 w 1954659"/>
                  <a:gd name="connsiteY15" fmla="*/ 502692 h 1393122"/>
                  <a:gd name="connsiteX16" fmla="*/ 0 w 1954659"/>
                  <a:gd name="connsiteY16" fmla="*/ 474329 h 1393122"/>
                  <a:gd name="connsiteX17" fmla="*/ 1752 w 1954659"/>
                  <a:gd name="connsiteY17" fmla="*/ 471242 h 1393122"/>
                  <a:gd name="connsiteX18" fmla="*/ 18103 w 1954659"/>
                  <a:gd name="connsiteY18" fmla="*/ 445966 h 1393122"/>
                  <a:gd name="connsiteX19" fmla="*/ 35373 w 1954659"/>
                  <a:gd name="connsiteY19" fmla="*/ 419855 h 1393122"/>
                  <a:gd name="connsiteX20" fmla="*/ 44216 w 1954659"/>
                  <a:gd name="connsiteY20" fmla="*/ 391492 h 1393122"/>
                  <a:gd name="connsiteX21" fmla="*/ 49973 w 1954659"/>
                  <a:gd name="connsiteY21" fmla="*/ 370637 h 1393122"/>
                  <a:gd name="connsiteX22" fmla="*/ 56146 w 1954659"/>
                  <a:gd name="connsiteY22" fmla="*/ 360460 h 1393122"/>
                  <a:gd name="connsiteX23" fmla="*/ 64155 w 1954659"/>
                  <a:gd name="connsiteY23" fmla="*/ 328593 h 1393122"/>
                  <a:gd name="connsiteX24" fmla="*/ 73499 w 1954659"/>
                  <a:gd name="connsiteY24" fmla="*/ 286967 h 1393122"/>
                  <a:gd name="connsiteX25" fmla="*/ 140824 w 1954659"/>
                  <a:gd name="connsiteY25" fmla="*/ 204130 h 1393122"/>
                  <a:gd name="connsiteX26" fmla="*/ 146164 w 1954659"/>
                  <a:gd name="connsiteY26" fmla="*/ 199292 h 1393122"/>
                  <a:gd name="connsiteX27" fmla="*/ 171442 w 1954659"/>
                  <a:gd name="connsiteY27" fmla="*/ 162503 h 1393122"/>
                  <a:gd name="connsiteX28" fmla="*/ 182037 w 1954659"/>
                  <a:gd name="connsiteY28" fmla="*/ 119959 h 1393122"/>
                  <a:gd name="connsiteX29" fmla="*/ 185124 w 1954659"/>
                  <a:gd name="connsiteY29" fmla="*/ 104443 h 1393122"/>
                  <a:gd name="connsiteX30" fmla="*/ 191798 w 1954659"/>
                  <a:gd name="connsiteY30" fmla="*/ 82753 h 1393122"/>
                  <a:gd name="connsiteX31" fmla="*/ 231259 w 1954659"/>
                  <a:gd name="connsiteY31" fmla="*/ 51721 h 1393122"/>
                  <a:gd name="connsiteX32" fmla="*/ 257872 w 1954659"/>
                  <a:gd name="connsiteY32" fmla="*/ 57060 h 1393122"/>
                  <a:gd name="connsiteX33" fmla="*/ 295498 w 1954659"/>
                  <a:gd name="connsiteY33" fmla="*/ 71241 h 1393122"/>
                  <a:gd name="connsiteX34" fmla="*/ 356650 w 1954659"/>
                  <a:gd name="connsiteY34" fmla="*/ 34035 h 1393122"/>
                  <a:gd name="connsiteX35" fmla="*/ 377006 w 1954659"/>
                  <a:gd name="connsiteY35" fmla="*/ 16351 h 1393122"/>
                  <a:gd name="connsiteX36" fmla="*/ 415966 w 1954659"/>
                  <a:gd name="connsiteY36" fmla="*/ 0 h 1393122"/>
                  <a:gd name="connsiteX37" fmla="*/ 419470 w 1954659"/>
                  <a:gd name="connsiteY37" fmla="*/ 45214 h 1393122"/>
                  <a:gd name="connsiteX38" fmla="*/ 424809 w 1954659"/>
                  <a:gd name="connsiteY38" fmla="*/ 61564 h 1393122"/>
                  <a:gd name="connsiteX39" fmla="*/ 429648 w 1954659"/>
                  <a:gd name="connsiteY39" fmla="*/ 80167 h 1393122"/>
                  <a:gd name="connsiteX40" fmla="*/ 422557 w 1954659"/>
                  <a:gd name="connsiteY40" fmla="*/ 94766 h 1393122"/>
                  <a:gd name="connsiteX41" fmla="*/ 416383 w 1954659"/>
                  <a:gd name="connsiteY41" fmla="*/ 105360 h 1393122"/>
                  <a:gd name="connsiteX42" fmla="*/ 409292 w 1954659"/>
                  <a:gd name="connsiteY42" fmla="*/ 131054 h 1393122"/>
                  <a:gd name="connsiteX43" fmla="*/ 399114 w 1954659"/>
                  <a:gd name="connsiteY43" fmla="*/ 159417 h 1393122"/>
                  <a:gd name="connsiteX44" fmla="*/ 393358 w 1954659"/>
                  <a:gd name="connsiteY44" fmla="*/ 165590 h 1393122"/>
                  <a:gd name="connsiteX45" fmla="*/ 381427 w 1954659"/>
                  <a:gd name="connsiteY45" fmla="*/ 192618 h 1393122"/>
                  <a:gd name="connsiteX46" fmla="*/ 395193 w 1954659"/>
                  <a:gd name="connsiteY46" fmla="*/ 208551 h 1393122"/>
                  <a:gd name="connsiteX47" fmla="*/ 400032 w 1954659"/>
                  <a:gd name="connsiteY47" fmla="*/ 209886 h 1393122"/>
                  <a:gd name="connsiteX48" fmla="*/ 412879 w 1954659"/>
                  <a:gd name="connsiteY48" fmla="*/ 228906 h 1393122"/>
                  <a:gd name="connsiteX49" fmla="*/ 423058 w 1954659"/>
                  <a:gd name="connsiteY49" fmla="*/ 254182 h 1393122"/>
                  <a:gd name="connsiteX50" fmla="*/ 496556 w 1954659"/>
                  <a:gd name="connsiteY50" fmla="*/ 266612 h 1393122"/>
                  <a:gd name="connsiteX51" fmla="*/ 506317 w 1954659"/>
                  <a:gd name="connsiteY51" fmla="*/ 266195 h 1393122"/>
                  <a:gd name="connsiteX52" fmla="*/ 533348 w 1954659"/>
                  <a:gd name="connsiteY52" fmla="*/ 262691 h 1393122"/>
                  <a:gd name="connsiteX53" fmla="*/ 570139 w 1954659"/>
                  <a:gd name="connsiteY53" fmla="*/ 259605 h 1393122"/>
                  <a:gd name="connsiteX54" fmla="*/ 622865 w 1954659"/>
                  <a:gd name="connsiteY54" fmla="*/ 284881 h 1393122"/>
                  <a:gd name="connsiteX55" fmla="*/ 636130 w 1954659"/>
                  <a:gd name="connsiteY55" fmla="*/ 293724 h 1393122"/>
                  <a:gd name="connsiteX56" fmla="*/ 643638 w 1954659"/>
                  <a:gd name="connsiteY56" fmla="*/ 318499 h 1393122"/>
                  <a:gd name="connsiteX57" fmla="*/ 640551 w 1954659"/>
                  <a:gd name="connsiteY57" fmla="*/ 343776 h 1393122"/>
                  <a:gd name="connsiteX58" fmla="*/ 669333 w 1954659"/>
                  <a:gd name="connsiteY58" fmla="*/ 384569 h 1393122"/>
                  <a:gd name="connsiteX59" fmla="*/ 728733 w 1954659"/>
                  <a:gd name="connsiteY59" fmla="*/ 388072 h 1393122"/>
                  <a:gd name="connsiteX60" fmla="*/ 731403 w 1954659"/>
                  <a:gd name="connsiteY60" fmla="*/ 387155 h 1393122"/>
                  <a:gd name="connsiteX61" fmla="*/ 736742 w 1954659"/>
                  <a:gd name="connsiteY61" fmla="*/ 384902 h 1393122"/>
                  <a:gd name="connsiteX62" fmla="*/ 752677 w 1954659"/>
                  <a:gd name="connsiteY62" fmla="*/ 381399 h 1393122"/>
                  <a:gd name="connsiteX63" fmla="*/ 758851 w 1954659"/>
                  <a:gd name="connsiteY63" fmla="*/ 383150 h 1393122"/>
                  <a:gd name="connsiteX64" fmla="*/ 775703 w 1954659"/>
                  <a:gd name="connsiteY64" fmla="*/ 384485 h 1393122"/>
                  <a:gd name="connsiteX65" fmla="*/ 793890 w 1954659"/>
                  <a:gd name="connsiteY65" fmla="*/ 371638 h 1393122"/>
                  <a:gd name="connsiteX66" fmla="*/ 813412 w 1954659"/>
                  <a:gd name="connsiteY66" fmla="*/ 364548 h 1393122"/>
                  <a:gd name="connsiteX67" fmla="*/ 847116 w 1954659"/>
                  <a:gd name="connsiteY67" fmla="*/ 383150 h 1393122"/>
                  <a:gd name="connsiteX68" fmla="*/ 863468 w 1954659"/>
                  <a:gd name="connsiteY68" fmla="*/ 393745 h 1393122"/>
                  <a:gd name="connsiteX69" fmla="*/ 870142 w 1954659"/>
                  <a:gd name="connsiteY69" fmla="*/ 397249 h 1393122"/>
                  <a:gd name="connsiteX70" fmla="*/ 904681 w 1954659"/>
                  <a:gd name="connsiteY70" fmla="*/ 425195 h 1393122"/>
                  <a:gd name="connsiteX71" fmla="*/ 901176 w 1954659"/>
                  <a:gd name="connsiteY71" fmla="*/ 449136 h 1393122"/>
                  <a:gd name="connsiteX72" fmla="*/ 894085 w 1954659"/>
                  <a:gd name="connsiteY72" fmla="*/ 466821 h 1393122"/>
                  <a:gd name="connsiteX73" fmla="*/ 914442 w 1954659"/>
                  <a:gd name="connsiteY73" fmla="*/ 521295 h 1393122"/>
                  <a:gd name="connsiteX74" fmla="*/ 934798 w 1954659"/>
                  <a:gd name="connsiteY74" fmla="*/ 557583 h 1393122"/>
                  <a:gd name="connsiteX75" fmla="*/ 933880 w 1954659"/>
                  <a:gd name="connsiteY75" fmla="*/ 568678 h 1393122"/>
                  <a:gd name="connsiteX76" fmla="*/ 950232 w 1954659"/>
                  <a:gd name="connsiteY76" fmla="*/ 613891 h 1393122"/>
                  <a:gd name="connsiteX77" fmla="*/ 1005627 w 1954659"/>
                  <a:gd name="connsiteY77" fmla="*/ 616978 h 1393122"/>
                  <a:gd name="connsiteX78" fmla="*/ 1014053 w 1954659"/>
                  <a:gd name="connsiteY78" fmla="*/ 613474 h 1393122"/>
                  <a:gd name="connsiteX79" fmla="*/ 1040666 w 1954659"/>
                  <a:gd name="connsiteY79" fmla="*/ 613891 h 1393122"/>
                  <a:gd name="connsiteX80" fmla="*/ 1050845 w 1954659"/>
                  <a:gd name="connsiteY80" fmla="*/ 629408 h 1393122"/>
                  <a:gd name="connsiteX81" fmla="*/ 1073870 w 1954659"/>
                  <a:gd name="connsiteY81" fmla="*/ 654184 h 1393122"/>
                  <a:gd name="connsiteX82" fmla="*/ 1091140 w 1954659"/>
                  <a:gd name="connsiteY82" fmla="*/ 661275 h 1393122"/>
                  <a:gd name="connsiteX83" fmla="*/ 1122592 w 1954659"/>
                  <a:gd name="connsiteY83" fmla="*/ 676373 h 1393122"/>
                  <a:gd name="connsiteX84" fmla="*/ 1170395 w 1954659"/>
                  <a:gd name="connsiteY84" fmla="*/ 698063 h 1393122"/>
                  <a:gd name="connsiteX85" fmla="*/ 1194756 w 1954659"/>
                  <a:gd name="connsiteY85" fmla="*/ 699397 h 1393122"/>
                  <a:gd name="connsiteX86" fmla="*/ 1231964 w 1954659"/>
                  <a:gd name="connsiteY86" fmla="*/ 706071 h 1393122"/>
                  <a:gd name="connsiteX87" fmla="*/ 1246146 w 1954659"/>
                  <a:gd name="connsiteY87" fmla="*/ 717166 h 1393122"/>
                  <a:gd name="connsiteX88" fmla="*/ 1275846 w 1954659"/>
                  <a:gd name="connsiteY88" fmla="*/ 734434 h 1393122"/>
                  <a:gd name="connsiteX89" fmla="*/ 1315308 w 1954659"/>
                  <a:gd name="connsiteY89" fmla="*/ 761462 h 1393122"/>
                  <a:gd name="connsiteX90" fmla="*/ 1359607 w 1954659"/>
                  <a:gd name="connsiteY90" fmla="*/ 814601 h 1393122"/>
                  <a:gd name="connsiteX91" fmla="*/ 1418089 w 1954659"/>
                  <a:gd name="connsiteY91" fmla="*/ 833204 h 1393122"/>
                  <a:gd name="connsiteX92" fmla="*/ 1439780 w 1954659"/>
                  <a:gd name="connsiteY92" fmla="*/ 832287 h 1393122"/>
                  <a:gd name="connsiteX93" fmla="*/ 1484497 w 1954659"/>
                  <a:gd name="connsiteY93" fmla="*/ 830034 h 1393122"/>
                  <a:gd name="connsiteX94" fmla="*/ 1535888 w 1954659"/>
                  <a:gd name="connsiteY94" fmla="*/ 807010 h 1393122"/>
                  <a:gd name="connsiteX95" fmla="*/ 1542062 w 1954659"/>
                  <a:gd name="connsiteY95" fmla="*/ 802172 h 1393122"/>
                  <a:gd name="connsiteX96" fmla="*/ 1551406 w 1954659"/>
                  <a:gd name="connsiteY96" fmla="*/ 795498 h 1393122"/>
                  <a:gd name="connsiteX97" fmla="*/ 1578436 w 1954659"/>
                  <a:gd name="connsiteY97" fmla="*/ 771556 h 1393122"/>
                  <a:gd name="connsiteX98" fmla="*/ 1594370 w 1954659"/>
                  <a:gd name="connsiteY98" fmla="*/ 760461 h 1393122"/>
                  <a:gd name="connsiteX99" fmla="*/ 1622318 w 1954659"/>
                  <a:gd name="connsiteY99" fmla="*/ 791911 h 1393122"/>
                  <a:gd name="connsiteX100" fmla="*/ 1632496 w 1954659"/>
                  <a:gd name="connsiteY100" fmla="*/ 808762 h 1393122"/>
                  <a:gd name="connsiteX101" fmla="*/ 1684805 w 1954659"/>
                  <a:gd name="connsiteY101" fmla="*/ 835373 h 1393122"/>
                  <a:gd name="connsiteX102" fmla="*/ 1730022 w 1954659"/>
                  <a:gd name="connsiteY102" fmla="*/ 849137 h 1393122"/>
                  <a:gd name="connsiteX103" fmla="*/ 1739783 w 1954659"/>
                  <a:gd name="connsiteY103" fmla="*/ 858481 h 1393122"/>
                  <a:gd name="connsiteX104" fmla="*/ 1772570 w 1954659"/>
                  <a:gd name="connsiteY104" fmla="*/ 882422 h 1393122"/>
                  <a:gd name="connsiteX105" fmla="*/ 1798265 w 1954659"/>
                  <a:gd name="connsiteY105" fmla="*/ 886426 h 1393122"/>
                  <a:gd name="connsiteX106" fmla="*/ 1814200 w 1954659"/>
                  <a:gd name="connsiteY106" fmla="*/ 887761 h 1393122"/>
                  <a:gd name="connsiteX107" fmla="*/ 1835891 w 1954659"/>
                  <a:gd name="connsiteY107" fmla="*/ 908116 h 1393122"/>
                  <a:gd name="connsiteX108" fmla="*/ 1845652 w 1954659"/>
                  <a:gd name="connsiteY108" fmla="*/ 922297 h 1393122"/>
                  <a:gd name="connsiteX109" fmla="*/ 1854495 w 1954659"/>
                  <a:gd name="connsiteY109" fmla="*/ 929805 h 1393122"/>
                  <a:gd name="connsiteX110" fmla="*/ 1853577 w 1954659"/>
                  <a:gd name="connsiteY110" fmla="*/ 933309 h 1393122"/>
                  <a:gd name="connsiteX111" fmla="*/ 1862003 w 1954659"/>
                  <a:gd name="connsiteY111" fmla="*/ 994873 h 1393122"/>
                  <a:gd name="connsiteX112" fmla="*/ 1912060 w 1954659"/>
                  <a:gd name="connsiteY112" fmla="*/ 1028575 h 1393122"/>
                  <a:gd name="connsiteX113" fmla="*/ 1933333 w 1954659"/>
                  <a:gd name="connsiteY113" fmla="*/ 1039169 h 1393122"/>
                  <a:gd name="connsiteX114" fmla="*/ 1937338 w 1954659"/>
                  <a:gd name="connsiteY114" fmla="*/ 1041839 h 1393122"/>
                  <a:gd name="connsiteX115" fmla="*/ 1954607 w 1954659"/>
                  <a:gd name="connsiteY115" fmla="*/ 1055603 h 1393122"/>
                  <a:gd name="connsiteX116" fmla="*/ 1951103 w 1954659"/>
                  <a:gd name="connsiteY116" fmla="*/ 1062694 h 1393122"/>
                  <a:gd name="connsiteX117" fmla="*/ 1945347 w 1954659"/>
                  <a:gd name="connsiteY117" fmla="*/ 1068450 h 1393122"/>
                  <a:gd name="connsiteX118" fmla="*/ 1933417 w 1954659"/>
                  <a:gd name="connsiteY118" fmla="*/ 1082631 h 1393122"/>
                  <a:gd name="connsiteX119" fmla="*/ 1930330 w 1954659"/>
                  <a:gd name="connsiteY119" fmla="*/ 1089722 h 1393122"/>
                  <a:gd name="connsiteX120" fmla="*/ 1921487 w 1954659"/>
                  <a:gd name="connsiteY120" fmla="*/ 1098565 h 1393122"/>
                  <a:gd name="connsiteX121" fmla="*/ 1910391 w 1954659"/>
                  <a:gd name="connsiteY121" fmla="*/ 1100817 h 1393122"/>
                  <a:gd name="connsiteX122" fmla="*/ 1894039 w 1954659"/>
                  <a:gd name="connsiteY122" fmla="*/ 1104321 h 1393122"/>
                  <a:gd name="connsiteX123" fmla="*/ 1870096 w 1954659"/>
                  <a:gd name="connsiteY123" fmla="*/ 1119837 h 1393122"/>
                  <a:gd name="connsiteX124" fmla="*/ 1858583 w 1954659"/>
                  <a:gd name="connsiteY124" fmla="*/ 1128262 h 1393122"/>
                  <a:gd name="connsiteX125" fmla="*/ 1854161 w 1954659"/>
                  <a:gd name="connsiteY125" fmla="*/ 1130932 h 1393122"/>
                  <a:gd name="connsiteX126" fmla="*/ 1831136 w 1954659"/>
                  <a:gd name="connsiteY126" fmla="*/ 1144696 h 1393122"/>
                  <a:gd name="connsiteX127" fmla="*/ 1817370 w 1954659"/>
                  <a:gd name="connsiteY127" fmla="*/ 1149535 h 1393122"/>
                  <a:gd name="connsiteX128" fmla="*/ 1803605 w 1954659"/>
                  <a:gd name="connsiteY128" fmla="*/ 1149118 h 1393122"/>
                  <a:gd name="connsiteX129" fmla="*/ 1785418 w 1954659"/>
                  <a:gd name="connsiteY129" fmla="*/ 1133184 h 1393122"/>
                  <a:gd name="connsiteX130" fmla="*/ 1755301 w 1954659"/>
                  <a:gd name="connsiteY130" fmla="*/ 1111078 h 1393122"/>
                  <a:gd name="connsiteX131" fmla="*/ 1711001 w 1954659"/>
                  <a:gd name="connsiteY131" fmla="*/ 1123507 h 1393122"/>
                  <a:gd name="connsiteX132" fmla="*/ 1691479 w 1954659"/>
                  <a:gd name="connsiteY132" fmla="*/ 1146531 h 1393122"/>
                  <a:gd name="connsiteX133" fmla="*/ 1651184 w 1954659"/>
                  <a:gd name="connsiteY133" fmla="*/ 1179733 h 1393122"/>
                  <a:gd name="connsiteX134" fmla="*/ 1628575 w 1954659"/>
                  <a:gd name="connsiteY134" fmla="*/ 1171308 h 1393122"/>
                  <a:gd name="connsiteX135" fmla="*/ 1604215 w 1954659"/>
                  <a:gd name="connsiteY135" fmla="*/ 1160713 h 1393122"/>
                  <a:gd name="connsiteX136" fmla="*/ 1592702 w 1954659"/>
                  <a:gd name="connsiteY136" fmla="*/ 1160296 h 1393122"/>
                  <a:gd name="connsiteX137" fmla="*/ 1582106 w 1954659"/>
                  <a:gd name="connsiteY137" fmla="*/ 1159378 h 1393122"/>
                  <a:gd name="connsiteX138" fmla="*/ 1573263 w 1954659"/>
                  <a:gd name="connsiteY138" fmla="*/ 1147449 h 1393122"/>
                  <a:gd name="connsiteX139" fmla="*/ 1564420 w 1954659"/>
                  <a:gd name="connsiteY139" fmla="*/ 1134185 h 1393122"/>
                  <a:gd name="connsiteX140" fmla="*/ 1512612 w 1954659"/>
                  <a:gd name="connsiteY140" fmla="*/ 1131516 h 1393122"/>
                  <a:gd name="connsiteX141" fmla="*/ 1501516 w 1954659"/>
                  <a:gd name="connsiteY141" fmla="*/ 1135937 h 1393122"/>
                  <a:gd name="connsiteX142" fmla="*/ 1438195 w 1954659"/>
                  <a:gd name="connsiteY142" fmla="*/ 1126177 h 1393122"/>
                  <a:gd name="connsiteX143" fmla="*/ 1433774 w 1954659"/>
                  <a:gd name="connsiteY143" fmla="*/ 1123090 h 1393122"/>
                  <a:gd name="connsiteX144" fmla="*/ 1378378 w 1954659"/>
                  <a:gd name="connsiteY144" fmla="*/ 1102235 h 1393122"/>
                  <a:gd name="connsiteX145" fmla="*/ 1299957 w 1954659"/>
                  <a:gd name="connsiteY145" fmla="*/ 1086719 h 1393122"/>
                  <a:gd name="connsiteX146" fmla="*/ 1240140 w 1954659"/>
                  <a:gd name="connsiteY146" fmla="*/ 1094727 h 1393122"/>
                  <a:gd name="connsiteX147" fmla="*/ 1233966 w 1954659"/>
                  <a:gd name="connsiteY147" fmla="*/ 1107157 h 1393122"/>
                  <a:gd name="connsiteX148" fmla="*/ 1229545 w 1954659"/>
                  <a:gd name="connsiteY148" fmla="*/ 1116917 h 1393122"/>
                  <a:gd name="connsiteX149" fmla="*/ 1221118 w 1954659"/>
                  <a:gd name="connsiteY149" fmla="*/ 1125343 h 1393122"/>
                  <a:gd name="connsiteX150" fmla="*/ 1206936 w 1954659"/>
                  <a:gd name="connsiteY150" fmla="*/ 1143028 h 1393122"/>
                  <a:gd name="connsiteX151" fmla="*/ 1207353 w 1954659"/>
                  <a:gd name="connsiteY151" fmla="*/ 1162048 h 1393122"/>
                  <a:gd name="connsiteX152" fmla="*/ 1208271 w 1954659"/>
                  <a:gd name="connsiteY152" fmla="*/ 1172642 h 1393122"/>
                  <a:gd name="connsiteX153" fmla="*/ 1201597 w 1954659"/>
                  <a:gd name="connsiteY153" fmla="*/ 1185489 h 1393122"/>
                  <a:gd name="connsiteX154" fmla="*/ 1192753 w 1954659"/>
                  <a:gd name="connsiteY154" fmla="*/ 1203674 h 1393122"/>
                  <a:gd name="connsiteX155" fmla="*/ 1189250 w 1954659"/>
                  <a:gd name="connsiteY155" fmla="*/ 1224029 h 1393122"/>
                  <a:gd name="connsiteX156" fmla="*/ 1178154 w 1954659"/>
                  <a:gd name="connsiteY156" fmla="*/ 1260317 h 1393122"/>
                  <a:gd name="connsiteX157" fmla="*/ 1159550 w 1954659"/>
                  <a:gd name="connsiteY157" fmla="*/ 1270077 h 1393122"/>
                  <a:gd name="connsiteX158" fmla="*/ 1147119 w 1954659"/>
                  <a:gd name="connsiteY158" fmla="*/ 1267825 h 1393122"/>
                  <a:gd name="connsiteX159" fmla="*/ 1083798 w 1954659"/>
                  <a:gd name="connsiteY159" fmla="*/ 1315208 h 1393122"/>
                  <a:gd name="connsiteX160" fmla="*/ 1077624 w 1954659"/>
                  <a:gd name="connsiteY160" fmla="*/ 1337314 h 1393122"/>
                  <a:gd name="connsiteX161" fmla="*/ 1074538 w 1954659"/>
                  <a:gd name="connsiteY161" fmla="*/ 1351913 h 1393122"/>
                  <a:gd name="connsiteX162" fmla="*/ 1061273 w 1954659"/>
                  <a:gd name="connsiteY162" fmla="*/ 1365177 h 1393122"/>
                  <a:gd name="connsiteX163" fmla="*/ 1058603 w 1954659"/>
                  <a:gd name="connsiteY163" fmla="*/ 1367429 h 1393122"/>
                  <a:gd name="connsiteX164" fmla="*/ 1048008 w 1954659"/>
                  <a:gd name="connsiteY164" fmla="*/ 1374520 h 1393122"/>
                  <a:gd name="connsiteX165" fmla="*/ 1027652 w 1954659"/>
                  <a:gd name="connsiteY165" fmla="*/ 1390036 h 1393122"/>
                  <a:gd name="connsiteX166" fmla="*/ 1024982 w 1954659"/>
                  <a:gd name="connsiteY166" fmla="*/ 1393123 h 1393122"/>
                  <a:gd name="connsiteX167" fmla="*/ 1006378 w 1954659"/>
                  <a:gd name="connsiteY167" fmla="*/ 1379358 h 1393122"/>
                  <a:gd name="connsiteX168" fmla="*/ 982434 w 1954659"/>
                  <a:gd name="connsiteY168" fmla="*/ 1370933 h 1393122"/>
                  <a:gd name="connsiteX169" fmla="*/ 962495 w 1954659"/>
                  <a:gd name="connsiteY169" fmla="*/ 1364259 h 1393122"/>
                  <a:gd name="connsiteX170" fmla="*/ 943891 w 1954659"/>
                  <a:gd name="connsiteY170" fmla="*/ 1354916 h 1393122"/>
                  <a:gd name="connsiteX171" fmla="*/ 913357 w 1954659"/>
                  <a:gd name="connsiteY171" fmla="*/ 1341152 h 1393122"/>
                  <a:gd name="connsiteX172" fmla="*/ 875231 w 1954659"/>
                  <a:gd name="connsiteY172" fmla="*/ 1306615 h 1393122"/>
                  <a:gd name="connsiteX173" fmla="*/ 864135 w 1954659"/>
                  <a:gd name="connsiteY173" fmla="*/ 1287596 h 1393122"/>
                  <a:gd name="connsiteX174" fmla="*/ 848618 w 1954659"/>
                  <a:gd name="connsiteY174" fmla="*/ 1269410 h 1393122"/>
                  <a:gd name="connsiteX175" fmla="*/ 832683 w 1954659"/>
                  <a:gd name="connsiteY175" fmla="*/ 1249055 h 1393122"/>
                  <a:gd name="connsiteX176" fmla="*/ 824257 w 1954659"/>
                  <a:gd name="connsiteY176" fmla="*/ 1226449 h 1393122"/>
                  <a:gd name="connsiteX177" fmla="*/ 810492 w 1954659"/>
                  <a:gd name="connsiteY177" fmla="*/ 1193664 h 1393122"/>
                  <a:gd name="connsiteX178" fmla="*/ 788801 w 1954659"/>
                  <a:gd name="connsiteY178" fmla="*/ 1167053 h 1393122"/>
                  <a:gd name="connsiteX179" fmla="*/ 776870 w 1954659"/>
                  <a:gd name="connsiteY179" fmla="*/ 1153289 h 1393122"/>
                  <a:gd name="connsiteX180" fmla="*/ 770697 w 1954659"/>
                  <a:gd name="connsiteY180" fmla="*/ 1145280 h 1393122"/>
                  <a:gd name="connsiteX181" fmla="*/ 739245 w 1954659"/>
                  <a:gd name="connsiteY181" fmla="*/ 1118252 h 1393122"/>
                  <a:gd name="connsiteX182" fmla="*/ 715302 w 1954659"/>
                  <a:gd name="connsiteY182" fmla="*/ 1112496 h 1393122"/>
                  <a:gd name="connsiteX183" fmla="*/ 693194 w 1954659"/>
                  <a:gd name="connsiteY183" fmla="*/ 1107657 h 1393122"/>
                  <a:gd name="connsiteX184" fmla="*/ 656402 w 1954659"/>
                  <a:gd name="connsiteY184" fmla="*/ 1089055 h 1393122"/>
                  <a:gd name="connsiteX185" fmla="*/ 647976 w 1954659"/>
                  <a:gd name="connsiteY185" fmla="*/ 1084217 h 1393122"/>
                  <a:gd name="connsiteX186" fmla="*/ 596168 w 1954659"/>
                  <a:gd name="connsiteY186" fmla="*/ 1070452 h 1393122"/>
                  <a:gd name="connsiteX187" fmla="*/ 579817 w 1954659"/>
                  <a:gd name="connsiteY187" fmla="*/ 1083299 h 1393122"/>
                  <a:gd name="connsiteX188" fmla="*/ 576312 w 1954659"/>
                  <a:gd name="connsiteY188" fmla="*/ 1100150 h 1393122"/>
                  <a:gd name="connsiteX189" fmla="*/ 576312 w 1954659"/>
                  <a:gd name="connsiteY189" fmla="*/ 1102819 h 1393122"/>
                  <a:gd name="connsiteX190" fmla="*/ 569221 w 1954659"/>
                  <a:gd name="connsiteY190" fmla="*/ 1105489 h 1393122"/>
                  <a:gd name="connsiteX191" fmla="*/ 558626 w 1954659"/>
                  <a:gd name="connsiteY191" fmla="*/ 1107741 h 1393122"/>
                  <a:gd name="connsiteX192" fmla="*/ 517413 w 1954659"/>
                  <a:gd name="connsiteY192" fmla="*/ 1125927 h 1393122"/>
                  <a:gd name="connsiteX193" fmla="*/ 510322 w 1954659"/>
                  <a:gd name="connsiteY193" fmla="*/ 1132600 h 1393122"/>
                  <a:gd name="connsiteX194" fmla="*/ 481957 w 1954659"/>
                  <a:gd name="connsiteY194" fmla="*/ 1148116 h 1393122"/>
                  <a:gd name="connsiteX195" fmla="*/ 462935 w 1954659"/>
                  <a:gd name="connsiteY195" fmla="*/ 1147699 h 1393122"/>
                  <a:gd name="connsiteX196" fmla="*/ 422640 w 1954659"/>
                  <a:gd name="connsiteY196" fmla="*/ 1150786 h 1393122"/>
                  <a:gd name="connsiteX197" fmla="*/ 407123 w 1954659"/>
                  <a:gd name="connsiteY197" fmla="*/ 1156542 h 1393122"/>
                  <a:gd name="connsiteX198" fmla="*/ 373419 w 1954659"/>
                  <a:gd name="connsiteY198" fmla="*/ 1163633 h 1393122"/>
                  <a:gd name="connsiteX199" fmla="*/ 332205 w 1954659"/>
                  <a:gd name="connsiteY199" fmla="*/ 1182236 h 1393122"/>
                  <a:gd name="connsiteX200" fmla="*/ 326866 w 1954659"/>
                  <a:gd name="connsiteY200" fmla="*/ 1187992 h 1393122"/>
                  <a:gd name="connsiteX201" fmla="*/ 286571 w 1954659"/>
                  <a:gd name="connsiteY201" fmla="*/ 1199921 h 1393122"/>
                  <a:gd name="connsiteX202" fmla="*/ 286154 w 1954659"/>
                  <a:gd name="connsiteY202" fmla="*/ 1199921 h 1393122"/>
                  <a:gd name="connsiteX203" fmla="*/ 283901 w 1954659"/>
                  <a:gd name="connsiteY203" fmla="*/ 1199921 h 1393122"/>
                  <a:gd name="connsiteX204" fmla="*/ 271054 w 1954659"/>
                  <a:gd name="connsiteY204" fmla="*/ 1200338 h 1393122"/>
                  <a:gd name="connsiteX205" fmla="*/ 263045 w 1954659"/>
                  <a:gd name="connsiteY205" fmla="*/ 1170223 h 1393122"/>
                  <a:gd name="connsiteX206" fmla="*/ 257872 w 1954659"/>
                  <a:gd name="connsiteY206" fmla="*/ 1160796 h 1393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1954659" h="1393122" extrusionOk="0">
                    <a:moveTo>
                      <a:pt x="257872" y="1160796"/>
                    </a:moveTo>
                    <a:cubicBezTo>
                      <a:pt x="254368" y="1147533"/>
                      <a:pt x="253451" y="1133768"/>
                      <a:pt x="252533" y="1119170"/>
                    </a:cubicBezTo>
                    <a:cubicBezTo>
                      <a:pt x="251615" y="1101901"/>
                      <a:pt x="250281" y="1084217"/>
                      <a:pt x="244107" y="1067365"/>
                    </a:cubicBezTo>
                    <a:cubicBezTo>
                      <a:pt x="235681" y="1043924"/>
                      <a:pt x="215325" y="1032829"/>
                      <a:pt x="197555" y="1022652"/>
                    </a:cubicBezTo>
                    <a:cubicBezTo>
                      <a:pt x="173611" y="1008888"/>
                      <a:pt x="155925" y="999211"/>
                      <a:pt x="166520" y="965092"/>
                    </a:cubicBezTo>
                    <a:cubicBezTo>
                      <a:pt x="178450" y="928804"/>
                      <a:pt x="181120" y="907949"/>
                      <a:pt x="167855" y="873413"/>
                    </a:cubicBezTo>
                    <a:cubicBezTo>
                      <a:pt x="151920" y="831369"/>
                      <a:pt x="148833" y="798584"/>
                      <a:pt x="158094" y="765800"/>
                    </a:cubicBezTo>
                    <a:cubicBezTo>
                      <a:pt x="159429" y="760962"/>
                      <a:pt x="161180" y="756040"/>
                      <a:pt x="162515" y="751619"/>
                    </a:cubicBezTo>
                    <a:cubicBezTo>
                      <a:pt x="167354" y="737854"/>
                      <a:pt x="172276" y="724174"/>
                      <a:pt x="170524" y="708240"/>
                    </a:cubicBezTo>
                    <a:cubicBezTo>
                      <a:pt x="168272" y="690055"/>
                      <a:pt x="159429" y="673287"/>
                      <a:pt x="150168" y="659940"/>
                    </a:cubicBezTo>
                    <a:cubicBezTo>
                      <a:pt x="145746" y="653767"/>
                      <a:pt x="141742" y="647093"/>
                      <a:pt x="137321" y="640419"/>
                    </a:cubicBezTo>
                    <a:cubicBezTo>
                      <a:pt x="122721" y="617395"/>
                      <a:pt x="107203" y="593453"/>
                      <a:pt x="89016" y="573516"/>
                    </a:cubicBezTo>
                    <a:cubicBezTo>
                      <a:pt x="79255" y="563339"/>
                      <a:pt x="68159" y="556248"/>
                      <a:pt x="57565" y="549574"/>
                    </a:cubicBezTo>
                    <a:cubicBezTo>
                      <a:pt x="52726" y="546905"/>
                      <a:pt x="47803" y="543818"/>
                      <a:pt x="43382" y="540732"/>
                    </a:cubicBezTo>
                    <a:cubicBezTo>
                      <a:pt x="29617" y="531389"/>
                      <a:pt x="26530" y="522129"/>
                      <a:pt x="21274" y="506195"/>
                    </a:cubicBezTo>
                    <a:lnTo>
                      <a:pt x="19939" y="502692"/>
                    </a:lnTo>
                    <a:cubicBezTo>
                      <a:pt x="15517" y="490263"/>
                      <a:pt x="8843" y="481420"/>
                      <a:pt x="0" y="474329"/>
                    </a:cubicBezTo>
                    <a:cubicBezTo>
                      <a:pt x="417" y="473411"/>
                      <a:pt x="1335" y="472077"/>
                      <a:pt x="1752" y="471242"/>
                    </a:cubicBezTo>
                    <a:cubicBezTo>
                      <a:pt x="6591" y="462400"/>
                      <a:pt x="12347" y="453975"/>
                      <a:pt x="18103" y="445966"/>
                    </a:cubicBezTo>
                    <a:cubicBezTo>
                      <a:pt x="23860" y="437541"/>
                      <a:pt x="30034" y="428698"/>
                      <a:pt x="35373" y="419855"/>
                    </a:cubicBezTo>
                    <a:cubicBezTo>
                      <a:pt x="40712" y="410095"/>
                      <a:pt x="42464" y="400836"/>
                      <a:pt x="44216" y="391492"/>
                    </a:cubicBezTo>
                    <a:cubicBezTo>
                      <a:pt x="45551" y="383984"/>
                      <a:pt x="46886" y="376894"/>
                      <a:pt x="49973" y="370637"/>
                    </a:cubicBezTo>
                    <a:cubicBezTo>
                      <a:pt x="52225" y="366216"/>
                      <a:pt x="53977" y="363129"/>
                      <a:pt x="56146" y="360460"/>
                    </a:cubicBezTo>
                    <a:cubicBezTo>
                      <a:pt x="60985" y="352035"/>
                      <a:pt x="66324" y="344110"/>
                      <a:pt x="64155" y="328593"/>
                    </a:cubicBezTo>
                    <a:cubicBezTo>
                      <a:pt x="61902" y="312243"/>
                      <a:pt x="63738" y="303317"/>
                      <a:pt x="73499" y="286967"/>
                    </a:cubicBezTo>
                    <a:cubicBezTo>
                      <a:pt x="91185" y="256852"/>
                      <a:pt x="115546" y="226737"/>
                      <a:pt x="140824" y="204130"/>
                    </a:cubicBezTo>
                    <a:lnTo>
                      <a:pt x="146164" y="199292"/>
                    </a:lnTo>
                    <a:cubicBezTo>
                      <a:pt x="157260" y="189532"/>
                      <a:pt x="167855" y="180689"/>
                      <a:pt x="171442" y="162503"/>
                    </a:cubicBezTo>
                    <a:cubicBezTo>
                      <a:pt x="174946" y="145235"/>
                      <a:pt x="178116" y="133306"/>
                      <a:pt x="182037" y="119959"/>
                    </a:cubicBezTo>
                    <a:cubicBezTo>
                      <a:pt x="183372" y="115120"/>
                      <a:pt x="184290" y="109781"/>
                      <a:pt x="185124" y="104443"/>
                    </a:cubicBezTo>
                    <a:cubicBezTo>
                      <a:pt x="186459" y="96434"/>
                      <a:pt x="187377" y="88926"/>
                      <a:pt x="191798" y="82753"/>
                    </a:cubicBezTo>
                    <a:cubicBezTo>
                      <a:pt x="198472" y="73911"/>
                      <a:pt x="211737" y="63233"/>
                      <a:pt x="231259" y="51721"/>
                    </a:cubicBezTo>
                    <a:cubicBezTo>
                      <a:pt x="243690" y="44213"/>
                      <a:pt x="248946" y="48634"/>
                      <a:pt x="257872" y="57060"/>
                    </a:cubicBezTo>
                    <a:cubicBezTo>
                      <a:pt x="266298" y="65068"/>
                      <a:pt x="276894" y="74328"/>
                      <a:pt x="295498" y="71241"/>
                    </a:cubicBezTo>
                    <a:cubicBezTo>
                      <a:pt x="319858" y="66820"/>
                      <a:pt x="338462" y="49969"/>
                      <a:pt x="356650" y="34035"/>
                    </a:cubicBezTo>
                    <a:cubicBezTo>
                      <a:pt x="363741" y="27362"/>
                      <a:pt x="370415" y="21606"/>
                      <a:pt x="377006" y="16351"/>
                    </a:cubicBezTo>
                    <a:cubicBezTo>
                      <a:pt x="389436" y="7508"/>
                      <a:pt x="402284" y="2586"/>
                      <a:pt x="415966" y="0"/>
                    </a:cubicBezTo>
                    <a:cubicBezTo>
                      <a:pt x="416383" y="15516"/>
                      <a:pt x="417301" y="31450"/>
                      <a:pt x="419470" y="45214"/>
                    </a:cubicBezTo>
                    <a:cubicBezTo>
                      <a:pt x="420388" y="50970"/>
                      <a:pt x="422557" y="56309"/>
                      <a:pt x="424809" y="61564"/>
                    </a:cubicBezTo>
                    <a:cubicBezTo>
                      <a:pt x="427479" y="68238"/>
                      <a:pt x="430149" y="74411"/>
                      <a:pt x="429648" y="80167"/>
                    </a:cubicBezTo>
                    <a:cubicBezTo>
                      <a:pt x="429231" y="85506"/>
                      <a:pt x="426144" y="89927"/>
                      <a:pt x="422557" y="94766"/>
                    </a:cubicBezTo>
                    <a:cubicBezTo>
                      <a:pt x="420304" y="98269"/>
                      <a:pt x="418135" y="101439"/>
                      <a:pt x="416383" y="105360"/>
                    </a:cubicBezTo>
                    <a:cubicBezTo>
                      <a:pt x="412879" y="113785"/>
                      <a:pt x="411044" y="122628"/>
                      <a:pt x="409292" y="131054"/>
                    </a:cubicBezTo>
                    <a:cubicBezTo>
                      <a:pt x="407039" y="141648"/>
                      <a:pt x="405287" y="151408"/>
                      <a:pt x="399114" y="159417"/>
                    </a:cubicBezTo>
                    <a:cubicBezTo>
                      <a:pt x="397362" y="161669"/>
                      <a:pt x="395610" y="163421"/>
                      <a:pt x="393358" y="165590"/>
                    </a:cubicBezTo>
                    <a:cubicBezTo>
                      <a:pt x="387184" y="171346"/>
                      <a:pt x="379175" y="178853"/>
                      <a:pt x="381427" y="192618"/>
                    </a:cubicBezTo>
                    <a:cubicBezTo>
                      <a:pt x="383179" y="204547"/>
                      <a:pt x="388519" y="206799"/>
                      <a:pt x="395193" y="208551"/>
                    </a:cubicBezTo>
                    <a:cubicBezTo>
                      <a:pt x="396528" y="208968"/>
                      <a:pt x="398280" y="209469"/>
                      <a:pt x="400032" y="209886"/>
                    </a:cubicBezTo>
                    <a:cubicBezTo>
                      <a:pt x="411127" y="214307"/>
                      <a:pt x="411962" y="220063"/>
                      <a:pt x="412879" y="228906"/>
                    </a:cubicBezTo>
                    <a:cubicBezTo>
                      <a:pt x="413797" y="235997"/>
                      <a:pt x="415132" y="245256"/>
                      <a:pt x="423058" y="254182"/>
                    </a:cubicBezTo>
                    <a:cubicBezTo>
                      <a:pt x="438575" y="271033"/>
                      <a:pt x="472196" y="268364"/>
                      <a:pt x="496556" y="266612"/>
                    </a:cubicBezTo>
                    <a:cubicBezTo>
                      <a:pt x="500060" y="266195"/>
                      <a:pt x="503648" y="266195"/>
                      <a:pt x="506317" y="266195"/>
                    </a:cubicBezTo>
                    <a:cubicBezTo>
                      <a:pt x="515161" y="265778"/>
                      <a:pt x="524504" y="263942"/>
                      <a:pt x="533348" y="262691"/>
                    </a:cubicBezTo>
                    <a:cubicBezTo>
                      <a:pt x="546195" y="260439"/>
                      <a:pt x="558626" y="258687"/>
                      <a:pt x="570139" y="259605"/>
                    </a:cubicBezTo>
                    <a:cubicBezTo>
                      <a:pt x="587826" y="260939"/>
                      <a:pt x="606430" y="273786"/>
                      <a:pt x="622865" y="284881"/>
                    </a:cubicBezTo>
                    <a:cubicBezTo>
                      <a:pt x="627286" y="287968"/>
                      <a:pt x="631708" y="291054"/>
                      <a:pt x="636130" y="293724"/>
                    </a:cubicBezTo>
                    <a:cubicBezTo>
                      <a:pt x="648560" y="301732"/>
                      <a:pt x="647225" y="306570"/>
                      <a:pt x="643638" y="318499"/>
                    </a:cubicBezTo>
                    <a:cubicBezTo>
                      <a:pt x="641385" y="325590"/>
                      <a:pt x="639216" y="334016"/>
                      <a:pt x="640551" y="343776"/>
                    </a:cubicBezTo>
                    <a:cubicBezTo>
                      <a:pt x="642804" y="361461"/>
                      <a:pt x="668916" y="384569"/>
                      <a:pt x="669333" y="384569"/>
                    </a:cubicBezTo>
                    <a:cubicBezTo>
                      <a:pt x="688855" y="401420"/>
                      <a:pt x="709629" y="394329"/>
                      <a:pt x="728733" y="388072"/>
                    </a:cubicBezTo>
                    <a:lnTo>
                      <a:pt x="731403" y="387155"/>
                    </a:lnTo>
                    <a:cubicBezTo>
                      <a:pt x="733155" y="386237"/>
                      <a:pt x="734907" y="385820"/>
                      <a:pt x="736742" y="384902"/>
                    </a:cubicBezTo>
                    <a:cubicBezTo>
                      <a:pt x="742499" y="382650"/>
                      <a:pt x="747838" y="380898"/>
                      <a:pt x="752677" y="381399"/>
                    </a:cubicBezTo>
                    <a:cubicBezTo>
                      <a:pt x="754929" y="381816"/>
                      <a:pt x="756181" y="382316"/>
                      <a:pt x="758851" y="383150"/>
                    </a:cubicBezTo>
                    <a:cubicBezTo>
                      <a:pt x="763272" y="384485"/>
                      <a:pt x="768611" y="386654"/>
                      <a:pt x="775703" y="384485"/>
                    </a:cubicBezTo>
                    <a:cubicBezTo>
                      <a:pt x="784546" y="381816"/>
                      <a:pt x="789468" y="376060"/>
                      <a:pt x="793890" y="371638"/>
                    </a:cubicBezTo>
                    <a:cubicBezTo>
                      <a:pt x="799646" y="364965"/>
                      <a:pt x="802733" y="361461"/>
                      <a:pt x="813412" y="364548"/>
                    </a:cubicBezTo>
                    <a:cubicBezTo>
                      <a:pt x="824007" y="367634"/>
                      <a:pt x="835520" y="375642"/>
                      <a:pt x="847116" y="383150"/>
                    </a:cubicBezTo>
                    <a:cubicBezTo>
                      <a:pt x="852455" y="387155"/>
                      <a:pt x="858212" y="391159"/>
                      <a:pt x="863468" y="393745"/>
                    </a:cubicBezTo>
                    <a:lnTo>
                      <a:pt x="870142" y="397249"/>
                    </a:lnTo>
                    <a:cubicBezTo>
                      <a:pt x="883407" y="404339"/>
                      <a:pt x="898090" y="413182"/>
                      <a:pt x="904681" y="425195"/>
                    </a:cubicBezTo>
                    <a:cubicBezTo>
                      <a:pt x="909102" y="433620"/>
                      <a:pt x="906433" y="439376"/>
                      <a:pt x="901176" y="449136"/>
                    </a:cubicBezTo>
                    <a:cubicBezTo>
                      <a:pt x="898507" y="454475"/>
                      <a:pt x="895837" y="460231"/>
                      <a:pt x="894085" y="466821"/>
                    </a:cubicBezTo>
                    <a:cubicBezTo>
                      <a:pt x="887912" y="492515"/>
                      <a:pt x="893168" y="507614"/>
                      <a:pt x="914442" y="521295"/>
                    </a:cubicBezTo>
                    <a:cubicBezTo>
                      <a:pt x="928624" y="531055"/>
                      <a:pt x="935298" y="541649"/>
                      <a:pt x="934798" y="557583"/>
                    </a:cubicBezTo>
                    <a:cubicBezTo>
                      <a:pt x="934381" y="561086"/>
                      <a:pt x="934381" y="565090"/>
                      <a:pt x="933880" y="568678"/>
                    </a:cubicBezTo>
                    <a:cubicBezTo>
                      <a:pt x="932545" y="583777"/>
                      <a:pt x="930793" y="602380"/>
                      <a:pt x="950232" y="613891"/>
                    </a:cubicBezTo>
                    <a:cubicBezTo>
                      <a:pt x="967501" y="624486"/>
                      <a:pt x="990527" y="622734"/>
                      <a:pt x="1005627" y="616978"/>
                    </a:cubicBezTo>
                    <a:cubicBezTo>
                      <a:pt x="1008297" y="615643"/>
                      <a:pt x="1010966" y="614309"/>
                      <a:pt x="1014053" y="613474"/>
                    </a:cubicBezTo>
                    <a:cubicBezTo>
                      <a:pt x="1026484" y="608136"/>
                      <a:pt x="1032240" y="605466"/>
                      <a:pt x="1040666" y="613891"/>
                    </a:cubicBezTo>
                    <a:cubicBezTo>
                      <a:pt x="1045505" y="618313"/>
                      <a:pt x="1048175" y="623652"/>
                      <a:pt x="1050845" y="629408"/>
                    </a:cubicBezTo>
                    <a:cubicBezTo>
                      <a:pt x="1054849" y="637833"/>
                      <a:pt x="1059687" y="647593"/>
                      <a:pt x="1073870" y="654184"/>
                    </a:cubicBezTo>
                    <a:cubicBezTo>
                      <a:pt x="1079627" y="656853"/>
                      <a:pt x="1085383" y="659022"/>
                      <a:pt x="1091140" y="661275"/>
                    </a:cubicBezTo>
                    <a:cubicBezTo>
                      <a:pt x="1102235" y="665279"/>
                      <a:pt x="1112413" y="669283"/>
                      <a:pt x="1122592" y="676373"/>
                    </a:cubicBezTo>
                    <a:cubicBezTo>
                      <a:pt x="1135022" y="684799"/>
                      <a:pt x="1153126" y="694976"/>
                      <a:pt x="1170395" y="698063"/>
                    </a:cubicBezTo>
                    <a:cubicBezTo>
                      <a:pt x="1178404" y="699397"/>
                      <a:pt x="1186747" y="699397"/>
                      <a:pt x="1194756" y="699397"/>
                    </a:cubicBezTo>
                    <a:cubicBezTo>
                      <a:pt x="1208521" y="699397"/>
                      <a:pt x="1221369" y="699397"/>
                      <a:pt x="1231964" y="706071"/>
                    </a:cubicBezTo>
                    <a:cubicBezTo>
                      <a:pt x="1237304" y="709158"/>
                      <a:pt x="1242142" y="713162"/>
                      <a:pt x="1246146" y="717166"/>
                    </a:cubicBezTo>
                    <a:cubicBezTo>
                      <a:pt x="1254573" y="723840"/>
                      <a:pt x="1262498" y="730931"/>
                      <a:pt x="1275846" y="734434"/>
                    </a:cubicBezTo>
                    <a:cubicBezTo>
                      <a:pt x="1297120" y="739273"/>
                      <a:pt x="1304212" y="743277"/>
                      <a:pt x="1315308" y="761462"/>
                    </a:cubicBezTo>
                    <a:cubicBezTo>
                      <a:pt x="1326820" y="780983"/>
                      <a:pt x="1341003" y="797750"/>
                      <a:pt x="1359607" y="814601"/>
                    </a:cubicBezTo>
                    <a:cubicBezTo>
                      <a:pt x="1379963" y="833204"/>
                      <a:pt x="1392394" y="834539"/>
                      <a:pt x="1418089" y="833204"/>
                    </a:cubicBezTo>
                    <a:cubicBezTo>
                      <a:pt x="1425180" y="832787"/>
                      <a:pt x="1432272" y="832787"/>
                      <a:pt x="1439780" y="832287"/>
                    </a:cubicBezTo>
                    <a:cubicBezTo>
                      <a:pt x="1454380" y="831870"/>
                      <a:pt x="1469480" y="831369"/>
                      <a:pt x="1484497" y="830034"/>
                    </a:cubicBezTo>
                    <a:cubicBezTo>
                      <a:pt x="1508858" y="828282"/>
                      <a:pt x="1519953" y="819440"/>
                      <a:pt x="1535888" y="807010"/>
                    </a:cubicBezTo>
                    <a:lnTo>
                      <a:pt x="1542062" y="802172"/>
                    </a:lnTo>
                    <a:cubicBezTo>
                      <a:pt x="1545149" y="799502"/>
                      <a:pt x="1548235" y="797750"/>
                      <a:pt x="1551406" y="795498"/>
                    </a:cubicBezTo>
                    <a:cubicBezTo>
                      <a:pt x="1561166" y="788407"/>
                      <a:pt x="1569592" y="782651"/>
                      <a:pt x="1578436" y="771556"/>
                    </a:cubicBezTo>
                    <a:cubicBezTo>
                      <a:pt x="1584609" y="764048"/>
                      <a:pt x="1589531" y="760044"/>
                      <a:pt x="1594370" y="760461"/>
                    </a:cubicBezTo>
                    <a:cubicBezTo>
                      <a:pt x="1604131" y="761379"/>
                      <a:pt x="1614309" y="779064"/>
                      <a:pt x="1622318" y="791911"/>
                    </a:cubicBezTo>
                    <a:cubicBezTo>
                      <a:pt x="1625822" y="798084"/>
                      <a:pt x="1629410" y="804341"/>
                      <a:pt x="1632496" y="808762"/>
                    </a:cubicBezTo>
                    <a:cubicBezTo>
                      <a:pt x="1643092" y="822526"/>
                      <a:pt x="1658609" y="838460"/>
                      <a:pt x="1684805" y="835373"/>
                    </a:cubicBezTo>
                    <a:cubicBezTo>
                      <a:pt x="1706079" y="832704"/>
                      <a:pt x="1713587" y="834038"/>
                      <a:pt x="1730022" y="849137"/>
                    </a:cubicBezTo>
                    <a:cubicBezTo>
                      <a:pt x="1733526" y="852224"/>
                      <a:pt x="1736696" y="855310"/>
                      <a:pt x="1739783" y="858481"/>
                    </a:cubicBezTo>
                    <a:cubicBezTo>
                      <a:pt x="1749127" y="867823"/>
                      <a:pt x="1757970" y="876666"/>
                      <a:pt x="1772570" y="882422"/>
                    </a:cubicBezTo>
                    <a:cubicBezTo>
                      <a:pt x="1782331" y="885926"/>
                      <a:pt x="1790757" y="885926"/>
                      <a:pt x="1798265" y="886426"/>
                    </a:cubicBezTo>
                    <a:cubicBezTo>
                      <a:pt x="1803605" y="886426"/>
                      <a:pt x="1808860" y="886844"/>
                      <a:pt x="1814200" y="887761"/>
                    </a:cubicBezTo>
                    <a:cubicBezTo>
                      <a:pt x="1825713" y="890848"/>
                      <a:pt x="1830134" y="898355"/>
                      <a:pt x="1835891" y="908116"/>
                    </a:cubicBezTo>
                    <a:cubicBezTo>
                      <a:pt x="1838978" y="912954"/>
                      <a:pt x="1841647" y="917876"/>
                      <a:pt x="1845652" y="922297"/>
                    </a:cubicBezTo>
                    <a:cubicBezTo>
                      <a:pt x="1848322" y="925384"/>
                      <a:pt x="1850991" y="927636"/>
                      <a:pt x="1854495" y="929805"/>
                    </a:cubicBezTo>
                    <a:cubicBezTo>
                      <a:pt x="1854078" y="931140"/>
                      <a:pt x="1853577" y="932057"/>
                      <a:pt x="1853577" y="933309"/>
                    </a:cubicBezTo>
                    <a:cubicBezTo>
                      <a:pt x="1850074" y="951494"/>
                      <a:pt x="1851825" y="979857"/>
                      <a:pt x="1862003" y="994873"/>
                    </a:cubicBezTo>
                    <a:cubicBezTo>
                      <a:pt x="1872182" y="1010389"/>
                      <a:pt x="1893456" y="1020149"/>
                      <a:pt x="1912060" y="1028575"/>
                    </a:cubicBezTo>
                    <a:cubicBezTo>
                      <a:pt x="1920069" y="1032079"/>
                      <a:pt x="1927577" y="1035666"/>
                      <a:pt x="1933333" y="1039169"/>
                    </a:cubicBezTo>
                    <a:lnTo>
                      <a:pt x="1937338" y="1041839"/>
                    </a:lnTo>
                    <a:cubicBezTo>
                      <a:pt x="1944429" y="1045843"/>
                      <a:pt x="1953689" y="1051182"/>
                      <a:pt x="1954607" y="1055603"/>
                    </a:cubicBezTo>
                    <a:cubicBezTo>
                      <a:pt x="1955024" y="1057856"/>
                      <a:pt x="1952855" y="1060442"/>
                      <a:pt x="1951103" y="1062694"/>
                    </a:cubicBezTo>
                    <a:cubicBezTo>
                      <a:pt x="1948851" y="1064946"/>
                      <a:pt x="1947099" y="1066698"/>
                      <a:pt x="1945347" y="1068450"/>
                    </a:cubicBezTo>
                    <a:cubicBezTo>
                      <a:pt x="1940925" y="1071954"/>
                      <a:pt x="1936921" y="1075958"/>
                      <a:pt x="1933417" y="1082631"/>
                    </a:cubicBezTo>
                    <a:cubicBezTo>
                      <a:pt x="1932082" y="1085301"/>
                      <a:pt x="1930747" y="1087470"/>
                      <a:pt x="1930330" y="1089722"/>
                    </a:cubicBezTo>
                    <a:cubicBezTo>
                      <a:pt x="1927661" y="1095061"/>
                      <a:pt x="1927243" y="1096396"/>
                      <a:pt x="1921487" y="1098565"/>
                    </a:cubicBezTo>
                    <a:cubicBezTo>
                      <a:pt x="1918400" y="1099899"/>
                      <a:pt x="1914395" y="1099899"/>
                      <a:pt x="1910391" y="1100817"/>
                    </a:cubicBezTo>
                    <a:cubicBezTo>
                      <a:pt x="1905552" y="1101234"/>
                      <a:pt x="1899796" y="1101735"/>
                      <a:pt x="1894039" y="1104321"/>
                    </a:cubicBezTo>
                    <a:cubicBezTo>
                      <a:pt x="1885613" y="1107824"/>
                      <a:pt x="1877688" y="1114081"/>
                      <a:pt x="1870096" y="1119837"/>
                    </a:cubicBezTo>
                    <a:cubicBezTo>
                      <a:pt x="1866592" y="1122924"/>
                      <a:pt x="1862087" y="1126010"/>
                      <a:pt x="1858583" y="1128262"/>
                    </a:cubicBezTo>
                    <a:lnTo>
                      <a:pt x="1854161" y="1130932"/>
                    </a:lnTo>
                    <a:cubicBezTo>
                      <a:pt x="1847487" y="1135353"/>
                      <a:pt x="1839562" y="1140692"/>
                      <a:pt x="1831136" y="1144696"/>
                    </a:cubicBezTo>
                    <a:cubicBezTo>
                      <a:pt x="1826714" y="1146949"/>
                      <a:pt x="1821792" y="1148200"/>
                      <a:pt x="1817370" y="1149535"/>
                    </a:cubicBezTo>
                    <a:cubicBezTo>
                      <a:pt x="1812532" y="1150452"/>
                      <a:pt x="1807609" y="1150452"/>
                      <a:pt x="1803605" y="1149118"/>
                    </a:cubicBezTo>
                    <a:cubicBezTo>
                      <a:pt x="1796513" y="1146448"/>
                      <a:pt x="1790757" y="1140275"/>
                      <a:pt x="1785418" y="1133184"/>
                    </a:cubicBezTo>
                    <a:cubicBezTo>
                      <a:pt x="1777909" y="1124342"/>
                      <a:pt x="1769483" y="1114582"/>
                      <a:pt x="1755301" y="1111078"/>
                    </a:cubicBezTo>
                    <a:cubicBezTo>
                      <a:pt x="1739783" y="1106657"/>
                      <a:pt x="1725183" y="1111078"/>
                      <a:pt x="1711001" y="1123507"/>
                    </a:cubicBezTo>
                    <a:cubicBezTo>
                      <a:pt x="1703910" y="1129681"/>
                      <a:pt x="1698153" y="1138106"/>
                      <a:pt x="1691479" y="1146531"/>
                    </a:cubicBezTo>
                    <a:cubicBezTo>
                      <a:pt x="1679549" y="1162465"/>
                      <a:pt x="1667535" y="1178899"/>
                      <a:pt x="1651184" y="1179733"/>
                    </a:cubicBezTo>
                    <a:cubicBezTo>
                      <a:pt x="1643175" y="1180650"/>
                      <a:pt x="1636584" y="1176229"/>
                      <a:pt x="1628575" y="1171308"/>
                    </a:cubicBezTo>
                    <a:cubicBezTo>
                      <a:pt x="1621484" y="1166886"/>
                      <a:pt x="1613976" y="1161964"/>
                      <a:pt x="1604215" y="1160713"/>
                    </a:cubicBezTo>
                    <a:cubicBezTo>
                      <a:pt x="1599793" y="1159795"/>
                      <a:pt x="1596205" y="1160296"/>
                      <a:pt x="1592702" y="1160296"/>
                    </a:cubicBezTo>
                    <a:cubicBezTo>
                      <a:pt x="1587863" y="1160713"/>
                      <a:pt x="1584693" y="1161214"/>
                      <a:pt x="1582106" y="1159378"/>
                    </a:cubicBezTo>
                    <a:cubicBezTo>
                      <a:pt x="1577685" y="1157126"/>
                      <a:pt x="1575432" y="1152704"/>
                      <a:pt x="1573263" y="1147449"/>
                    </a:cubicBezTo>
                    <a:cubicBezTo>
                      <a:pt x="1571011" y="1143028"/>
                      <a:pt x="1568425" y="1138106"/>
                      <a:pt x="1564420" y="1134185"/>
                    </a:cubicBezTo>
                    <a:cubicBezTo>
                      <a:pt x="1547151" y="1117835"/>
                      <a:pt x="1528129" y="1125343"/>
                      <a:pt x="1512612" y="1131516"/>
                    </a:cubicBezTo>
                    <a:cubicBezTo>
                      <a:pt x="1509108" y="1132851"/>
                      <a:pt x="1505104" y="1134602"/>
                      <a:pt x="1501516" y="1135937"/>
                    </a:cubicBezTo>
                    <a:cubicBezTo>
                      <a:pt x="1484247" y="1141276"/>
                      <a:pt x="1453713" y="1136354"/>
                      <a:pt x="1438195" y="1126177"/>
                    </a:cubicBezTo>
                    <a:lnTo>
                      <a:pt x="1433774" y="1123090"/>
                    </a:lnTo>
                    <a:cubicBezTo>
                      <a:pt x="1415586" y="1111161"/>
                      <a:pt x="1404574" y="1103570"/>
                      <a:pt x="1378378" y="1102235"/>
                    </a:cubicBezTo>
                    <a:cubicBezTo>
                      <a:pt x="1346509" y="1100484"/>
                      <a:pt x="1325652" y="1098732"/>
                      <a:pt x="1299957" y="1086719"/>
                    </a:cubicBezTo>
                    <a:cubicBezTo>
                      <a:pt x="1287526" y="1081380"/>
                      <a:pt x="1258744" y="1068116"/>
                      <a:pt x="1240140" y="1094727"/>
                    </a:cubicBezTo>
                    <a:cubicBezTo>
                      <a:pt x="1237470" y="1098732"/>
                      <a:pt x="1235718" y="1103153"/>
                      <a:pt x="1233966" y="1107157"/>
                    </a:cubicBezTo>
                    <a:cubicBezTo>
                      <a:pt x="1232632" y="1110661"/>
                      <a:pt x="1231297" y="1113831"/>
                      <a:pt x="1229545" y="1116917"/>
                    </a:cubicBezTo>
                    <a:cubicBezTo>
                      <a:pt x="1227292" y="1119587"/>
                      <a:pt x="1224706" y="1122256"/>
                      <a:pt x="1221118" y="1125343"/>
                    </a:cubicBezTo>
                    <a:cubicBezTo>
                      <a:pt x="1215779" y="1130181"/>
                      <a:pt x="1209606" y="1135520"/>
                      <a:pt x="1206936" y="1143028"/>
                    </a:cubicBezTo>
                    <a:cubicBezTo>
                      <a:pt x="1204684" y="1150119"/>
                      <a:pt x="1206018" y="1156292"/>
                      <a:pt x="1207353" y="1162048"/>
                    </a:cubicBezTo>
                    <a:cubicBezTo>
                      <a:pt x="1208271" y="1165552"/>
                      <a:pt x="1208688" y="1169556"/>
                      <a:pt x="1208271" y="1172642"/>
                    </a:cubicBezTo>
                    <a:cubicBezTo>
                      <a:pt x="1207353" y="1177063"/>
                      <a:pt x="1204767" y="1181485"/>
                      <a:pt x="1201597" y="1185489"/>
                    </a:cubicBezTo>
                    <a:cubicBezTo>
                      <a:pt x="1198093" y="1190828"/>
                      <a:pt x="1194505" y="1196584"/>
                      <a:pt x="1192753" y="1203674"/>
                    </a:cubicBezTo>
                    <a:cubicBezTo>
                      <a:pt x="1191002" y="1210765"/>
                      <a:pt x="1190084" y="1217856"/>
                      <a:pt x="1189250" y="1224029"/>
                    </a:cubicBezTo>
                    <a:cubicBezTo>
                      <a:pt x="1187498" y="1236876"/>
                      <a:pt x="1186163" y="1247470"/>
                      <a:pt x="1178154" y="1260317"/>
                    </a:cubicBezTo>
                    <a:cubicBezTo>
                      <a:pt x="1170645" y="1272246"/>
                      <a:pt x="1169311" y="1272246"/>
                      <a:pt x="1159550" y="1270077"/>
                    </a:cubicBezTo>
                    <a:cubicBezTo>
                      <a:pt x="1156045" y="1269160"/>
                      <a:pt x="1152041" y="1268742"/>
                      <a:pt x="1147119" y="1267825"/>
                    </a:cubicBezTo>
                    <a:cubicBezTo>
                      <a:pt x="1115250" y="1265156"/>
                      <a:pt x="1092224" y="1299692"/>
                      <a:pt x="1083798" y="1315208"/>
                    </a:cubicBezTo>
                    <a:cubicBezTo>
                      <a:pt x="1079376" y="1323216"/>
                      <a:pt x="1078458" y="1330724"/>
                      <a:pt x="1077624" y="1337314"/>
                    </a:cubicBezTo>
                    <a:cubicBezTo>
                      <a:pt x="1077207" y="1342653"/>
                      <a:pt x="1076707" y="1347491"/>
                      <a:pt x="1074538" y="1351913"/>
                    </a:cubicBezTo>
                    <a:cubicBezTo>
                      <a:pt x="1072285" y="1357252"/>
                      <a:pt x="1067029" y="1361256"/>
                      <a:pt x="1061273" y="1365177"/>
                    </a:cubicBezTo>
                    <a:lnTo>
                      <a:pt x="1058603" y="1367429"/>
                    </a:lnTo>
                    <a:cubicBezTo>
                      <a:pt x="1055099" y="1370098"/>
                      <a:pt x="1051512" y="1372267"/>
                      <a:pt x="1048008" y="1374520"/>
                    </a:cubicBezTo>
                    <a:cubicBezTo>
                      <a:pt x="1040916" y="1378941"/>
                      <a:pt x="1033825" y="1383863"/>
                      <a:pt x="1027652" y="1390036"/>
                    </a:cubicBezTo>
                    <a:cubicBezTo>
                      <a:pt x="1026734" y="1390954"/>
                      <a:pt x="1025399" y="1392288"/>
                      <a:pt x="1024982" y="1393123"/>
                    </a:cubicBezTo>
                    <a:cubicBezTo>
                      <a:pt x="1020977" y="1387784"/>
                      <a:pt x="1014804" y="1383362"/>
                      <a:pt x="1006378" y="1379358"/>
                    </a:cubicBezTo>
                    <a:cubicBezTo>
                      <a:pt x="998369" y="1375854"/>
                      <a:pt x="990443" y="1373185"/>
                      <a:pt x="982434" y="1370933"/>
                    </a:cubicBezTo>
                    <a:cubicBezTo>
                      <a:pt x="975343" y="1368681"/>
                      <a:pt x="968669" y="1366929"/>
                      <a:pt x="962495" y="1364259"/>
                    </a:cubicBezTo>
                    <a:cubicBezTo>
                      <a:pt x="955821" y="1361173"/>
                      <a:pt x="950065" y="1358086"/>
                      <a:pt x="943891" y="1354916"/>
                    </a:cubicBezTo>
                    <a:cubicBezTo>
                      <a:pt x="934130" y="1350077"/>
                      <a:pt x="924369" y="1344739"/>
                      <a:pt x="913357" y="1341152"/>
                    </a:cubicBezTo>
                    <a:cubicBezTo>
                      <a:pt x="889914" y="1333644"/>
                      <a:pt x="884157" y="1323466"/>
                      <a:pt x="875231" y="1306615"/>
                    </a:cubicBezTo>
                    <a:cubicBezTo>
                      <a:pt x="872144" y="1300859"/>
                      <a:pt x="868557" y="1294186"/>
                      <a:pt x="864135" y="1287596"/>
                    </a:cubicBezTo>
                    <a:cubicBezTo>
                      <a:pt x="859714" y="1280505"/>
                      <a:pt x="853957" y="1274749"/>
                      <a:pt x="848618" y="1269410"/>
                    </a:cubicBezTo>
                    <a:cubicBezTo>
                      <a:pt x="842444" y="1262736"/>
                      <a:pt x="836187" y="1256980"/>
                      <a:pt x="832683" y="1249055"/>
                    </a:cubicBezTo>
                    <a:cubicBezTo>
                      <a:pt x="829596" y="1241964"/>
                      <a:pt x="826927" y="1234457"/>
                      <a:pt x="824257" y="1226449"/>
                    </a:cubicBezTo>
                    <a:cubicBezTo>
                      <a:pt x="820753" y="1215854"/>
                      <a:pt x="817166" y="1204342"/>
                      <a:pt x="810492" y="1193664"/>
                    </a:cubicBezTo>
                    <a:cubicBezTo>
                      <a:pt x="804318" y="1183487"/>
                      <a:pt x="796309" y="1175479"/>
                      <a:pt x="788801" y="1167053"/>
                    </a:cubicBezTo>
                    <a:cubicBezTo>
                      <a:pt x="784796" y="1162632"/>
                      <a:pt x="780375" y="1158210"/>
                      <a:pt x="776870" y="1153289"/>
                    </a:cubicBezTo>
                    <a:cubicBezTo>
                      <a:pt x="774618" y="1150619"/>
                      <a:pt x="772449" y="1147950"/>
                      <a:pt x="770697" y="1145280"/>
                    </a:cubicBezTo>
                    <a:cubicBezTo>
                      <a:pt x="762688" y="1134686"/>
                      <a:pt x="754345" y="1123591"/>
                      <a:pt x="739245" y="1118252"/>
                    </a:cubicBezTo>
                    <a:cubicBezTo>
                      <a:pt x="731236" y="1115165"/>
                      <a:pt x="722894" y="1113831"/>
                      <a:pt x="715302" y="1112496"/>
                    </a:cubicBezTo>
                    <a:cubicBezTo>
                      <a:pt x="707293" y="1111161"/>
                      <a:pt x="700201" y="1109826"/>
                      <a:pt x="693194" y="1107657"/>
                    </a:cubicBezTo>
                    <a:cubicBezTo>
                      <a:pt x="680346" y="1102819"/>
                      <a:pt x="668833" y="1096146"/>
                      <a:pt x="656402" y="1089055"/>
                    </a:cubicBezTo>
                    <a:lnTo>
                      <a:pt x="647976" y="1084217"/>
                    </a:lnTo>
                    <a:cubicBezTo>
                      <a:pt x="626285" y="1071787"/>
                      <a:pt x="609016" y="1066948"/>
                      <a:pt x="596168" y="1070452"/>
                    </a:cubicBezTo>
                    <a:cubicBezTo>
                      <a:pt x="589077" y="1072704"/>
                      <a:pt x="583737" y="1076625"/>
                      <a:pt x="579817" y="1083299"/>
                    </a:cubicBezTo>
                    <a:cubicBezTo>
                      <a:pt x="576312" y="1090390"/>
                      <a:pt x="576312" y="1096146"/>
                      <a:pt x="576312" y="1100150"/>
                    </a:cubicBezTo>
                    <a:lnTo>
                      <a:pt x="576312" y="1102819"/>
                    </a:lnTo>
                    <a:cubicBezTo>
                      <a:pt x="576312" y="1102819"/>
                      <a:pt x="574978" y="1104154"/>
                      <a:pt x="569221" y="1105489"/>
                    </a:cubicBezTo>
                    <a:cubicBezTo>
                      <a:pt x="565717" y="1106406"/>
                      <a:pt x="562130" y="1106823"/>
                      <a:pt x="558626" y="1107741"/>
                    </a:cubicBezTo>
                    <a:cubicBezTo>
                      <a:pt x="544444" y="1110411"/>
                      <a:pt x="532013" y="1112580"/>
                      <a:pt x="517413" y="1125927"/>
                    </a:cubicBezTo>
                    <a:cubicBezTo>
                      <a:pt x="514744" y="1128179"/>
                      <a:pt x="512574" y="1130348"/>
                      <a:pt x="510322" y="1132600"/>
                    </a:cubicBezTo>
                    <a:cubicBezTo>
                      <a:pt x="501479" y="1141443"/>
                      <a:pt x="494805" y="1147699"/>
                      <a:pt x="481957" y="1148116"/>
                    </a:cubicBezTo>
                    <a:cubicBezTo>
                      <a:pt x="475282" y="1148533"/>
                      <a:pt x="469109" y="1147699"/>
                      <a:pt x="462935" y="1147699"/>
                    </a:cubicBezTo>
                    <a:cubicBezTo>
                      <a:pt x="450088" y="1146782"/>
                      <a:pt x="437240" y="1145948"/>
                      <a:pt x="422640" y="1150786"/>
                    </a:cubicBezTo>
                    <a:cubicBezTo>
                      <a:pt x="417301" y="1153038"/>
                      <a:pt x="412045" y="1154790"/>
                      <a:pt x="407123" y="1156542"/>
                    </a:cubicBezTo>
                    <a:cubicBezTo>
                      <a:pt x="395610" y="1161381"/>
                      <a:pt x="387184" y="1164967"/>
                      <a:pt x="373419" y="1163633"/>
                    </a:cubicBezTo>
                    <a:cubicBezTo>
                      <a:pt x="350393" y="1161881"/>
                      <a:pt x="342384" y="1170723"/>
                      <a:pt x="332205" y="1182236"/>
                    </a:cubicBezTo>
                    <a:lnTo>
                      <a:pt x="326866" y="1187992"/>
                    </a:lnTo>
                    <a:cubicBezTo>
                      <a:pt x="316271" y="1199503"/>
                      <a:pt x="303423" y="1199921"/>
                      <a:pt x="286571" y="1199921"/>
                    </a:cubicBezTo>
                    <a:lnTo>
                      <a:pt x="286154" y="1199921"/>
                    </a:lnTo>
                    <a:lnTo>
                      <a:pt x="283901" y="1199921"/>
                    </a:lnTo>
                    <a:cubicBezTo>
                      <a:pt x="279480" y="1199921"/>
                      <a:pt x="275475" y="1199921"/>
                      <a:pt x="271054" y="1200338"/>
                    </a:cubicBezTo>
                    <a:cubicBezTo>
                      <a:pt x="268801" y="1190161"/>
                      <a:pt x="266215" y="1180400"/>
                      <a:pt x="263045" y="1170223"/>
                    </a:cubicBezTo>
                    <a:lnTo>
                      <a:pt x="257872" y="1160796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81278589" name="Полилиния 398"/>
              <p:cNvSpPr/>
              <p:nvPr/>
            </p:nvSpPr>
            <p:spPr bwMode="auto">
              <a:xfrm>
                <a:off x="5592336" y="5380322"/>
                <a:ext cx="382150" cy="659172"/>
              </a:xfrm>
              <a:custGeom>
                <a:avLst/>
                <a:gdLst>
                  <a:gd name="connsiteX0" fmla="*/ 204312 w 429168"/>
                  <a:gd name="connsiteY0" fmla="*/ 624653 h 740273"/>
                  <a:gd name="connsiteX1" fmla="*/ 194969 w 429168"/>
                  <a:gd name="connsiteY1" fmla="*/ 589199 h 740273"/>
                  <a:gd name="connsiteX2" fmla="*/ 188295 w 429168"/>
                  <a:gd name="connsiteY2" fmla="*/ 582108 h 740273"/>
                  <a:gd name="connsiteX3" fmla="*/ 183873 w 429168"/>
                  <a:gd name="connsiteY3" fmla="*/ 571013 h 740273"/>
                  <a:gd name="connsiteX4" fmla="*/ 190547 w 429168"/>
                  <a:gd name="connsiteY4" fmla="*/ 563923 h 740273"/>
                  <a:gd name="connsiteX5" fmla="*/ 201142 w 429168"/>
                  <a:gd name="connsiteY5" fmla="*/ 534725 h 740273"/>
                  <a:gd name="connsiteX6" fmla="*/ 183873 w 429168"/>
                  <a:gd name="connsiteY6" fmla="*/ 526717 h 740273"/>
                  <a:gd name="connsiteX7" fmla="*/ 180369 w 429168"/>
                  <a:gd name="connsiteY7" fmla="*/ 526717 h 740273"/>
                  <a:gd name="connsiteX8" fmla="*/ 168439 w 429168"/>
                  <a:gd name="connsiteY8" fmla="*/ 518291 h 740273"/>
                  <a:gd name="connsiteX9" fmla="*/ 152921 w 429168"/>
                  <a:gd name="connsiteY9" fmla="*/ 487259 h 740273"/>
                  <a:gd name="connsiteX10" fmla="*/ 128561 w 429168"/>
                  <a:gd name="connsiteY10" fmla="*/ 445215 h 740273"/>
                  <a:gd name="connsiteX11" fmla="*/ 116631 w 429168"/>
                  <a:gd name="connsiteY11" fmla="*/ 434120 h 740273"/>
                  <a:gd name="connsiteX12" fmla="*/ 99361 w 429168"/>
                  <a:gd name="connsiteY12" fmla="*/ 416852 h 740273"/>
                  <a:gd name="connsiteX13" fmla="*/ 77670 w 429168"/>
                  <a:gd name="connsiteY13" fmla="*/ 401753 h 740273"/>
                  <a:gd name="connsiteX14" fmla="*/ 63071 w 429168"/>
                  <a:gd name="connsiteY14" fmla="*/ 392911 h 740273"/>
                  <a:gd name="connsiteX15" fmla="*/ 51140 w 429168"/>
                  <a:gd name="connsiteY15" fmla="*/ 376977 h 740273"/>
                  <a:gd name="connsiteX16" fmla="*/ 37375 w 429168"/>
                  <a:gd name="connsiteY16" fmla="*/ 358374 h 740273"/>
                  <a:gd name="connsiteX17" fmla="*/ 31619 w 429168"/>
                  <a:gd name="connsiteY17" fmla="*/ 353536 h 740273"/>
                  <a:gd name="connsiteX18" fmla="*/ 31619 w 429168"/>
                  <a:gd name="connsiteY18" fmla="*/ 332264 h 740273"/>
                  <a:gd name="connsiteX19" fmla="*/ 31202 w 429168"/>
                  <a:gd name="connsiteY19" fmla="*/ 314578 h 740273"/>
                  <a:gd name="connsiteX20" fmla="*/ 32536 w 429168"/>
                  <a:gd name="connsiteY20" fmla="*/ 308822 h 740273"/>
                  <a:gd name="connsiteX21" fmla="*/ 33454 w 429168"/>
                  <a:gd name="connsiteY21" fmla="*/ 284047 h 740273"/>
                  <a:gd name="connsiteX22" fmla="*/ 29032 w 429168"/>
                  <a:gd name="connsiteY22" fmla="*/ 273869 h 740273"/>
                  <a:gd name="connsiteX23" fmla="*/ 25529 w 429168"/>
                  <a:gd name="connsiteY23" fmla="*/ 263692 h 740273"/>
                  <a:gd name="connsiteX24" fmla="*/ 26446 w 429168"/>
                  <a:gd name="connsiteY24" fmla="*/ 260188 h 740273"/>
                  <a:gd name="connsiteX25" fmla="*/ 27781 w 429168"/>
                  <a:gd name="connsiteY25" fmla="*/ 247342 h 740273"/>
                  <a:gd name="connsiteX26" fmla="*/ 22942 w 429168"/>
                  <a:gd name="connsiteY26" fmla="*/ 239333 h 740273"/>
                  <a:gd name="connsiteX27" fmla="*/ 20690 w 429168"/>
                  <a:gd name="connsiteY27" fmla="*/ 227404 h 740273"/>
                  <a:gd name="connsiteX28" fmla="*/ 21607 w 429168"/>
                  <a:gd name="connsiteY28" fmla="*/ 224735 h 740273"/>
                  <a:gd name="connsiteX29" fmla="*/ 22942 w 429168"/>
                  <a:gd name="connsiteY29" fmla="*/ 213640 h 740273"/>
                  <a:gd name="connsiteX30" fmla="*/ 18521 w 429168"/>
                  <a:gd name="connsiteY30" fmla="*/ 203463 h 740273"/>
                  <a:gd name="connsiteX31" fmla="*/ 17186 w 429168"/>
                  <a:gd name="connsiteY31" fmla="*/ 200793 h 740273"/>
                  <a:gd name="connsiteX32" fmla="*/ 16268 w 429168"/>
                  <a:gd name="connsiteY32" fmla="*/ 188363 h 740273"/>
                  <a:gd name="connsiteX33" fmla="*/ 17186 w 429168"/>
                  <a:gd name="connsiteY33" fmla="*/ 186111 h 740273"/>
                  <a:gd name="connsiteX34" fmla="*/ 19855 w 429168"/>
                  <a:gd name="connsiteY34" fmla="*/ 179437 h 740273"/>
                  <a:gd name="connsiteX35" fmla="*/ 15017 w 429168"/>
                  <a:gd name="connsiteY35" fmla="*/ 159083 h 740273"/>
                  <a:gd name="connsiteX36" fmla="*/ 417 w 429168"/>
                  <a:gd name="connsiteY36" fmla="*/ 110782 h 740273"/>
                  <a:gd name="connsiteX37" fmla="*/ 0 w 429168"/>
                  <a:gd name="connsiteY37" fmla="*/ 105026 h 740273"/>
                  <a:gd name="connsiteX38" fmla="*/ 918 w 429168"/>
                  <a:gd name="connsiteY38" fmla="*/ 104609 h 740273"/>
                  <a:gd name="connsiteX39" fmla="*/ 14183 w 429168"/>
                  <a:gd name="connsiteY39" fmla="*/ 99270 h 740273"/>
                  <a:gd name="connsiteX40" fmla="*/ 34539 w 429168"/>
                  <a:gd name="connsiteY40" fmla="*/ 92180 h 740273"/>
                  <a:gd name="connsiteX41" fmla="*/ 56230 w 429168"/>
                  <a:gd name="connsiteY41" fmla="*/ 91262 h 740273"/>
                  <a:gd name="connsiteX42" fmla="*/ 83677 w 429168"/>
                  <a:gd name="connsiteY42" fmla="*/ 89510 h 740273"/>
                  <a:gd name="connsiteX43" fmla="*/ 120885 w 429168"/>
                  <a:gd name="connsiteY43" fmla="*/ 67404 h 740273"/>
                  <a:gd name="connsiteX44" fmla="*/ 135068 w 429168"/>
                  <a:gd name="connsiteY44" fmla="*/ 51470 h 740273"/>
                  <a:gd name="connsiteX45" fmla="*/ 159012 w 429168"/>
                  <a:gd name="connsiteY45" fmla="*/ 30198 h 740273"/>
                  <a:gd name="connsiteX46" fmla="*/ 164351 w 429168"/>
                  <a:gd name="connsiteY46" fmla="*/ 31950 h 740273"/>
                  <a:gd name="connsiteX47" fmla="*/ 174529 w 429168"/>
                  <a:gd name="connsiteY47" fmla="*/ 34620 h 740273"/>
                  <a:gd name="connsiteX48" fmla="*/ 187794 w 429168"/>
                  <a:gd name="connsiteY48" fmla="*/ 29781 h 740273"/>
                  <a:gd name="connsiteX49" fmla="*/ 191298 w 429168"/>
                  <a:gd name="connsiteY49" fmla="*/ 27529 h 740273"/>
                  <a:gd name="connsiteX50" fmla="*/ 204146 w 429168"/>
                  <a:gd name="connsiteY50" fmla="*/ 29781 h 740273"/>
                  <a:gd name="connsiteX51" fmla="*/ 211237 w 429168"/>
                  <a:gd name="connsiteY51" fmla="*/ 32868 h 740273"/>
                  <a:gd name="connsiteX52" fmla="*/ 246693 w 429168"/>
                  <a:gd name="connsiteY52" fmla="*/ 30198 h 740273"/>
                  <a:gd name="connsiteX53" fmla="*/ 266215 w 429168"/>
                  <a:gd name="connsiteY53" fmla="*/ 25360 h 740273"/>
                  <a:gd name="connsiteX54" fmla="*/ 279981 w 429168"/>
                  <a:gd name="connsiteY54" fmla="*/ 29781 h 740273"/>
                  <a:gd name="connsiteX55" fmla="*/ 308763 w 429168"/>
                  <a:gd name="connsiteY55" fmla="*/ 33285 h 740273"/>
                  <a:gd name="connsiteX56" fmla="*/ 327367 w 429168"/>
                  <a:gd name="connsiteY56" fmla="*/ 20438 h 740273"/>
                  <a:gd name="connsiteX57" fmla="*/ 335376 w 429168"/>
                  <a:gd name="connsiteY57" fmla="*/ 13764 h 740273"/>
                  <a:gd name="connsiteX58" fmla="*/ 365910 w 429168"/>
                  <a:gd name="connsiteY58" fmla="*/ 0 h 740273"/>
                  <a:gd name="connsiteX59" fmla="*/ 366327 w 429168"/>
                  <a:gd name="connsiteY59" fmla="*/ 14599 h 740273"/>
                  <a:gd name="connsiteX60" fmla="*/ 364075 w 429168"/>
                  <a:gd name="connsiteY60" fmla="*/ 25693 h 740273"/>
                  <a:gd name="connsiteX61" fmla="*/ 366744 w 429168"/>
                  <a:gd name="connsiteY61" fmla="*/ 59395 h 740273"/>
                  <a:gd name="connsiteX62" fmla="*/ 386266 w 429168"/>
                  <a:gd name="connsiteY62" fmla="*/ 74911 h 740273"/>
                  <a:gd name="connsiteX63" fmla="*/ 398697 w 429168"/>
                  <a:gd name="connsiteY63" fmla="*/ 82920 h 740273"/>
                  <a:gd name="connsiteX64" fmla="*/ 402201 w 429168"/>
                  <a:gd name="connsiteY64" fmla="*/ 90011 h 740273"/>
                  <a:gd name="connsiteX65" fmla="*/ 405705 w 429168"/>
                  <a:gd name="connsiteY65" fmla="*/ 98019 h 740273"/>
                  <a:gd name="connsiteX66" fmla="*/ 413714 w 429168"/>
                  <a:gd name="connsiteY66" fmla="*/ 106861 h 740273"/>
                  <a:gd name="connsiteX67" fmla="*/ 418135 w 429168"/>
                  <a:gd name="connsiteY67" fmla="*/ 111283 h 740273"/>
                  <a:gd name="connsiteX68" fmla="*/ 428730 w 429168"/>
                  <a:gd name="connsiteY68" fmla="*/ 146737 h 740273"/>
                  <a:gd name="connsiteX69" fmla="*/ 414548 w 429168"/>
                  <a:gd name="connsiteY69" fmla="*/ 167091 h 740273"/>
                  <a:gd name="connsiteX70" fmla="*/ 372000 w 429168"/>
                  <a:gd name="connsiteY70" fmla="*/ 198124 h 740273"/>
                  <a:gd name="connsiteX71" fmla="*/ 362239 w 429168"/>
                  <a:gd name="connsiteY71" fmla="*/ 208718 h 740273"/>
                  <a:gd name="connsiteX72" fmla="*/ 351143 w 429168"/>
                  <a:gd name="connsiteY72" fmla="*/ 224234 h 740273"/>
                  <a:gd name="connsiteX73" fmla="*/ 348891 w 429168"/>
                  <a:gd name="connsiteY73" fmla="*/ 272535 h 740273"/>
                  <a:gd name="connsiteX74" fmla="*/ 356900 w 429168"/>
                  <a:gd name="connsiteY74" fmla="*/ 291138 h 740273"/>
                  <a:gd name="connsiteX75" fmla="*/ 365326 w 429168"/>
                  <a:gd name="connsiteY75" fmla="*/ 313244 h 740273"/>
                  <a:gd name="connsiteX76" fmla="*/ 358652 w 429168"/>
                  <a:gd name="connsiteY76" fmla="*/ 342024 h 740273"/>
                  <a:gd name="connsiteX77" fmla="*/ 353813 w 429168"/>
                  <a:gd name="connsiteY77" fmla="*/ 356206 h 740273"/>
                  <a:gd name="connsiteX78" fmla="*/ 348474 w 429168"/>
                  <a:gd name="connsiteY78" fmla="*/ 367717 h 740273"/>
                  <a:gd name="connsiteX79" fmla="*/ 340465 w 429168"/>
                  <a:gd name="connsiteY79" fmla="*/ 395163 h 740273"/>
                  <a:gd name="connsiteX80" fmla="*/ 348474 w 429168"/>
                  <a:gd name="connsiteY80" fmla="*/ 407092 h 740273"/>
                  <a:gd name="connsiteX81" fmla="*/ 369331 w 429168"/>
                  <a:gd name="connsiteY81" fmla="*/ 405757 h 740273"/>
                  <a:gd name="connsiteX82" fmla="*/ 372417 w 429168"/>
                  <a:gd name="connsiteY82" fmla="*/ 404840 h 740273"/>
                  <a:gd name="connsiteX83" fmla="*/ 399865 w 429168"/>
                  <a:gd name="connsiteY83" fmla="*/ 403505 h 740273"/>
                  <a:gd name="connsiteX84" fmla="*/ 404704 w 429168"/>
                  <a:gd name="connsiteY84" fmla="*/ 429616 h 740273"/>
                  <a:gd name="connsiteX85" fmla="*/ 399865 w 429168"/>
                  <a:gd name="connsiteY85" fmla="*/ 462817 h 740273"/>
                  <a:gd name="connsiteX86" fmla="*/ 402117 w 429168"/>
                  <a:gd name="connsiteY86" fmla="*/ 468156 h 740273"/>
                  <a:gd name="connsiteX87" fmla="*/ 401700 w 429168"/>
                  <a:gd name="connsiteY87" fmla="*/ 493849 h 740273"/>
                  <a:gd name="connsiteX88" fmla="*/ 393274 w 429168"/>
                  <a:gd name="connsiteY88" fmla="*/ 504444 h 740273"/>
                  <a:gd name="connsiteX89" fmla="*/ 380009 w 429168"/>
                  <a:gd name="connsiteY89" fmla="*/ 525299 h 740273"/>
                  <a:gd name="connsiteX90" fmla="*/ 384848 w 429168"/>
                  <a:gd name="connsiteY90" fmla="*/ 569178 h 740273"/>
                  <a:gd name="connsiteX91" fmla="*/ 386600 w 429168"/>
                  <a:gd name="connsiteY91" fmla="*/ 590033 h 740273"/>
                  <a:gd name="connsiteX92" fmla="*/ 385265 w 429168"/>
                  <a:gd name="connsiteY92" fmla="*/ 607718 h 740273"/>
                  <a:gd name="connsiteX93" fmla="*/ 395443 w 429168"/>
                  <a:gd name="connsiteY93" fmla="*/ 629908 h 740273"/>
                  <a:gd name="connsiteX94" fmla="*/ 402117 w 429168"/>
                  <a:gd name="connsiteY94" fmla="*/ 641837 h 740273"/>
                  <a:gd name="connsiteX95" fmla="*/ 395443 w 429168"/>
                  <a:gd name="connsiteY95" fmla="*/ 675539 h 740273"/>
                  <a:gd name="connsiteX96" fmla="*/ 369331 w 429168"/>
                  <a:gd name="connsiteY96" fmla="*/ 706989 h 740273"/>
                  <a:gd name="connsiteX97" fmla="*/ 356483 w 429168"/>
                  <a:gd name="connsiteY97" fmla="*/ 722088 h 740273"/>
                  <a:gd name="connsiteX98" fmla="*/ 344553 w 429168"/>
                  <a:gd name="connsiteY98" fmla="*/ 735852 h 740273"/>
                  <a:gd name="connsiteX99" fmla="*/ 338796 w 429168"/>
                  <a:gd name="connsiteY99" fmla="*/ 740274 h 740273"/>
                  <a:gd name="connsiteX100" fmla="*/ 321110 w 429168"/>
                  <a:gd name="connsiteY100" fmla="*/ 703068 h 740273"/>
                  <a:gd name="connsiteX101" fmla="*/ 284318 w 429168"/>
                  <a:gd name="connsiteY101" fmla="*/ 691139 h 740273"/>
                  <a:gd name="connsiteX102" fmla="*/ 266632 w 429168"/>
                  <a:gd name="connsiteY102" fmla="*/ 692473 h 740273"/>
                  <a:gd name="connsiteX103" fmla="*/ 244941 w 429168"/>
                  <a:gd name="connsiteY103" fmla="*/ 691556 h 740273"/>
                  <a:gd name="connsiteX104" fmla="*/ 218828 w 429168"/>
                  <a:gd name="connsiteY104" fmla="*/ 671201 h 740273"/>
                  <a:gd name="connsiteX105" fmla="*/ 210820 w 429168"/>
                  <a:gd name="connsiteY105" fmla="*/ 659272 h 740273"/>
                  <a:gd name="connsiteX106" fmla="*/ 204312 w 429168"/>
                  <a:gd name="connsiteY106" fmla="*/ 624653 h 740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429168" h="740273" extrusionOk="0">
                    <a:moveTo>
                      <a:pt x="204312" y="624653"/>
                    </a:moveTo>
                    <a:cubicBezTo>
                      <a:pt x="205647" y="610054"/>
                      <a:pt x="205647" y="601628"/>
                      <a:pt x="194969" y="589199"/>
                    </a:cubicBezTo>
                    <a:cubicBezTo>
                      <a:pt x="192716" y="586529"/>
                      <a:pt x="190547" y="584361"/>
                      <a:pt x="188295" y="582108"/>
                    </a:cubicBezTo>
                    <a:cubicBezTo>
                      <a:pt x="182121" y="576769"/>
                      <a:pt x="181620" y="575935"/>
                      <a:pt x="183873" y="571013"/>
                    </a:cubicBezTo>
                    <a:cubicBezTo>
                      <a:pt x="184290" y="569261"/>
                      <a:pt x="187377" y="566175"/>
                      <a:pt x="190547" y="563923"/>
                    </a:cubicBezTo>
                    <a:cubicBezTo>
                      <a:pt x="197638" y="557249"/>
                      <a:pt x="208734" y="547072"/>
                      <a:pt x="201142" y="534725"/>
                    </a:cubicBezTo>
                    <a:cubicBezTo>
                      <a:pt x="195803" y="525883"/>
                      <a:pt x="188295" y="526717"/>
                      <a:pt x="183873" y="526717"/>
                    </a:cubicBezTo>
                    <a:cubicBezTo>
                      <a:pt x="182538" y="527134"/>
                      <a:pt x="181203" y="527134"/>
                      <a:pt x="180369" y="526717"/>
                    </a:cubicBezTo>
                    <a:cubicBezTo>
                      <a:pt x="172861" y="524047"/>
                      <a:pt x="172861" y="524047"/>
                      <a:pt x="168439" y="518291"/>
                    </a:cubicBezTo>
                    <a:cubicBezTo>
                      <a:pt x="161765" y="508948"/>
                      <a:pt x="157343" y="498771"/>
                      <a:pt x="152921" y="487259"/>
                    </a:cubicBezTo>
                    <a:cubicBezTo>
                      <a:pt x="146748" y="472660"/>
                      <a:pt x="140491" y="457562"/>
                      <a:pt x="128561" y="445215"/>
                    </a:cubicBezTo>
                    <a:cubicBezTo>
                      <a:pt x="125057" y="441712"/>
                      <a:pt x="120552" y="437707"/>
                      <a:pt x="116631" y="434120"/>
                    </a:cubicBezTo>
                    <a:cubicBezTo>
                      <a:pt x="110874" y="428781"/>
                      <a:pt x="104701" y="423526"/>
                      <a:pt x="99361" y="416852"/>
                    </a:cubicBezTo>
                    <a:cubicBezTo>
                      <a:pt x="92270" y="409344"/>
                      <a:pt x="85179" y="405757"/>
                      <a:pt x="77670" y="401753"/>
                    </a:cubicBezTo>
                    <a:cubicBezTo>
                      <a:pt x="72831" y="399084"/>
                      <a:pt x="67492" y="396414"/>
                      <a:pt x="63071" y="392911"/>
                    </a:cubicBezTo>
                    <a:cubicBezTo>
                      <a:pt x="58232" y="388489"/>
                      <a:pt x="55062" y="382733"/>
                      <a:pt x="51140" y="376977"/>
                    </a:cubicBezTo>
                    <a:cubicBezTo>
                      <a:pt x="47637" y="370304"/>
                      <a:pt x="43132" y="363713"/>
                      <a:pt x="37375" y="358374"/>
                    </a:cubicBezTo>
                    <a:cubicBezTo>
                      <a:pt x="35623" y="356623"/>
                      <a:pt x="33871" y="355288"/>
                      <a:pt x="31619" y="353536"/>
                    </a:cubicBezTo>
                    <a:cubicBezTo>
                      <a:pt x="32954" y="346445"/>
                      <a:pt x="32536" y="338937"/>
                      <a:pt x="31619" y="332264"/>
                    </a:cubicBezTo>
                    <a:cubicBezTo>
                      <a:pt x="31202" y="326091"/>
                      <a:pt x="30284" y="319834"/>
                      <a:pt x="31202" y="314578"/>
                    </a:cubicBezTo>
                    <a:cubicBezTo>
                      <a:pt x="31619" y="312326"/>
                      <a:pt x="32119" y="311075"/>
                      <a:pt x="32536" y="308822"/>
                    </a:cubicBezTo>
                    <a:cubicBezTo>
                      <a:pt x="34289" y="301315"/>
                      <a:pt x="36041" y="292472"/>
                      <a:pt x="33454" y="284047"/>
                    </a:cubicBezTo>
                    <a:cubicBezTo>
                      <a:pt x="32536" y="280543"/>
                      <a:pt x="30367" y="276956"/>
                      <a:pt x="29032" y="273869"/>
                    </a:cubicBezTo>
                    <a:cubicBezTo>
                      <a:pt x="26780" y="269865"/>
                      <a:pt x="25028" y="266779"/>
                      <a:pt x="25529" y="263692"/>
                    </a:cubicBezTo>
                    <a:cubicBezTo>
                      <a:pt x="25946" y="262775"/>
                      <a:pt x="26446" y="261440"/>
                      <a:pt x="26446" y="260188"/>
                    </a:cubicBezTo>
                    <a:cubicBezTo>
                      <a:pt x="27781" y="257102"/>
                      <a:pt x="29116" y="252180"/>
                      <a:pt x="27781" y="247342"/>
                    </a:cubicBezTo>
                    <a:cubicBezTo>
                      <a:pt x="26864" y="244255"/>
                      <a:pt x="25112" y="242503"/>
                      <a:pt x="22942" y="239333"/>
                    </a:cubicBezTo>
                    <a:cubicBezTo>
                      <a:pt x="20690" y="236247"/>
                      <a:pt x="19855" y="231325"/>
                      <a:pt x="20690" y="227404"/>
                    </a:cubicBezTo>
                    <a:cubicBezTo>
                      <a:pt x="21107" y="226487"/>
                      <a:pt x="21107" y="225652"/>
                      <a:pt x="21607" y="224735"/>
                    </a:cubicBezTo>
                    <a:cubicBezTo>
                      <a:pt x="22525" y="221648"/>
                      <a:pt x="23860" y="218061"/>
                      <a:pt x="22942" y="213640"/>
                    </a:cubicBezTo>
                    <a:cubicBezTo>
                      <a:pt x="22525" y="209218"/>
                      <a:pt x="20273" y="206132"/>
                      <a:pt x="18521" y="203463"/>
                    </a:cubicBezTo>
                    <a:cubicBezTo>
                      <a:pt x="18104" y="202545"/>
                      <a:pt x="17186" y="201711"/>
                      <a:pt x="17186" y="200793"/>
                    </a:cubicBezTo>
                    <a:cubicBezTo>
                      <a:pt x="14933" y="197290"/>
                      <a:pt x="14516" y="192367"/>
                      <a:pt x="16268" y="188363"/>
                    </a:cubicBezTo>
                    <a:lnTo>
                      <a:pt x="17186" y="186111"/>
                    </a:lnTo>
                    <a:cubicBezTo>
                      <a:pt x="18104" y="184359"/>
                      <a:pt x="19438" y="182107"/>
                      <a:pt x="19855" y="179437"/>
                    </a:cubicBezTo>
                    <a:cubicBezTo>
                      <a:pt x="21190" y="171429"/>
                      <a:pt x="17603" y="165256"/>
                      <a:pt x="15017" y="159083"/>
                    </a:cubicBezTo>
                    <a:cubicBezTo>
                      <a:pt x="7008" y="143983"/>
                      <a:pt x="2169" y="127633"/>
                      <a:pt x="417" y="110782"/>
                    </a:cubicBezTo>
                    <a:cubicBezTo>
                      <a:pt x="0" y="109030"/>
                      <a:pt x="0" y="107278"/>
                      <a:pt x="0" y="105026"/>
                    </a:cubicBezTo>
                    <a:cubicBezTo>
                      <a:pt x="417" y="105026"/>
                      <a:pt x="417" y="104609"/>
                      <a:pt x="918" y="104609"/>
                    </a:cubicBezTo>
                    <a:cubicBezTo>
                      <a:pt x="5339" y="103274"/>
                      <a:pt x="9761" y="101523"/>
                      <a:pt x="14183" y="99270"/>
                    </a:cubicBezTo>
                    <a:cubicBezTo>
                      <a:pt x="21274" y="96184"/>
                      <a:pt x="27948" y="93514"/>
                      <a:pt x="34539" y="92180"/>
                    </a:cubicBezTo>
                    <a:cubicBezTo>
                      <a:pt x="41213" y="90845"/>
                      <a:pt x="48721" y="90845"/>
                      <a:pt x="56230" y="91262"/>
                    </a:cubicBezTo>
                    <a:cubicBezTo>
                      <a:pt x="65073" y="91679"/>
                      <a:pt x="74417" y="92180"/>
                      <a:pt x="83677" y="89510"/>
                    </a:cubicBezTo>
                    <a:cubicBezTo>
                      <a:pt x="97860" y="86006"/>
                      <a:pt x="109790" y="76663"/>
                      <a:pt x="120885" y="67404"/>
                    </a:cubicBezTo>
                    <a:cubicBezTo>
                      <a:pt x="126225" y="62982"/>
                      <a:pt x="130647" y="57226"/>
                      <a:pt x="135068" y="51470"/>
                    </a:cubicBezTo>
                    <a:cubicBezTo>
                      <a:pt x="142576" y="41710"/>
                      <a:pt x="150168" y="31533"/>
                      <a:pt x="159012" y="30198"/>
                    </a:cubicBezTo>
                    <a:cubicBezTo>
                      <a:pt x="160347" y="29781"/>
                      <a:pt x="162098" y="30615"/>
                      <a:pt x="164351" y="31950"/>
                    </a:cubicBezTo>
                    <a:cubicBezTo>
                      <a:pt x="167021" y="33285"/>
                      <a:pt x="171025" y="34620"/>
                      <a:pt x="174529" y="34620"/>
                    </a:cubicBezTo>
                    <a:cubicBezTo>
                      <a:pt x="181620" y="34202"/>
                      <a:pt x="185625" y="31533"/>
                      <a:pt x="187794" y="29781"/>
                    </a:cubicBezTo>
                    <a:cubicBezTo>
                      <a:pt x="189129" y="28446"/>
                      <a:pt x="190046" y="28029"/>
                      <a:pt x="191298" y="27529"/>
                    </a:cubicBezTo>
                    <a:cubicBezTo>
                      <a:pt x="197972" y="26194"/>
                      <a:pt x="199307" y="27112"/>
                      <a:pt x="204146" y="29781"/>
                    </a:cubicBezTo>
                    <a:cubicBezTo>
                      <a:pt x="206398" y="30699"/>
                      <a:pt x="208567" y="32033"/>
                      <a:pt x="211237" y="32868"/>
                    </a:cubicBezTo>
                    <a:cubicBezTo>
                      <a:pt x="225837" y="39041"/>
                      <a:pt x="236932" y="34202"/>
                      <a:pt x="246693" y="30198"/>
                    </a:cubicBezTo>
                    <a:cubicBezTo>
                      <a:pt x="252867" y="27529"/>
                      <a:pt x="259124" y="24859"/>
                      <a:pt x="266215" y="25360"/>
                    </a:cubicBezTo>
                    <a:cubicBezTo>
                      <a:pt x="270637" y="25777"/>
                      <a:pt x="275058" y="27612"/>
                      <a:pt x="279981" y="29781"/>
                    </a:cubicBezTo>
                    <a:cubicBezTo>
                      <a:pt x="287990" y="33285"/>
                      <a:pt x="297250" y="37289"/>
                      <a:pt x="308763" y="33285"/>
                    </a:cubicBezTo>
                    <a:cubicBezTo>
                      <a:pt x="316271" y="30615"/>
                      <a:pt x="322528" y="25276"/>
                      <a:pt x="327367" y="20438"/>
                    </a:cubicBezTo>
                    <a:cubicBezTo>
                      <a:pt x="330037" y="17768"/>
                      <a:pt x="332706" y="15599"/>
                      <a:pt x="335376" y="13764"/>
                    </a:cubicBezTo>
                    <a:cubicBezTo>
                      <a:pt x="344219" y="7591"/>
                      <a:pt x="355315" y="2252"/>
                      <a:pt x="365910" y="0"/>
                    </a:cubicBezTo>
                    <a:cubicBezTo>
                      <a:pt x="366828" y="4838"/>
                      <a:pt x="367245" y="9343"/>
                      <a:pt x="366327" y="14599"/>
                    </a:cubicBezTo>
                    <a:cubicBezTo>
                      <a:pt x="365910" y="18102"/>
                      <a:pt x="364992" y="22106"/>
                      <a:pt x="364075" y="25693"/>
                    </a:cubicBezTo>
                    <a:cubicBezTo>
                      <a:pt x="361405" y="35454"/>
                      <a:pt x="358318" y="46548"/>
                      <a:pt x="366744" y="59395"/>
                    </a:cubicBezTo>
                    <a:cubicBezTo>
                      <a:pt x="372084" y="67404"/>
                      <a:pt x="379592" y="71325"/>
                      <a:pt x="386266" y="74911"/>
                    </a:cubicBezTo>
                    <a:cubicBezTo>
                      <a:pt x="391105" y="77164"/>
                      <a:pt x="395110" y="79333"/>
                      <a:pt x="398697" y="82920"/>
                    </a:cubicBezTo>
                    <a:cubicBezTo>
                      <a:pt x="400449" y="85172"/>
                      <a:pt x="401367" y="87341"/>
                      <a:pt x="402201" y="90011"/>
                    </a:cubicBezTo>
                    <a:cubicBezTo>
                      <a:pt x="403536" y="92680"/>
                      <a:pt x="404453" y="95349"/>
                      <a:pt x="405705" y="98019"/>
                    </a:cubicBezTo>
                    <a:cubicBezTo>
                      <a:pt x="408374" y="101523"/>
                      <a:pt x="411044" y="104693"/>
                      <a:pt x="413714" y="106861"/>
                    </a:cubicBezTo>
                    <a:cubicBezTo>
                      <a:pt x="415049" y="108196"/>
                      <a:pt x="416801" y="109531"/>
                      <a:pt x="418135" y="111283"/>
                    </a:cubicBezTo>
                    <a:cubicBezTo>
                      <a:pt x="426561" y="121877"/>
                      <a:pt x="430566" y="135224"/>
                      <a:pt x="428730" y="146737"/>
                    </a:cubicBezTo>
                    <a:cubicBezTo>
                      <a:pt x="426978" y="155162"/>
                      <a:pt x="422056" y="162253"/>
                      <a:pt x="414548" y="167091"/>
                    </a:cubicBezTo>
                    <a:cubicBezTo>
                      <a:pt x="398196" y="176851"/>
                      <a:pt x="384014" y="186611"/>
                      <a:pt x="372000" y="198124"/>
                    </a:cubicBezTo>
                    <a:cubicBezTo>
                      <a:pt x="367996" y="201210"/>
                      <a:pt x="363991" y="206132"/>
                      <a:pt x="362239" y="208718"/>
                    </a:cubicBezTo>
                    <a:cubicBezTo>
                      <a:pt x="358735" y="213557"/>
                      <a:pt x="354731" y="218895"/>
                      <a:pt x="351143" y="224234"/>
                    </a:cubicBezTo>
                    <a:cubicBezTo>
                      <a:pt x="340048" y="242837"/>
                      <a:pt x="344469" y="256601"/>
                      <a:pt x="348891" y="272535"/>
                    </a:cubicBezTo>
                    <a:cubicBezTo>
                      <a:pt x="351143" y="279208"/>
                      <a:pt x="353730" y="285381"/>
                      <a:pt x="356900" y="291138"/>
                    </a:cubicBezTo>
                    <a:cubicBezTo>
                      <a:pt x="360404" y="298645"/>
                      <a:pt x="363991" y="306653"/>
                      <a:pt x="365326" y="313244"/>
                    </a:cubicBezTo>
                    <a:cubicBezTo>
                      <a:pt x="366661" y="320752"/>
                      <a:pt x="362657" y="331847"/>
                      <a:pt x="358652" y="342024"/>
                    </a:cubicBezTo>
                    <a:cubicBezTo>
                      <a:pt x="356900" y="346862"/>
                      <a:pt x="355148" y="351784"/>
                      <a:pt x="353813" y="356206"/>
                    </a:cubicBezTo>
                    <a:cubicBezTo>
                      <a:pt x="352896" y="359292"/>
                      <a:pt x="350726" y="363296"/>
                      <a:pt x="348474" y="367717"/>
                    </a:cubicBezTo>
                    <a:cubicBezTo>
                      <a:pt x="343635" y="376143"/>
                      <a:pt x="338296" y="385903"/>
                      <a:pt x="340465" y="395163"/>
                    </a:cubicBezTo>
                    <a:cubicBezTo>
                      <a:pt x="341800" y="400919"/>
                      <a:pt x="344469" y="404923"/>
                      <a:pt x="348474" y="407092"/>
                    </a:cubicBezTo>
                    <a:cubicBezTo>
                      <a:pt x="355148" y="410596"/>
                      <a:pt x="362657" y="408009"/>
                      <a:pt x="369331" y="405757"/>
                    </a:cubicBezTo>
                    <a:lnTo>
                      <a:pt x="372417" y="404840"/>
                    </a:lnTo>
                    <a:cubicBezTo>
                      <a:pt x="383513" y="401336"/>
                      <a:pt x="391022" y="399084"/>
                      <a:pt x="399865" y="403505"/>
                    </a:cubicBezTo>
                    <a:cubicBezTo>
                      <a:pt x="412296" y="409678"/>
                      <a:pt x="410961" y="415017"/>
                      <a:pt x="404704" y="429616"/>
                    </a:cubicBezTo>
                    <a:cubicBezTo>
                      <a:pt x="400282" y="439376"/>
                      <a:pt x="394943" y="450888"/>
                      <a:pt x="399865" y="462817"/>
                    </a:cubicBezTo>
                    <a:lnTo>
                      <a:pt x="402117" y="468156"/>
                    </a:lnTo>
                    <a:cubicBezTo>
                      <a:pt x="406956" y="479251"/>
                      <a:pt x="408291" y="482754"/>
                      <a:pt x="401700" y="493849"/>
                    </a:cubicBezTo>
                    <a:cubicBezTo>
                      <a:pt x="399030" y="497353"/>
                      <a:pt x="396361" y="500940"/>
                      <a:pt x="393274" y="504444"/>
                    </a:cubicBezTo>
                    <a:cubicBezTo>
                      <a:pt x="388435" y="510617"/>
                      <a:pt x="383096" y="516873"/>
                      <a:pt x="380009" y="525299"/>
                    </a:cubicBezTo>
                    <a:cubicBezTo>
                      <a:pt x="373836" y="542567"/>
                      <a:pt x="379091" y="554496"/>
                      <a:pt x="384848" y="569178"/>
                    </a:cubicBezTo>
                    <a:cubicBezTo>
                      <a:pt x="388352" y="577604"/>
                      <a:pt x="387518" y="582942"/>
                      <a:pt x="386600" y="590033"/>
                    </a:cubicBezTo>
                    <a:cubicBezTo>
                      <a:pt x="385682" y="594871"/>
                      <a:pt x="384848" y="600628"/>
                      <a:pt x="385265" y="607718"/>
                    </a:cubicBezTo>
                    <a:cubicBezTo>
                      <a:pt x="386183" y="617478"/>
                      <a:pt x="390605" y="624069"/>
                      <a:pt x="395443" y="629908"/>
                    </a:cubicBezTo>
                    <a:cubicBezTo>
                      <a:pt x="398113" y="633912"/>
                      <a:pt x="400782" y="637916"/>
                      <a:pt x="402117" y="641837"/>
                    </a:cubicBezTo>
                    <a:cubicBezTo>
                      <a:pt x="404787" y="651180"/>
                      <a:pt x="402534" y="661775"/>
                      <a:pt x="395443" y="675539"/>
                    </a:cubicBezTo>
                    <a:cubicBezTo>
                      <a:pt x="389270" y="687969"/>
                      <a:pt x="380343" y="696811"/>
                      <a:pt x="369331" y="706989"/>
                    </a:cubicBezTo>
                    <a:cubicBezTo>
                      <a:pt x="364492" y="711410"/>
                      <a:pt x="359987" y="716749"/>
                      <a:pt x="356483" y="722088"/>
                    </a:cubicBezTo>
                    <a:cubicBezTo>
                      <a:pt x="352478" y="726926"/>
                      <a:pt x="348974" y="731848"/>
                      <a:pt x="344553" y="735852"/>
                    </a:cubicBezTo>
                    <a:cubicBezTo>
                      <a:pt x="342801" y="737187"/>
                      <a:pt x="341049" y="738939"/>
                      <a:pt x="338796" y="740274"/>
                    </a:cubicBezTo>
                    <a:cubicBezTo>
                      <a:pt x="337462" y="724757"/>
                      <a:pt x="333457" y="710576"/>
                      <a:pt x="321110" y="703068"/>
                    </a:cubicBezTo>
                    <a:cubicBezTo>
                      <a:pt x="312266" y="697312"/>
                      <a:pt x="295832" y="691973"/>
                      <a:pt x="284318" y="691139"/>
                    </a:cubicBezTo>
                    <a:cubicBezTo>
                      <a:pt x="277644" y="690722"/>
                      <a:pt x="271888" y="691556"/>
                      <a:pt x="266632" y="692473"/>
                    </a:cubicBezTo>
                    <a:cubicBezTo>
                      <a:pt x="258623" y="693391"/>
                      <a:pt x="252450" y="694225"/>
                      <a:pt x="244941" y="691556"/>
                    </a:cubicBezTo>
                    <a:cubicBezTo>
                      <a:pt x="234763" y="687552"/>
                      <a:pt x="225419" y="680461"/>
                      <a:pt x="218828" y="671201"/>
                    </a:cubicBezTo>
                    <a:cubicBezTo>
                      <a:pt x="215742" y="667698"/>
                      <a:pt x="213489" y="663193"/>
                      <a:pt x="210820" y="659272"/>
                    </a:cubicBezTo>
                    <a:cubicBezTo>
                      <a:pt x="205647" y="648094"/>
                      <a:pt x="203478" y="636165"/>
                      <a:pt x="204312" y="62465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74438384" name="Полилиния 399"/>
              <p:cNvSpPr/>
              <p:nvPr/>
            </p:nvSpPr>
            <p:spPr bwMode="auto">
              <a:xfrm>
                <a:off x="4905211" y="4713134"/>
                <a:ext cx="1080022" cy="793404"/>
              </a:xfrm>
              <a:custGeom>
                <a:avLst/>
                <a:gdLst>
                  <a:gd name="connsiteX0" fmla="*/ 662791 w 1212901"/>
                  <a:gd name="connsiteY0" fmla="*/ 870234 h 891019"/>
                  <a:gd name="connsiteX1" fmla="*/ 664543 w 1212901"/>
                  <a:gd name="connsiteY1" fmla="*/ 852548 h 891019"/>
                  <a:gd name="connsiteX2" fmla="*/ 657452 w 1212901"/>
                  <a:gd name="connsiteY2" fmla="*/ 836198 h 891019"/>
                  <a:gd name="connsiteX3" fmla="*/ 652613 w 1212901"/>
                  <a:gd name="connsiteY3" fmla="*/ 826438 h 891019"/>
                  <a:gd name="connsiteX4" fmla="*/ 655283 w 1212901"/>
                  <a:gd name="connsiteY4" fmla="*/ 810087 h 891019"/>
                  <a:gd name="connsiteX5" fmla="*/ 657535 w 1212901"/>
                  <a:gd name="connsiteY5" fmla="*/ 799493 h 891019"/>
                  <a:gd name="connsiteX6" fmla="*/ 654448 w 1212901"/>
                  <a:gd name="connsiteY6" fmla="*/ 757449 h 891019"/>
                  <a:gd name="connsiteX7" fmla="*/ 639849 w 1212901"/>
                  <a:gd name="connsiteY7" fmla="*/ 749023 h 891019"/>
                  <a:gd name="connsiteX8" fmla="*/ 613736 w 1212901"/>
                  <a:gd name="connsiteY8" fmla="*/ 759201 h 891019"/>
                  <a:gd name="connsiteX9" fmla="*/ 605727 w 1212901"/>
                  <a:gd name="connsiteY9" fmla="*/ 764540 h 891019"/>
                  <a:gd name="connsiteX10" fmla="*/ 571188 w 1212901"/>
                  <a:gd name="connsiteY10" fmla="*/ 770713 h 891019"/>
                  <a:gd name="connsiteX11" fmla="*/ 552584 w 1212901"/>
                  <a:gd name="connsiteY11" fmla="*/ 772048 h 891019"/>
                  <a:gd name="connsiteX12" fmla="*/ 507367 w 1212901"/>
                  <a:gd name="connsiteY12" fmla="*/ 771130 h 891019"/>
                  <a:gd name="connsiteX13" fmla="*/ 484341 w 1212901"/>
                  <a:gd name="connsiteY13" fmla="*/ 757365 h 891019"/>
                  <a:gd name="connsiteX14" fmla="*/ 441376 w 1212901"/>
                  <a:gd name="connsiteY14" fmla="*/ 737011 h 891019"/>
                  <a:gd name="connsiteX15" fmla="*/ 429863 w 1212901"/>
                  <a:gd name="connsiteY15" fmla="*/ 736093 h 891019"/>
                  <a:gd name="connsiteX16" fmla="*/ 379807 w 1212901"/>
                  <a:gd name="connsiteY16" fmla="*/ 718408 h 891019"/>
                  <a:gd name="connsiteX17" fmla="*/ 364290 w 1212901"/>
                  <a:gd name="connsiteY17" fmla="*/ 690045 h 891019"/>
                  <a:gd name="connsiteX18" fmla="*/ 337259 w 1212901"/>
                  <a:gd name="connsiteY18" fmla="*/ 648835 h 891019"/>
                  <a:gd name="connsiteX19" fmla="*/ 186174 w 1212901"/>
                  <a:gd name="connsiteY19" fmla="*/ 582850 h 891019"/>
                  <a:gd name="connsiteX20" fmla="*/ 166234 w 1212901"/>
                  <a:gd name="connsiteY20" fmla="*/ 577511 h 891019"/>
                  <a:gd name="connsiteX21" fmla="*/ 128609 w 1212901"/>
                  <a:gd name="connsiteY21" fmla="*/ 565999 h 891019"/>
                  <a:gd name="connsiteX22" fmla="*/ 65705 w 1212901"/>
                  <a:gd name="connsiteY22" fmla="*/ 548314 h 891019"/>
                  <a:gd name="connsiteX23" fmla="*/ 48436 w 1212901"/>
                  <a:gd name="connsiteY23" fmla="*/ 545644 h 891019"/>
                  <a:gd name="connsiteX24" fmla="*/ 43097 w 1212901"/>
                  <a:gd name="connsiteY24" fmla="*/ 528793 h 891019"/>
                  <a:gd name="connsiteX25" fmla="*/ 36422 w 1212901"/>
                  <a:gd name="connsiteY25" fmla="*/ 512443 h 891019"/>
                  <a:gd name="connsiteX26" fmla="*/ 24909 w 1212901"/>
                  <a:gd name="connsiteY26" fmla="*/ 477907 h 891019"/>
                  <a:gd name="connsiteX27" fmla="*/ 27162 w 1212901"/>
                  <a:gd name="connsiteY27" fmla="*/ 457052 h 891019"/>
                  <a:gd name="connsiteX28" fmla="*/ 26244 w 1212901"/>
                  <a:gd name="connsiteY28" fmla="*/ 421598 h 891019"/>
                  <a:gd name="connsiteX29" fmla="*/ 11645 w 1212901"/>
                  <a:gd name="connsiteY29" fmla="*/ 405664 h 891019"/>
                  <a:gd name="connsiteX30" fmla="*/ 1049 w 1212901"/>
                  <a:gd name="connsiteY30" fmla="*/ 394570 h 891019"/>
                  <a:gd name="connsiteX31" fmla="*/ 6389 w 1212901"/>
                  <a:gd name="connsiteY31" fmla="*/ 362703 h 891019"/>
                  <a:gd name="connsiteX32" fmla="*/ 7306 w 1212901"/>
                  <a:gd name="connsiteY32" fmla="*/ 360951 h 891019"/>
                  <a:gd name="connsiteX33" fmla="*/ 16149 w 1212901"/>
                  <a:gd name="connsiteY33" fmla="*/ 314403 h 891019"/>
                  <a:gd name="connsiteX34" fmla="*/ 22323 w 1212901"/>
                  <a:gd name="connsiteY34" fmla="*/ 307729 h 891019"/>
                  <a:gd name="connsiteX35" fmla="*/ 40510 w 1212901"/>
                  <a:gd name="connsiteY35" fmla="*/ 293964 h 891019"/>
                  <a:gd name="connsiteX36" fmla="*/ 52023 w 1212901"/>
                  <a:gd name="connsiteY36" fmla="*/ 285956 h 891019"/>
                  <a:gd name="connsiteX37" fmla="*/ 54693 w 1212901"/>
                  <a:gd name="connsiteY37" fmla="*/ 283704 h 891019"/>
                  <a:gd name="connsiteX38" fmla="*/ 72880 w 1212901"/>
                  <a:gd name="connsiteY38" fmla="*/ 265101 h 891019"/>
                  <a:gd name="connsiteX39" fmla="*/ 77302 w 1212901"/>
                  <a:gd name="connsiteY39" fmla="*/ 246498 h 891019"/>
                  <a:gd name="connsiteX40" fmla="*/ 81723 w 1212901"/>
                  <a:gd name="connsiteY40" fmla="*/ 229230 h 891019"/>
                  <a:gd name="connsiteX41" fmla="*/ 131362 w 1212901"/>
                  <a:gd name="connsiteY41" fmla="*/ 188938 h 891019"/>
                  <a:gd name="connsiteX42" fmla="*/ 142458 w 1212901"/>
                  <a:gd name="connsiteY42" fmla="*/ 191191 h 891019"/>
                  <a:gd name="connsiteX43" fmla="*/ 176162 w 1212901"/>
                  <a:gd name="connsiteY43" fmla="*/ 175257 h 891019"/>
                  <a:gd name="connsiteX44" fmla="*/ 189427 w 1212901"/>
                  <a:gd name="connsiteY44" fmla="*/ 133631 h 891019"/>
                  <a:gd name="connsiteX45" fmla="*/ 192514 w 1212901"/>
                  <a:gd name="connsiteY45" fmla="*/ 114610 h 891019"/>
                  <a:gd name="connsiteX46" fmla="*/ 199605 w 1212901"/>
                  <a:gd name="connsiteY46" fmla="*/ 100846 h 891019"/>
                  <a:gd name="connsiteX47" fmla="*/ 208448 w 1212901"/>
                  <a:gd name="connsiteY47" fmla="*/ 82660 h 891019"/>
                  <a:gd name="connsiteX48" fmla="*/ 207531 w 1212901"/>
                  <a:gd name="connsiteY48" fmla="*/ 66310 h 891019"/>
                  <a:gd name="connsiteX49" fmla="*/ 206613 w 1212901"/>
                  <a:gd name="connsiteY49" fmla="*/ 54798 h 891019"/>
                  <a:gd name="connsiteX50" fmla="*/ 216791 w 1212901"/>
                  <a:gd name="connsiteY50" fmla="*/ 43286 h 891019"/>
                  <a:gd name="connsiteX51" fmla="*/ 227386 w 1212901"/>
                  <a:gd name="connsiteY51" fmla="*/ 31774 h 891019"/>
                  <a:gd name="connsiteX52" fmla="*/ 233560 w 1212901"/>
                  <a:gd name="connsiteY52" fmla="*/ 19845 h 891019"/>
                  <a:gd name="connsiteX53" fmla="*/ 237981 w 1212901"/>
                  <a:gd name="connsiteY53" fmla="*/ 10085 h 891019"/>
                  <a:gd name="connsiteX54" fmla="*/ 280029 w 1212901"/>
                  <a:gd name="connsiteY54" fmla="*/ 6998 h 891019"/>
                  <a:gd name="connsiteX55" fmla="*/ 363789 w 1212901"/>
                  <a:gd name="connsiteY55" fmla="*/ 23348 h 891019"/>
                  <a:gd name="connsiteX56" fmla="*/ 412093 w 1212901"/>
                  <a:gd name="connsiteY56" fmla="*/ 41951 h 891019"/>
                  <a:gd name="connsiteX57" fmla="*/ 416515 w 1212901"/>
                  <a:gd name="connsiteY57" fmla="*/ 45038 h 891019"/>
                  <a:gd name="connsiteX58" fmla="*/ 491849 w 1212901"/>
                  <a:gd name="connsiteY58" fmla="*/ 56550 h 891019"/>
                  <a:gd name="connsiteX59" fmla="*/ 504697 w 1212901"/>
                  <a:gd name="connsiteY59" fmla="*/ 51711 h 891019"/>
                  <a:gd name="connsiteX60" fmla="*/ 540988 w 1212901"/>
                  <a:gd name="connsiteY60" fmla="*/ 51711 h 891019"/>
                  <a:gd name="connsiteX61" fmla="*/ 547161 w 1212901"/>
                  <a:gd name="connsiteY61" fmla="*/ 61472 h 891019"/>
                  <a:gd name="connsiteX62" fmla="*/ 562679 w 1212901"/>
                  <a:gd name="connsiteY62" fmla="*/ 79157 h 891019"/>
                  <a:gd name="connsiteX63" fmla="*/ 581283 w 1212901"/>
                  <a:gd name="connsiteY63" fmla="*/ 81826 h 891019"/>
                  <a:gd name="connsiteX64" fmla="*/ 589709 w 1212901"/>
                  <a:gd name="connsiteY64" fmla="*/ 81826 h 891019"/>
                  <a:gd name="connsiteX65" fmla="*/ 608313 w 1212901"/>
                  <a:gd name="connsiteY65" fmla="*/ 90252 h 891019"/>
                  <a:gd name="connsiteX66" fmla="*/ 639348 w 1212901"/>
                  <a:gd name="connsiteY66" fmla="*/ 100846 h 891019"/>
                  <a:gd name="connsiteX67" fmla="*/ 690322 w 1212901"/>
                  <a:gd name="connsiteY67" fmla="*/ 61889 h 891019"/>
                  <a:gd name="connsiteX68" fmla="*/ 707591 w 1212901"/>
                  <a:gd name="connsiteY68" fmla="*/ 41034 h 891019"/>
                  <a:gd name="connsiteX69" fmla="*/ 739043 w 1212901"/>
                  <a:gd name="connsiteY69" fmla="*/ 31273 h 891019"/>
                  <a:gd name="connsiteX70" fmla="*/ 761652 w 1212901"/>
                  <a:gd name="connsiteY70" fmla="*/ 49459 h 891019"/>
                  <a:gd name="connsiteX71" fmla="*/ 786013 w 1212901"/>
                  <a:gd name="connsiteY71" fmla="*/ 69397 h 891019"/>
                  <a:gd name="connsiteX72" fmla="*/ 812125 w 1212901"/>
                  <a:gd name="connsiteY72" fmla="*/ 69814 h 891019"/>
                  <a:gd name="connsiteX73" fmla="*/ 839155 w 1212901"/>
                  <a:gd name="connsiteY73" fmla="*/ 138886 h 891019"/>
                  <a:gd name="connsiteX74" fmla="*/ 829395 w 1212901"/>
                  <a:gd name="connsiteY74" fmla="*/ 166331 h 891019"/>
                  <a:gd name="connsiteX75" fmla="*/ 827642 w 1212901"/>
                  <a:gd name="connsiteY75" fmla="*/ 220805 h 891019"/>
                  <a:gd name="connsiteX76" fmla="*/ 912237 w 1212901"/>
                  <a:gd name="connsiteY76" fmla="*/ 231900 h 891019"/>
                  <a:gd name="connsiteX77" fmla="*/ 933094 w 1212901"/>
                  <a:gd name="connsiteY77" fmla="*/ 229230 h 891019"/>
                  <a:gd name="connsiteX78" fmla="*/ 1022111 w 1212901"/>
                  <a:gd name="connsiteY78" fmla="*/ 246498 h 891019"/>
                  <a:gd name="connsiteX79" fmla="*/ 1029202 w 1212901"/>
                  <a:gd name="connsiteY79" fmla="*/ 256676 h 891019"/>
                  <a:gd name="connsiteX80" fmla="*/ 1043801 w 1212901"/>
                  <a:gd name="connsiteY80" fmla="*/ 273944 h 891019"/>
                  <a:gd name="connsiteX81" fmla="*/ 1055314 w 1212901"/>
                  <a:gd name="connsiteY81" fmla="*/ 278782 h 891019"/>
                  <a:gd name="connsiteX82" fmla="*/ 1069080 w 1212901"/>
                  <a:gd name="connsiteY82" fmla="*/ 288959 h 891019"/>
                  <a:gd name="connsiteX83" fmla="*/ 1074836 w 1212901"/>
                  <a:gd name="connsiteY83" fmla="*/ 309814 h 891019"/>
                  <a:gd name="connsiteX84" fmla="*/ 1115131 w 1212901"/>
                  <a:gd name="connsiteY84" fmla="*/ 345268 h 891019"/>
                  <a:gd name="connsiteX85" fmla="*/ 1121305 w 1212901"/>
                  <a:gd name="connsiteY85" fmla="*/ 344851 h 891019"/>
                  <a:gd name="connsiteX86" fmla="*/ 1147918 w 1212901"/>
                  <a:gd name="connsiteY86" fmla="*/ 350190 h 891019"/>
                  <a:gd name="connsiteX87" fmla="*/ 1153257 w 1212901"/>
                  <a:gd name="connsiteY87" fmla="*/ 377636 h 891019"/>
                  <a:gd name="connsiteX88" fmla="*/ 1139075 w 1212901"/>
                  <a:gd name="connsiteY88" fmla="*/ 390482 h 891019"/>
                  <a:gd name="connsiteX89" fmla="*/ 1126227 w 1212901"/>
                  <a:gd name="connsiteY89" fmla="*/ 399325 h 891019"/>
                  <a:gd name="connsiteX90" fmla="*/ 1096527 w 1212901"/>
                  <a:gd name="connsiteY90" fmla="*/ 437865 h 891019"/>
                  <a:gd name="connsiteX91" fmla="*/ 1096944 w 1212901"/>
                  <a:gd name="connsiteY91" fmla="*/ 517114 h 891019"/>
                  <a:gd name="connsiteX92" fmla="*/ 1130649 w 1212901"/>
                  <a:gd name="connsiteY92" fmla="*/ 546812 h 891019"/>
                  <a:gd name="connsiteX93" fmla="*/ 1144831 w 1212901"/>
                  <a:gd name="connsiteY93" fmla="*/ 552151 h 891019"/>
                  <a:gd name="connsiteX94" fmla="*/ 1177618 w 1212901"/>
                  <a:gd name="connsiteY94" fmla="*/ 562746 h 891019"/>
                  <a:gd name="connsiteX95" fmla="*/ 1190883 w 1212901"/>
                  <a:gd name="connsiteY95" fmla="*/ 563163 h 891019"/>
                  <a:gd name="connsiteX96" fmla="*/ 1211239 w 1212901"/>
                  <a:gd name="connsiteY96" fmla="*/ 568001 h 891019"/>
                  <a:gd name="connsiteX97" fmla="*/ 1208570 w 1212901"/>
                  <a:gd name="connsiteY97" fmla="*/ 587938 h 891019"/>
                  <a:gd name="connsiteX98" fmla="*/ 1179370 w 1212901"/>
                  <a:gd name="connsiteY98" fmla="*/ 629983 h 891019"/>
                  <a:gd name="connsiteX99" fmla="*/ 1162101 w 1212901"/>
                  <a:gd name="connsiteY99" fmla="*/ 652089 h 891019"/>
                  <a:gd name="connsiteX100" fmla="*/ 1155426 w 1212901"/>
                  <a:gd name="connsiteY100" fmla="*/ 660514 h 891019"/>
                  <a:gd name="connsiteX101" fmla="*/ 1136822 w 1212901"/>
                  <a:gd name="connsiteY101" fmla="*/ 696802 h 891019"/>
                  <a:gd name="connsiteX102" fmla="*/ 1142579 w 1212901"/>
                  <a:gd name="connsiteY102" fmla="*/ 709232 h 891019"/>
                  <a:gd name="connsiteX103" fmla="*/ 1144831 w 1212901"/>
                  <a:gd name="connsiteY103" fmla="*/ 712735 h 891019"/>
                  <a:gd name="connsiteX104" fmla="*/ 1143914 w 1212901"/>
                  <a:gd name="connsiteY104" fmla="*/ 717574 h 891019"/>
                  <a:gd name="connsiteX105" fmla="*/ 1140827 w 1212901"/>
                  <a:gd name="connsiteY105" fmla="*/ 723747 h 891019"/>
                  <a:gd name="connsiteX106" fmla="*/ 1138157 w 1212901"/>
                  <a:gd name="connsiteY106" fmla="*/ 735259 h 891019"/>
                  <a:gd name="connsiteX107" fmla="*/ 1100031 w 1212901"/>
                  <a:gd name="connsiteY107" fmla="*/ 751609 h 891019"/>
                  <a:gd name="connsiteX108" fmla="*/ 1090270 w 1212901"/>
                  <a:gd name="connsiteY108" fmla="*/ 759618 h 891019"/>
                  <a:gd name="connsiteX109" fmla="*/ 1076505 w 1212901"/>
                  <a:gd name="connsiteY109" fmla="*/ 769795 h 891019"/>
                  <a:gd name="connsiteX110" fmla="*/ 1058318 w 1212901"/>
                  <a:gd name="connsiteY110" fmla="*/ 766292 h 891019"/>
                  <a:gd name="connsiteX111" fmla="*/ 1039713 w 1212901"/>
                  <a:gd name="connsiteY111" fmla="*/ 760536 h 891019"/>
                  <a:gd name="connsiteX112" fmla="*/ 1014018 w 1212901"/>
                  <a:gd name="connsiteY112" fmla="*/ 766292 h 891019"/>
                  <a:gd name="connsiteX113" fmla="*/ 989657 w 1212901"/>
                  <a:gd name="connsiteY113" fmla="*/ 768961 h 891019"/>
                  <a:gd name="connsiteX114" fmla="*/ 983484 w 1212901"/>
                  <a:gd name="connsiteY114" fmla="*/ 765874 h 891019"/>
                  <a:gd name="connsiteX115" fmla="*/ 961793 w 1212901"/>
                  <a:gd name="connsiteY115" fmla="*/ 762788 h 891019"/>
                  <a:gd name="connsiteX116" fmla="*/ 952032 w 1212901"/>
                  <a:gd name="connsiteY116" fmla="*/ 767209 h 891019"/>
                  <a:gd name="connsiteX117" fmla="*/ 947193 w 1212901"/>
                  <a:gd name="connsiteY117" fmla="*/ 769461 h 891019"/>
                  <a:gd name="connsiteX118" fmla="*/ 943189 w 1212901"/>
                  <a:gd name="connsiteY118" fmla="*/ 768127 h 891019"/>
                  <a:gd name="connsiteX119" fmla="*/ 929924 w 1212901"/>
                  <a:gd name="connsiteY119" fmla="*/ 765457 h 891019"/>
                  <a:gd name="connsiteX120" fmla="*/ 896720 w 1212901"/>
                  <a:gd name="connsiteY120" fmla="*/ 792068 h 891019"/>
                  <a:gd name="connsiteX121" fmla="*/ 884790 w 1212901"/>
                  <a:gd name="connsiteY121" fmla="*/ 805833 h 891019"/>
                  <a:gd name="connsiteX122" fmla="*/ 853338 w 1212901"/>
                  <a:gd name="connsiteY122" fmla="*/ 825353 h 891019"/>
                  <a:gd name="connsiteX123" fmla="*/ 830312 w 1212901"/>
                  <a:gd name="connsiteY123" fmla="*/ 826688 h 891019"/>
                  <a:gd name="connsiteX124" fmla="*/ 804617 w 1212901"/>
                  <a:gd name="connsiteY124" fmla="*/ 828023 h 891019"/>
                  <a:gd name="connsiteX125" fmla="*/ 781174 w 1212901"/>
                  <a:gd name="connsiteY125" fmla="*/ 836448 h 891019"/>
                  <a:gd name="connsiteX126" fmla="*/ 771413 w 1212901"/>
                  <a:gd name="connsiteY126" fmla="*/ 840452 h 891019"/>
                  <a:gd name="connsiteX127" fmla="*/ 768743 w 1212901"/>
                  <a:gd name="connsiteY127" fmla="*/ 841370 h 891019"/>
                  <a:gd name="connsiteX128" fmla="*/ 757647 w 1212901"/>
                  <a:gd name="connsiteY128" fmla="*/ 844039 h 891019"/>
                  <a:gd name="connsiteX129" fmla="*/ 746134 w 1212901"/>
                  <a:gd name="connsiteY129" fmla="*/ 845374 h 891019"/>
                  <a:gd name="connsiteX130" fmla="*/ 732870 w 1212901"/>
                  <a:gd name="connsiteY130" fmla="*/ 847126 h 891019"/>
                  <a:gd name="connsiteX131" fmla="*/ 698748 w 1212901"/>
                  <a:gd name="connsiteY131" fmla="*/ 872402 h 891019"/>
                  <a:gd name="connsiteX132" fmla="*/ 672635 w 1212901"/>
                  <a:gd name="connsiteY132" fmla="*/ 891005 h 891019"/>
                  <a:gd name="connsiteX133" fmla="*/ 664209 w 1212901"/>
                  <a:gd name="connsiteY133" fmla="*/ 888336 h 891019"/>
                  <a:gd name="connsiteX134" fmla="*/ 662791 w 1212901"/>
                  <a:gd name="connsiteY134" fmla="*/ 870234 h 8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212901" h="891019" extrusionOk="0">
                    <a:moveTo>
                      <a:pt x="662791" y="870234"/>
                    </a:moveTo>
                    <a:cubicBezTo>
                      <a:pt x="664126" y="864060"/>
                      <a:pt x="665461" y="857804"/>
                      <a:pt x="664543" y="852548"/>
                    </a:cubicBezTo>
                    <a:cubicBezTo>
                      <a:pt x="663625" y="845875"/>
                      <a:pt x="660121" y="840619"/>
                      <a:pt x="657452" y="836198"/>
                    </a:cubicBezTo>
                    <a:cubicBezTo>
                      <a:pt x="654782" y="832694"/>
                      <a:pt x="653030" y="829524"/>
                      <a:pt x="652613" y="826438"/>
                    </a:cubicBezTo>
                    <a:cubicBezTo>
                      <a:pt x="651695" y="822016"/>
                      <a:pt x="653531" y="815843"/>
                      <a:pt x="655283" y="810087"/>
                    </a:cubicBezTo>
                    <a:cubicBezTo>
                      <a:pt x="656200" y="807001"/>
                      <a:pt x="656617" y="803914"/>
                      <a:pt x="657535" y="799493"/>
                    </a:cubicBezTo>
                    <a:cubicBezTo>
                      <a:pt x="659287" y="788398"/>
                      <a:pt x="662374" y="768961"/>
                      <a:pt x="654448" y="757449"/>
                    </a:cubicBezTo>
                    <a:cubicBezTo>
                      <a:pt x="650944" y="752611"/>
                      <a:pt x="646022" y="749941"/>
                      <a:pt x="639849" y="749023"/>
                    </a:cubicBezTo>
                    <a:cubicBezTo>
                      <a:pt x="629670" y="747689"/>
                      <a:pt x="621245" y="753862"/>
                      <a:pt x="613736" y="759201"/>
                    </a:cubicBezTo>
                    <a:cubicBezTo>
                      <a:pt x="611066" y="761453"/>
                      <a:pt x="608397" y="763205"/>
                      <a:pt x="605727" y="764540"/>
                    </a:cubicBezTo>
                    <a:cubicBezTo>
                      <a:pt x="595132" y="769378"/>
                      <a:pt x="584453" y="769879"/>
                      <a:pt x="571188" y="770713"/>
                    </a:cubicBezTo>
                    <a:cubicBezTo>
                      <a:pt x="565015" y="771130"/>
                      <a:pt x="558758" y="771630"/>
                      <a:pt x="552584" y="772048"/>
                    </a:cubicBezTo>
                    <a:cubicBezTo>
                      <a:pt x="537484" y="773382"/>
                      <a:pt x="521549" y="774300"/>
                      <a:pt x="507367" y="771130"/>
                    </a:cubicBezTo>
                    <a:cubicBezTo>
                      <a:pt x="497606" y="768878"/>
                      <a:pt x="492267" y="764957"/>
                      <a:pt x="484341" y="757365"/>
                    </a:cubicBezTo>
                    <a:cubicBezTo>
                      <a:pt x="470576" y="743184"/>
                      <a:pt x="460898" y="738763"/>
                      <a:pt x="441376" y="737011"/>
                    </a:cubicBezTo>
                    <a:cubicBezTo>
                      <a:pt x="437872" y="736594"/>
                      <a:pt x="433367" y="736594"/>
                      <a:pt x="429863" y="736093"/>
                    </a:cubicBezTo>
                    <a:cubicBezTo>
                      <a:pt x="409507" y="735175"/>
                      <a:pt x="392238" y="733841"/>
                      <a:pt x="379807" y="718408"/>
                    </a:cubicBezTo>
                    <a:cubicBezTo>
                      <a:pt x="373133" y="709983"/>
                      <a:pt x="369212" y="700222"/>
                      <a:pt x="364290" y="690045"/>
                    </a:cubicBezTo>
                    <a:cubicBezTo>
                      <a:pt x="357616" y="675864"/>
                      <a:pt x="351442" y="660848"/>
                      <a:pt x="337259" y="648835"/>
                    </a:cubicBezTo>
                    <a:cubicBezTo>
                      <a:pt x="295212" y="612047"/>
                      <a:pt x="239817" y="597031"/>
                      <a:pt x="186174" y="582850"/>
                    </a:cubicBezTo>
                    <a:lnTo>
                      <a:pt x="166234" y="577511"/>
                    </a:lnTo>
                    <a:cubicBezTo>
                      <a:pt x="153804" y="574007"/>
                      <a:pt x="140956" y="570003"/>
                      <a:pt x="128609" y="565999"/>
                    </a:cubicBezTo>
                    <a:cubicBezTo>
                      <a:pt x="108253" y="559325"/>
                      <a:pt x="86979" y="553152"/>
                      <a:pt x="65705" y="548314"/>
                    </a:cubicBezTo>
                    <a:cubicBezTo>
                      <a:pt x="60366" y="546979"/>
                      <a:pt x="54609" y="546061"/>
                      <a:pt x="48436" y="545644"/>
                    </a:cubicBezTo>
                    <a:cubicBezTo>
                      <a:pt x="46183" y="538971"/>
                      <a:pt x="44431" y="533215"/>
                      <a:pt x="43097" y="528793"/>
                    </a:cubicBezTo>
                    <a:cubicBezTo>
                      <a:pt x="40844" y="523454"/>
                      <a:pt x="38675" y="518199"/>
                      <a:pt x="36422" y="512443"/>
                    </a:cubicBezTo>
                    <a:cubicBezTo>
                      <a:pt x="31083" y="500931"/>
                      <a:pt x="26244" y="489836"/>
                      <a:pt x="24909" y="477907"/>
                    </a:cubicBezTo>
                    <a:cubicBezTo>
                      <a:pt x="23992" y="471734"/>
                      <a:pt x="25326" y="464643"/>
                      <a:pt x="27162" y="457052"/>
                    </a:cubicBezTo>
                    <a:cubicBezTo>
                      <a:pt x="29414" y="445957"/>
                      <a:pt x="31583" y="433110"/>
                      <a:pt x="26244" y="421598"/>
                    </a:cubicBezTo>
                    <a:cubicBezTo>
                      <a:pt x="22740" y="414507"/>
                      <a:pt x="16900" y="409669"/>
                      <a:pt x="11645" y="405664"/>
                    </a:cubicBezTo>
                    <a:cubicBezTo>
                      <a:pt x="6806" y="402161"/>
                      <a:pt x="2801" y="398991"/>
                      <a:pt x="1049" y="394570"/>
                    </a:cubicBezTo>
                    <a:cubicBezTo>
                      <a:pt x="-2455" y="386144"/>
                      <a:pt x="3719" y="370211"/>
                      <a:pt x="6389" y="362703"/>
                    </a:cubicBezTo>
                    <a:lnTo>
                      <a:pt x="7306" y="360951"/>
                    </a:lnTo>
                    <a:cubicBezTo>
                      <a:pt x="12646" y="346353"/>
                      <a:pt x="19236" y="329085"/>
                      <a:pt x="16149" y="314403"/>
                    </a:cubicBezTo>
                    <a:cubicBezTo>
                      <a:pt x="18402" y="312150"/>
                      <a:pt x="20154" y="309981"/>
                      <a:pt x="22323" y="307729"/>
                    </a:cubicBezTo>
                    <a:cubicBezTo>
                      <a:pt x="27663" y="302891"/>
                      <a:pt x="33836" y="298386"/>
                      <a:pt x="40510" y="293964"/>
                    </a:cubicBezTo>
                    <a:cubicBezTo>
                      <a:pt x="44515" y="291295"/>
                      <a:pt x="48519" y="288626"/>
                      <a:pt x="52023" y="285956"/>
                    </a:cubicBezTo>
                    <a:lnTo>
                      <a:pt x="54693" y="283704"/>
                    </a:lnTo>
                    <a:cubicBezTo>
                      <a:pt x="61367" y="278865"/>
                      <a:pt x="68875" y="273526"/>
                      <a:pt x="72880" y="265101"/>
                    </a:cubicBezTo>
                    <a:cubicBezTo>
                      <a:pt x="75967" y="258427"/>
                      <a:pt x="76384" y="251837"/>
                      <a:pt x="77302" y="246498"/>
                    </a:cubicBezTo>
                    <a:cubicBezTo>
                      <a:pt x="78219" y="240325"/>
                      <a:pt x="78636" y="234986"/>
                      <a:pt x="81723" y="229230"/>
                    </a:cubicBezTo>
                    <a:cubicBezTo>
                      <a:pt x="87062" y="219053"/>
                      <a:pt x="107001" y="186686"/>
                      <a:pt x="131362" y="188938"/>
                    </a:cubicBezTo>
                    <a:cubicBezTo>
                      <a:pt x="135783" y="189355"/>
                      <a:pt x="139371" y="190273"/>
                      <a:pt x="142458" y="191191"/>
                    </a:cubicBezTo>
                    <a:cubicBezTo>
                      <a:pt x="155306" y="193860"/>
                      <a:pt x="163731" y="194277"/>
                      <a:pt x="176162" y="175257"/>
                    </a:cubicBezTo>
                    <a:cubicBezTo>
                      <a:pt x="185923" y="159741"/>
                      <a:pt x="187675" y="147311"/>
                      <a:pt x="189427" y="133631"/>
                    </a:cubicBezTo>
                    <a:cubicBezTo>
                      <a:pt x="190345" y="127457"/>
                      <a:pt x="191179" y="121201"/>
                      <a:pt x="192514" y="114610"/>
                    </a:cubicBezTo>
                    <a:cubicBezTo>
                      <a:pt x="193849" y="109772"/>
                      <a:pt x="196518" y="105768"/>
                      <a:pt x="199605" y="100846"/>
                    </a:cubicBezTo>
                    <a:cubicBezTo>
                      <a:pt x="203109" y="96008"/>
                      <a:pt x="206696" y="89751"/>
                      <a:pt x="208448" y="82660"/>
                    </a:cubicBezTo>
                    <a:cubicBezTo>
                      <a:pt x="209783" y="76487"/>
                      <a:pt x="208448" y="71148"/>
                      <a:pt x="207531" y="66310"/>
                    </a:cubicBezTo>
                    <a:cubicBezTo>
                      <a:pt x="206613" y="61889"/>
                      <a:pt x="205779" y="57884"/>
                      <a:pt x="206613" y="54798"/>
                    </a:cubicBezTo>
                    <a:cubicBezTo>
                      <a:pt x="207948" y="50794"/>
                      <a:pt x="211952" y="46790"/>
                      <a:pt x="216791" y="43286"/>
                    </a:cubicBezTo>
                    <a:cubicBezTo>
                      <a:pt x="220796" y="39782"/>
                      <a:pt x="224800" y="36195"/>
                      <a:pt x="227386" y="31774"/>
                    </a:cubicBezTo>
                    <a:cubicBezTo>
                      <a:pt x="230056" y="28270"/>
                      <a:pt x="231808" y="23766"/>
                      <a:pt x="233560" y="19845"/>
                    </a:cubicBezTo>
                    <a:cubicBezTo>
                      <a:pt x="234895" y="16341"/>
                      <a:pt x="236230" y="13171"/>
                      <a:pt x="237981" y="10085"/>
                    </a:cubicBezTo>
                    <a:cubicBezTo>
                      <a:pt x="246408" y="-2345"/>
                      <a:pt x="257921" y="-3179"/>
                      <a:pt x="280029" y="6998"/>
                    </a:cubicBezTo>
                    <a:cubicBezTo>
                      <a:pt x="310146" y="20762"/>
                      <a:pt x="334924" y="22097"/>
                      <a:pt x="363789" y="23348"/>
                    </a:cubicBezTo>
                    <a:cubicBezTo>
                      <a:pt x="386398" y="24683"/>
                      <a:pt x="394824" y="30439"/>
                      <a:pt x="412093" y="41951"/>
                    </a:cubicBezTo>
                    <a:lnTo>
                      <a:pt x="416515" y="45038"/>
                    </a:lnTo>
                    <a:cubicBezTo>
                      <a:pt x="436037" y="57884"/>
                      <a:pt x="470576" y="63223"/>
                      <a:pt x="491849" y="56550"/>
                    </a:cubicBezTo>
                    <a:cubicBezTo>
                      <a:pt x="496271" y="55215"/>
                      <a:pt x="500276" y="53463"/>
                      <a:pt x="504697" y="51711"/>
                    </a:cubicBezTo>
                    <a:cubicBezTo>
                      <a:pt x="520632" y="45538"/>
                      <a:pt x="530810" y="41951"/>
                      <a:pt x="540988" y="51711"/>
                    </a:cubicBezTo>
                    <a:cubicBezTo>
                      <a:pt x="543240" y="54381"/>
                      <a:pt x="545409" y="57884"/>
                      <a:pt x="547161" y="61472"/>
                    </a:cubicBezTo>
                    <a:cubicBezTo>
                      <a:pt x="550248" y="68145"/>
                      <a:pt x="554253" y="75236"/>
                      <a:pt x="562679" y="79157"/>
                    </a:cubicBezTo>
                    <a:cubicBezTo>
                      <a:pt x="569353" y="82660"/>
                      <a:pt x="575526" y="82243"/>
                      <a:pt x="581283" y="81826"/>
                    </a:cubicBezTo>
                    <a:cubicBezTo>
                      <a:pt x="584370" y="81409"/>
                      <a:pt x="586622" y="81409"/>
                      <a:pt x="589709" y="81826"/>
                    </a:cubicBezTo>
                    <a:cubicBezTo>
                      <a:pt x="596383" y="82744"/>
                      <a:pt x="602140" y="86247"/>
                      <a:pt x="608313" y="90252"/>
                    </a:cubicBezTo>
                    <a:cubicBezTo>
                      <a:pt x="617156" y="95591"/>
                      <a:pt x="626500" y="101764"/>
                      <a:pt x="639348" y="100846"/>
                    </a:cubicBezTo>
                    <a:cubicBezTo>
                      <a:pt x="662374" y="99511"/>
                      <a:pt x="676974" y="79157"/>
                      <a:pt x="690322" y="61889"/>
                    </a:cubicBezTo>
                    <a:cubicBezTo>
                      <a:pt x="696495" y="53880"/>
                      <a:pt x="701835" y="45955"/>
                      <a:pt x="707591" y="41034"/>
                    </a:cubicBezTo>
                    <a:cubicBezTo>
                      <a:pt x="718186" y="31273"/>
                      <a:pt x="727947" y="28604"/>
                      <a:pt x="739043" y="31273"/>
                    </a:cubicBezTo>
                    <a:cubicBezTo>
                      <a:pt x="748804" y="33943"/>
                      <a:pt x="754978" y="41451"/>
                      <a:pt x="761652" y="49459"/>
                    </a:cubicBezTo>
                    <a:cubicBezTo>
                      <a:pt x="768326" y="57467"/>
                      <a:pt x="775417" y="65392"/>
                      <a:pt x="786013" y="69397"/>
                    </a:cubicBezTo>
                    <a:cubicBezTo>
                      <a:pt x="794438" y="72483"/>
                      <a:pt x="803699" y="72066"/>
                      <a:pt x="812125" y="69814"/>
                    </a:cubicBezTo>
                    <a:cubicBezTo>
                      <a:pt x="824973" y="92003"/>
                      <a:pt x="837820" y="117614"/>
                      <a:pt x="839155" y="138886"/>
                    </a:cubicBezTo>
                    <a:cubicBezTo>
                      <a:pt x="839572" y="147311"/>
                      <a:pt x="834734" y="156571"/>
                      <a:pt x="829395" y="166331"/>
                    </a:cubicBezTo>
                    <a:cubicBezTo>
                      <a:pt x="820968" y="182682"/>
                      <a:pt x="809872" y="203120"/>
                      <a:pt x="827642" y="220805"/>
                    </a:cubicBezTo>
                    <a:cubicBezTo>
                      <a:pt x="847581" y="241159"/>
                      <a:pt x="883455" y="236321"/>
                      <a:pt x="912237" y="231900"/>
                    </a:cubicBezTo>
                    <a:cubicBezTo>
                      <a:pt x="919746" y="230982"/>
                      <a:pt x="926837" y="229647"/>
                      <a:pt x="933094" y="229230"/>
                    </a:cubicBezTo>
                    <a:cubicBezTo>
                      <a:pt x="948611" y="228313"/>
                      <a:pt x="1000837" y="226561"/>
                      <a:pt x="1022111" y="246498"/>
                    </a:cubicBezTo>
                    <a:cubicBezTo>
                      <a:pt x="1025197" y="249585"/>
                      <a:pt x="1026949" y="253172"/>
                      <a:pt x="1029202" y="256676"/>
                    </a:cubicBezTo>
                    <a:cubicBezTo>
                      <a:pt x="1032288" y="262432"/>
                      <a:pt x="1035876" y="269105"/>
                      <a:pt x="1043801" y="273944"/>
                    </a:cubicBezTo>
                    <a:cubicBezTo>
                      <a:pt x="1048223" y="276196"/>
                      <a:pt x="1051810" y="277447"/>
                      <a:pt x="1055314" y="278782"/>
                    </a:cubicBezTo>
                    <a:cubicBezTo>
                      <a:pt x="1061988" y="281034"/>
                      <a:pt x="1065492" y="282286"/>
                      <a:pt x="1069080" y="288959"/>
                    </a:cubicBezTo>
                    <a:cubicBezTo>
                      <a:pt x="1072167" y="295633"/>
                      <a:pt x="1073501" y="302724"/>
                      <a:pt x="1074836" y="309814"/>
                    </a:cubicBezTo>
                    <a:cubicBezTo>
                      <a:pt x="1077923" y="326665"/>
                      <a:pt x="1082845" y="347437"/>
                      <a:pt x="1115131" y="345268"/>
                    </a:cubicBezTo>
                    <a:lnTo>
                      <a:pt x="1121305" y="344851"/>
                    </a:lnTo>
                    <a:cubicBezTo>
                      <a:pt x="1133735" y="343933"/>
                      <a:pt x="1140827" y="343516"/>
                      <a:pt x="1147918" y="350190"/>
                    </a:cubicBezTo>
                    <a:cubicBezTo>
                      <a:pt x="1154592" y="356363"/>
                      <a:pt x="1156761" y="368793"/>
                      <a:pt x="1153257" y="377636"/>
                    </a:cubicBezTo>
                    <a:cubicBezTo>
                      <a:pt x="1151005" y="383391"/>
                      <a:pt x="1145248" y="386478"/>
                      <a:pt x="1139075" y="390482"/>
                    </a:cubicBezTo>
                    <a:cubicBezTo>
                      <a:pt x="1134653" y="393151"/>
                      <a:pt x="1130231" y="395821"/>
                      <a:pt x="1126227" y="399325"/>
                    </a:cubicBezTo>
                    <a:cubicBezTo>
                      <a:pt x="1112462" y="412172"/>
                      <a:pt x="1101866" y="429022"/>
                      <a:pt x="1096527" y="437865"/>
                    </a:cubicBezTo>
                    <a:cubicBezTo>
                      <a:pt x="1083262" y="459971"/>
                      <a:pt x="1083679" y="490170"/>
                      <a:pt x="1096944" y="517114"/>
                    </a:cubicBezTo>
                    <a:cubicBezTo>
                      <a:pt x="1104453" y="531713"/>
                      <a:pt x="1115131" y="541056"/>
                      <a:pt x="1130649" y="546812"/>
                    </a:cubicBezTo>
                    <a:cubicBezTo>
                      <a:pt x="1135070" y="548147"/>
                      <a:pt x="1139992" y="550316"/>
                      <a:pt x="1144831" y="552151"/>
                    </a:cubicBezTo>
                    <a:cubicBezTo>
                      <a:pt x="1155426" y="556573"/>
                      <a:pt x="1166939" y="561494"/>
                      <a:pt x="1177618" y="562746"/>
                    </a:cubicBezTo>
                    <a:cubicBezTo>
                      <a:pt x="1182040" y="563163"/>
                      <a:pt x="1186461" y="563163"/>
                      <a:pt x="1190883" y="563163"/>
                    </a:cubicBezTo>
                    <a:cubicBezTo>
                      <a:pt x="1201061" y="562746"/>
                      <a:pt x="1207235" y="562245"/>
                      <a:pt x="1211239" y="568001"/>
                    </a:cubicBezTo>
                    <a:cubicBezTo>
                      <a:pt x="1214743" y="572840"/>
                      <a:pt x="1212157" y="580848"/>
                      <a:pt x="1208570" y="587938"/>
                    </a:cubicBezTo>
                    <a:cubicBezTo>
                      <a:pt x="1201895" y="603037"/>
                      <a:pt x="1190382" y="616718"/>
                      <a:pt x="1179370" y="629983"/>
                    </a:cubicBezTo>
                    <a:cubicBezTo>
                      <a:pt x="1173196" y="637073"/>
                      <a:pt x="1167440" y="644581"/>
                      <a:pt x="1162101" y="652089"/>
                    </a:cubicBezTo>
                    <a:cubicBezTo>
                      <a:pt x="1160349" y="654758"/>
                      <a:pt x="1157679" y="657428"/>
                      <a:pt x="1155426" y="660514"/>
                    </a:cubicBezTo>
                    <a:cubicBezTo>
                      <a:pt x="1146583" y="670692"/>
                      <a:pt x="1135488" y="683538"/>
                      <a:pt x="1136822" y="696802"/>
                    </a:cubicBezTo>
                    <a:cubicBezTo>
                      <a:pt x="1137240" y="702976"/>
                      <a:pt x="1140326" y="706562"/>
                      <a:pt x="1142579" y="709232"/>
                    </a:cubicBezTo>
                    <a:cubicBezTo>
                      <a:pt x="1143914" y="710566"/>
                      <a:pt x="1144831" y="711901"/>
                      <a:pt x="1144831" y="712735"/>
                    </a:cubicBezTo>
                    <a:cubicBezTo>
                      <a:pt x="1145248" y="715405"/>
                      <a:pt x="1145248" y="715405"/>
                      <a:pt x="1143914" y="717574"/>
                    </a:cubicBezTo>
                    <a:cubicBezTo>
                      <a:pt x="1142996" y="718908"/>
                      <a:pt x="1141661" y="721078"/>
                      <a:pt x="1140827" y="723747"/>
                    </a:cubicBezTo>
                    <a:cubicBezTo>
                      <a:pt x="1139492" y="727751"/>
                      <a:pt x="1138157" y="731756"/>
                      <a:pt x="1138157" y="735259"/>
                    </a:cubicBezTo>
                    <a:cubicBezTo>
                      <a:pt x="1123974" y="737929"/>
                      <a:pt x="1110710" y="744102"/>
                      <a:pt x="1100031" y="751609"/>
                    </a:cubicBezTo>
                    <a:cubicBezTo>
                      <a:pt x="1096944" y="753862"/>
                      <a:pt x="1093357" y="756948"/>
                      <a:pt x="1090270" y="759618"/>
                    </a:cubicBezTo>
                    <a:cubicBezTo>
                      <a:pt x="1085431" y="764039"/>
                      <a:pt x="1080926" y="768044"/>
                      <a:pt x="1076505" y="769795"/>
                    </a:cubicBezTo>
                    <a:cubicBezTo>
                      <a:pt x="1070748" y="771547"/>
                      <a:pt x="1065910" y="769378"/>
                      <a:pt x="1058318" y="766292"/>
                    </a:cubicBezTo>
                    <a:cubicBezTo>
                      <a:pt x="1052978" y="763622"/>
                      <a:pt x="1046387" y="760953"/>
                      <a:pt x="1039713" y="760536"/>
                    </a:cubicBezTo>
                    <a:cubicBezTo>
                      <a:pt x="1029535" y="760119"/>
                      <a:pt x="1021526" y="763622"/>
                      <a:pt x="1014018" y="766292"/>
                    </a:cubicBezTo>
                    <a:cubicBezTo>
                      <a:pt x="1005592" y="769795"/>
                      <a:pt x="998500" y="772965"/>
                      <a:pt x="989657" y="768961"/>
                    </a:cubicBezTo>
                    <a:cubicBezTo>
                      <a:pt x="986988" y="768044"/>
                      <a:pt x="985236" y="766709"/>
                      <a:pt x="983484" y="765874"/>
                    </a:cubicBezTo>
                    <a:cubicBezTo>
                      <a:pt x="976809" y="762788"/>
                      <a:pt x="972388" y="761036"/>
                      <a:pt x="961793" y="762788"/>
                    </a:cubicBezTo>
                    <a:cubicBezTo>
                      <a:pt x="956954" y="763705"/>
                      <a:pt x="954284" y="765457"/>
                      <a:pt x="952032" y="767209"/>
                    </a:cubicBezTo>
                    <a:cubicBezTo>
                      <a:pt x="950280" y="768544"/>
                      <a:pt x="949362" y="769461"/>
                      <a:pt x="947193" y="769461"/>
                    </a:cubicBezTo>
                    <a:cubicBezTo>
                      <a:pt x="946275" y="769879"/>
                      <a:pt x="944524" y="768544"/>
                      <a:pt x="943189" y="768127"/>
                    </a:cubicBezTo>
                    <a:cubicBezTo>
                      <a:pt x="940102" y="766792"/>
                      <a:pt x="935180" y="764623"/>
                      <a:pt x="929924" y="765457"/>
                    </a:cubicBezTo>
                    <a:cubicBezTo>
                      <a:pt x="915324" y="767709"/>
                      <a:pt x="905563" y="780557"/>
                      <a:pt x="896720" y="792068"/>
                    </a:cubicBezTo>
                    <a:cubicBezTo>
                      <a:pt x="892715" y="797407"/>
                      <a:pt x="888711" y="802663"/>
                      <a:pt x="884790" y="805833"/>
                    </a:cubicBezTo>
                    <a:cubicBezTo>
                      <a:pt x="875029" y="813841"/>
                      <a:pt x="864434" y="822183"/>
                      <a:pt x="853338" y="825353"/>
                    </a:cubicBezTo>
                    <a:cubicBezTo>
                      <a:pt x="846247" y="827606"/>
                      <a:pt x="838237" y="826688"/>
                      <a:pt x="830312" y="826688"/>
                    </a:cubicBezTo>
                    <a:cubicBezTo>
                      <a:pt x="821886" y="826271"/>
                      <a:pt x="813460" y="826271"/>
                      <a:pt x="804617" y="828023"/>
                    </a:cubicBezTo>
                    <a:cubicBezTo>
                      <a:pt x="796190" y="829775"/>
                      <a:pt x="788682" y="832861"/>
                      <a:pt x="781174" y="836448"/>
                    </a:cubicBezTo>
                    <a:cubicBezTo>
                      <a:pt x="778087" y="837783"/>
                      <a:pt x="775000" y="839118"/>
                      <a:pt x="771413" y="840452"/>
                    </a:cubicBezTo>
                    <a:cubicBezTo>
                      <a:pt x="770495" y="840869"/>
                      <a:pt x="769661" y="841370"/>
                      <a:pt x="768743" y="841370"/>
                    </a:cubicBezTo>
                    <a:cubicBezTo>
                      <a:pt x="765239" y="842705"/>
                      <a:pt x="761652" y="843622"/>
                      <a:pt x="757647" y="844039"/>
                    </a:cubicBezTo>
                    <a:cubicBezTo>
                      <a:pt x="754143" y="844456"/>
                      <a:pt x="749638" y="844957"/>
                      <a:pt x="746134" y="845374"/>
                    </a:cubicBezTo>
                    <a:cubicBezTo>
                      <a:pt x="741713" y="845791"/>
                      <a:pt x="737291" y="846292"/>
                      <a:pt x="732870" y="847126"/>
                    </a:cubicBezTo>
                    <a:cubicBezTo>
                      <a:pt x="717352" y="849796"/>
                      <a:pt x="707591" y="861725"/>
                      <a:pt x="698748" y="872402"/>
                    </a:cubicBezTo>
                    <a:cubicBezTo>
                      <a:pt x="690322" y="882580"/>
                      <a:pt x="682813" y="891422"/>
                      <a:pt x="672635" y="891005"/>
                    </a:cubicBezTo>
                    <a:cubicBezTo>
                      <a:pt x="668214" y="890588"/>
                      <a:pt x="665544" y="890088"/>
                      <a:pt x="664209" y="888336"/>
                    </a:cubicBezTo>
                    <a:cubicBezTo>
                      <a:pt x="659704" y="885332"/>
                      <a:pt x="661456" y="877324"/>
                      <a:pt x="662791" y="8702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561990873" name="Полилиния 400"/>
              <p:cNvSpPr/>
              <p:nvPr/>
            </p:nvSpPr>
            <p:spPr bwMode="auto">
              <a:xfrm>
                <a:off x="5493838" y="5980665"/>
                <a:ext cx="514665" cy="501507"/>
              </a:xfrm>
              <a:custGeom>
                <a:avLst/>
                <a:gdLst>
                  <a:gd name="connsiteX0" fmla="*/ 556365 w 577986"/>
                  <a:gd name="connsiteY0" fmla="*/ 442546 h 563209"/>
                  <a:gd name="connsiteX1" fmla="*/ 565709 w 577986"/>
                  <a:gd name="connsiteY1" fmla="*/ 466905 h 563209"/>
                  <a:gd name="connsiteX2" fmla="*/ 565709 w 577986"/>
                  <a:gd name="connsiteY2" fmla="*/ 467322 h 563209"/>
                  <a:gd name="connsiteX3" fmla="*/ 545353 w 577986"/>
                  <a:gd name="connsiteY3" fmla="*/ 485507 h 563209"/>
                  <a:gd name="connsiteX4" fmla="*/ 512149 w 577986"/>
                  <a:gd name="connsiteY4" fmla="*/ 492598 h 563209"/>
                  <a:gd name="connsiteX5" fmla="*/ 485536 w 577986"/>
                  <a:gd name="connsiteY5" fmla="*/ 497937 h 563209"/>
                  <a:gd name="connsiteX6" fmla="*/ 470019 w 577986"/>
                  <a:gd name="connsiteY6" fmla="*/ 501441 h 563209"/>
                  <a:gd name="connsiteX7" fmla="*/ 425302 w 577986"/>
                  <a:gd name="connsiteY7" fmla="*/ 515205 h 563209"/>
                  <a:gd name="connsiteX8" fmla="*/ 398689 w 577986"/>
                  <a:gd name="connsiteY8" fmla="*/ 534725 h 563209"/>
                  <a:gd name="connsiteX9" fmla="*/ 384506 w 577986"/>
                  <a:gd name="connsiteY9" fmla="*/ 546238 h 563209"/>
                  <a:gd name="connsiteX10" fmla="*/ 383172 w 577986"/>
                  <a:gd name="connsiteY10" fmla="*/ 547155 h 563209"/>
                  <a:gd name="connsiteX11" fmla="*/ 370741 w 577986"/>
                  <a:gd name="connsiteY11" fmla="*/ 554246 h 563209"/>
                  <a:gd name="connsiteX12" fmla="*/ 314928 w 577986"/>
                  <a:gd name="connsiteY12" fmla="*/ 558250 h 563209"/>
                  <a:gd name="connsiteX13" fmla="*/ 303833 w 577986"/>
                  <a:gd name="connsiteY13" fmla="*/ 550242 h 563209"/>
                  <a:gd name="connsiteX14" fmla="*/ 303416 w 577986"/>
                  <a:gd name="connsiteY14" fmla="*/ 549825 h 563209"/>
                  <a:gd name="connsiteX15" fmla="*/ 283894 w 577986"/>
                  <a:gd name="connsiteY15" fmla="*/ 510367 h 563209"/>
                  <a:gd name="connsiteX16" fmla="*/ 269711 w 577986"/>
                  <a:gd name="connsiteY16" fmla="*/ 476248 h 563209"/>
                  <a:gd name="connsiteX17" fmla="*/ 249772 w 577986"/>
                  <a:gd name="connsiteY17" fmla="*/ 460315 h 563209"/>
                  <a:gd name="connsiteX18" fmla="*/ 218737 w 577986"/>
                  <a:gd name="connsiteY18" fmla="*/ 473161 h 563209"/>
                  <a:gd name="connsiteX19" fmla="*/ 199716 w 577986"/>
                  <a:gd name="connsiteY19" fmla="*/ 485090 h 563209"/>
                  <a:gd name="connsiteX20" fmla="*/ 166929 w 577986"/>
                  <a:gd name="connsiteY20" fmla="*/ 477082 h 563209"/>
                  <a:gd name="connsiteX21" fmla="*/ 158503 w 577986"/>
                  <a:gd name="connsiteY21" fmla="*/ 473078 h 563209"/>
                  <a:gd name="connsiteX22" fmla="*/ 135060 w 577986"/>
                  <a:gd name="connsiteY22" fmla="*/ 466404 h 563209"/>
                  <a:gd name="connsiteX23" fmla="*/ 117374 w 577986"/>
                  <a:gd name="connsiteY23" fmla="*/ 461566 h 563209"/>
                  <a:gd name="connsiteX24" fmla="*/ 93931 w 577986"/>
                  <a:gd name="connsiteY24" fmla="*/ 431868 h 563209"/>
                  <a:gd name="connsiteX25" fmla="*/ 91678 w 577986"/>
                  <a:gd name="connsiteY25" fmla="*/ 427030 h 563209"/>
                  <a:gd name="connsiteX26" fmla="*/ 55804 w 577986"/>
                  <a:gd name="connsiteY26" fmla="*/ 382316 h 563209"/>
                  <a:gd name="connsiteX27" fmla="*/ 49631 w 577986"/>
                  <a:gd name="connsiteY27" fmla="*/ 377895 h 563209"/>
                  <a:gd name="connsiteX28" fmla="*/ 17762 w 577986"/>
                  <a:gd name="connsiteY28" fmla="*/ 346863 h 563209"/>
                  <a:gd name="connsiteX29" fmla="*/ 3162 w 577986"/>
                  <a:gd name="connsiteY29" fmla="*/ 315413 h 563209"/>
                  <a:gd name="connsiteX30" fmla="*/ 75 w 577986"/>
                  <a:gd name="connsiteY30" fmla="*/ 306987 h 563209"/>
                  <a:gd name="connsiteX31" fmla="*/ 8502 w 577986"/>
                  <a:gd name="connsiteY31" fmla="*/ 306570 h 563209"/>
                  <a:gd name="connsiteX32" fmla="*/ 42623 w 577986"/>
                  <a:gd name="connsiteY32" fmla="*/ 296393 h 563209"/>
                  <a:gd name="connsiteX33" fmla="*/ 51466 w 577986"/>
                  <a:gd name="connsiteY33" fmla="*/ 267196 h 563209"/>
                  <a:gd name="connsiteX34" fmla="*/ 36366 w 577986"/>
                  <a:gd name="connsiteY34" fmla="*/ 244172 h 563209"/>
                  <a:gd name="connsiteX35" fmla="*/ 19097 w 577986"/>
                  <a:gd name="connsiteY35" fmla="*/ 238416 h 563209"/>
                  <a:gd name="connsiteX36" fmla="*/ 2245 w 577986"/>
                  <a:gd name="connsiteY36" fmla="*/ 231325 h 563209"/>
                  <a:gd name="connsiteX37" fmla="*/ 493 w 577986"/>
                  <a:gd name="connsiteY37" fmla="*/ 222483 h 563209"/>
                  <a:gd name="connsiteX38" fmla="*/ 20014 w 577986"/>
                  <a:gd name="connsiteY38" fmla="*/ 207884 h 563209"/>
                  <a:gd name="connsiteX39" fmla="*/ 34614 w 577986"/>
                  <a:gd name="connsiteY39" fmla="*/ 205632 h 563209"/>
                  <a:gd name="connsiteX40" fmla="*/ 62979 w 577986"/>
                  <a:gd name="connsiteY40" fmla="*/ 196289 h 563209"/>
                  <a:gd name="connsiteX41" fmla="*/ 99270 w 577986"/>
                  <a:gd name="connsiteY41" fmla="*/ 182107 h 563209"/>
                  <a:gd name="connsiteX42" fmla="*/ 145322 w 577986"/>
                  <a:gd name="connsiteY42" fmla="*/ 160835 h 563209"/>
                  <a:gd name="connsiteX43" fmla="*/ 159087 w 577986"/>
                  <a:gd name="connsiteY43" fmla="*/ 150240 h 563209"/>
                  <a:gd name="connsiteX44" fmla="*/ 180778 w 577986"/>
                  <a:gd name="connsiteY44" fmla="*/ 131638 h 563209"/>
                  <a:gd name="connsiteX45" fmla="*/ 190956 w 577986"/>
                  <a:gd name="connsiteY45" fmla="*/ 112117 h 563209"/>
                  <a:gd name="connsiteX46" fmla="*/ 199799 w 577986"/>
                  <a:gd name="connsiteY46" fmla="*/ 94432 h 563209"/>
                  <a:gd name="connsiteX47" fmla="*/ 211730 w 577986"/>
                  <a:gd name="connsiteY47" fmla="*/ 92180 h 563209"/>
                  <a:gd name="connsiteX48" fmla="*/ 228081 w 577986"/>
                  <a:gd name="connsiteY48" fmla="*/ 101940 h 563209"/>
                  <a:gd name="connsiteX49" fmla="*/ 254194 w 577986"/>
                  <a:gd name="connsiteY49" fmla="*/ 92180 h 563209"/>
                  <a:gd name="connsiteX50" fmla="*/ 263954 w 577986"/>
                  <a:gd name="connsiteY50" fmla="*/ 86007 h 563209"/>
                  <a:gd name="connsiteX51" fmla="*/ 269711 w 577986"/>
                  <a:gd name="connsiteY51" fmla="*/ 83754 h 563209"/>
                  <a:gd name="connsiteX52" fmla="*/ 287397 w 577986"/>
                  <a:gd name="connsiteY52" fmla="*/ 58978 h 563209"/>
                  <a:gd name="connsiteX53" fmla="*/ 280723 w 577986"/>
                  <a:gd name="connsiteY53" fmla="*/ 37706 h 563209"/>
                  <a:gd name="connsiteX54" fmla="*/ 277220 w 577986"/>
                  <a:gd name="connsiteY54" fmla="*/ 20438 h 563209"/>
                  <a:gd name="connsiteX55" fmla="*/ 307753 w 577986"/>
                  <a:gd name="connsiteY55" fmla="*/ 2253 h 563209"/>
                  <a:gd name="connsiteX56" fmla="*/ 311258 w 577986"/>
                  <a:gd name="connsiteY56" fmla="*/ 1335 h 563209"/>
                  <a:gd name="connsiteX57" fmla="*/ 314762 w 577986"/>
                  <a:gd name="connsiteY57" fmla="*/ 0 h 563209"/>
                  <a:gd name="connsiteX58" fmla="*/ 349717 w 577986"/>
                  <a:gd name="connsiteY58" fmla="*/ 28780 h 563209"/>
                  <a:gd name="connsiteX59" fmla="*/ 378500 w 577986"/>
                  <a:gd name="connsiteY59" fmla="*/ 30532 h 563209"/>
                  <a:gd name="connsiteX60" fmla="*/ 393600 w 577986"/>
                  <a:gd name="connsiteY60" fmla="*/ 29614 h 563209"/>
                  <a:gd name="connsiteX61" fmla="*/ 423300 w 577986"/>
                  <a:gd name="connsiteY61" fmla="*/ 39375 h 563209"/>
                  <a:gd name="connsiteX62" fmla="*/ 434813 w 577986"/>
                  <a:gd name="connsiteY62" fmla="*/ 73076 h 563209"/>
                  <a:gd name="connsiteX63" fmla="*/ 430391 w 577986"/>
                  <a:gd name="connsiteY63" fmla="*/ 75746 h 563209"/>
                  <a:gd name="connsiteX64" fmla="*/ 386509 w 577986"/>
                  <a:gd name="connsiteY64" fmla="*/ 119125 h 563209"/>
                  <a:gd name="connsiteX65" fmla="*/ 387426 w 577986"/>
                  <a:gd name="connsiteY65" fmla="*/ 140397 h 563209"/>
                  <a:gd name="connsiteX66" fmla="*/ 388344 w 577986"/>
                  <a:gd name="connsiteY66" fmla="*/ 155913 h 563209"/>
                  <a:gd name="connsiteX67" fmla="*/ 387009 w 577986"/>
                  <a:gd name="connsiteY67" fmla="*/ 160751 h 563209"/>
                  <a:gd name="connsiteX68" fmla="*/ 391014 w 577986"/>
                  <a:gd name="connsiteY68" fmla="*/ 190449 h 563209"/>
                  <a:gd name="connsiteX69" fmla="*/ 434896 w 577986"/>
                  <a:gd name="connsiteY69" fmla="*/ 221899 h 563209"/>
                  <a:gd name="connsiteX70" fmla="*/ 437149 w 577986"/>
                  <a:gd name="connsiteY70" fmla="*/ 222316 h 563209"/>
                  <a:gd name="connsiteX71" fmla="*/ 458422 w 577986"/>
                  <a:gd name="connsiteY71" fmla="*/ 212973 h 563209"/>
                  <a:gd name="connsiteX72" fmla="*/ 468601 w 577986"/>
                  <a:gd name="connsiteY72" fmla="*/ 200543 h 563209"/>
                  <a:gd name="connsiteX73" fmla="*/ 477027 w 577986"/>
                  <a:gd name="connsiteY73" fmla="*/ 189949 h 563209"/>
                  <a:gd name="connsiteX74" fmla="*/ 485870 w 577986"/>
                  <a:gd name="connsiteY74" fmla="*/ 204547 h 563209"/>
                  <a:gd name="connsiteX75" fmla="*/ 493879 w 577986"/>
                  <a:gd name="connsiteY75" fmla="*/ 231575 h 563209"/>
                  <a:gd name="connsiteX76" fmla="*/ 505809 w 577986"/>
                  <a:gd name="connsiteY76" fmla="*/ 267863 h 563209"/>
                  <a:gd name="connsiteX77" fmla="*/ 547856 w 577986"/>
                  <a:gd name="connsiteY77" fmla="*/ 315246 h 563209"/>
                  <a:gd name="connsiteX78" fmla="*/ 553613 w 577986"/>
                  <a:gd name="connsiteY78" fmla="*/ 320085 h 563209"/>
                  <a:gd name="connsiteX79" fmla="*/ 577056 w 577986"/>
                  <a:gd name="connsiteY79" fmla="*/ 347113 h 563209"/>
                  <a:gd name="connsiteX80" fmla="*/ 577473 w 577986"/>
                  <a:gd name="connsiteY80" fmla="*/ 353786 h 563209"/>
                  <a:gd name="connsiteX81" fmla="*/ 559285 w 577986"/>
                  <a:gd name="connsiteY81" fmla="*/ 362629 h 563209"/>
                  <a:gd name="connsiteX82" fmla="*/ 533173 w 577986"/>
                  <a:gd name="connsiteY82" fmla="*/ 378980 h 563209"/>
                  <a:gd name="connsiteX83" fmla="*/ 535843 w 577986"/>
                  <a:gd name="connsiteY83" fmla="*/ 398917 h 563209"/>
                  <a:gd name="connsiteX84" fmla="*/ 548273 w 577986"/>
                  <a:gd name="connsiteY84" fmla="*/ 410429 h 563209"/>
                  <a:gd name="connsiteX85" fmla="*/ 555365 w 577986"/>
                  <a:gd name="connsiteY85" fmla="*/ 415768 h 563209"/>
                  <a:gd name="connsiteX86" fmla="*/ 557617 w 577986"/>
                  <a:gd name="connsiteY86" fmla="*/ 429949 h 563209"/>
                  <a:gd name="connsiteX87" fmla="*/ 556365 w 577986"/>
                  <a:gd name="connsiteY87" fmla="*/ 442546 h 563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577986" h="563209" extrusionOk="0">
                    <a:moveTo>
                      <a:pt x="556365" y="442546"/>
                    </a:moveTo>
                    <a:cubicBezTo>
                      <a:pt x="557700" y="451388"/>
                      <a:pt x="561705" y="459397"/>
                      <a:pt x="565709" y="466905"/>
                    </a:cubicBezTo>
                    <a:lnTo>
                      <a:pt x="565709" y="467322"/>
                    </a:lnTo>
                    <a:cubicBezTo>
                      <a:pt x="562205" y="476665"/>
                      <a:pt x="557283" y="481920"/>
                      <a:pt x="545353" y="485507"/>
                    </a:cubicBezTo>
                    <a:cubicBezTo>
                      <a:pt x="535175" y="488594"/>
                      <a:pt x="523662" y="490346"/>
                      <a:pt x="512149" y="492598"/>
                    </a:cubicBezTo>
                    <a:cubicBezTo>
                      <a:pt x="503306" y="493933"/>
                      <a:pt x="493962" y="495685"/>
                      <a:pt x="485536" y="497937"/>
                    </a:cubicBezTo>
                    <a:cubicBezTo>
                      <a:pt x="480197" y="499272"/>
                      <a:pt x="475358" y="500189"/>
                      <a:pt x="470019" y="501441"/>
                    </a:cubicBezTo>
                    <a:cubicBezTo>
                      <a:pt x="454919" y="504527"/>
                      <a:pt x="439485" y="507614"/>
                      <a:pt x="425302" y="515205"/>
                    </a:cubicBezTo>
                    <a:cubicBezTo>
                      <a:pt x="415541" y="520544"/>
                      <a:pt x="407115" y="527635"/>
                      <a:pt x="398689" y="534725"/>
                    </a:cubicBezTo>
                    <a:cubicBezTo>
                      <a:pt x="394267" y="538229"/>
                      <a:pt x="389345" y="542734"/>
                      <a:pt x="384506" y="546238"/>
                    </a:cubicBezTo>
                    <a:cubicBezTo>
                      <a:pt x="384089" y="546655"/>
                      <a:pt x="383589" y="547155"/>
                      <a:pt x="383172" y="547155"/>
                    </a:cubicBezTo>
                    <a:cubicBezTo>
                      <a:pt x="379668" y="549825"/>
                      <a:pt x="375163" y="552494"/>
                      <a:pt x="370741" y="554246"/>
                    </a:cubicBezTo>
                    <a:cubicBezTo>
                      <a:pt x="353054" y="563089"/>
                      <a:pt x="332198" y="567093"/>
                      <a:pt x="314928" y="558250"/>
                    </a:cubicBezTo>
                    <a:cubicBezTo>
                      <a:pt x="310924" y="555998"/>
                      <a:pt x="307420" y="553412"/>
                      <a:pt x="303833" y="550242"/>
                    </a:cubicBezTo>
                    <a:cubicBezTo>
                      <a:pt x="303416" y="549825"/>
                      <a:pt x="303416" y="549825"/>
                      <a:pt x="303416" y="549825"/>
                    </a:cubicBezTo>
                    <a:cubicBezTo>
                      <a:pt x="293237" y="539647"/>
                      <a:pt x="288816" y="525466"/>
                      <a:pt x="283894" y="510367"/>
                    </a:cubicBezTo>
                    <a:cubicBezTo>
                      <a:pt x="280390" y="498855"/>
                      <a:pt x="276802" y="486926"/>
                      <a:pt x="269711" y="476248"/>
                    </a:cubicBezTo>
                    <a:cubicBezTo>
                      <a:pt x="263537" y="466488"/>
                      <a:pt x="257280" y="461649"/>
                      <a:pt x="249772" y="460315"/>
                    </a:cubicBezTo>
                    <a:cubicBezTo>
                      <a:pt x="238259" y="458062"/>
                      <a:pt x="228498" y="466071"/>
                      <a:pt x="218737" y="473161"/>
                    </a:cubicBezTo>
                    <a:cubicBezTo>
                      <a:pt x="212564" y="478000"/>
                      <a:pt x="205890" y="483338"/>
                      <a:pt x="199716" y="485090"/>
                    </a:cubicBezTo>
                    <a:cubicBezTo>
                      <a:pt x="189121" y="487760"/>
                      <a:pt x="178442" y="482838"/>
                      <a:pt x="166929" y="477082"/>
                    </a:cubicBezTo>
                    <a:cubicBezTo>
                      <a:pt x="164259" y="475747"/>
                      <a:pt x="161173" y="474413"/>
                      <a:pt x="158503" y="473078"/>
                    </a:cubicBezTo>
                    <a:cubicBezTo>
                      <a:pt x="150494" y="469991"/>
                      <a:pt x="142568" y="468240"/>
                      <a:pt x="135060" y="466404"/>
                    </a:cubicBezTo>
                    <a:cubicBezTo>
                      <a:pt x="128886" y="465069"/>
                      <a:pt x="122629" y="463735"/>
                      <a:pt x="117374" y="461566"/>
                    </a:cubicBezTo>
                    <a:cubicBezTo>
                      <a:pt x="103608" y="456727"/>
                      <a:pt x="99687" y="446050"/>
                      <a:pt x="93931" y="431868"/>
                    </a:cubicBezTo>
                    <a:lnTo>
                      <a:pt x="91678" y="427030"/>
                    </a:lnTo>
                    <a:cubicBezTo>
                      <a:pt x="83669" y="408427"/>
                      <a:pt x="73491" y="395997"/>
                      <a:pt x="55804" y="382316"/>
                    </a:cubicBezTo>
                    <a:lnTo>
                      <a:pt x="49631" y="377895"/>
                    </a:lnTo>
                    <a:cubicBezTo>
                      <a:pt x="37200" y="368552"/>
                      <a:pt x="25688" y="360210"/>
                      <a:pt x="17762" y="346863"/>
                    </a:cubicBezTo>
                    <a:cubicBezTo>
                      <a:pt x="11588" y="337102"/>
                      <a:pt x="7584" y="326008"/>
                      <a:pt x="3162" y="315413"/>
                    </a:cubicBezTo>
                    <a:cubicBezTo>
                      <a:pt x="1828" y="312743"/>
                      <a:pt x="910" y="310074"/>
                      <a:pt x="75" y="306987"/>
                    </a:cubicBezTo>
                    <a:cubicBezTo>
                      <a:pt x="2745" y="306570"/>
                      <a:pt x="5415" y="306570"/>
                      <a:pt x="8502" y="306570"/>
                    </a:cubicBezTo>
                    <a:cubicBezTo>
                      <a:pt x="20014" y="306153"/>
                      <a:pt x="33279" y="306153"/>
                      <a:pt x="42623" y="296393"/>
                    </a:cubicBezTo>
                    <a:cubicBezTo>
                      <a:pt x="49714" y="288385"/>
                      <a:pt x="53219" y="277790"/>
                      <a:pt x="51466" y="267196"/>
                    </a:cubicBezTo>
                    <a:cubicBezTo>
                      <a:pt x="50132" y="257436"/>
                      <a:pt x="44375" y="249010"/>
                      <a:pt x="36366" y="244172"/>
                    </a:cubicBezTo>
                    <a:cubicBezTo>
                      <a:pt x="31027" y="241085"/>
                      <a:pt x="25271" y="239750"/>
                      <a:pt x="19097" y="238416"/>
                    </a:cubicBezTo>
                    <a:cubicBezTo>
                      <a:pt x="12005" y="237081"/>
                      <a:pt x="5331" y="235746"/>
                      <a:pt x="2245" y="231325"/>
                    </a:cubicBezTo>
                    <a:cubicBezTo>
                      <a:pt x="-842" y="227321"/>
                      <a:pt x="-8" y="224235"/>
                      <a:pt x="493" y="222483"/>
                    </a:cubicBezTo>
                    <a:cubicBezTo>
                      <a:pt x="2745" y="216310"/>
                      <a:pt x="12005" y="210053"/>
                      <a:pt x="20014" y="207884"/>
                    </a:cubicBezTo>
                    <a:cubicBezTo>
                      <a:pt x="25354" y="206549"/>
                      <a:pt x="30193" y="206132"/>
                      <a:pt x="34614" y="205632"/>
                    </a:cubicBezTo>
                    <a:cubicBezTo>
                      <a:pt x="43040" y="204714"/>
                      <a:pt x="52301" y="204297"/>
                      <a:pt x="62979" y="196289"/>
                    </a:cubicBezTo>
                    <a:cubicBezTo>
                      <a:pt x="73575" y="188781"/>
                      <a:pt x="86005" y="185694"/>
                      <a:pt x="99270" y="182107"/>
                    </a:cubicBezTo>
                    <a:cubicBezTo>
                      <a:pt x="115205" y="177686"/>
                      <a:pt x="131139" y="173682"/>
                      <a:pt x="145322" y="160835"/>
                    </a:cubicBezTo>
                    <a:cubicBezTo>
                      <a:pt x="148825" y="157331"/>
                      <a:pt x="153748" y="153744"/>
                      <a:pt x="159087" y="150240"/>
                    </a:cubicBezTo>
                    <a:cubicBezTo>
                      <a:pt x="167096" y="144484"/>
                      <a:pt x="175022" y="138311"/>
                      <a:pt x="180778" y="131638"/>
                    </a:cubicBezTo>
                    <a:cubicBezTo>
                      <a:pt x="185617" y="125881"/>
                      <a:pt x="187869" y="118791"/>
                      <a:pt x="190956" y="112117"/>
                    </a:cubicBezTo>
                    <a:cubicBezTo>
                      <a:pt x="193209" y="105443"/>
                      <a:pt x="195795" y="99270"/>
                      <a:pt x="199799" y="94432"/>
                    </a:cubicBezTo>
                    <a:cubicBezTo>
                      <a:pt x="206473" y="87759"/>
                      <a:pt x="206473" y="87759"/>
                      <a:pt x="211730" y="92180"/>
                    </a:cubicBezTo>
                    <a:cubicBezTo>
                      <a:pt x="215233" y="95683"/>
                      <a:pt x="220572" y="100605"/>
                      <a:pt x="228081" y="101940"/>
                    </a:cubicBezTo>
                    <a:cubicBezTo>
                      <a:pt x="238676" y="104192"/>
                      <a:pt x="247102" y="97518"/>
                      <a:pt x="254194" y="92180"/>
                    </a:cubicBezTo>
                    <a:cubicBezTo>
                      <a:pt x="257697" y="89510"/>
                      <a:pt x="260868" y="87341"/>
                      <a:pt x="263954" y="86007"/>
                    </a:cubicBezTo>
                    <a:cubicBezTo>
                      <a:pt x="266207" y="85089"/>
                      <a:pt x="267959" y="84672"/>
                      <a:pt x="269711" y="83754"/>
                    </a:cubicBezTo>
                    <a:cubicBezTo>
                      <a:pt x="280306" y="80668"/>
                      <a:pt x="287397" y="77080"/>
                      <a:pt x="287397" y="58978"/>
                    </a:cubicBezTo>
                    <a:cubicBezTo>
                      <a:pt x="287397" y="50553"/>
                      <a:pt x="283894" y="43462"/>
                      <a:pt x="280723" y="37706"/>
                    </a:cubicBezTo>
                    <a:cubicBezTo>
                      <a:pt x="277220" y="30615"/>
                      <a:pt x="275384" y="25777"/>
                      <a:pt x="277220" y="20438"/>
                    </a:cubicBezTo>
                    <a:cubicBezTo>
                      <a:pt x="280306" y="9844"/>
                      <a:pt x="291819" y="6257"/>
                      <a:pt x="307753" y="2253"/>
                    </a:cubicBezTo>
                    <a:lnTo>
                      <a:pt x="311258" y="1335"/>
                    </a:lnTo>
                    <a:cubicBezTo>
                      <a:pt x="312592" y="918"/>
                      <a:pt x="313927" y="417"/>
                      <a:pt x="314762" y="0"/>
                    </a:cubicBezTo>
                    <a:cubicBezTo>
                      <a:pt x="323605" y="12847"/>
                      <a:pt x="335618" y="23441"/>
                      <a:pt x="349717" y="28780"/>
                    </a:cubicBezTo>
                    <a:cubicBezTo>
                      <a:pt x="360813" y="33202"/>
                      <a:pt x="370073" y="31450"/>
                      <a:pt x="378500" y="30532"/>
                    </a:cubicBezTo>
                    <a:cubicBezTo>
                      <a:pt x="383338" y="29614"/>
                      <a:pt x="388678" y="29197"/>
                      <a:pt x="393600" y="29614"/>
                    </a:cubicBezTo>
                    <a:cubicBezTo>
                      <a:pt x="402443" y="30532"/>
                      <a:pt x="416625" y="34953"/>
                      <a:pt x="423300" y="39375"/>
                    </a:cubicBezTo>
                    <a:cubicBezTo>
                      <a:pt x="432143" y="44713"/>
                      <a:pt x="434396" y="58394"/>
                      <a:pt x="434813" y="73076"/>
                    </a:cubicBezTo>
                    <a:cubicBezTo>
                      <a:pt x="433478" y="73994"/>
                      <a:pt x="431726" y="74828"/>
                      <a:pt x="430391" y="75746"/>
                    </a:cubicBezTo>
                    <a:cubicBezTo>
                      <a:pt x="412204" y="85506"/>
                      <a:pt x="391848" y="96101"/>
                      <a:pt x="386509" y="119125"/>
                    </a:cubicBezTo>
                    <a:cubicBezTo>
                      <a:pt x="384757" y="127133"/>
                      <a:pt x="386092" y="133723"/>
                      <a:pt x="387426" y="140397"/>
                    </a:cubicBezTo>
                    <a:cubicBezTo>
                      <a:pt x="388344" y="145736"/>
                      <a:pt x="389679" y="150574"/>
                      <a:pt x="388344" y="155913"/>
                    </a:cubicBezTo>
                    <a:lnTo>
                      <a:pt x="387009" y="160751"/>
                    </a:lnTo>
                    <a:cubicBezTo>
                      <a:pt x="384340" y="170094"/>
                      <a:pt x="382170" y="178937"/>
                      <a:pt x="391014" y="190449"/>
                    </a:cubicBezTo>
                    <a:cubicBezTo>
                      <a:pt x="406948" y="210804"/>
                      <a:pt x="421131" y="220981"/>
                      <a:pt x="434896" y="221899"/>
                    </a:cubicBezTo>
                    <a:cubicBezTo>
                      <a:pt x="435814" y="221899"/>
                      <a:pt x="436231" y="222316"/>
                      <a:pt x="437149" y="222316"/>
                    </a:cubicBezTo>
                    <a:cubicBezTo>
                      <a:pt x="444657" y="222316"/>
                      <a:pt x="451748" y="219229"/>
                      <a:pt x="458422" y="212973"/>
                    </a:cubicBezTo>
                    <a:cubicBezTo>
                      <a:pt x="462427" y="209469"/>
                      <a:pt x="465514" y="204547"/>
                      <a:pt x="468601" y="200543"/>
                    </a:cubicBezTo>
                    <a:cubicBezTo>
                      <a:pt x="471270" y="197039"/>
                      <a:pt x="473439" y="193035"/>
                      <a:pt x="477027" y="189949"/>
                    </a:cubicBezTo>
                    <a:cubicBezTo>
                      <a:pt x="480113" y="194787"/>
                      <a:pt x="483701" y="199709"/>
                      <a:pt x="485870" y="204547"/>
                    </a:cubicBezTo>
                    <a:cubicBezTo>
                      <a:pt x="489374" y="212973"/>
                      <a:pt x="491627" y="222232"/>
                      <a:pt x="493879" y="231575"/>
                    </a:cubicBezTo>
                    <a:cubicBezTo>
                      <a:pt x="496549" y="243504"/>
                      <a:pt x="498718" y="255934"/>
                      <a:pt x="505809" y="267863"/>
                    </a:cubicBezTo>
                    <a:cubicBezTo>
                      <a:pt x="515987" y="286049"/>
                      <a:pt x="529752" y="299730"/>
                      <a:pt x="547856" y="315246"/>
                    </a:cubicBezTo>
                    <a:lnTo>
                      <a:pt x="553613" y="320085"/>
                    </a:lnTo>
                    <a:cubicBezTo>
                      <a:pt x="562957" y="328093"/>
                      <a:pt x="573551" y="336935"/>
                      <a:pt x="577056" y="347113"/>
                    </a:cubicBezTo>
                    <a:cubicBezTo>
                      <a:pt x="577973" y="350200"/>
                      <a:pt x="578390" y="352452"/>
                      <a:pt x="577473" y="353786"/>
                    </a:cubicBezTo>
                    <a:cubicBezTo>
                      <a:pt x="575220" y="357790"/>
                      <a:pt x="566877" y="360460"/>
                      <a:pt x="559285" y="362629"/>
                    </a:cubicBezTo>
                    <a:cubicBezTo>
                      <a:pt x="548190" y="365715"/>
                      <a:pt x="537177" y="369303"/>
                      <a:pt x="533173" y="378980"/>
                    </a:cubicBezTo>
                    <a:cubicBezTo>
                      <a:pt x="530503" y="384736"/>
                      <a:pt x="531838" y="391409"/>
                      <a:pt x="535843" y="398917"/>
                    </a:cubicBezTo>
                    <a:cubicBezTo>
                      <a:pt x="538929" y="404673"/>
                      <a:pt x="544269" y="407760"/>
                      <a:pt x="548273" y="410429"/>
                    </a:cubicBezTo>
                    <a:cubicBezTo>
                      <a:pt x="551360" y="412181"/>
                      <a:pt x="553613" y="413933"/>
                      <a:pt x="555365" y="415768"/>
                    </a:cubicBezTo>
                    <a:cubicBezTo>
                      <a:pt x="557617" y="419272"/>
                      <a:pt x="557617" y="424193"/>
                      <a:pt x="557617" y="429949"/>
                    </a:cubicBezTo>
                    <a:cubicBezTo>
                      <a:pt x="555531" y="435038"/>
                      <a:pt x="555531" y="439042"/>
                      <a:pt x="556365" y="44254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92926491" name="Полилиния 401"/>
              <p:cNvSpPr/>
              <p:nvPr/>
            </p:nvSpPr>
            <p:spPr bwMode="auto">
              <a:xfrm>
                <a:off x="5849097" y="5578059"/>
                <a:ext cx="345132" cy="589540"/>
              </a:xfrm>
              <a:custGeom>
                <a:avLst/>
                <a:gdLst>
                  <a:gd name="connsiteX0" fmla="*/ 3225 w 387596"/>
                  <a:gd name="connsiteY0" fmla="*/ 612557 h 662074"/>
                  <a:gd name="connsiteX1" fmla="*/ 2808 w 387596"/>
                  <a:gd name="connsiteY1" fmla="*/ 590868 h 662074"/>
                  <a:gd name="connsiteX2" fmla="*/ 1890 w 387596"/>
                  <a:gd name="connsiteY2" fmla="*/ 575351 h 662074"/>
                  <a:gd name="connsiteX3" fmla="*/ 36429 w 387596"/>
                  <a:gd name="connsiteY3" fmla="*/ 542567 h 662074"/>
                  <a:gd name="connsiteX4" fmla="*/ 38181 w 387596"/>
                  <a:gd name="connsiteY4" fmla="*/ 541650 h 662074"/>
                  <a:gd name="connsiteX5" fmla="*/ 50611 w 387596"/>
                  <a:gd name="connsiteY5" fmla="*/ 534976 h 662074"/>
                  <a:gd name="connsiteX6" fmla="*/ 65211 w 387596"/>
                  <a:gd name="connsiteY6" fmla="*/ 524381 h 662074"/>
                  <a:gd name="connsiteX7" fmla="*/ 78976 w 387596"/>
                  <a:gd name="connsiteY7" fmla="*/ 508865 h 662074"/>
                  <a:gd name="connsiteX8" fmla="*/ 90072 w 387596"/>
                  <a:gd name="connsiteY8" fmla="*/ 495601 h 662074"/>
                  <a:gd name="connsiteX9" fmla="*/ 119272 w 387596"/>
                  <a:gd name="connsiteY9" fmla="*/ 460648 h 662074"/>
                  <a:gd name="connsiteX10" fmla="*/ 126780 w 387596"/>
                  <a:gd name="connsiteY10" fmla="*/ 416769 h 662074"/>
                  <a:gd name="connsiteX11" fmla="*/ 117436 w 387596"/>
                  <a:gd name="connsiteY11" fmla="*/ 400418 h 662074"/>
                  <a:gd name="connsiteX12" fmla="*/ 110345 w 387596"/>
                  <a:gd name="connsiteY12" fmla="*/ 385319 h 662074"/>
                  <a:gd name="connsiteX13" fmla="*/ 111263 w 387596"/>
                  <a:gd name="connsiteY13" fmla="*/ 371138 h 662074"/>
                  <a:gd name="connsiteX14" fmla="*/ 108593 w 387596"/>
                  <a:gd name="connsiteY14" fmla="*/ 342358 h 662074"/>
                  <a:gd name="connsiteX15" fmla="*/ 104171 w 387596"/>
                  <a:gd name="connsiteY15" fmla="*/ 309157 h 662074"/>
                  <a:gd name="connsiteX16" fmla="*/ 114767 w 387596"/>
                  <a:gd name="connsiteY16" fmla="*/ 292806 h 662074"/>
                  <a:gd name="connsiteX17" fmla="*/ 124110 w 387596"/>
                  <a:gd name="connsiteY17" fmla="*/ 280376 h 662074"/>
                  <a:gd name="connsiteX18" fmla="*/ 125862 w 387596"/>
                  <a:gd name="connsiteY18" fmla="*/ 241836 h 662074"/>
                  <a:gd name="connsiteX19" fmla="*/ 123610 w 387596"/>
                  <a:gd name="connsiteY19" fmla="*/ 236497 h 662074"/>
                  <a:gd name="connsiteX20" fmla="*/ 128031 w 387596"/>
                  <a:gd name="connsiteY20" fmla="*/ 214391 h 662074"/>
                  <a:gd name="connsiteX21" fmla="*/ 116935 w 387596"/>
                  <a:gd name="connsiteY21" fmla="*/ 170094 h 662074"/>
                  <a:gd name="connsiteX22" fmla="*/ 100584 w 387596"/>
                  <a:gd name="connsiteY22" fmla="*/ 166090 h 662074"/>
                  <a:gd name="connsiteX23" fmla="*/ 78893 w 387596"/>
                  <a:gd name="connsiteY23" fmla="*/ 170511 h 662074"/>
                  <a:gd name="connsiteX24" fmla="*/ 75389 w 387596"/>
                  <a:gd name="connsiteY24" fmla="*/ 171846 h 662074"/>
                  <a:gd name="connsiteX25" fmla="*/ 66045 w 387596"/>
                  <a:gd name="connsiteY25" fmla="*/ 174099 h 662074"/>
                  <a:gd name="connsiteX26" fmla="*/ 65128 w 387596"/>
                  <a:gd name="connsiteY26" fmla="*/ 171429 h 662074"/>
                  <a:gd name="connsiteX27" fmla="*/ 71802 w 387596"/>
                  <a:gd name="connsiteY27" fmla="*/ 154161 h 662074"/>
                  <a:gd name="connsiteX28" fmla="*/ 78476 w 387596"/>
                  <a:gd name="connsiteY28" fmla="*/ 139563 h 662074"/>
                  <a:gd name="connsiteX29" fmla="*/ 82897 w 387596"/>
                  <a:gd name="connsiteY29" fmla="*/ 126716 h 662074"/>
                  <a:gd name="connsiteX30" fmla="*/ 89989 w 387596"/>
                  <a:gd name="connsiteY30" fmla="*/ 90845 h 662074"/>
                  <a:gd name="connsiteX31" fmla="*/ 80228 w 387596"/>
                  <a:gd name="connsiteY31" fmla="*/ 65152 h 662074"/>
                  <a:gd name="connsiteX32" fmla="*/ 73136 w 387596"/>
                  <a:gd name="connsiteY32" fmla="*/ 48300 h 662074"/>
                  <a:gd name="connsiteX33" fmla="*/ 74054 w 387596"/>
                  <a:gd name="connsiteY33" fmla="*/ 11512 h 662074"/>
                  <a:gd name="connsiteX34" fmla="*/ 82063 w 387596"/>
                  <a:gd name="connsiteY34" fmla="*/ 0 h 662074"/>
                  <a:gd name="connsiteX35" fmla="*/ 111263 w 387596"/>
                  <a:gd name="connsiteY35" fmla="*/ 38540 h 662074"/>
                  <a:gd name="connsiteX36" fmla="*/ 124110 w 387596"/>
                  <a:gd name="connsiteY36" fmla="*/ 55808 h 662074"/>
                  <a:gd name="connsiteX37" fmla="*/ 188349 w 387596"/>
                  <a:gd name="connsiteY37" fmla="*/ 67738 h 662074"/>
                  <a:gd name="connsiteX38" fmla="*/ 202531 w 387596"/>
                  <a:gd name="connsiteY38" fmla="*/ 63316 h 662074"/>
                  <a:gd name="connsiteX39" fmla="*/ 225974 w 387596"/>
                  <a:gd name="connsiteY39" fmla="*/ 63733 h 662074"/>
                  <a:gd name="connsiteX40" fmla="*/ 245496 w 387596"/>
                  <a:gd name="connsiteY40" fmla="*/ 65485 h 662074"/>
                  <a:gd name="connsiteX41" fmla="*/ 263183 w 387596"/>
                  <a:gd name="connsiteY41" fmla="*/ 61481 h 662074"/>
                  <a:gd name="connsiteX42" fmla="*/ 284040 w 387596"/>
                  <a:gd name="connsiteY42" fmla="*/ 59229 h 662074"/>
                  <a:gd name="connsiteX43" fmla="*/ 290714 w 387596"/>
                  <a:gd name="connsiteY43" fmla="*/ 93765 h 662074"/>
                  <a:gd name="connsiteX44" fmla="*/ 288962 w 387596"/>
                  <a:gd name="connsiteY44" fmla="*/ 111950 h 662074"/>
                  <a:gd name="connsiteX45" fmla="*/ 306648 w 387596"/>
                  <a:gd name="connsiteY45" fmla="*/ 144317 h 662074"/>
                  <a:gd name="connsiteX46" fmla="*/ 327922 w 387596"/>
                  <a:gd name="connsiteY46" fmla="*/ 178019 h 662074"/>
                  <a:gd name="connsiteX47" fmla="*/ 330592 w 387596"/>
                  <a:gd name="connsiteY47" fmla="*/ 183359 h 662074"/>
                  <a:gd name="connsiteX48" fmla="*/ 352283 w 387596"/>
                  <a:gd name="connsiteY48" fmla="*/ 220981 h 662074"/>
                  <a:gd name="connsiteX49" fmla="*/ 379313 w 387596"/>
                  <a:gd name="connsiteY49" fmla="*/ 272368 h 662074"/>
                  <a:gd name="connsiteX50" fmla="*/ 380231 w 387596"/>
                  <a:gd name="connsiteY50" fmla="*/ 351617 h 662074"/>
                  <a:gd name="connsiteX51" fmla="*/ 366048 w 387596"/>
                  <a:gd name="connsiteY51" fmla="*/ 365382 h 662074"/>
                  <a:gd name="connsiteX52" fmla="*/ 354118 w 387596"/>
                  <a:gd name="connsiteY52" fmla="*/ 375142 h 662074"/>
                  <a:gd name="connsiteX53" fmla="*/ 339518 w 387596"/>
                  <a:gd name="connsiteY53" fmla="*/ 408343 h 662074"/>
                  <a:gd name="connsiteX54" fmla="*/ 335097 w 387596"/>
                  <a:gd name="connsiteY54" fmla="*/ 423860 h 662074"/>
                  <a:gd name="connsiteX55" fmla="*/ 312488 w 387596"/>
                  <a:gd name="connsiteY55" fmla="*/ 453557 h 662074"/>
                  <a:gd name="connsiteX56" fmla="*/ 301392 w 387596"/>
                  <a:gd name="connsiteY56" fmla="*/ 457979 h 662074"/>
                  <a:gd name="connsiteX57" fmla="*/ 273945 w 387596"/>
                  <a:gd name="connsiteY57" fmla="*/ 478333 h 662074"/>
                  <a:gd name="connsiteX58" fmla="*/ 265936 w 387596"/>
                  <a:gd name="connsiteY58" fmla="*/ 492932 h 662074"/>
                  <a:gd name="connsiteX59" fmla="*/ 252170 w 387596"/>
                  <a:gd name="connsiteY59" fmla="*/ 515038 h 662074"/>
                  <a:gd name="connsiteX60" fmla="*/ 249084 w 387596"/>
                  <a:gd name="connsiteY60" fmla="*/ 518125 h 662074"/>
                  <a:gd name="connsiteX61" fmla="*/ 237154 w 387596"/>
                  <a:gd name="connsiteY61" fmla="*/ 526550 h 662074"/>
                  <a:gd name="connsiteX62" fmla="*/ 236736 w 387596"/>
                  <a:gd name="connsiteY62" fmla="*/ 526550 h 662074"/>
                  <a:gd name="connsiteX63" fmla="*/ 230980 w 387596"/>
                  <a:gd name="connsiteY63" fmla="*/ 529220 h 662074"/>
                  <a:gd name="connsiteX64" fmla="*/ 218132 w 387596"/>
                  <a:gd name="connsiteY64" fmla="*/ 535893 h 662074"/>
                  <a:gd name="connsiteX65" fmla="*/ 198611 w 387596"/>
                  <a:gd name="connsiteY65" fmla="*/ 574851 h 662074"/>
                  <a:gd name="connsiteX66" fmla="*/ 190602 w 387596"/>
                  <a:gd name="connsiteY66" fmla="*/ 600961 h 662074"/>
                  <a:gd name="connsiteX67" fmla="*/ 129032 w 387596"/>
                  <a:gd name="connsiteY67" fmla="*/ 620482 h 662074"/>
                  <a:gd name="connsiteX68" fmla="*/ 117937 w 387596"/>
                  <a:gd name="connsiteY68" fmla="*/ 620899 h 662074"/>
                  <a:gd name="connsiteX69" fmla="*/ 80728 w 387596"/>
                  <a:gd name="connsiteY69" fmla="*/ 625737 h 662074"/>
                  <a:gd name="connsiteX70" fmla="*/ 72719 w 387596"/>
                  <a:gd name="connsiteY70" fmla="*/ 629241 h 662074"/>
                  <a:gd name="connsiteX71" fmla="*/ 67881 w 387596"/>
                  <a:gd name="connsiteY71" fmla="*/ 632745 h 662074"/>
                  <a:gd name="connsiteX72" fmla="*/ 56785 w 387596"/>
                  <a:gd name="connsiteY72" fmla="*/ 646509 h 662074"/>
                  <a:gd name="connsiteX73" fmla="*/ 48776 w 387596"/>
                  <a:gd name="connsiteY73" fmla="*/ 656686 h 662074"/>
                  <a:gd name="connsiteX74" fmla="*/ 36345 w 387596"/>
                  <a:gd name="connsiteY74" fmla="*/ 662025 h 662074"/>
                  <a:gd name="connsiteX75" fmla="*/ 3141 w 387596"/>
                  <a:gd name="connsiteY75" fmla="*/ 635915 h 662074"/>
                  <a:gd name="connsiteX76" fmla="*/ 1806 w 387596"/>
                  <a:gd name="connsiteY76" fmla="*/ 618647 h 662074"/>
                  <a:gd name="connsiteX77" fmla="*/ 3225 w 387596"/>
                  <a:gd name="connsiteY77" fmla="*/ 612557 h 662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87596" h="662074" extrusionOk="0">
                    <a:moveTo>
                      <a:pt x="3225" y="612557"/>
                    </a:moveTo>
                    <a:cubicBezTo>
                      <a:pt x="5477" y="604549"/>
                      <a:pt x="4143" y="597041"/>
                      <a:pt x="2808" y="590868"/>
                    </a:cubicBezTo>
                    <a:cubicBezTo>
                      <a:pt x="1890" y="585528"/>
                      <a:pt x="555" y="580690"/>
                      <a:pt x="1890" y="575351"/>
                    </a:cubicBezTo>
                    <a:cubicBezTo>
                      <a:pt x="5394" y="559418"/>
                      <a:pt x="20494" y="550992"/>
                      <a:pt x="36429" y="542567"/>
                    </a:cubicBezTo>
                    <a:cubicBezTo>
                      <a:pt x="36846" y="542150"/>
                      <a:pt x="37763" y="541650"/>
                      <a:pt x="38181" y="541650"/>
                    </a:cubicBezTo>
                    <a:cubicBezTo>
                      <a:pt x="42602" y="539397"/>
                      <a:pt x="46607" y="537228"/>
                      <a:pt x="50611" y="534976"/>
                    </a:cubicBezTo>
                    <a:cubicBezTo>
                      <a:pt x="55951" y="531889"/>
                      <a:pt x="60789" y="528302"/>
                      <a:pt x="65211" y="524381"/>
                    </a:cubicBezTo>
                    <a:cubicBezTo>
                      <a:pt x="70550" y="519543"/>
                      <a:pt x="74972" y="514204"/>
                      <a:pt x="78976" y="508865"/>
                    </a:cubicBezTo>
                    <a:cubicBezTo>
                      <a:pt x="82480" y="504027"/>
                      <a:pt x="86067" y="499522"/>
                      <a:pt x="90072" y="495601"/>
                    </a:cubicBezTo>
                    <a:cubicBezTo>
                      <a:pt x="102002" y="485007"/>
                      <a:pt x="111763" y="475247"/>
                      <a:pt x="119272" y="460648"/>
                    </a:cubicBezTo>
                    <a:cubicBezTo>
                      <a:pt x="127698" y="443797"/>
                      <a:pt x="130367" y="429616"/>
                      <a:pt x="126780" y="416769"/>
                    </a:cubicBezTo>
                    <a:cubicBezTo>
                      <a:pt x="124527" y="410095"/>
                      <a:pt x="121024" y="404840"/>
                      <a:pt x="117436" y="400418"/>
                    </a:cubicBezTo>
                    <a:cubicBezTo>
                      <a:pt x="113932" y="395080"/>
                      <a:pt x="110762" y="390659"/>
                      <a:pt x="110345" y="385319"/>
                    </a:cubicBezTo>
                    <a:cubicBezTo>
                      <a:pt x="109928" y="379980"/>
                      <a:pt x="110762" y="375559"/>
                      <a:pt x="111263" y="371138"/>
                    </a:cubicBezTo>
                    <a:cubicBezTo>
                      <a:pt x="112597" y="363130"/>
                      <a:pt x="113932" y="354788"/>
                      <a:pt x="108593" y="342358"/>
                    </a:cubicBezTo>
                    <a:cubicBezTo>
                      <a:pt x="103754" y="329511"/>
                      <a:pt x="100167" y="321085"/>
                      <a:pt x="104171" y="309157"/>
                    </a:cubicBezTo>
                    <a:cubicBezTo>
                      <a:pt x="106424" y="302983"/>
                      <a:pt x="110345" y="298062"/>
                      <a:pt x="114767" y="292806"/>
                    </a:cubicBezTo>
                    <a:cubicBezTo>
                      <a:pt x="117853" y="288802"/>
                      <a:pt x="121441" y="284798"/>
                      <a:pt x="124110" y="280376"/>
                    </a:cubicBezTo>
                    <a:cubicBezTo>
                      <a:pt x="134288" y="263108"/>
                      <a:pt x="130784" y="254266"/>
                      <a:pt x="125862" y="241836"/>
                    </a:cubicBezTo>
                    <a:lnTo>
                      <a:pt x="123610" y="236497"/>
                    </a:lnTo>
                    <a:cubicBezTo>
                      <a:pt x="120940" y="229824"/>
                      <a:pt x="124527" y="222316"/>
                      <a:pt x="128031" y="214391"/>
                    </a:cubicBezTo>
                    <a:cubicBezTo>
                      <a:pt x="133788" y="201544"/>
                      <a:pt x="142214" y="182524"/>
                      <a:pt x="116935" y="170094"/>
                    </a:cubicBezTo>
                    <a:cubicBezTo>
                      <a:pt x="111179" y="167008"/>
                      <a:pt x="105840" y="166090"/>
                      <a:pt x="100584" y="166090"/>
                    </a:cubicBezTo>
                    <a:cubicBezTo>
                      <a:pt x="92575" y="166090"/>
                      <a:pt x="85484" y="168343"/>
                      <a:pt x="78893" y="170511"/>
                    </a:cubicBezTo>
                    <a:lnTo>
                      <a:pt x="75389" y="171846"/>
                    </a:lnTo>
                    <a:cubicBezTo>
                      <a:pt x="72719" y="172764"/>
                      <a:pt x="67380" y="174516"/>
                      <a:pt x="66045" y="174099"/>
                    </a:cubicBezTo>
                    <a:cubicBezTo>
                      <a:pt x="66045" y="174099"/>
                      <a:pt x="65628" y="173682"/>
                      <a:pt x="65128" y="171429"/>
                    </a:cubicBezTo>
                    <a:cubicBezTo>
                      <a:pt x="64210" y="167926"/>
                      <a:pt x="68631" y="159917"/>
                      <a:pt x="71802" y="154161"/>
                    </a:cubicBezTo>
                    <a:cubicBezTo>
                      <a:pt x="74888" y="149323"/>
                      <a:pt x="77141" y="143984"/>
                      <a:pt x="78476" y="139563"/>
                    </a:cubicBezTo>
                    <a:cubicBezTo>
                      <a:pt x="79393" y="136059"/>
                      <a:pt x="81145" y="131137"/>
                      <a:pt x="82897" y="126716"/>
                    </a:cubicBezTo>
                    <a:cubicBezTo>
                      <a:pt x="87319" y="115204"/>
                      <a:pt x="92241" y="102357"/>
                      <a:pt x="89989" y="90845"/>
                    </a:cubicBezTo>
                    <a:cubicBezTo>
                      <a:pt x="88654" y="82420"/>
                      <a:pt x="84649" y="73577"/>
                      <a:pt x="80228" y="65152"/>
                    </a:cubicBezTo>
                    <a:cubicBezTo>
                      <a:pt x="77558" y="58978"/>
                      <a:pt x="74888" y="53640"/>
                      <a:pt x="73136" y="48300"/>
                    </a:cubicBezTo>
                    <a:cubicBezTo>
                      <a:pt x="68298" y="32367"/>
                      <a:pt x="66462" y="23942"/>
                      <a:pt x="74054" y="11512"/>
                    </a:cubicBezTo>
                    <a:cubicBezTo>
                      <a:pt x="76724" y="7508"/>
                      <a:pt x="78893" y="3504"/>
                      <a:pt x="82063" y="0"/>
                    </a:cubicBezTo>
                    <a:cubicBezTo>
                      <a:pt x="91824" y="12430"/>
                      <a:pt x="101585" y="25277"/>
                      <a:pt x="111263" y="38540"/>
                    </a:cubicBezTo>
                    <a:lnTo>
                      <a:pt x="124110" y="55808"/>
                    </a:lnTo>
                    <a:cubicBezTo>
                      <a:pt x="144049" y="81919"/>
                      <a:pt x="167492" y="74411"/>
                      <a:pt x="188349" y="67738"/>
                    </a:cubicBezTo>
                    <a:cubicBezTo>
                      <a:pt x="193188" y="66403"/>
                      <a:pt x="198110" y="64651"/>
                      <a:pt x="202531" y="63316"/>
                    </a:cubicBezTo>
                    <a:cubicBezTo>
                      <a:pt x="210540" y="61064"/>
                      <a:pt x="217632" y="62399"/>
                      <a:pt x="225974" y="63733"/>
                    </a:cubicBezTo>
                    <a:cubicBezTo>
                      <a:pt x="232148" y="64651"/>
                      <a:pt x="238405" y="65986"/>
                      <a:pt x="245496" y="65485"/>
                    </a:cubicBezTo>
                    <a:cubicBezTo>
                      <a:pt x="251670" y="65068"/>
                      <a:pt x="257427" y="63233"/>
                      <a:pt x="263183" y="61481"/>
                    </a:cubicBezTo>
                    <a:cubicBezTo>
                      <a:pt x="271192" y="58811"/>
                      <a:pt x="277783" y="56642"/>
                      <a:pt x="284040" y="59229"/>
                    </a:cubicBezTo>
                    <a:cubicBezTo>
                      <a:pt x="294635" y="63650"/>
                      <a:pt x="293383" y="75579"/>
                      <a:pt x="290714" y="93765"/>
                    </a:cubicBezTo>
                    <a:cubicBezTo>
                      <a:pt x="289796" y="100438"/>
                      <a:pt x="288461" y="106195"/>
                      <a:pt x="288962" y="111950"/>
                    </a:cubicBezTo>
                    <a:cubicBezTo>
                      <a:pt x="289379" y="128801"/>
                      <a:pt x="297388" y="135892"/>
                      <a:pt x="306648" y="144317"/>
                    </a:cubicBezTo>
                    <a:cubicBezTo>
                      <a:pt x="316826" y="154078"/>
                      <a:pt x="322165" y="164255"/>
                      <a:pt x="327922" y="178019"/>
                    </a:cubicBezTo>
                    <a:lnTo>
                      <a:pt x="330592" y="183359"/>
                    </a:lnTo>
                    <a:cubicBezTo>
                      <a:pt x="336765" y="196622"/>
                      <a:pt x="344774" y="209052"/>
                      <a:pt x="352283" y="220981"/>
                    </a:cubicBezTo>
                    <a:cubicBezTo>
                      <a:pt x="362878" y="238249"/>
                      <a:pt x="372639" y="254182"/>
                      <a:pt x="379313" y="272368"/>
                    </a:cubicBezTo>
                    <a:cubicBezTo>
                      <a:pt x="385487" y="290971"/>
                      <a:pt x="393913" y="326425"/>
                      <a:pt x="380231" y="351617"/>
                    </a:cubicBezTo>
                    <a:cubicBezTo>
                      <a:pt x="376727" y="357790"/>
                      <a:pt x="371804" y="361378"/>
                      <a:pt x="366048" y="365382"/>
                    </a:cubicBezTo>
                    <a:cubicBezTo>
                      <a:pt x="362544" y="368051"/>
                      <a:pt x="358039" y="370721"/>
                      <a:pt x="354118" y="375142"/>
                    </a:cubicBezTo>
                    <a:cubicBezTo>
                      <a:pt x="344774" y="384485"/>
                      <a:pt x="342188" y="397249"/>
                      <a:pt x="339518" y="408343"/>
                    </a:cubicBezTo>
                    <a:cubicBezTo>
                      <a:pt x="338184" y="413682"/>
                      <a:pt x="337266" y="419439"/>
                      <a:pt x="335097" y="423860"/>
                    </a:cubicBezTo>
                    <a:cubicBezTo>
                      <a:pt x="328923" y="439793"/>
                      <a:pt x="321832" y="449136"/>
                      <a:pt x="312488" y="453557"/>
                    </a:cubicBezTo>
                    <a:cubicBezTo>
                      <a:pt x="308984" y="455810"/>
                      <a:pt x="304980" y="456644"/>
                      <a:pt x="301392" y="457979"/>
                    </a:cubicBezTo>
                    <a:cubicBezTo>
                      <a:pt x="291632" y="461482"/>
                      <a:pt x="281870" y="465069"/>
                      <a:pt x="273945" y="478333"/>
                    </a:cubicBezTo>
                    <a:cubicBezTo>
                      <a:pt x="270858" y="483172"/>
                      <a:pt x="268606" y="488093"/>
                      <a:pt x="265936" y="492932"/>
                    </a:cubicBezTo>
                    <a:cubicBezTo>
                      <a:pt x="261514" y="500940"/>
                      <a:pt x="257927" y="508448"/>
                      <a:pt x="252170" y="515038"/>
                    </a:cubicBezTo>
                    <a:lnTo>
                      <a:pt x="249084" y="518125"/>
                    </a:lnTo>
                    <a:cubicBezTo>
                      <a:pt x="245580" y="521629"/>
                      <a:pt x="241075" y="524298"/>
                      <a:pt x="237154" y="526550"/>
                    </a:cubicBezTo>
                    <a:cubicBezTo>
                      <a:pt x="236736" y="526550"/>
                      <a:pt x="236736" y="526550"/>
                      <a:pt x="236736" y="526550"/>
                    </a:cubicBezTo>
                    <a:cubicBezTo>
                      <a:pt x="234484" y="527468"/>
                      <a:pt x="233233" y="528302"/>
                      <a:pt x="230980" y="529220"/>
                    </a:cubicBezTo>
                    <a:cubicBezTo>
                      <a:pt x="226559" y="530972"/>
                      <a:pt x="222554" y="533224"/>
                      <a:pt x="218132" y="535893"/>
                    </a:cubicBezTo>
                    <a:cubicBezTo>
                      <a:pt x="202198" y="545654"/>
                      <a:pt x="200446" y="561170"/>
                      <a:pt x="198611" y="574851"/>
                    </a:cubicBezTo>
                    <a:cubicBezTo>
                      <a:pt x="197693" y="584611"/>
                      <a:pt x="196358" y="593871"/>
                      <a:pt x="190602" y="600961"/>
                    </a:cubicBezTo>
                    <a:cubicBezTo>
                      <a:pt x="175084" y="619147"/>
                      <a:pt x="152976" y="619564"/>
                      <a:pt x="129032" y="620482"/>
                    </a:cubicBezTo>
                    <a:lnTo>
                      <a:pt x="117937" y="620899"/>
                    </a:lnTo>
                    <a:cubicBezTo>
                      <a:pt x="106424" y="621316"/>
                      <a:pt x="92659" y="621316"/>
                      <a:pt x="80728" y="625737"/>
                    </a:cubicBezTo>
                    <a:cubicBezTo>
                      <a:pt x="78059" y="626655"/>
                      <a:pt x="75389" y="627990"/>
                      <a:pt x="72719" y="629241"/>
                    </a:cubicBezTo>
                    <a:cubicBezTo>
                      <a:pt x="70968" y="630158"/>
                      <a:pt x="69633" y="631493"/>
                      <a:pt x="67881" y="632745"/>
                    </a:cubicBezTo>
                    <a:cubicBezTo>
                      <a:pt x="63042" y="637166"/>
                      <a:pt x="59454" y="642088"/>
                      <a:pt x="56785" y="646509"/>
                    </a:cubicBezTo>
                    <a:cubicBezTo>
                      <a:pt x="54115" y="650013"/>
                      <a:pt x="51946" y="654017"/>
                      <a:pt x="48776" y="656686"/>
                    </a:cubicBezTo>
                    <a:cubicBezTo>
                      <a:pt x="44771" y="660190"/>
                      <a:pt x="40350" y="662442"/>
                      <a:pt x="36345" y="662025"/>
                    </a:cubicBezTo>
                    <a:cubicBezTo>
                      <a:pt x="27502" y="661108"/>
                      <a:pt x="15989" y="652265"/>
                      <a:pt x="3141" y="635915"/>
                    </a:cubicBezTo>
                    <a:cubicBezTo>
                      <a:pt x="-1280" y="629741"/>
                      <a:pt x="-362" y="627072"/>
                      <a:pt x="1806" y="618647"/>
                    </a:cubicBezTo>
                    <a:lnTo>
                      <a:pt x="3225" y="612557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54911187" name="Полилиния 402"/>
              <p:cNvSpPr/>
              <p:nvPr/>
            </p:nvSpPr>
            <p:spPr bwMode="auto">
              <a:xfrm>
                <a:off x="5929153" y="5815787"/>
                <a:ext cx="899541" cy="564139"/>
              </a:xfrm>
              <a:custGeom>
                <a:avLst/>
                <a:gdLst>
                  <a:gd name="connsiteX0" fmla="*/ 1010215 w 1010215"/>
                  <a:gd name="connsiteY0" fmla="*/ 232129 h 633548"/>
                  <a:gd name="connsiteX1" fmla="*/ 1007546 w 1010215"/>
                  <a:gd name="connsiteY1" fmla="*/ 238803 h 633548"/>
                  <a:gd name="connsiteX2" fmla="*/ 1004460 w 1010215"/>
                  <a:gd name="connsiteY2" fmla="*/ 246811 h 633548"/>
                  <a:gd name="connsiteX3" fmla="*/ 988107 w 1010215"/>
                  <a:gd name="connsiteY3" fmla="*/ 268083 h 633548"/>
                  <a:gd name="connsiteX4" fmla="*/ 974342 w 1010215"/>
                  <a:gd name="connsiteY4" fmla="*/ 283600 h 633548"/>
                  <a:gd name="connsiteX5" fmla="*/ 958408 w 1010215"/>
                  <a:gd name="connsiteY5" fmla="*/ 318136 h 633548"/>
                  <a:gd name="connsiteX6" fmla="*/ 950399 w 1010215"/>
                  <a:gd name="connsiteY6" fmla="*/ 338991 h 633548"/>
                  <a:gd name="connsiteX7" fmla="*/ 945560 w 1010215"/>
                  <a:gd name="connsiteY7" fmla="*/ 347833 h 633548"/>
                  <a:gd name="connsiteX8" fmla="*/ 931794 w 1010215"/>
                  <a:gd name="connsiteY8" fmla="*/ 389877 h 633548"/>
                  <a:gd name="connsiteX9" fmla="*/ 959742 w 1010215"/>
                  <a:gd name="connsiteY9" fmla="*/ 463371 h 633548"/>
                  <a:gd name="connsiteX10" fmla="*/ 967251 w 1010215"/>
                  <a:gd name="connsiteY10" fmla="*/ 564393 h 633548"/>
                  <a:gd name="connsiteX11" fmla="*/ 885326 w 1010215"/>
                  <a:gd name="connsiteY11" fmla="*/ 613528 h 633548"/>
                  <a:gd name="connsiteX12" fmla="*/ 835270 w 1010215"/>
                  <a:gd name="connsiteY12" fmla="*/ 600681 h 633548"/>
                  <a:gd name="connsiteX13" fmla="*/ 775452 w 1010215"/>
                  <a:gd name="connsiteY13" fmla="*/ 586083 h 633548"/>
                  <a:gd name="connsiteX14" fmla="*/ 720975 w 1010215"/>
                  <a:gd name="connsiteY14" fmla="*/ 590087 h 633548"/>
                  <a:gd name="connsiteX15" fmla="*/ 658989 w 1010215"/>
                  <a:gd name="connsiteY15" fmla="*/ 592339 h 633548"/>
                  <a:gd name="connsiteX16" fmla="*/ 636380 w 1010215"/>
                  <a:gd name="connsiteY16" fmla="*/ 590087 h 633548"/>
                  <a:gd name="connsiteX17" fmla="*/ 583237 w 1010215"/>
                  <a:gd name="connsiteY17" fmla="*/ 561724 h 633548"/>
                  <a:gd name="connsiteX18" fmla="*/ 580567 w 1010215"/>
                  <a:gd name="connsiteY18" fmla="*/ 553298 h 633548"/>
                  <a:gd name="connsiteX19" fmla="*/ 522503 w 1010215"/>
                  <a:gd name="connsiteY19" fmla="*/ 498408 h 633548"/>
                  <a:gd name="connsiteX20" fmla="*/ 493720 w 1010215"/>
                  <a:gd name="connsiteY20" fmla="*/ 500660 h 633548"/>
                  <a:gd name="connsiteX21" fmla="*/ 464020 w 1010215"/>
                  <a:gd name="connsiteY21" fmla="*/ 502412 h 633548"/>
                  <a:gd name="connsiteX22" fmla="*/ 426395 w 1010215"/>
                  <a:gd name="connsiteY22" fmla="*/ 488648 h 633548"/>
                  <a:gd name="connsiteX23" fmla="*/ 424142 w 1010215"/>
                  <a:gd name="connsiteY23" fmla="*/ 487730 h 633548"/>
                  <a:gd name="connsiteX24" fmla="*/ 386517 w 1010215"/>
                  <a:gd name="connsiteY24" fmla="*/ 476218 h 633548"/>
                  <a:gd name="connsiteX25" fmla="*/ 357735 w 1010215"/>
                  <a:gd name="connsiteY25" fmla="*/ 485978 h 633548"/>
                  <a:gd name="connsiteX26" fmla="*/ 339130 w 1010215"/>
                  <a:gd name="connsiteY26" fmla="*/ 493069 h 633548"/>
                  <a:gd name="connsiteX27" fmla="*/ 323195 w 1010215"/>
                  <a:gd name="connsiteY27" fmla="*/ 492652 h 633548"/>
                  <a:gd name="connsiteX28" fmla="*/ 288240 w 1010215"/>
                  <a:gd name="connsiteY28" fmla="*/ 501494 h 633548"/>
                  <a:gd name="connsiteX29" fmla="*/ 277144 w 1010215"/>
                  <a:gd name="connsiteY29" fmla="*/ 513423 h 633548"/>
                  <a:gd name="connsiteX30" fmla="*/ 259875 w 1010215"/>
                  <a:gd name="connsiteY30" fmla="*/ 529357 h 633548"/>
                  <a:gd name="connsiteX31" fmla="*/ 232844 w 1010215"/>
                  <a:gd name="connsiteY31" fmla="*/ 538700 h 633548"/>
                  <a:gd name="connsiteX32" fmla="*/ 207566 w 1010215"/>
                  <a:gd name="connsiteY32" fmla="*/ 547125 h 633548"/>
                  <a:gd name="connsiteX33" fmla="*/ 162849 w 1010215"/>
                  <a:gd name="connsiteY33" fmla="*/ 572402 h 633548"/>
                  <a:gd name="connsiteX34" fmla="*/ 156175 w 1010215"/>
                  <a:gd name="connsiteY34" fmla="*/ 576406 h 633548"/>
                  <a:gd name="connsiteX35" fmla="*/ 135318 w 1010215"/>
                  <a:gd name="connsiteY35" fmla="*/ 587501 h 633548"/>
                  <a:gd name="connsiteX36" fmla="*/ 83010 w 1010215"/>
                  <a:gd name="connsiteY36" fmla="*/ 633549 h 633548"/>
                  <a:gd name="connsiteX37" fmla="*/ 80757 w 1010215"/>
                  <a:gd name="connsiteY37" fmla="*/ 626041 h 633548"/>
                  <a:gd name="connsiteX38" fmla="*/ 80340 w 1010215"/>
                  <a:gd name="connsiteY38" fmla="*/ 617615 h 633548"/>
                  <a:gd name="connsiteX39" fmla="*/ 75918 w 1010215"/>
                  <a:gd name="connsiteY39" fmla="*/ 595509 h 633548"/>
                  <a:gd name="connsiteX40" fmla="*/ 64823 w 1010215"/>
                  <a:gd name="connsiteY40" fmla="*/ 585749 h 633548"/>
                  <a:gd name="connsiteX41" fmla="*/ 57732 w 1010215"/>
                  <a:gd name="connsiteY41" fmla="*/ 579576 h 633548"/>
                  <a:gd name="connsiteX42" fmla="*/ 55479 w 1010215"/>
                  <a:gd name="connsiteY42" fmla="*/ 571567 h 633548"/>
                  <a:gd name="connsiteX43" fmla="*/ 72748 w 1010215"/>
                  <a:gd name="connsiteY43" fmla="*/ 563559 h 633548"/>
                  <a:gd name="connsiteX44" fmla="*/ 99779 w 1010215"/>
                  <a:gd name="connsiteY44" fmla="*/ 547626 h 633548"/>
                  <a:gd name="connsiteX45" fmla="*/ 100196 w 1010215"/>
                  <a:gd name="connsiteY45" fmla="*/ 529941 h 633548"/>
                  <a:gd name="connsiteX46" fmla="*/ 72248 w 1010215"/>
                  <a:gd name="connsiteY46" fmla="*/ 496739 h 633548"/>
                  <a:gd name="connsiteX47" fmla="*/ 66908 w 1010215"/>
                  <a:gd name="connsiteY47" fmla="*/ 492318 h 633548"/>
                  <a:gd name="connsiteX48" fmla="*/ 28365 w 1010215"/>
                  <a:gd name="connsiteY48" fmla="*/ 448439 h 633548"/>
                  <a:gd name="connsiteX49" fmla="*/ 17770 w 1010215"/>
                  <a:gd name="connsiteY49" fmla="*/ 416072 h 633548"/>
                  <a:gd name="connsiteX50" fmla="*/ 9344 w 1010215"/>
                  <a:gd name="connsiteY50" fmla="*/ 386374 h 633548"/>
                  <a:gd name="connsiteX51" fmla="*/ 0 w 1010215"/>
                  <a:gd name="connsiteY51" fmla="*/ 370858 h 633548"/>
                  <a:gd name="connsiteX52" fmla="*/ 28782 w 1010215"/>
                  <a:gd name="connsiteY52" fmla="*/ 368188 h 633548"/>
                  <a:gd name="connsiteX53" fmla="*/ 39878 w 1010215"/>
                  <a:gd name="connsiteY53" fmla="*/ 367771 h 633548"/>
                  <a:gd name="connsiteX54" fmla="*/ 111625 w 1010215"/>
                  <a:gd name="connsiteY54" fmla="*/ 343412 h 633548"/>
                  <a:gd name="connsiteX55" fmla="*/ 122721 w 1010215"/>
                  <a:gd name="connsiteY55" fmla="*/ 309711 h 633548"/>
                  <a:gd name="connsiteX56" fmla="*/ 135569 w 1010215"/>
                  <a:gd name="connsiteY56" fmla="*/ 281348 h 633548"/>
                  <a:gd name="connsiteX57" fmla="*/ 147082 w 1010215"/>
                  <a:gd name="connsiteY57" fmla="*/ 275174 h 633548"/>
                  <a:gd name="connsiteX58" fmla="*/ 157677 w 1010215"/>
                  <a:gd name="connsiteY58" fmla="*/ 269835 h 633548"/>
                  <a:gd name="connsiteX59" fmla="*/ 181120 w 1010215"/>
                  <a:gd name="connsiteY59" fmla="*/ 291942 h 633548"/>
                  <a:gd name="connsiteX60" fmla="*/ 231176 w 1010215"/>
                  <a:gd name="connsiteY60" fmla="*/ 310128 h 633548"/>
                  <a:gd name="connsiteX61" fmla="*/ 245776 w 1010215"/>
                  <a:gd name="connsiteY61" fmla="*/ 311045 h 633548"/>
                  <a:gd name="connsiteX62" fmla="*/ 294080 w 1010215"/>
                  <a:gd name="connsiteY62" fmla="*/ 322974 h 633548"/>
                  <a:gd name="connsiteX63" fmla="*/ 352562 w 1010215"/>
                  <a:gd name="connsiteY63" fmla="*/ 335404 h 633548"/>
                  <a:gd name="connsiteX64" fmla="*/ 387518 w 1010215"/>
                  <a:gd name="connsiteY64" fmla="*/ 328730 h 633548"/>
                  <a:gd name="connsiteX65" fmla="*/ 423808 w 1010215"/>
                  <a:gd name="connsiteY65" fmla="*/ 301285 h 633548"/>
                  <a:gd name="connsiteX66" fmla="*/ 436656 w 1010215"/>
                  <a:gd name="connsiteY66" fmla="*/ 288855 h 633548"/>
                  <a:gd name="connsiteX67" fmla="*/ 452591 w 1010215"/>
                  <a:gd name="connsiteY67" fmla="*/ 276926 h 633548"/>
                  <a:gd name="connsiteX68" fmla="*/ 484960 w 1010215"/>
                  <a:gd name="connsiteY68" fmla="*/ 245477 h 633548"/>
                  <a:gd name="connsiteX69" fmla="*/ 489799 w 1010215"/>
                  <a:gd name="connsiteY69" fmla="*/ 230878 h 633548"/>
                  <a:gd name="connsiteX70" fmla="*/ 494638 w 1010215"/>
                  <a:gd name="connsiteY70" fmla="*/ 216697 h 633548"/>
                  <a:gd name="connsiteX71" fmla="*/ 503064 w 1010215"/>
                  <a:gd name="connsiteY71" fmla="*/ 206936 h 633548"/>
                  <a:gd name="connsiteX72" fmla="*/ 512408 w 1010215"/>
                  <a:gd name="connsiteY72" fmla="*/ 196759 h 633548"/>
                  <a:gd name="connsiteX73" fmla="*/ 523003 w 1010215"/>
                  <a:gd name="connsiteY73" fmla="*/ 173318 h 633548"/>
                  <a:gd name="connsiteX74" fmla="*/ 537602 w 1010215"/>
                  <a:gd name="connsiteY74" fmla="*/ 148041 h 633548"/>
                  <a:gd name="connsiteX75" fmla="*/ 545111 w 1010215"/>
                  <a:gd name="connsiteY75" fmla="*/ 144037 h 633548"/>
                  <a:gd name="connsiteX76" fmla="*/ 563715 w 1010215"/>
                  <a:gd name="connsiteY76" fmla="*/ 128104 h 633548"/>
                  <a:gd name="connsiteX77" fmla="*/ 570389 w 1010215"/>
                  <a:gd name="connsiteY77" fmla="*/ 105998 h 633548"/>
                  <a:gd name="connsiteX78" fmla="*/ 571307 w 1010215"/>
                  <a:gd name="connsiteY78" fmla="*/ 100242 h 633548"/>
                  <a:gd name="connsiteX79" fmla="*/ 587241 w 1010215"/>
                  <a:gd name="connsiteY79" fmla="*/ 67040 h 633548"/>
                  <a:gd name="connsiteX80" fmla="*/ 615607 w 1010215"/>
                  <a:gd name="connsiteY80" fmla="*/ 59949 h 633548"/>
                  <a:gd name="connsiteX81" fmla="*/ 624450 w 1010215"/>
                  <a:gd name="connsiteY81" fmla="*/ 59032 h 633548"/>
                  <a:gd name="connsiteX82" fmla="*/ 666998 w 1010215"/>
                  <a:gd name="connsiteY82" fmla="*/ 43516 h 633548"/>
                  <a:gd name="connsiteX83" fmla="*/ 698867 w 1010215"/>
                  <a:gd name="connsiteY83" fmla="*/ 35090 h 633548"/>
                  <a:gd name="connsiteX84" fmla="*/ 721893 w 1010215"/>
                  <a:gd name="connsiteY84" fmla="*/ 30252 h 633548"/>
                  <a:gd name="connsiteX85" fmla="*/ 730318 w 1010215"/>
                  <a:gd name="connsiteY85" fmla="*/ 28917 h 633548"/>
                  <a:gd name="connsiteX86" fmla="*/ 746253 w 1010215"/>
                  <a:gd name="connsiteY86" fmla="*/ 25413 h 633548"/>
                  <a:gd name="connsiteX87" fmla="*/ 760018 w 1010215"/>
                  <a:gd name="connsiteY87" fmla="*/ 14318 h 633548"/>
                  <a:gd name="connsiteX88" fmla="*/ 764440 w 1010215"/>
                  <a:gd name="connsiteY88" fmla="*/ 9897 h 633548"/>
                  <a:gd name="connsiteX89" fmla="*/ 765358 w 1010215"/>
                  <a:gd name="connsiteY89" fmla="*/ 8980 h 633548"/>
                  <a:gd name="connsiteX90" fmla="*/ 776454 w 1010215"/>
                  <a:gd name="connsiteY90" fmla="*/ 1889 h 633548"/>
                  <a:gd name="connsiteX91" fmla="*/ 776871 w 1010215"/>
                  <a:gd name="connsiteY91" fmla="*/ 1889 h 633548"/>
                  <a:gd name="connsiteX92" fmla="*/ 834435 w 1010215"/>
                  <a:gd name="connsiteY92" fmla="*/ 20491 h 633548"/>
                  <a:gd name="connsiteX93" fmla="*/ 848201 w 1010215"/>
                  <a:gd name="connsiteY93" fmla="*/ 28917 h 633548"/>
                  <a:gd name="connsiteX94" fmla="*/ 876983 w 1010215"/>
                  <a:gd name="connsiteY94" fmla="*/ 43099 h 633548"/>
                  <a:gd name="connsiteX95" fmla="*/ 907517 w 1010215"/>
                  <a:gd name="connsiteY95" fmla="*/ 58198 h 633548"/>
                  <a:gd name="connsiteX96" fmla="*/ 969086 w 1010215"/>
                  <a:gd name="connsiteY96" fmla="*/ 69292 h 633548"/>
                  <a:gd name="connsiteX97" fmla="*/ 999620 w 1010215"/>
                  <a:gd name="connsiteY97" fmla="*/ 79887 h 633548"/>
                  <a:gd name="connsiteX98" fmla="*/ 1000955 w 1010215"/>
                  <a:gd name="connsiteY98" fmla="*/ 83891 h 633548"/>
                  <a:gd name="connsiteX99" fmla="*/ 983269 w 1010215"/>
                  <a:gd name="connsiteY99" fmla="*/ 110502 h 633548"/>
                  <a:gd name="connsiteX100" fmla="*/ 984186 w 1010215"/>
                  <a:gd name="connsiteY100" fmla="*/ 122432 h 633548"/>
                  <a:gd name="connsiteX101" fmla="*/ 985104 w 1010215"/>
                  <a:gd name="connsiteY101" fmla="*/ 131274 h 633548"/>
                  <a:gd name="connsiteX102" fmla="*/ 979765 w 1010215"/>
                  <a:gd name="connsiteY102" fmla="*/ 145038 h 633548"/>
                  <a:gd name="connsiteX103" fmla="*/ 976261 w 1010215"/>
                  <a:gd name="connsiteY103" fmla="*/ 152129 h 633548"/>
                  <a:gd name="connsiteX104" fmla="*/ 979348 w 1010215"/>
                  <a:gd name="connsiteY104" fmla="*/ 200847 h 633548"/>
                  <a:gd name="connsiteX105" fmla="*/ 1010215 w 1010215"/>
                  <a:gd name="connsiteY105" fmla="*/ 232129 h 633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1010215" h="633548" extrusionOk="0">
                    <a:moveTo>
                      <a:pt x="1010215" y="232129"/>
                    </a:moveTo>
                    <a:cubicBezTo>
                      <a:pt x="1009298" y="234382"/>
                      <a:pt x="1008464" y="236551"/>
                      <a:pt x="1007546" y="238803"/>
                    </a:cubicBezTo>
                    <a:cubicBezTo>
                      <a:pt x="1006628" y="241472"/>
                      <a:pt x="1005294" y="244142"/>
                      <a:pt x="1004460" y="246811"/>
                    </a:cubicBezTo>
                    <a:cubicBezTo>
                      <a:pt x="1000454" y="255237"/>
                      <a:pt x="994281" y="261410"/>
                      <a:pt x="988107" y="268083"/>
                    </a:cubicBezTo>
                    <a:cubicBezTo>
                      <a:pt x="983686" y="272922"/>
                      <a:pt x="978763" y="277844"/>
                      <a:pt x="974342" y="283600"/>
                    </a:cubicBezTo>
                    <a:cubicBezTo>
                      <a:pt x="966333" y="294194"/>
                      <a:pt x="962412" y="306624"/>
                      <a:pt x="958408" y="318136"/>
                    </a:cubicBezTo>
                    <a:cubicBezTo>
                      <a:pt x="955738" y="325226"/>
                      <a:pt x="953569" y="332317"/>
                      <a:pt x="950399" y="338991"/>
                    </a:cubicBezTo>
                    <a:cubicBezTo>
                      <a:pt x="949064" y="342078"/>
                      <a:pt x="947312" y="345164"/>
                      <a:pt x="945560" y="347833"/>
                    </a:cubicBezTo>
                    <a:cubicBezTo>
                      <a:pt x="938886" y="360680"/>
                      <a:pt x="931794" y="373944"/>
                      <a:pt x="931794" y="389877"/>
                    </a:cubicBezTo>
                    <a:cubicBezTo>
                      <a:pt x="931794" y="415988"/>
                      <a:pt x="945977" y="439930"/>
                      <a:pt x="959742" y="463371"/>
                    </a:cubicBezTo>
                    <a:cubicBezTo>
                      <a:pt x="981016" y="499659"/>
                      <a:pt x="999620" y="531109"/>
                      <a:pt x="967251" y="564393"/>
                    </a:cubicBezTo>
                    <a:cubicBezTo>
                      <a:pt x="948229" y="584331"/>
                      <a:pt x="916277" y="617115"/>
                      <a:pt x="885326" y="613528"/>
                    </a:cubicBezTo>
                    <a:cubicBezTo>
                      <a:pt x="868056" y="611776"/>
                      <a:pt x="852122" y="606437"/>
                      <a:pt x="835270" y="600681"/>
                    </a:cubicBezTo>
                    <a:cubicBezTo>
                      <a:pt x="816665" y="594008"/>
                      <a:pt x="796726" y="587417"/>
                      <a:pt x="775452" y="586083"/>
                    </a:cubicBezTo>
                    <a:cubicBezTo>
                      <a:pt x="756848" y="584748"/>
                      <a:pt x="738661" y="587417"/>
                      <a:pt x="720975" y="590087"/>
                    </a:cubicBezTo>
                    <a:cubicBezTo>
                      <a:pt x="699701" y="593173"/>
                      <a:pt x="679762" y="596260"/>
                      <a:pt x="658989" y="592339"/>
                    </a:cubicBezTo>
                    <a:cubicBezTo>
                      <a:pt x="651480" y="591004"/>
                      <a:pt x="643471" y="590587"/>
                      <a:pt x="636380" y="590087"/>
                    </a:cubicBezTo>
                    <a:cubicBezTo>
                      <a:pt x="608432" y="587834"/>
                      <a:pt x="591163" y="585248"/>
                      <a:pt x="583237" y="561724"/>
                    </a:cubicBezTo>
                    <a:lnTo>
                      <a:pt x="580567" y="553298"/>
                    </a:lnTo>
                    <a:cubicBezTo>
                      <a:pt x="571724" y="525853"/>
                      <a:pt x="563715" y="499659"/>
                      <a:pt x="522503" y="498408"/>
                    </a:cubicBezTo>
                    <a:cubicBezTo>
                      <a:pt x="512741" y="497990"/>
                      <a:pt x="502980" y="499325"/>
                      <a:pt x="493720" y="500660"/>
                    </a:cubicBezTo>
                    <a:cubicBezTo>
                      <a:pt x="483542" y="501995"/>
                      <a:pt x="473781" y="503329"/>
                      <a:pt x="464020" y="502412"/>
                    </a:cubicBezTo>
                    <a:cubicBezTo>
                      <a:pt x="450755" y="501077"/>
                      <a:pt x="440077" y="496239"/>
                      <a:pt x="426395" y="488648"/>
                    </a:cubicBezTo>
                    <a:lnTo>
                      <a:pt x="424142" y="487730"/>
                    </a:lnTo>
                    <a:cubicBezTo>
                      <a:pt x="413046" y="481974"/>
                      <a:pt x="400699" y="475300"/>
                      <a:pt x="386517" y="476218"/>
                    </a:cubicBezTo>
                    <a:cubicBezTo>
                      <a:pt x="375004" y="476635"/>
                      <a:pt x="365660" y="481056"/>
                      <a:pt x="357735" y="485978"/>
                    </a:cubicBezTo>
                    <a:cubicBezTo>
                      <a:pt x="351561" y="489065"/>
                      <a:pt x="345304" y="492151"/>
                      <a:pt x="339130" y="493069"/>
                    </a:cubicBezTo>
                    <a:cubicBezTo>
                      <a:pt x="333791" y="493986"/>
                      <a:pt x="328535" y="493486"/>
                      <a:pt x="323195" y="492652"/>
                    </a:cubicBezTo>
                    <a:cubicBezTo>
                      <a:pt x="312601" y="491317"/>
                      <a:pt x="300587" y="489982"/>
                      <a:pt x="288240" y="501494"/>
                    </a:cubicBezTo>
                    <a:cubicBezTo>
                      <a:pt x="283818" y="504998"/>
                      <a:pt x="280231" y="509503"/>
                      <a:pt x="277144" y="513423"/>
                    </a:cubicBezTo>
                    <a:cubicBezTo>
                      <a:pt x="271805" y="520097"/>
                      <a:pt x="266966" y="525353"/>
                      <a:pt x="259875" y="529357"/>
                    </a:cubicBezTo>
                    <a:cubicBezTo>
                      <a:pt x="251448" y="533361"/>
                      <a:pt x="242188" y="536030"/>
                      <a:pt x="232844" y="538700"/>
                    </a:cubicBezTo>
                    <a:cubicBezTo>
                      <a:pt x="224418" y="541369"/>
                      <a:pt x="215992" y="543538"/>
                      <a:pt x="207566" y="547125"/>
                    </a:cubicBezTo>
                    <a:cubicBezTo>
                      <a:pt x="191632" y="554216"/>
                      <a:pt x="177032" y="563058"/>
                      <a:pt x="162849" y="572402"/>
                    </a:cubicBezTo>
                    <a:lnTo>
                      <a:pt x="156175" y="576406"/>
                    </a:lnTo>
                    <a:cubicBezTo>
                      <a:pt x="149501" y="580827"/>
                      <a:pt x="142410" y="584414"/>
                      <a:pt x="135318" y="587501"/>
                    </a:cubicBezTo>
                    <a:cubicBezTo>
                      <a:pt x="114462" y="598596"/>
                      <a:pt x="92771" y="609190"/>
                      <a:pt x="83010" y="633549"/>
                    </a:cubicBezTo>
                    <a:cubicBezTo>
                      <a:pt x="82092" y="630880"/>
                      <a:pt x="81258" y="628711"/>
                      <a:pt x="80757" y="626041"/>
                    </a:cubicBezTo>
                    <a:cubicBezTo>
                      <a:pt x="80257" y="623372"/>
                      <a:pt x="80340" y="620285"/>
                      <a:pt x="80340" y="617615"/>
                    </a:cubicBezTo>
                    <a:cubicBezTo>
                      <a:pt x="80757" y="610525"/>
                      <a:pt x="80757" y="603017"/>
                      <a:pt x="75918" y="595509"/>
                    </a:cubicBezTo>
                    <a:cubicBezTo>
                      <a:pt x="72832" y="590671"/>
                      <a:pt x="68410" y="588001"/>
                      <a:pt x="64823" y="585749"/>
                    </a:cubicBezTo>
                    <a:cubicBezTo>
                      <a:pt x="61736" y="583496"/>
                      <a:pt x="58649" y="582245"/>
                      <a:pt x="57732" y="579576"/>
                    </a:cubicBezTo>
                    <a:cubicBezTo>
                      <a:pt x="55479" y="576072"/>
                      <a:pt x="55062" y="573402"/>
                      <a:pt x="55479" y="571567"/>
                    </a:cubicBezTo>
                    <a:cubicBezTo>
                      <a:pt x="56814" y="568064"/>
                      <a:pt x="65657" y="565394"/>
                      <a:pt x="72748" y="563559"/>
                    </a:cubicBezTo>
                    <a:cubicBezTo>
                      <a:pt x="83343" y="560472"/>
                      <a:pt x="94856" y="556885"/>
                      <a:pt x="99779" y="547626"/>
                    </a:cubicBezTo>
                    <a:cubicBezTo>
                      <a:pt x="102448" y="542287"/>
                      <a:pt x="102448" y="536531"/>
                      <a:pt x="100196" y="529941"/>
                    </a:cubicBezTo>
                    <a:cubicBezTo>
                      <a:pt x="95357" y="516176"/>
                      <a:pt x="82926" y="505999"/>
                      <a:pt x="72248" y="496739"/>
                    </a:cubicBezTo>
                    <a:lnTo>
                      <a:pt x="66908" y="492318"/>
                    </a:lnTo>
                    <a:cubicBezTo>
                      <a:pt x="50557" y="477719"/>
                      <a:pt x="37208" y="464873"/>
                      <a:pt x="28365" y="448439"/>
                    </a:cubicBezTo>
                    <a:cubicBezTo>
                      <a:pt x="22609" y="438261"/>
                      <a:pt x="20356" y="427584"/>
                      <a:pt x="17770" y="416072"/>
                    </a:cubicBezTo>
                    <a:cubicBezTo>
                      <a:pt x="15517" y="406311"/>
                      <a:pt x="13348" y="396134"/>
                      <a:pt x="9344" y="386374"/>
                    </a:cubicBezTo>
                    <a:cubicBezTo>
                      <a:pt x="6674" y="381035"/>
                      <a:pt x="3588" y="375779"/>
                      <a:pt x="0" y="370858"/>
                    </a:cubicBezTo>
                    <a:cubicBezTo>
                      <a:pt x="8843" y="368605"/>
                      <a:pt x="19522" y="368188"/>
                      <a:pt x="28782" y="368188"/>
                    </a:cubicBezTo>
                    <a:lnTo>
                      <a:pt x="39878" y="367771"/>
                    </a:lnTo>
                    <a:cubicBezTo>
                      <a:pt x="64656" y="367354"/>
                      <a:pt x="92604" y="366437"/>
                      <a:pt x="111625" y="343412"/>
                    </a:cubicBezTo>
                    <a:cubicBezTo>
                      <a:pt x="120468" y="332818"/>
                      <a:pt x="121803" y="320388"/>
                      <a:pt x="122721" y="309711"/>
                    </a:cubicBezTo>
                    <a:cubicBezTo>
                      <a:pt x="124056" y="295946"/>
                      <a:pt x="125808" y="287104"/>
                      <a:pt x="135569" y="281348"/>
                    </a:cubicBezTo>
                    <a:cubicBezTo>
                      <a:pt x="139573" y="278678"/>
                      <a:pt x="143578" y="276926"/>
                      <a:pt x="147082" y="275174"/>
                    </a:cubicBezTo>
                    <a:cubicBezTo>
                      <a:pt x="150585" y="273423"/>
                      <a:pt x="154173" y="271671"/>
                      <a:pt x="157677" y="269835"/>
                    </a:cubicBezTo>
                    <a:cubicBezTo>
                      <a:pt x="165686" y="276926"/>
                      <a:pt x="173194" y="284017"/>
                      <a:pt x="181120" y="291942"/>
                    </a:cubicBezTo>
                    <a:cubicBezTo>
                      <a:pt x="197471" y="308793"/>
                      <a:pt x="213906" y="309210"/>
                      <a:pt x="231176" y="310128"/>
                    </a:cubicBezTo>
                    <a:cubicBezTo>
                      <a:pt x="235597" y="310128"/>
                      <a:pt x="240937" y="310545"/>
                      <a:pt x="245776" y="311045"/>
                    </a:cubicBezTo>
                    <a:cubicBezTo>
                      <a:pt x="262628" y="312380"/>
                      <a:pt x="278562" y="317719"/>
                      <a:pt x="294080" y="322974"/>
                    </a:cubicBezTo>
                    <a:cubicBezTo>
                      <a:pt x="312684" y="329147"/>
                      <a:pt x="331705" y="335404"/>
                      <a:pt x="352562" y="335404"/>
                    </a:cubicBezTo>
                    <a:cubicBezTo>
                      <a:pt x="363657" y="335404"/>
                      <a:pt x="375588" y="333652"/>
                      <a:pt x="387518" y="328730"/>
                    </a:cubicBezTo>
                    <a:cubicBezTo>
                      <a:pt x="403035" y="322974"/>
                      <a:pt x="413630" y="311879"/>
                      <a:pt x="423808" y="301285"/>
                    </a:cubicBezTo>
                    <a:cubicBezTo>
                      <a:pt x="428230" y="296863"/>
                      <a:pt x="432235" y="292442"/>
                      <a:pt x="436656" y="288855"/>
                    </a:cubicBezTo>
                    <a:cubicBezTo>
                      <a:pt x="441495" y="284434"/>
                      <a:pt x="446834" y="280847"/>
                      <a:pt x="452591" y="276926"/>
                    </a:cubicBezTo>
                    <a:cubicBezTo>
                      <a:pt x="465021" y="268501"/>
                      <a:pt x="478286" y="260075"/>
                      <a:pt x="484960" y="245477"/>
                    </a:cubicBezTo>
                    <a:cubicBezTo>
                      <a:pt x="487630" y="240638"/>
                      <a:pt x="488464" y="235716"/>
                      <a:pt x="489799" y="230878"/>
                    </a:cubicBezTo>
                    <a:cubicBezTo>
                      <a:pt x="491134" y="225539"/>
                      <a:pt x="492469" y="220701"/>
                      <a:pt x="494638" y="216697"/>
                    </a:cubicBezTo>
                    <a:cubicBezTo>
                      <a:pt x="496890" y="213193"/>
                      <a:pt x="499477" y="210023"/>
                      <a:pt x="503064" y="206936"/>
                    </a:cubicBezTo>
                    <a:cubicBezTo>
                      <a:pt x="506151" y="203850"/>
                      <a:pt x="509738" y="200763"/>
                      <a:pt x="512408" y="196759"/>
                    </a:cubicBezTo>
                    <a:cubicBezTo>
                      <a:pt x="517747" y="189668"/>
                      <a:pt x="520417" y="181243"/>
                      <a:pt x="523003" y="173318"/>
                    </a:cubicBezTo>
                    <a:cubicBezTo>
                      <a:pt x="526090" y="162723"/>
                      <a:pt x="529177" y="153380"/>
                      <a:pt x="537602" y="148041"/>
                    </a:cubicBezTo>
                    <a:cubicBezTo>
                      <a:pt x="540272" y="146289"/>
                      <a:pt x="542942" y="144955"/>
                      <a:pt x="545111" y="144037"/>
                    </a:cubicBezTo>
                    <a:cubicBezTo>
                      <a:pt x="551785" y="140951"/>
                      <a:pt x="557959" y="137864"/>
                      <a:pt x="563715" y="128104"/>
                    </a:cubicBezTo>
                    <a:cubicBezTo>
                      <a:pt x="568137" y="121013"/>
                      <a:pt x="569055" y="113505"/>
                      <a:pt x="570389" y="105998"/>
                    </a:cubicBezTo>
                    <a:lnTo>
                      <a:pt x="571307" y="100242"/>
                    </a:lnTo>
                    <a:cubicBezTo>
                      <a:pt x="573977" y="86060"/>
                      <a:pt x="576146" y="74131"/>
                      <a:pt x="587241" y="67040"/>
                    </a:cubicBezTo>
                    <a:cubicBezTo>
                      <a:pt x="595250" y="62202"/>
                      <a:pt x="605429" y="60867"/>
                      <a:pt x="615607" y="59949"/>
                    </a:cubicBezTo>
                    <a:cubicBezTo>
                      <a:pt x="618694" y="59532"/>
                      <a:pt x="621780" y="59532"/>
                      <a:pt x="624450" y="59032"/>
                    </a:cubicBezTo>
                    <a:cubicBezTo>
                      <a:pt x="641719" y="56779"/>
                      <a:pt x="653232" y="51023"/>
                      <a:pt x="666998" y="43516"/>
                    </a:cubicBezTo>
                    <a:cubicBezTo>
                      <a:pt x="675841" y="39094"/>
                      <a:pt x="687854" y="36842"/>
                      <a:pt x="698867" y="35090"/>
                    </a:cubicBezTo>
                    <a:cubicBezTo>
                      <a:pt x="706876" y="33755"/>
                      <a:pt x="714384" y="32420"/>
                      <a:pt x="721893" y="30252"/>
                    </a:cubicBezTo>
                    <a:cubicBezTo>
                      <a:pt x="724562" y="29334"/>
                      <a:pt x="727232" y="29334"/>
                      <a:pt x="730318" y="28917"/>
                    </a:cubicBezTo>
                    <a:cubicBezTo>
                      <a:pt x="735157" y="28500"/>
                      <a:pt x="740914" y="27582"/>
                      <a:pt x="746253" y="25413"/>
                    </a:cubicBezTo>
                    <a:cubicBezTo>
                      <a:pt x="752009" y="22744"/>
                      <a:pt x="756014" y="18322"/>
                      <a:pt x="760018" y="14318"/>
                    </a:cubicBezTo>
                    <a:cubicBezTo>
                      <a:pt x="761353" y="12567"/>
                      <a:pt x="762688" y="11232"/>
                      <a:pt x="764440" y="9897"/>
                    </a:cubicBezTo>
                    <a:cubicBezTo>
                      <a:pt x="764857" y="9480"/>
                      <a:pt x="765358" y="8980"/>
                      <a:pt x="765358" y="8980"/>
                    </a:cubicBezTo>
                    <a:cubicBezTo>
                      <a:pt x="768862" y="5893"/>
                      <a:pt x="772449" y="3640"/>
                      <a:pt x="776454" y="1889"/>
                    </a:cubicBezTo>
                    <a:lnTo>
                      <a:pt x="776871" y="1889"/>
                    </a:lnTo>
                    <a:cubicBezTo>
                      <a:pt x="793223" y="-4285"/>
                      <a:pt x="810992" y="5392"/>
                      <a:pt x="834435" y="20491"/>
                    </a:cubicBezTo>
                    <a:cubicBezTo>
                      <a:pt x="839274" y="23578"/>
                      <a:pt x="843779" y="26665"/>
                      <a:pt x="848201" y="28917"/>
                    </a:cubicBezTo>
                    <a:cubicBezTo>
                      <a:pt x="857544" y="34256"/>
                      <a:pt x="867723" y="39094"/>
                      <a:pt x="876983" y="43099"/>
                    </a:cubicBezTo>
                    <a:cubicBezTo>
                      <a:pt x="887578" y="47937"/>
                      <a:pt x="897840" y="52441"/>
                      <a:pt x="907517" y="58198"/>
                    </a:cubicBezTo>
                    <a:cubicBezTo>
                      <a:pt x="927039" y="70127"/>
                      <a:pt x="943391" y="78552"/>
                      <a:pt x="969086" y="69292"/>
                    </a:cubicBezTo>
                    <a:cubicBezTo>
                      <a:pt x="988608" y="62202"/>
                      <a:pt x="993030" y="62619"/>
                      <a:pt x="999620" y="79887"/>
                    </a:cubicBezTo>
                    <a:cubicBezTo>
                      <a:pt x="1000037" y="81221"/>
                      <a:pt x="1000538" y="82556"/>
                      <a:pt x="1000955" y="83891"/>
                    </a:cubicBezTo>
                    <a:cubicBezTo>
                      <a:pt x="992529" y="89230"/>
                      <a:pt x="984603" y="96321"/>
                      <a:pt x="983269" y="110502"/>
                    </a:cubicBezTo>
                    <a:cubicBezTo>
                      <a:pt x="982852" y="114924"/>
                      <a:pt x="983686" y="118928"/>
                      <a:pt x="984186" y="122432"/>
                    </a:cubicBezTo>
                    <a:cubicBezTo>
                      <a:pt x="985104" y="125518"/>
                      <a:pt x="985521" y="128605"/>
                      <a:pt x="985104" y="131274"/>
                    </a:cubicBezTo>
                    <a:cubicBezTo>
                      <a:pt x="984687" y="135695"/>
                      <a:pt x="982017" y="140116"/>
                      <a:pt x="979765" y="145038"/>
                    </a:cubicBezTo>
                    <a:cubicBezTo>
                      <a:pt x="978430" y="147291"/>
                      <a:pt x="977095" y="149877"/>
                      <a:pt x="976261" y="152129"/>
                    </a:cubicBezTo>
                    <a:cubicBezTo>
                      <a:pt x="967835" y="170732"/>
                      <a:pt x="968752" y="184496"/>
                      <a:pt x="979348" y="200847"/>
                    </a:cubicBezTo>
                    <a:cubicBezTo>
                      <a:pt x="988524" y="213109"/>
                      <a:pt x="999537" y="222870"/>
                      <a:pt x="1010215" y="2321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45760205" name="Полилиния 403"/>
              <p:cNvSpPr/>
              <p:nvPr/>
            </p:nvSpPr>
            <p:spPr bwMode="auto">
              <a:xfrm>
                <a:off x="5965944" y="3411463"/>
                <a:ext cx="1237008" cy="1585292"/>
              </a:xfrm>
              <a:custGeom>
                <a:avLst/>
                <a:gdLst>
                  <a:gd name="connsiteX0" fmla="*/ 1139006 w 1389202"/>
                  <a:gd name="connsiteY0" fmla="*/ 274569 h 1780336"/>
                  <a:gd name="connsiteX1" fmla="*/ 1139006 w 1389202"/>
                  <a:gd name="connsiteY1" fmla="*/ 276321 h 1780336"/>
                  <a:gd name="connsiteX2" fmla="*/ 1145681 w 1389202"/>
                  <a:gd name="connsiteY2" fmla="*/ 304684 h 1780336"/>
                  <a:gd name="connsiteX3" fmla="*/ 1151019 w 1389202"/>
                  <a:gd name="connsiteY3" fmla="*/ 341890 h 1780336"/>
                  <a:gd name="connsiteX4" fmla="*/ 1131498 w 1389202"/>
                  <a:gd name="connsiteY4" fmla="*/ 365831 h 1780336"/>
                  <a:gd name="connsiteX5" fmla="*/ 1101798 w 1389202"/>
                  <a:gd name="connsiteY5" fmla="*/ 414132 h 1780336"/>
                  <a:gd name="connsiteX6" fmla="*/ 1115563 w 1389202"/>
                  <a:gd name="connsiteY6" fmla="*/ 435404 h 1780336"/>
                  <a:gd name="connsiteX7" fmla="*/ 1131915 w 1389202"/>
                  <a:gd name="connsiteY7" fmla="*/ 444247 h 1780336"/>
                  <a:gd name="connsiteX8" fmla="*/ 1153606 w 1389202"/>
                  <a:gd name="connsiteY8" fmla="*/ 463767 h 1780336"/>
                  <a:gd name="connsiteX9" fmla="*/ 1153606 w 1389202"/>
                  <a:gd name="connsiteY9" fmla="*/ 493882 h 1780336"/>
                  <a:gd name="connsiteX10" fmla="*/ 1152688 w 1389202"/>
                  <a:gd name="connsiteY10" fmla="*/ 525331 h 1780336"/>
                  <a:gd name="connsiteX11" fmla="*/ 1172210 w 1389202"/>
                  <a:gd name="connsiteY11" fmla="*/ 554111 h 1780336"/>
                  <a:gd name="connsiteX12" fmla="*/ 1185058 w 1389202"/>
                  <a:gd name="connsiteY12" fmla="*/ 569628 h 1780336"/>
                  <a:gd name="connsiteX13" fmla="*/ 1188561 w 1389202"/>
                  <a:gd name="connsiteY13" fmla="*/ 589982 h 1780336"/>
                  <a:gd name="connsiteX14" fmla="*/ 1196070 w 1389202"/>
                  <a:gd name="connsiteY14" fmla="*/ 619680 h 1780336"/>
                  <a:gd name="connsiteX15" fmla="*/ 1211171 w 1389202"/>
                  <a:gd name="connsiteY15" fmla="*/ 635196 h 1780336"/>
                  <a:gd name="connsiteX16" fmla="*/ 1224435 w 1389202"/>
                  <a:gd name="connsiteY16" fmla="*/ 661307 h 1780336"/>
                  <a:gd name="connsiteX17" fmla="*/ 1217761 w 1389202"/>
                  <a:gd name="connsiteY17" fmla="*/ 671067 h 1780336"/>
                  <a:gd name="connsiteX18" fmla="*/ 1210670 w 1389202"/>
                  <a:gd name="connsiteY18" fmla="*/ 680827 h 1780336"/>
                  <a:gd name="connsiteX19" fmla="*/ 1204496 w 1389202"/>
                  <a:gd name="connsiteY19" fmla="*/ 695008 h 1780336"/>
                  <a:gd name="connsiteX20" fmla="*/ 1199157 w 1389202"/>
                  <a:gd name="connsiteY20" fmla="*/ 707438 h 1780336"/>
                  <a:gd name="connsiteX21" fmla="*/ 1198239 w 1389202"/>
                  <a:gd name="connsiteY21" fmla="*/ 708773 h 1780336"/>
                  <a:gd name="connsiteX22" fmla="*/ 1192900 w 1389202"/>
                  <a:gd name="connsiteY22" fmla="*/ 741974 h 1780336"/>
                  <a:gd name="connsiteX23" fmla="*/ 1194652 w 1389202"/>
                  <a:gd name="connsiteY23" fmla="*/ 747313 h 1780336"/>
                  <a:gd name="connsiteX24" fmla="*/ 1196904 w 1389202"/>
                  <a:gd name="connsiteY24" fmla="*/ 767251 h 1780336"/>
                  <a:gd name="connsiteX25" fmla="*/ 1195153 w 1389202"/>
                  <a:gd name="connsiteY25" fmla="*/ 776594 h 1780336"/>
                  <a:gd name="connsiteX26" fmla="*/ 1208918 w 1389202"/>
                  <a:gd name="connsiteY26" fmla="*/ 824894 h 1780336"/>
                  <a:gd name="connsiteX27" fmla="*/ 1252300 w 1389202"/>
                  <a:gd name="connsiteY27" fmla="*/ 823142 h 1780336"/>
                  <a:gd name="connsiteX28" fmla="*/ 1273157 w 1389202"/>
                  <a:gd name="connsiteY28" fmla="*/ 817804 h 1780336"/>
                  <a:gd name="connsiteX29" fmla="*/ 1301939 w 1389202"/>
                  <a:gd name="connsiteY29" fmla="*/ 826229 h 1780336"/>
                  <a:gd name="connsiteX30" fmla="*/ 1329387 w 1389202"/>
                  <a:gd name="connsiteY30" fmla="*/ 835072 h 1780336"/>
                  <a:gd name="connsiteX31" fmla="*/ 1371016 w 1389202"/>
                  <a:gd name="connsiteY31" fmla="*/ 831985 h 1780336"/>
                  <a:gd name="connsiteX32" fmla="*/ 1380777 w 1389202"/>
                  <a:gd name="connsiteY32" fmla="*/ 827147 h 1780336"/>
                  <a:gd name="connsiteX33" fmla="*/ 1389203 w 1389202"/>
                  <a:gd name="connsiteY33" fmla="*/ 823142 h 1780336"/>
                  <a:gd name="connsiteX34" fmla="*/ 1381194 w 1389202"/>
                  <a:gd name="connsiteY34" fmla="*/ 846584 h 1780336"/>
                  <a:gd name="connsiteX35" fmla="*/ 1362590 w 1389202"/>
                  <a:gd name="connsiteY35" fmla="*/ 862517 h 1780336"/>
                  <a:gd name="connsiteX36" fmla="*/ 1354581 w 1389202"/>
                  <a:gd name="connsiteY36" fmla="*/ 867856 h 1780336"/>
                  <a:gd name="connsiteX37" fmla="*/ 1347907 w 1389202"/>
                  <a:gd name="connsiteY37" fmla="*/ 873195 h 1780336"/>
                  <a:gd name="connsiteX38" fmla="*/ 1337729 w 1389202"/>
                  <a:gd name="connsiteY38" fmla="*/ 879868 h 1780336"/>
                  <a:gd name="connsiteX39" fmla="*/ 1324881 w 1389202"/>
                  <a:gd name="connsiteY39" fmla="*/ 882538 h 1780336"/>
                  <a:gd name="connsiteX40" fmla="*/ 1308947 w 1389202"/>
                  <a:gd name="connsiteY40" fmla="*/ 885624 h 1780336"/>
                  <a:gd name="connsiteX41" fmla="*/ 1284586 w 1389202"/>
                  <a:gd name="connsiteY41" fmla="*/ 945437 h 1780336"/>
                  <a:gd name="connsiteX42" fmla="*/ 1293429 w 1389202"/>
                  <a:gd name="connsiteY42" fmla="*/ 967543 h 1780336"/>
                  <a:gd name="connsiteX43" fmla="*/ 1299186 w 1389202"/>
                  <a:gd name="connsiteY43" fmla="*/ 979472 h 1780336"/>
                  <a:gd name="connsiteX44" fmla="*/ 1296516 w 1389202"/>
                  <a:gd name="connsiteY44" fmla="*/ 991902 h 1780336"/>
                  <a:gd name="connsiteX45" fmla="*/ 1286338 w 1389202"/>
                  <a:gd name="connsiteY45" fmla="*/ 1006501 h 1780336"/>
                  <a:gd name="connsiteX46" fmla="*/ 1286755 w 1389202"/>
                  <a:gd name="connsiteY46" fmla="*/ 1024686 h 1780336"/>
                  <a:gd name="connsiteX47" fmla="*/ 1288090 w 1389202"/>
                  <a:gd name="connsiteY47" fmla="*/ 1034030 h 1780336"/>
                  <a:gd name="connsiteX48" fmla="*/ 1285420 w 1389202"/>
                  <a:gd name="connsiteY48" fmla="*/ 1042455 h 1780336"/>
                  <a:gd name="connsiteX49" fmla="*/ 1285420 w 1389202"/>
                  <a:gd name="connsiteY49" fmla="*/ 1068149 h 1780336"/>
                  <a:gd name="connsiteX50" fmla="*/ 1309781 w 1389202"/>
                  <a:gd name="connsiteY50" fmla="*/ 1091173 h 1780336"/>
                  <a:gd name="connsiteX51" fmla="*/ 1332807 w 1389202"/>
                  <a:gd name="connsiteY51" fmla="*/ 1120370 h 1780336"/>
                  <a:gd name="connsiteX52" fmla="*/ 1326133 w 1389202"/>
                  <a:gd name="connsiteY52" fmla="*/ 1140307 h 1780336"/>
                  <a:gd name="connsiteX53" fmla="*/ 1322629 w 1389202"/>
                  <a:gd name="connsiteY53" fmla="*/ 1146981 h 1780336"/>
                  <a:gd name="connsiteX54" fmla="*/ 1323046 w 1389202"/>
                  <a:gd name="connsiteY54" fmla="*/ 1175761 h 1780336"/>
                  <a:gd name="connsiteX55" fmla="*/ 1327467 w 1389202"/>
                  <a:gd name="connsiteY55" fmla="*/ 1185521 h 1780336"/>
                  <a:gd name="connsiteX56" fmla="*/ 1321294 w 1389202"/>
                  <a:gd name="connsiteY56" fmla="*/ 1207627 h 1780336"/>
                  <a:gd name="connsiteX57" fmla="*/ 1316455 w 1389202"/>
                  <a:gd name="connsiteY57" fmla="*/ 1215135 h 1780336"/>
                  <a:gd name="connsiteX58" fmla="*/ 1306694 w 1389202"/>
                  <a:gd name="connsiteY58" fmla="*/ 1246585 h 1780336"/>
                  <a:gd name="connsiteX59" fmla="*/ 1303607 w 1389202"/>
                  <a:gd name="connsiteY59" fmla="*/ 1263436 h 1780336"/>
                  <a:gd name="connsiteX60" fmla="*/ 1290759 w 1389202"/>
                  <a:gd name="connsiteY60" fmla="*/ 1283374 h 1780336"/>
                  <a:gd name="connsiteX61" fmla="*/ 1280582 w 1389202"/>
                  <a:gd name="connsiteY61" fmla="*/ 1295803 h 1780336"/>
                  <a:gd name="connsiteX62" fmla="*/ 1277078 w 1389202"/>
                  <a:gd name="connsiteY62" fmla="*/ 1301142 h 1780336"/>
                  <a:gd name="connsiteX63" fmla="*/ 1260726 w 1389202"/>
                  <a:gd name="connsiteY63" fmla="*/ 1320662 h 1780336"/>
                  <a:gd name="connsiteX64" fmla="*/ 1254052 w 1389202"/>
                  <a:gd name="connsiteY64" fmla="*/ 1325084 h 1780336"/>
                  <a:gd name="connsiteX65" fmla="*/ 1239869 w 1389202"/>
                  <a:gd name="connsiteY65" fmla="*/ 1344103 h 1780336"/>
                  <a:gd name="connsiteX66" fmla="*/ 1244291 w 1389202"/>
                  <a:gd name="connsiteY66" fmla="*/ 1356033 h 1780336"/>
                  <a:gd name="connsiteX67" fmla="*/ 1246043 w 1389202"/>
                  <a:gd name="connsiteY67" fmla="*/ 1358702 h 1780336"/>
                  <a:gd name="connsiteX68" fmla="*/ 1243373 w 1389202"/>
                  <a:gd name="connsiteY68" fmla="*/ 1370631 h 1780336"/>
                  <a:gd name="connsiteX69" fmla="*/ 1238534 w 1389202"/>
                  <a:gd name="connsiteY69" fmla="*/ 1377305 h 1780336"/>
                  <a:gd name="connsiteX70" fmla="*/ 1226104 w 1389202"/>
                  <a:gd name="connsiteY70" fmla="*/ 1405251 h 1780336"/>
                  <a:gd name="connsiteX71" fmla="*/ 1230526 w 1389202"/>
                  <a:gd name="connsiteY71" fmla="*/ 1440204 h 1780336"/>
                  <a:gd name="connsiteX72" fmla="*/ 1271321 w 1389202"/>
                  <a:gd name="connsiteY72" fmla="*/ 1511946 h 1780336"/>
                  <a:gd name="connsiteX73" fmla="*/ 1304108 w 1389202"/>
                  <a:gd name="connsiteY73" fmla="*/ 1515449 h 1780336"/>
                  <a:gd name="connsiteX74" fmla="*/ 1325381 w 1389202"/>
                  <a:gd name="connsiteY74" fmla="*/ 1522957 h 1780336"/>
                  <a:gd name="connsiteX75" fmla="*/ 1311199 w 1389202"/>
                  <a:gd name="connsiteY75" fmla="*/ 1581018 h 1780336"/>
                  <a:gd name="connsiteX76" fmla="*/ 1292595 w 1389202"/>
                  <a:gd name="connsiteY76" fmla="*/ 1620476 h 1780336"/>
                  <a:gd name="connsiteX77" fmla="*/ 1319208 w 1389202"/>
                  <a:gd name="connsiteY77" fmla="*/ 1647921 h 1780336"/>
                  <a:gd name="connsiteX78" fmla="*/ 1325883 w 1389202"/>
                  <a:gd name="connsiteY78" fmla="*/ 1650590 h 1780336"/>
                  <a:gd name="connsiteX79" fmla="*/ 1344904 w 1389202"/>
                  <a:gd name="connsiteY79" fmla="*/ 1702895 h 1780336"/>
                  <a:gd name="connsiteX80" fmla="*/ 1335143 w 1389202"/>
                  <a:gd name="connsiteY80" fmla="*/ 1718411 h 1780336"/>
                  <a:gd name="connsiteX81" fmla="*/ 1324047 w 1389202"/>
                  <a:gd name="connsiteY81" fmla="*/ 1736096 h 1780336"/>
                  <a:gd name="connsiteX82" fmla="*/ 1321794 w 1389202"/>
                  <a:gd name="connsiteY82" fmla="*/ 1760038 h 1780336"/>
                  <a:gd name="connsiteX83" fmla="*/ 1322211 w 1389202"/>
                  <a:gd name="connsiteY83" fmla="*/ 1772468 h 1780336"/>
                  <a:gd name="connsiteX84" fmla="*/ 1317790 w 1389202"/>
                  <a:gd name="connsiteY84" fmla="*/ 1779141 h 1780336"/>
                  <a:gd name="connsiteX85" fmla="*/ 1269987 w 1389202"/>
                  <a:gd name="connsiteY85" fmla="*/ 1766712 h 1780336"/>
                  <a:gd name="connsiteX86" fmla="*/ 1254469 w 1389202"/>
                  <a:gd name="connsiteY86" fmla="*/ 1760038 h 1780336"/>
                  <a:gd name="connsiteX87" fmla="*/ 1195069 w 1389202"/>
                  <a:gd name="connsiteY87" fmla="*/ 1722415 h 1780336"/>
                  <a:gd name="connsiteX88" fmla="*/ 1192400 w 1389202"/>
                  <a:gd name="connsiteY88" fmla="*/ 1717994 h 1780336"/>
                  <a:gd name="connsiteX89" fmla="*/ 1172043 w 1389202"/>
                  <a:gd name="connsiteY89" fmla="*/ 1702478 h 1780336"/>
                  <a:gd name="connsiteX90" fmla="*/ 1130831 w 1389202"/>
                  <a:gd name="connsiteY90" fmla="*/ 1722415 h 1780336"/>
                  <a:gd name="connsiteX91" fmla="*/ 1124157 w 1389202"/>
                  <a:gd name="connsiteY91" fmla="*/ 1704731 h 1780336"/>
                  <a:gd name="connsiteX92" fmla="*/ 1104634 w 1389202"/>
                  <a:gd name="connsiteY92" fmla="*/ 1668860 h 1780336"/>
                  <a:gd name="connsiteX93" fmla="*/ 1014283 w 1389202"/>
                  <a:gd name="connsiteY93" fmla="*/ 1658682 h 1780336"/>
                  <a:gd name="connsiteX94" fmla="*/ 990840 w 1389202"/>
                  <a:gd name="connsiteY94" fmla="*/ 1662186 h 1780336"/>
                  <a:gd name="connsiteX95" fmla="*/ 937197 w 1389202"/>
                  <a:gd name="connsiteY95" fmla="*/ 1653343 h 1780336"/>
                  <a:gd name="connsiteX96" fmla="*/ 919010 w 1389202"/>
                  <a:gd name="connsiteY96" fmla="*/ 1640914 h 1780336"/>
                  <a:gd name="connsiteX97" fmla="*/ 869371 w 1389202"/>
                  <a:gd name="connsiteY97" fmla="*/ 1621894 h 1780336"/>
                  <a:gd name="connsiteX98" fmla="*/ 829910 w 1389202"/>
                  <a:gd name="connsiteY98" fmla="*/ 1650674 h 1780336"/>
                  <a:gd name="connsiteX99" fmla="*/ 819315 w 1389202"/>
                  <a:gd name="connsiteY99" fmla="*/ 1663103 h 1780336"/>
                  <a:gd name="connsiteX100" fmla="*/ 757746 w 1389202"/>
                  <a:gd name="connsiteY100" fmla="*/ 1692301 h 1780336"/>
                  <a:gd name="connsiteX101" fmla="*/ 755076 w 1389202"/>
                  <a:gd name="connsiteY101" fmla="*/ 1693218 h 1780336"/>
                  <a:gd name="connsiteX102" fmla="*/ 735137 w 1389202"/>
                  <a:gd name="connsiteY102" fmla="*/ 1698557 h 1780336"/>
                  <a:gd name="connsiteX103" fmla="*/ 690420 w 1389202"/>
                  <a:gd name="connsiteY103" fmla="*/ 1713656 h 1780336"/>
                  <a:gd name="connsiteX104" fmla="*/ 673568 w 1389202"/>
                  <a:gd name="connsiteY104" fmla="*/ 1722499 h 1780336"/>
                  <a:gd name="connsiteX105" fmla="*/ 628851 w 1389202"/>
                  <a:gd name="connsiteY105" fmla="*/ 1738015 h 1780336"/>
                  <a:gd name="connsiteX106" fmla="*/ 618256 w 1389202"/>
                  <a:gd name="connsiteY106" fmla="*/ 1738015 h 1780336"/>
                  <a:gd name="connsiteX107" fmla="*/ 531409 w 1389202"/>
                  <a:gd name="connsiteY107" fmla="*/ 1729590 h 1780336"/>
                  <a:gd name="connsiteX108" fmla="*/ 506631 w 1389202"/>
                  <a:gd name="connsiteY108" fmla="*/ 1707483 h 1780336"/>
                  <a:gd name="connsiteX109" fmla="*/ 503961 w 1389202"/>
                  <a:gd name="connsiteY109" fmla="*/ 1693719 h 1780336"/>
                  <a:gd name="connsiteX110" fmla="*/ 499957 w 1389202"/>
                  <a:gd name="connsiteY110" fmla="*/ 1675116 h 1780336"/>
                  <a:gd name="connsiteX111" fmla="*/ 495535 w 1389202"/>
                  <a:gd name="connsiteY111" fmla="*/ 1664939 h 1780336"/>
                  <a:gd name="connsiteX112" fmla="*/ 488861 w 1389202"/>
                  <a:gd name="connsiteY112" fmla="*/ 1643250 h 1780336"/>
                  <a:gd name="connsiteX113" fmla="*/ 501708 w 1389202"/>
                  <a:gd name="connsiteY113" fmla="*/ 1609548 h 1780336"/>
                  <a:gd name="connsiteX114" fmla="*/ 512804 w 1389202"/>
                  <a:gd name="connsiteY114" fmla="*/ 1589610 h 1780336"/>
                  <a:gd name="connsiteX115" fmla="*/ 511052 w 1389202"/>
                  <a:gd name="connsiteY115" fmla="*/ 1524042 h 1780336"/>
                  <a:gd name="connsiteX116" fmla="*/ 467170 w 1389202"/>
                  <a:gd name="connsiteY116" fmla="*/ 1485084 h 1780336"/>
                  <a:gd name="connsiteX117" fmla="*/ 424205 w 1389202"/>
                  <a:gd name="connsiteY117" fmla="*/ 1492175 h 1780336"/>
                  <a:gd name="connsiteX118" fmla="*/ 407853 w 1389202"/>
                  <a:gd name="connsiteY118" fmla="*/ 1499683 h 1780336"/>
                  <a:gd name="connsiteX119" fmla="*/ 362636 w 1389202"/>
                  <a:gd name="connsiteY119" fmla="*/ 1489506 h 1780336"/>
                  <a:gd name="connsiteX120" fmla="*/ 340528 w 1389202"/>
                  <a:gd name="connsiteY120" fmla="*/ 1471820 h 1780336"/>
                  <a:gd name="connsiteX121" fmla="*/ 326345 w 1389202"/>
                  <a:gd name="connsiteY121" fmla="*/ 1458056 h 1780336"/>
                  <a:gd name="connsiteX122" fmla="*/ 301067 w 1389202"/>
                  <a:gd name="connsiteY122" fmla="*/ 1450965 h 1780336"/>
                  <a:gd name="connsiteX123" fmla="*/ 271367 w 1389202"/>
                  <a:gd name="connsiteY123" fmla="*/ 1497931 h 1780336"/>
                  <a:gd name="connsiteX124" fmla="*/ 261606 w 1389202"/>
                  <a:gd name="connsiteY124" fmla="*/ 1521372 h 1780336"/>
                  <a:gd name="connsiteX125" fmla="*/ 199620 w 1389202"/>
                  <a:gd name="connsiteY125" fmla="*/ 1556325 h 1780336"/>
                  <a:gd name="connsiteX126" fmla="*/ 177011 w 1389202"/>
                  <a:gd name="connsiteY126" fmla="*/ 1542144 h 1780336"/>
                  <a:gd name="connsiteX127" fmla="*/ 165498 w 1389202"/>
                  <a:gd name="connsiteY127" fmla="*/ 1514698 h 1780336"/>
                  <a:gd name="connsiteX128" fmla="*/ 154903 w 1389202"/>
                  <a:gd name="connsiteY128" fmla="*/ 1487253 h 1780336"/>
                  <a:gd name="connsiteX129" fmla="*/ 143390 w 1389202"/>
                  <a:gd name="connsiteY129" fmla="*/ 1428775 h 1780336"/>
                  <a:gd name="connsiteX130" fmla="*/ 151816 w 1389202"/>
                  <a:gd name="connsiteY130" fmla="*/ 1410173 h 1780336"/>
                  <a:gd name="connsiteX131" fmla="*/ 165582 w 1389202"/>
                  <a:gd name="connsiteY131" fmla="*/ 1373384 h 1780336"/>
                  <a:gd name="connsiteX132" fmla="*/ 168252 w 1389202"/>
                  <a:gd name="connsiteY132" fmla="*/ 1363624 h 1780336"/>
                  <a:gd name="connsiteX133" fmla="*/ 172673 w 1389202"/>
                  <a:gd name="connsiteY133" fmla="*/ 1341934 h 1780336"/>
                  <a:gd name="connsiteX134" fmla="*/ 167334 w 1389202"/>
                  <a:gd name="connsiteY134" fmla="*/ 1316658 h 1780336"/>
                  <a:gd name="connsiteX135" fmla="*/ 163330 w 1389202"/>
                  <a:gd name="connsiteY135" fmla="*/ 1299390 h 1780336"/>
                  <a:gd name="connsiteX136" fmla="*/ 173925 w 1389202"/>
                  <a:gd name="connsiteY136" fmla="*/ 1244917 h 1780336"/>
                  <a:gd name="connsiteX137" fmla="*/ 188524 w 1389202"/>
                  <a:gd name="connsiteY137" fmla="*/ 1230735 h 1780336"/>
                  <a:gd name="connsiteX138" fmla="*/ 214637 w 1389202"/>
                  <a:gd name="connsiteY138" fmla="*/ 1194447 h 1780336"/>
                  <a:gd name="connsiteX139" fmla="*/ 217724 w 1389202"/>
                  <a:gd name="connsiteY139" fmla="*/ 1163915 h 1780336"/>
                  <a:gd name="connsiteX140" fmla="*/ 222563 w 1389202"/>
                  <a:gd name="connsiteY140" fmla="*/ 1128461 h 1780336"/>
                  <a:gd name="connsiteX141" fmla="*/ 233158 w 1389202"/>
                  <a:gd name="connsiteY141" fmla="*/ 1105854 h 1780336"/>
                  <a:gd name="connsiteX142" fmla="*/ 248258 w 1389202"/>
                  <a:gd name="connsiteY142" fmla="*/ 1061558 h 1780336"/>
                  <a:gd name="connsiteX143" fmla="*/ 226984 w 1389202"/>
                  <a:gd name="connsiteY143" fmla="*/ 997742 h 1780336"/>
                  <a:gd name="connsiteX144" fmla="*/ 178680 w 1389202"/>
                  <a:gd name="connsiteY144" fmla="*/ 964040 h 1780336"/>
                  <a:gd name="connsiteX145" fmla="*/ 159158 w 1389202"/>
                  <a:gd name="connsiteY145" fmla="*/ 953862 h 1780336"/>
                  <a:gd name="connsiteX146" fmla="*/ 135715 w 1389202"/>
                  <a:gd name="connsiteY146" fmla="*/ 937929 h 1780336"/>
                  <a:gd name="connsiteX147" fmla="*/ 96254 w 1389202"/>
                  <a:gd name="connsiteY147" fmla="*/ 913987 h 1780336"/>
                  <a:gd name="connsiteX148" fmla="*/ 70142 w 1389202"/>
                  <a:gd name="connsiteY148" fmla="*/ 908648 h 1780336"/>
                  <a:gd name="connsiteX149" fmla="*/ 42194 w 1389202"/>
                  <a:gd name="connsiteY149" fmla="*/ 901141 h 1780336"/>
                  <a:gd name="connsiteX150" fmla="*/ 42194 w 1389202"/>
                  <a:gd name="connsiteY150" fmla="*/ 864352 h 1780336"/>
                  <a:gd name="connsiteX151" fmla="*/ 44446 w 1389202"/>
                  <a:gd name="connsiteY151" fmla="*/ 859514 h 1780336"/>
                  <a:gd name="connsiteX152" fmla="*/ 34685 w 1389202"/>
                  <a:gd name="connsiteY152" fmla="*/ 793111 h 1780336"/>
                  <a:gd name="connsiteX153" fmla="*/ 17416 w 1389202"/>
                  <a:gd name="connsiteY153" fmla="*/ 780264 h 1780336"/>
                  <a:gd name="connsiteX154" fmla="*/ 147 w 1389202"/>
                  <a:gd name="connsiteY154" fmla="*/ 764748 h 1780336"/>
                  <a:gd name="connsiteX155" fmla="*/ 5486 w 1389202"/>
                  <a:gd name="connsiteY155" fmla="*/ 748815 h 1780336"/>
                  <a:gd name="connsiteX156" fmla="*/ 8573 w 1389202"/>
                  <a:gd name="connsiteY156" fmla="*/ 743476 h 1780336"/>
                  <a:gd name="connsiteX157" fmla="*/ 20085 w 1389202"/>
                  <a:gd name="connsiteY157" fmla="*/ 703184 h 1780336"/>
                  <a:gd name="connsiteX158" fmla="*/ 21003 w 1389202"/>
                  <a:gd name="connsiteY158" fmla="*/ 688085 h 1780336"/>
                  <a:gd name="connsiteX159" fmla="*/ 29429 w 1389202"/>
                  <a:gd name="connsiteY159" fmla="*/ 646041 h 1780336"/>
                  <a:gd name="connsiteX160" fmla="*/ 54207 w 1389202"/>
                  <a:gd name="connsiteY160" fmla="*/ 627021 h 1780336"/>
                  <a:gd name="connsiteX161" fmla="*/ 78568 w 1389202"/>
                  <a:gd name="connsiteY161" fmla="*/ 609753 h 1780336"/>
                  <a:gd name="connsiteX162" fmla="*/ 105181 w 1389202"/>
                  <a:gd name="connsiteY162" fmla="*/ 573465 h 1780336"/>
                  <a:gd name="connsiteX163" fmla="*/ 120698 w 1389202"/>
                  <a:gd name="connsiteY163" fmla="*/ 550441 h 1780336"/>
                  <a:gd name="connsiteX164" fmla="*/ 142806 w 1389202"/>
                  <a:gd name="connsiteY164" fmla="*/ 507479 h 1780336"/>
                  <a:gd name="connsiteX165" fmla="*/ 155237 w 1389202"/>
                  <a:gd name="connsiteY165" fmla="*/ 480451 h 1780336"/>
                  <a:gd name="connsiteX166" fmla="*/ 174258 w 1389202"/>
                  <a:gd name="connsiteY166" fmla="*/ 455174 h 1780336"/>
                  <a:gd name="connsiteX167" fmla="*/ 182267 w 1389202"/>
                  <a:gd name="connsiteY167" fmla="*/ 445832 h 1780336"/>
                  <a:gd name="connsiteX168" fmla="*/ 192863 w 1389202"/>
                  <a:gd name="connsiteY168" fmla="*/ 431233 h 1780336"/>
                  <a:gd name="connsiteX169" fmla="*/ 196366 w 1389202"/>
                  <a:gd name="connsiteY169" fmla="*/ 425060 h 1780336"/>
                  <a:gd name="connsiteX170" fmla="*/ 204792 w 1389202"/>
                  <a:gd name="connsiteY170" fmla="*/ 406457 h 1780336"/>
                  <a:gd name="connsiteX171" fmla="*/ 230071 w 1389202"/>
                  <a:gd name="connsiteY171" fmla="*/ 366999 h 1780336"/>
                  <a:gd name="connsiteX172" fmla="*/ 270366 w 1389202"/>
                  <a:gd name="connsiteY172" fmla="*/ 314277 h 1780336"/>
                  <a:gd name="connsiteX173" fmla="*/ 307574 w 1389202"/>
                  <a:gd name="connsiteY173" fmla="*/ 290336 h 1780336"/>
                  <a:gd name="connsiteX174" fmla="*/ 348787 w 1389202"/>
                  <a:gd name="connsiteY174" fmla="*/ 254048 h 1780336"/>
                  <a:gd name="connsiteX175" fmla="*/ 349705 w 1389202"/>
                  <a:gd name="connsiteY175" fmla="*/ 248709 h 1780336"/>
                  <a:gd name="connsiteX176" fmla="*/ 359049 w 1389202"/>
                  <a:gd name="connsiteY176" fmla="*/ 220763 h 1780336"/>
                  <a:gd name="connsiteX177" fmla="*/ 367892 w 1389202"/>
                  <a:gd name="connsiteY177" fmla="*/ 208333 h 1780336"/>
                  <a:gd name="connsiteX178" fmla="*/ 381657 w 1389202"/>
                  <a:gd name="connsiteY178" fmla="*/ 187061 h 1780336"/>
                  <a:gd name="connsiteX179" fmla="*/ 390501 w 1389202"/>
                  <a:gd name="connsiteY179" fmla="*/ 167541 h 1780336"/>
                  <a:gd name="connsiteX180" fmla="*/ 410022 w 1389202"/>
                  <a:gd name="connsiteY180" fmla="*/ 133422 h 1780336"/>
                  <a:gd name="connsiteX181" fmla="*/ 448566 w 1389202"/>
                  <a:gd name="connsiteY181" fmla="*/ 107728 h 1780336"/>
                  <a:gd name="connsiteX182" fmla="*/ 460996 w 1389202"/>
                  <a:gd name="connsiteY182" fmla="*/ 101054 h 1780336"/>
                  <a:gd name="connsiteX183" fmla="*/ 506631 w 1389202"/>
                  <a:gd name="connsiteY183" fmla="*/ 63849 h 1780336"/>
                  <a:gd name="connsiteX184" fmla="*/ 555352 w 1389202"/>
                  <a:gd name="connsiteY184" fmla="*/ 31982 h 1780336"/>
                  <a:gd name="connsiteX185" fmla="*/ 574874 w 1389202"/>
                  <a:gd name="connsiteY185" fmla="*/ 33317 h 1780336"/>
                  <a:gd name="connsiteX186" fmla="*/ 624930 w 1389202"/>
                  <a:gd name="connsiteY186" fmla="*/ 25309 h 1780336"/>
                  <a:gd name="connsiteX187" fmla="*/ 637778 w 1389202"/>
                  <a:gd name="connsiteY187" fmla="*/ 13380 h 1780336"/>
                  <a:gd name="connsiteX188" fmla="*/ 666977 w 1389202"/>
                  <a:gd name="connsiteY188" fmla="*/ 1450 h 1780336"/>
                  <a:gd name="connsiteX189" fmla="*/ 685999 w 1389202"/>
                  <a:gd name="connsiteY189" fmla="*/ 19136 h 1780336"/>
                  <a:gd name="connsiteX190" fmla="*/ 701516 w 1389202"/>
                  <a:gd name="connsiteY190" fmla="*/ 37321 h 1780336"/>
                  <a:gd name="connsiteX191" fmla="*/ 749320 w 1389202"/>
                  <a:gd name="connsiteY191" fmla="*/ 40408 h 1780336"/>
                  <a:gd name="connsiteX192" fmla="*/ 757329 w 1389202"/>
                  <a:gd name="connsiteY192" fmla="*/ 38656 h 1780336"/>
                  <a:gd name="connsiteX193" fmla="*/ 806050 w 1389202"/>
                  <a:gd name="connsiteY193" fmla="*/ 42660 h 1780336"/>
                  <a:gd name="connsiteX194" fmla="*/ 813141 w 1389202"/>
                  <a:gd name="connsiteY194" fmla="*/ 48833 h 1780336"/>
                  <a:gd name="connsiteX195" fmla="*/ 865867 w 1389202"/>
                  <a:gd name="connsiteY195" fmla="*/ 62598 h 1780336"/>
                  <a:gd name="connsiteX196" fmla="*/ 868954 w 1389202"/>
                  <a:gd name="connsiteY196" fmla="*/ 61680 h 1780336"/>
                  <a:gd name="connsiteX197" fmla="*/ 894232 w 1389202"/>
                  <a:gd name="connsiteY197" fmla="*/ 59428 h 1780336"/>
                  <a:gd name="connsiteX198" fmla="*/ 899071 w 1389202"/>
                  <a:gd name="connsiteY198" fmla="*/ 60762 h 1780336"/>
                  <a:gd name="connsiteX199" fmla="*/ 922097 w 1389202"/>
                  <a:gd name="connsiteY199" fmla="*/ 62097 h 1780336"/>
                  <a:gd name="connsiteX200" fmla="*/ 944205 w 1389202"/>
                  <a:gd name="connsiteY200" fmla="*/ 41242 h 1780336"/>
                  <a:gd name="connsiteX201" fmla="*/ 958387 w 1389202"/>
                  <a:gd name="connsiteY201" fmla="*/ 26644 h 1780336"/>
                  <a:gd name="connsiteX202" fmla="*/ 976991 w 1389202"/>
                  <a:gd name="connsiteY202" fmla="*/ 29730 h 1780336"/>
                  <a:gd name="connsiteX203" fmla="*/ 1010696 w 1389202"/>
                  <a:gd name="connsiteY203" fmla="*/ 31982 h 1780336"/>
                  <a:gd name="connsiteX204" fmla="*/ 1031970 w 1389202"/>
                  <a:gd name="connsiteY204" fmla="*/ 17384 h 1780336"/>
                  <a:gd name="connsiteX205" fmla="*/ 1044400 w 1389202"/>
                  <a:gd name="connsiteY205" fmla="*/ 28479 h 1780336"/>
                  <a:gd name="connsiteX206" fmla="*/ 1078522 w 1389202"/>
                  <a:gd name="connsiteY206" fmla="*/ 63432 h 1780336"/>
                  <a:gd name="connsiteX207" fmla="*/ 1125074 w 1389202"/>
                  <a:gd name="connsiteY207" fmla="*/ 188312 h 1780336"/>
                  <a:gd name="connsiteX208" fmla="*/ 1127327 w 1389202"/>
                  <a:gd name="connsiteY208" fmla="*/ 196738 h 1780336"/>
                  <a:gd name="connsiteX209" fmla="*/ 1139006 w 1389202"/>
                  <a:gd name="connsiteY209" fmla="*/ 274569 h 1780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1389202" h="1780336" extrusionOk="0">
                    <a:moveTo>
                      <a:pt x="1139006" y="274569"/>
                    </a:moveTo>
                    <a:lnTo>
                      <a:pt x="1139006" y="276321"/>
                    </a:lnTo>
                    <a:cubicBezTo>
                      <a:pt x="1139924" y="285164"/>
                      <a:pt x="1142510" y="294507"/>
                      <a:pt x="1145681" y="304684"/>
                    </a:cubicBezTo>
                    <a:cubicBezTo>
                      <a:pt x="1149685" y="318448"/>
                      <a:pt x="1154106" y="332129"/>
                      <a:pt x="1151019" y="341890"/>
                    </a:cubicBezTo>
                    <a:cubicBezTo>
                      <a:pt x="1149685" y="348063"/>
                      <a:pt x="1140425" y="357406"/>
                      <a:pt x="1131498" y="365831"/>
                    </a:cubicBezTo>
                    <a:cubicBezTo>
                      <a:pt x="1115980" y="381347"/>
                      <a:pt x="1100463" y="397281"/>
                      <a:pt x="1101798" y="414132"/>
                    </a:cubicBezTo>
                    <a:cubicBezTo>
                      <a:pt x="1102716" y="422140"/>
                      <a:pt x="1107137" y="429648"/>
                      <a:pt x="1115563" y="435404"/>
                    </a:cubicBezTo>
                    <a:cubicBezTo>
                      <a:pt x="1120903" y="439408"/>
                      <a:pt x="1126659" y="442078"/>
                      <a:pt x="1131915" y="444247"/>
                    </a:cubicBezTo>
                    <a:cubicBezTo>
                      <a:pt x="1142093" y="449085"/>
                      <a:pt x="1149602" y="452255"/>
                      <a:pt x="1153606" y="463767"/>
                    </a:cubicBezTo>
                    <a:cubicBezTo>
                      <a:pt x="1156693" y="473527"/>
                      <a:pt x="1154941" y="483287"/>
                      <a:pt x="1153606" y="493882"/>
                    </a:cubicBezTo>
                    <a:cubicBezTo>
                      <a:pt x="1152271" y="504059"/>
                      <a:pt x="1150519" y="514236"/>
                      <a:pt x="1152688" y="525331"/>
                    </a:cubicBezTo>
                    <a:cubicBezTo>
                      <a:pt x="1155775" y="539513"/>
                      <a:pt x="1164201" y="547021"/>
                      <a:pt x="1172210" y="554111"/>
                    </a:cubicBezTo>
                    <a:cubicBezTo>
                      <a:pt x="1177550" y="558950"/>
                      <a:pt x="1182388" y="563455"/>
                      <a:pt x="1185058" y="569628"/>
                    </a:cubicBezTo>
                    <a:cubicBezTo>
                      <a:pt x="1187727" y="575801"/>
                      <a:pt x="1188144" y="582474"/>
                      <a:pt x="1188561" y="589982"/>
                    </a:cubicBezTo>
                    <a:cubicBezTo>
                      <a:pt x="1189480" y="599742"/>
                      <a:pt x="1189897" y="609919"/>
                      <a:pt x="1196070" y="619680"/>
                    </a:cubicBezTo>
                    <a:cubicBezTo>
                      <a:pt x="1200075" y="625853"/>
                      <a:pt x="1205831" y="630274"/>
                      <a:pt x="1211171" y="635196"/>
                    </a:cubicBezTo>
                    <a:cubicBezTo>
                      <a:pt x="1223100" y="644956"/>
                      <a:pt x="1228857" y="650712"/>
                      <a:pt x="1224435" y="661307"/>
                    </a:cubicBezTo>
                    <a:cubicBezTo>
                      <a:pt x="1223100" y="664393"/>
                      <a:pt x="1220932" y="667480"/>
                      <a:pt x="1217761" y="671067"/>
                    </a:cubicBezTo>
                    <a:cubicBezTo>
                      <a:pt x="1215092" y="674153"/>
                      <a:pt x="1212922" y="677240"/>
                      <a:pt x="1210670" y="680827"/>
                    </a:cubicBezTo>
                    <a:cubicBezTo>
                      <a:pt x="1208001" y="685248"/>
                      <a:pt x="1206248" y="690587"/>
                      <a:pt x="1204496" y="695008"/>
                    </a:cubicBezTo>
                    <a:cubicBezTo>
                      <a:pt x="1203161" y="699430"/>
                      <a:pt x="1201410" y="703434"/>
                      <a:pt x="1199157" y="707438"/>
                    </a:cubicBezTo>
                    <a:lnTo>
                      <a:pt x="1198239" y="708773"/>
                    </a:lnTo>
                    <a:cubicBezTo>
                      <a:pt x="1192483" y="718950"/>
                      <a:pt x="1188478" y="726458"/>
                      <a:pt x="1192900" y="741974"/>
                    </a:cubicBezTo>
                    <a:lnTo>
                      <a:pt x="1194652" y="747313"/>
                    </a:lnTo>
                    <a:cubicBezTo>
                      <a:pt x="1196904" y="754821"/>
                      <a:pt x="1198156" y="758825"/>
                      <a:pt x="1196904" y="767251"/>
                    </a:cubicBezTo>
                    <a:cubicBezTo>
                      <a:pt x="1196487" y="770337"/>
                      <a:pt x="1195570" y="773424"/>
                      <a:pt x="1195153" y="776594"/>
                    </a:cubicBezTo>
                    <a:cubicBezTo>
                      <a:pt x="1191648" y="792110"/>
                      <a:pt x="1187144" y="812882"/>
                      <a:pt x="1208918" y="824894"/>
                    </a:cubicBezTo>
                    <a:cubicBezTo>
                      <a:pt x="1224435" y="833320"/>
                      <a:pt x="1239452" y="827981"/>
                      <a:pt x="1252300" y="823142"/>
                    </a:cubicBezTo>
                    <a:cubicBezTo>
                      <a:pt x="1259391" y="820473"/>
                      <a:pt x="1266482" y="818304"/>
                      <a:pt x="1273157" y="817804"/>
                    </a:cubicBezTo>
                    <a:cubicBezTo>
                      <a:pt x="1282501" y="816886"/>
                      <a:pt x="1291761" y="821808"/>
                      <a:pt x="1301939" y="826229"/>
                    </a:cubicBezTo>
                    <a:cubicBezTo>
                      <a:pt x="1310782" y="829733"/>
                      <a:pt x="1319626" y="834238"/>
                      <a:pt x="1329387" y="835072"/>
                    </a:cubicBezTo>
                    <a:cubicBezTo>
                      <a:pt x="1344904" y="837324"/>
                      <a:pt x="1358586" y="835989"/>
                      <a:pt x="1371016" y="831985"/>
                    </a:cubicBezTo>
                    <a:cubicBezTo>
                      <a:pt x="1374103" y="831067"/>
                      <a:pt x="1377190" y="829315"/>
                      <a:pt x="1380777" y="827147"/>
                    </a:cubicBezTo>
                    <a:cubicBezTo>
                      <a:pt x="1383447" y="825812"/>
                      <a:pt x="1386117" y="824060"/>
                      <a:pt x="1389203" y="823142"/>
                    </a:cubicBezTo>
                    <a:cubicBezTo>
                      <a:pt x="1387868" y="831568"/>
                      <a:pt x="1385700" y="839993"/>
                      <a:pt x="1381194" y="846584"/>
                    </a:cubicBezTo>
                    <a:cubicBezTo>
                      <a:pt x="1376773" y="853674"/>
                      <a:pt x="1370599" y="857678"/>
                      <a:pt x="1362590" y="862517"/>
                    </a:cubicBezTo>
                    <a:cubicBezTo>
                      <a:pt x="1359920" y="864269"/>
                      <a:pt x="1357251" y="866020"/>
                      <a:pt x="1354581" y="867856"/>
                    </a:cubicBezTo>
                    <a:cubicBezTo>
                      <a:pt x="1352329" y="869191"/>
                      <a:pt x="1350159" y="870943"/>
                      <a:pt x="1347907" y="873195"/>
                    </a:cubicBezTo>
                    <a:cubicBezTo>
                      <a:pt x="1344403" y="875864"/>
                      <a:pt x="1341233" y="878534"/>
                      <a:pt x="1337729" y="879868"/>
                    </a:cubicBezTo>
                    <a:cubicBezTo>
                      <a:pt x="1334225" y="881620"/>
                      <a:pt x="1329303" y="882121"/>
                      <a:pt x="1324881" y="882538"/>
                    </a:cubicBezTo>
                    <a:cubicBezTo>
                      <a:pt x="1320043" y="882955"/>
                      <a:pt x="1314703" y="883456"/>
                      <a:pt x="1308947" y="885624"/>
                    </a:cubicBezTo>
                    <a:cubicBezTo>
                      <a:pt x="1289008" y="893132"/>
                      <a:pt x="1279748" y="915322"/>
                      <a:pt x="1284586" y="945437"/>
                    </a:cubicBezTo>
                    <a:cubicBezTo>
                      <a:pt x="1285921" y="954280"/>
                      <a:pt x="1289925" y="961370"/>
                      <a:pt x="1293429" y="967543"/>
                    </a:cubicBezTo>
                    <a:cubicBezTo>
                      <a:pt x="1295682" y="971047"/>
                      <a:pt x="1297433" y="975051"/>
                      <a:pt x="1299186" y="979472"/>
                    </a:cubicBezTo>
                    <a:cubicBezTo>
                      <a:pt x="1301856" y="986980"/>
                      <a:pt x="1300938" y="987898"/>
                      <a:pt x="1296516" y="991902"/>
                    </a:cubicBezTo>
                    <a:cubicBezTo>
                      <a:pt x="1293429" y="994989"/>
                      <a:pt x="1288507" y="998993"/>
                      <a:pt x="1286338" y="1006501"/>
                    </a:cubicBezTo>
                    <a:cubicBezTo>
                      <a:pt x="1283668" y="1013592"/>
                      <a:pt x="1285420" y="1019765"/>
                      <a:pt x="1286755" y="1024686"/>
                    </a:cubicBezTo>
                    <a:cubicBezTo>
                      <a:pt x="1287673" y="1028190"/>
                      <a:pt x="1288507" y="1030859"/>
                      <a:pt x="1288090" y="1034030"/>
                    </a:cubicBezTo>
                    <a:cubicBezTo>
                      <a:pt x="1287673" y="1037116"/>
                      <a:pt x="1286755" y="1039786"/>
                      <a:pt x="1285420" y="1042455"/>
                    </a:cubicBezTo>
                    <a:cubicBezTo>
                      <a:pt x="1282334" y="1048628"/>
                      <a:pt x="1278746" y="1056636"/>
                      <a:pt x="1285420" y="1068149"/>
                    </a:cubicBezTo>
                    <a:cubicBezTo>
                      <a:pt x="1291176" y="1078326"/>
                      <a:pt x="1300520" y="1084499"/>
                      <a:pt x="1309781" y="1091173"/>
                    </a:cubicBezTo>
                    <a:cubicBezTo>
                      <a:pt x="1321711" y="1099598"/>
                      <a:pt x="1331889" y="1107106"/>
                      <a:pt x="1332807" y="1120370"/>
                    </a:cubicBezTo>
                    <a:cubicBezTo>
                      <a:pt x="1333224" y="1127461"/>
                      <a:pt x="1329720" y="1133217"/>
                      <a:pt x="1326133" y="1140307"/>
                    </a:cubicBezTo>
                    <a:cubicBezTo>
                      <a:pt x="1324798" y="1142559"/>
                      <a:pt x="1323463" y="1144728"/>
                      <a:pt x="1322629" y="1146981"/>
                    </a:cubicBezTo>
                    <a:cubicBezTo>
                      <a:pt x="1315120" y="1161580"/>
                      <a:pt x="1319124" y="1168670"/>
                      <a:pt x="1323046" y="1175761"/>
                    </a:cubicBezTo>
                    <a:cubicBezTo>
                      <a:pt x="1324381" y="1178430"/>
                      <a:pt x="1326133" y="1181100"/>
                      <a:pt x="1327467" y="1185521"/>
                    </a:cubicBezTo>
                    <a:cubicBezTo>
                      <a:pt x="1330554" y="1195281"/>
                      <a:pt x="1327467" y="1199285"/>
                      <a:pt x="1321294" y="1207627"/>
                    </a:cubicBezTo>
                    <a:cubicBezTo>
                      <a:pt x="1319959" y="1210297"/>
                      <a:pt x="1317790" y="1212466"/>
                      <a:pt x="1316455" y="1215135"/>
                    </a:cubicBezTo>
                    <a:cubicBezTo>
                      <a:pt x="1309364" y="1226230"/>
                      <a:pt x="1308029" y="1236825"/>
                      <a:pt x="1306694" y="1246585"/>
                    </a:cubicBezTo>
                    <a:cubicBezTo>
                      <a:pt x="1306277" y="1252341"/>
                      <a:pt x="1305359" y="1257680"/>
                      <a:pt x="1303607" y="1263436"/>
                    </a:cubicBezTo>
                    <a:cubicBezTo>
                      <a:pt x="1301355" y="1270944"/>
                      <a:pt x="1296099" y="1277200"/>
                      <a:pt x="1290759" y="1283374"/>
                    </a:cubicBezTo>
                    <a:cubicBezTo>
                      <a:pt x="1287256" y="1287378"/>
                      <a:pt x="1283668" y="1291382"/>
                      <a:pt x="1280582" y="1295803"/>
                    </a:cubicBezTo>
                    <a:lnTo>
                      <a:pt x="1277078" y="1301142"/>
                    </a:lnTo>
                    <a:cubicBezTo>
                      <a:pt x="1272239" y="1308233"/>
                      <a:pt x="1267734" y="1314906"/>
                      <a:pt x="1260726" y="1320662"/>
                    </a:cubicBezTo>
                    <a:cubicBezTo>
                      <a:pt x="1258474" y="1322414"/>
                      <a:pt x="1256304" y="1323749"/>
                      <a:pt x="1254052" y="1325084"/>
                    </a:cubicBezTo>
                    <a:cubicBezTo>
                      <a:pt x="1247878" y="1328587"/>
                      <a:pt x="1240286" y="1333092"/>
                      <a:pt x="1239869" y="1344103"/>
                    </a:cubicBezTo>
                    <a:cubicBezTo>
                      <a:pt x="1239452" y="1348525"/>
                      <a:pt x="1242122" y="1352112"/>
                      <a:pt x="1244291" y="1356033"/>
                    </a:cubicBezTo>
                    <a:cubicBezTo>
                      <a:pt x="1245209" y="1356950"/>
                      <a:pt x="1245626" y="1358285"/>
                      <a:pt x="1246043" y="1358702"/>
                    </a:cubicBezTo>
                    <a:cubicBezTo>
                      <a:pt x="1248296" y="1364041"/>
                      <a:pt x="1248296" y="1364041"/>
                      <a:pt x="1243373" y="1370631"/>
                    </a:cubicBezTo>
                    <a:cubicBezTo>
                      <a:pt x="1241621" y="1373301"/>
                      <a:pt x="1240286" y="1375053"/>
                      <a:pt x="1238534" y="1377305"/>
                    </a:cubicBezTo>
                    <a:cubicBezTo>
                      <a:pt x="1232778" y="1384396"/>
                      <a:pt x="1227439" y="1391069"/>
                      <a:pt x="1226104" y="1405251"/>
                    </a:cubicBezTo>
                    <a:cubicBezTo>
                      <a:pt x="1225186" y="1415428"/>
                      <a:pt x="1227022" y="1426940"/>
                      <a:pt x="1230526" y="1440204"/>
                    </a:cubicBezTo>
                    <a:cubicBezTo>
                      <a:pt x="1235865" y="1460559"/>
                      <a:pt x="1248713" y="1497347"/>
                      <a:pt x="1271321" y="1511946"/>
                    </a:cubicBezTo>
                    <a:cubicBezTo>
                      <a:pt x="1282834" y="1519454"/>
                      <a:pt x="1294764" y="1517285"/>
                      <a:pt x="1304108" y="1515449"/>
                    </a:cubicBezTo>
                    <a:cubicBezTo>
                      <a:pt x="1316539" y="1513197"/>
                      <a:pt x="1320960" y="1512780"/>
                      <a:pt x="1325381" y="1522957"/>
                    </a:cubicBezTo>
                    <a:cubicBezTo>
                      <a:pt x="1335977" y="1545981"/>
                      <a:pt x="1332056" y="1561080"/>
                      <a:pt x="1311199" y="1581018"/>
                    </a:cubicBezTo>
                    <a:cubicBezTo>
                      <a:pt x="1302356" y="1589860"/>
                      <a:pt x="1289508" y="1602290"/>
                      <a:pt x="1292595" y="1620476"/>
                    </a:cubicBezTo>
                    <a:cubicBezTo>
                      <a:pt x="1295265" y="1638661"/>
                      <a:pt x="1308113" y="1643500"/>
                      <a:pt x="1319208" y="1647921"/>
                    </a:cubicBezTo>
                    <a:cubicBezTo>
                      <a:pt x="1321461" y="1648839"/>
                      <a:pt x="1323630" y="1649256"/>
                      <a:pt x="1325883" y="1650590"/>
                    </a:cubicBezTo>
                    <a:cubicBezTo>
                      <a:pt x="1346238" y="1659433"/>
                      <a:pt x="1354248" y="1680288"/>
                      <a:pt x="1344904" y="1702895"/>
                    </a:cubicBezTo>
                    <a:cubicBezTo>
                      <a:pt x="1342651" y="1708234"/>
                      <a:pt x="1339147" y="1713073"/>
                      <a:pt x="1335143" y="1718411"/>
                    </a:cubicBezTo>
                    <a:cubicBezTo>
                      <a:pt x="1331138" y="1723750"/>
                      <a:pt x="1326717" y="1729506"/>
                      <a:pt x="1324047" y="1736096"/>
                    </a:cubicBezTo>
                    <a:cubicBezTo>
                      <a:pt x="1320543" y="1744939"/>
                      <a:pt x="1321377" y="1753365"/>
                      <a:pt x="1321794" y="1760038"/>
                    </a:cubicBezTo>
                    <a:cubicBezTo>
                      <a:pt x="1322712" y="1764459"/>
                      <a:pt x="1323130" y="1768464"/>
                      <a:pt x="1322211" y="1772468"/>
                    </a:cubicBezTo>
                    <a:cubicBezTo>
                      <a:pt x="1321294" y="1776889"/>
                      <a:pt x="1319124" y="1778641"/>
                      <a:pt x="1317790" y="1779141"/>
                    </a:cubicBezTo>
                    <a:cubicBezTo>
                      <a:pt x="1308029" y="1783980"/>
                      <a:pt x="1284586" y="1772968"/>
                      <a:pt x="1269987" y="1766712"/>
                    </a:cubicBezTo>
                    <a:cubicBezTo>
                      <a:pt x="1263813" y="1764042"/>
                      <a:pt x="1258474" y="1761373"/>
                      <a:pt x="1254469" y="1760038"/>
                    </a:cubicBezTo>
                    <a:cubicBezTo>
                      <a:pt x="1231443" y="1752530"/>
                      <a:pt x="1209752" y="1744105"/>
                      <a:pt x="1195069" y="1722415"/>
                    </a:cubicBezTo>
                    <a:cubicBezTo>
                      <a:pt x="1194151" y="1721081"/>
                      <a:pt x="1192817" y="1719329"/>
                      <a:pt x="1192400" y="1717994"/>
                    </a:cubicBezTo>
                    <a:cubicBezTo>
                      <a:pt x="1188895" y="1711321"/>
                      <a:pt x="1184390" y="1704230"/>
                      <a:pt x="1172043" y="1702478"/>
                    </a:cubicBezTo>
                    <a:cubicBezTo>
                      <a:pt x="1160113" y="1700226"/>
                      <a:pt x="1145931" y="1707316"/>
                      <a:pt x="1130831" y="1722415"/>
                    </a:cubicBezTo>
                    <a:cubicBezTo>
                      <a:pt x="1128161" y="1717077"/>
                      <a:pt x="1126408" y="1710904"/>
                      <a:pt x="1124157" y="1704731"/>
                    </a:cubicBezTo>
                    <a:cubicBezTo>
                      <a:pt x="1120151" y="1691884"/>
                      <a:pt x="1116147" y="1679037"/>
                      <a:pt x="1104634" y="1668860"/>
                    </a:cubicBezTo>
                    <a:cubicBezTo>
                      <a:pt x="1080274" y="1647170"/>
                      <a:pt x="1045234" y="1653343"/>
                      <a:pt x="1014283" y="1658682"/>
                    </a:cubicBezTo>
                    <a:cubicBezTo>
                      <a:pt x="1005857" y="1660017"/>
                      <a:pt x="998348" y="1661352"/>
                      <a:pt x="990840" y="1662186"/>
                    </a:cubicBezTo>
                    <a:cubicBezTo>
                      <a:pt x="970484" y="1664438"/>
                      <a:pt x="952714" y="1661268"/>
                      <a:pt x="937197" y="1653343"/>
                    </a:cubicBezTo>
                    <a:cubicBezTo>
                      <a:pt x="931023" y="1650257"/>
                      <a:pt x="925267" y="1645836"/>
                      <a:pt x="919010" y="1640914"/>
                    </a:cubicBezTo>
                    <a:cubicBezTo>
                      <a:pt x="905244" y="1630319"/>
                      <a:pt x="889810" y="1618307"/>
                      <a:pt x="869371" y="1621894"/>
                    </a:cubicBezTo>
                    <a:cubicBezTo>
                      <a:pt x="850767" y="1625398"/>
                      <a:pt x="839671" y="1638745"/>
                      <a:pt x="829910" y="1650674"/>
                    </a:cubicBezTo>
                    <a:cubicBezTo>
                      <a:pt x="826406" y="1655095"/>
                      <a:pt x="822819" y="1659099"/>
                      <a:pt x="819315" y="1663103"/>
                    </a:cubicBezTo>
                    <a:cubicBezTo>
                      <a:pt x="803380" y="1678620"/>
                      <a:pt x="779437" y="1686128"/>
                      <a:pt x="757746" y="1692301"/>
                    </a:cubicBezTo>
                    <a:lnTo>
                      <a:pt x="755076" y="1693218"/>
                    </a:lnTo>
                    <a:cubicBezTo>
                      <a:pt x="748402" y="1695471"/>
                      <a:pt x="741811" y="1696722"/>
                      <a:pt x="735137" y="1698557"/>
                    </a:cubicBezTo>
                    <a:cubicBezTo>
                      <a:pt x="720037" y="1702562"/>
                      <a:pt x="704603" y="1706566"/>
                      <a:pt x="690420" y="1713656"/>
                    </a:cubicBezTo>
                    <a:cubicBezTo>
                      <a:pt x="684247" y="1716743"/>
                      <a:pt x="678907" y="1719829"/>
                      <a:pt x="673568" y="1722499"/>
                    </a:cubicBezTo>
                    <a:cubicBezTo>
                      <a:pt x="658968" y="1730925"/>
                      <a:pt x="647872" y="1738015"/>
                      <a:pt x="628851" y="1738015"/>
                    </a:cubicBezTo>
                    <a:lnTo>
                      <a:pt x="618256" y="1738015"/>
                    </a:lnTo>
                    <a:cubicBezTo>
                      <a:pt x="589057" y="1738432"/>
                      <a:pt x="556687" y="1738432"/>
                      <a:pt x="531409" y="1729590"/>
                    </a:cubicBezTo>
                    <a:cubicBezTo>
                      <a:pt x="517643" y="1724752"/>
                      <a:pt x="509718" y="1717661"/>
                      <a:pt x="506631" y="1707483"/>
                    </a:cubicBezTo>
                    <a:cubicBezTo>
                      <a:pt x="505296" y="1703062"/>
                      <a:pt x="504378" y="1698641"/>
                      <a:pt x="503961" y="1693719"/>
                    </a:cubicBezTo>
                    <a:cubicBezTo>
                      <a:pt x="503043" y="1687546"/>
                      <a:pt x="502209" y="1681790"/>
                      <a:pt x="499957" y="1675116"/>
                    </a:cubicBezTo>
                    <a:cubicBezTo>
                      <a:pt x="498622" y="1671612"/>
                      <a:pt x="496870" y="1668443"/>
                      <a:pt x="495535" y="1664939"/>
                    </a:cubicBezTo>
                    <a:cubicBezTo>
                      <a:pt x="492448" y="1657848"/>
                      <a:pt x="488861" y="1650757"/>
                      <a:pt x="488861" y="1643250"/>
                    </a:cubicBezTo>
                    <a:cubicBezTo>
                      <a:pt x="488444" y="1631321"/>
                      <a:pt x="495034" y="1621143"/>
                      <a:pt x="501708" y="1609548"/>
                    </a:cubicBezTo>
                    <a:cubicBezTo>
                      <a:pt x="505713" y="1603375"/>
                      <a:pt x="509718" y="1596701"/>
                      <a:pt x="512804" y="1589610"/>
                    </a:cubicBezTo>
                    <a:cubicBezTo>
                      <a:pt x="521648" y="1568338"/>
                      <a:pt x="520814" y="1544396"/>
                      <a:pt x="511052" y="1524042"/>
                    </a:cubicBezTo>
                    <a:cubicBezTo>
                      <a:pt x="502209" y="1505439"/>
                      <a:pt x="486274" y="1491257"/>
                      <a:pt x="467170" y="1485084"/>
                    </a:cubicBezTo>
                    <a:cubicBezTo>
                      <a:pt x="447648" y="1478911"/>
                      <a:pt x="435718" y="1485501"/>
                      <a:pt x="424205" y="1492175"/>
                    </a:cubicBezTo>
                    <a:cubicBezTo>
                      <a:pt x="419366" y="1494845"/>
                      <a:pt x="414027" y="1497514"/>
                      <a:pt x="407853" y="1499683"/>
                    </a:cubicBezTo>
                    <a:cubicBezTo>
                      <a:pt x="393671" y="1504104"/>
                      <a:pt x="376819" y="1496596"/>
                      <a:pt x="362636" y="1489506"/>
                    </a:cubicBezTo>
                    <a:cubicBezTo>
                      <a:pt x="352458" y="1484667"/>
                      <a:pt x="346702" y="1478911"/>
                      <a:pt x="340528" y="1471820"/>
                    </a:cubicBezTo>
                    <a:cubicBezTo>
                      <a:pt x="336106" y="1467399"/>
                      <a:pt x="332102" y="1462978"/>
                      <a:pt x="326345" y="1458056"/>
                    </a:cubicBezTo>
                    <a:cubicBezTo>
                      <a:pt x="317502" y="1450965"/>
                      <a:pt x="309076" y="1448296"/>
                      <a:pt x="301067" y="1450965"/>
                    </a:cubicBezTo>
                    <a:cubicBezTo>
                      <a:pt x="285133" y="1455386"/>
                      <a:pt x="278041" y="1477993"/>
                      <a:pt x="271367" y="1497931"/>
                    </a:cubicBezTo>
                    <a:cubicBezTo>
                      <a:pt x="268280" y="1507691"/>
                      <a:pt x="264693" y="1517452"/>
                      <a:pt x="261606" y="1521372"/>
                    </a:cubicBezTo>
                    <a:cubicBezTo>
                      <a:pt x="247424" y="1539057"/>
                      <a:pt x="220393" y="1556826"/>
                      <a:pt x="199620" y="1556325"/>
                    </a:cubicBezTo>
                    <a:cubicBezTo>
                      <a:pt x="189859" y="1555408"/>
                      <a:pt x="182351" y="1550986"/>
                      <a:pt x="177011" y="1542144"/>
                    </a:cubicBezTo>
                    <a:cubicBezTo>
                      <a:pt x="172172" y="1534136"/>
                      <a:pt x="168585" y="1524459"/>
                      <a:pt x="165498" y="1514698"/>
                    </a:cubicBezTo>
                    <a:cubicBezTo>
                      <a:pt x="162412" y="1505856"/>
                      <a:pt x="159325" y="1496096"/>
                      <a:pt x="154903" y="1487253"/>
                    </a:cubicBezTo>
                    <a:cubicBezTo>
                      <a:pt x="142973" y="1465564"/>
                      <a:pt x="135382" y="1449130"/>
                      <a:pt x="143390" y="1428775"/>
                    </a:cubicBezTo>
                    <a:cubicBezTo>
                      <a:pt x="146060" y="1422102"/>
                      <a:pt x="148730" y="1416346"/>
                      <a:pt x="151816" y="1410173"/>
                    </a:cubicBezTo>
                    <a:cubicBezTo>
                      <a:pt x="157156" y="1399078"/>
                      <a:pt x="162412" y="1387566"/>
                      <a:pt x="165582" y="1373384"/>
                    </a:cubicBezTo>
                    <a:cubicBezTo>
                      <a:pt x="166500" y="1370297"/>
                      <a:pt x="167334" y="1367211"/>
                      <a:pt x="168252" y="1363624"/>
                    </a:cubicBezTo>
                    <a:cubicBezTo>
                      <a:pt x="170504" y="1356950"/>
                      <a:pt x="172673" y="1349442"/>
                      <a:pt x="172673" y="1341934"/>
                    </a:cubicBezTo>
                    <a:cubicBezTo>
                      <a:pt x="172256" y="1333509"/>
                      <a:pt x="170004" y="1324667"/>
                      <a:pt x="167334" y="1316658"/>
                    </a:cubicBezTo>
                    <a:cubicBezTo>
                      <a:pt x="165582" y="1310485"/>
                      <a:pt x="163830" y="1304729"/>
                      <a:pt x="163330" y="1299390"/>
                    </a:cubicBezTo>
                    <a:cubicBezTo>
                      <a:pt x="160243" y="1274114"/>
                      <a:pt x="163330" y="1258180"/>
                      <a:pt x="173925" y="1244917"/>
                    </a:cubicBezTo>
                    <a:cubicBezTo>
                      <a:pt x="178346" y="1239578"/>
                      <a:pt x="183268" y="1235156"/>
                      <a:pt x="188524" y="1230735"/>
                    </a:cubicBezTo>
                    <a:cubicBezTo>
                      <a:pt x="199620" y="1221392"/>
                      <a:pt x="210632" y="1211715"/>
                      <a:pt x="214637" y="1194447"/>
                    </a:cubicBezTo>
                    <a:cubicBezTo>
                      <a:pt x="216889" y="1184270"/>
                      <a:pt x="217306" y="1174093"/>
                      <a:pt x="217724" y="1163915"/>
                    </a:cubicBezTo>
                    <a:cubicBezTo>
                      <a:pt x="218141" y="1151486"/>
                      <a:pt x="218641" y="1139974"/>
                      <a:pt x="222563" y="1128461"/>
                    </a:cubicBezTo>
                    <a:cubicBezTo>
                      <a:pt x="225232" y="1120453"/>
                      <a:pt x="229237" y="1113863"/>
                      <a:pt x="233158" y="1105854"/>
                    </a:cubicBezTo>
                    <a:cubicBezTo>
                      <a:pt x="240249" y="1092591"/>
                      <a:pt x="247757" y="1078409"/>
                      <a:pt x="248258" y="1061558"/>
                    </a:cubicBezTo>
                    <a:cubicBezTo>
                      <a:pt x="248675" y="1041204"/>
                      <a:pt x="239832" y="1015010"/>
                      <a:pt x="226984" y="997742"/>
                    </a:cubicBezTo>
                    <a:cubicBezTo>
                      <a:pt x="214554" y="981391"/>
                      <a:pt x="196450" y="972465"/>
                      <a:pt x="178680" y="964040"/>
                    </a:cubicBezTo>
                    <a:cubicBezTo>
                      <a:pt x="172006" y="960953"/>
                      <a:pt x="165415" y="957366"/>
                      <a:pt x="159158" y="953862"/>
                    </a:cubicBezTo>
                    <a:cubicBezTo>
                      <a:pt x="151149" y="949024"/>
                      <a:pt x="143641" y="943685"/>
                      <a:pt x="135715" y="937929"/>
                    </a:cubicBezTo>
                    <a:cubicBezTo>
                      <a:pt x="123285" y="929086"/>
                      <a:pt x="110437" y="919744"/>
                      <a:pt x="96254" y="913987"/>
                    </a:cubicBezTo>
                    <a:cubicBezTo>
                      <a:pt x="88245" y="910901"/>
                      <a:pt x="78985" y="909566"/>
                      <a:pt x="70142" y="908648"/>
                    </a:cubicBezTo>
                    <a:cubicBezTo>
                      <a:pt x="59546" y="907314"/>
                      <a:pt x="49285" y="905979"/>
                      <a:pt x="42194" y="901141"/>
                    </a:cubicBezTo>
                    <a:cubicBezTo>
                      <a:pt x="30681" y="892715"/>
                      <a:pt x="33350" y="882955"/>
                      <a:pt x="42194" y="864352"/>
                    </a:cubicBezTo>
                    <a:lnTo>
                      <a:pt x="44446" y="859514"/>
                    </a:lnTo>
                    <a:cubicBezTo>
                      <a:pt x="55041" y="836073"/>
                      <a:pt x="51538" y="812548"/>
                      <a:pt x="34685" y="793111"/>
                    </a:cubicBezTo>
                    <a:cubicBezTo>
                      <a:pt x="30264" y="787772"/>
                      <a:pt x="24090" y="784268"/>
                      <a:pt x="17416" y="780264"/>
                    </a:cubicBezTo>
                    <a:cubicBezTo>
                      <a:pt x="9407" y="775426"/>
                      <a:pt x="1899" y="770921"/>
                      <a:pt x="147" y="764748"/>
                    </a:cubicBezTo>
                    <a:cubicBezTo>
                      <a:pt x="-771" y="760327"/>
                      <a:pt x="2816" y="754154"/>
                      <a:pt x="5486" y="748815"/>
                    </a:cubicBezTo>
                    <a:cubicBezTo>
                      <a:pt x="6821" y="747063"/>
                      <a:pt x="7738" y="745311"/>
                      <a:pt x="8573" y="743476"/>
                    </a:cubicBezTo>
                    <a:cubicBezTo>
                      <a:pt x="15247" y="730629"/>
                      <a:pt x="18751" y="718200"/>
                      <a:pt x="20085" y="703184"/>
                    </a:cubicBezTo>
                    <a:cubicBezTo>
                      <a:pt x="20503" y="698345"/>
                      <a:pt x="21003" y="693006"/>
                      <a:pt x="21003" y="688085"/>
                    </a:cubicBezTo>
                    <a:cubicBezTo>
                      <a:pt x="21921" y="673486"/>
                      <a:pt x="22338" y="657970"/>
                      <a:pt x="29429" y="646041"/>
                    </a:cubicBezTo>
                    <a:cubicBezTo>
                      <a:pt x="34769" y="637198"/>
                      <a:pt x="44029" y="632276"/>
                      <a:pt x="54207" y="627021"/>
                    </a:cubicBezTo>
                    <a:cubicBezTo>
                      <a:pt x="62633" y="622182"/>
                      <a:pt x="71477" y="617261"/>
                      <a:pt x="78568" y="609753"/>
                    </a:cubicBezTo>
                    <a:cubicBezTo>
                      <a:pt x="88746" y="599158"/>
                      <a:pt x="97172" y="585811"/>
                      <a:pt x="105181" y="573465"/>
                    </a:cubicBezTo>
                    <a:cubicBezTo>
                      <a:pt x="110019" y="565457"/>
                      <a:pt x="115359" y="557532"/>
                      <a:pt x="120698" y="550441"/>
                    </a:cubicBezTo>
                    <a:cubicBezTo>
                      <a:pt x="131293" y="536259"/>
                      <a:pt x="137050" y="521661"/>
                      <a:pt x="142806" y="507479"/>
                    </a:cubicBezTo>
                    <a:cubicBezTo>
                      <a:pt x="146310" y="498637"/>
                      <a:pt x="150315" y="489294"/>
                      <a:pt x="155237" y="480451"/>
                    </a:cubicBezTo>
                    <a:cubicBezTo>
                      <a:pt x="160076" y="471608"/>
                      <a:pt x="167167" y="463600"/>
                      <a:pt x="174258" y="455174"/>
                    </a:cubicBezTo>
                    <a:cubicBezTo>
                      <a:pt x="176928" y="452088"/>
                      <a:pt x="179598" y="449001"/>
                      <a:pt x="182267" y="445832"/>
                    </a:cubicBezTo>
                    <a:cubicBezTo>
                      <a:pt x="185771" y="440993"/>
                      <a:pt x="189776" y="436071"/>
                      <a:pt x="192863" y="431233"/>
                    </a:cubicBezTo>
                    <a:cubicBezTo>
                      <a:pt x="194197" y="428980"/>
                      <a:pt x="195532" y="427229"/>
                      <a:pt x="196366" y="425060"/>
                    </a:cubicBezTo>
                    <a:cubicBezTo>
                      <a:pt x="199453" y="418386"/>
                      <a:pt x="202540" y="412213"/>
                      <a:pt x="204792" y="406457"/>
                    </a:cubicBezTo>
                    <a:cubicBezTo>
                      <a:pt x="211467" y="391358"/>
                      <a:pt x="216723" y="379429"/>
                      <a:pt x="230071" y="366999"/>
                    </a:cubicBezTo>
                    <a:cubicBezTo>
                      <a:pt x="246422" y="351483"/>
                      <a:pt x="259270" y="336467"/>
                      <a:pt x="270366" y="314277"/>
                    </a:cubicBezTo>
                    <a:cubicBezTo>
                      <a:pt x="279209" y="295675"/>
                      <a:pt x="286301" y="293923"/>
                      <a:pt x="307574" y="290336"/>
                    </a:cubicBezTo>
                    <a:cubicBezTo>
                      <a:pt x="331017" y="286832"/>
                      <a:pt x="344366" y="279741"/>
                      <a:pt x="348787" y="254048"/>
                    </a:cubicBezTo>
                    <a:lnTo>
                      <a:pt x="349705" y="248709"/>
                    </a:lnTo>
                    <a:cubicBezTo>
                      <a:pt x="351957" y="237614"/>
                      <a:pt x="352792" y="230523"/>
                      <a:pt x="359049" y="220763"/>
                    </a:cubicBezTo>
                    <a:cubicBezTo>
                      <a:pt x="361718" y="216342"/>
                      <a:pt x="364805" y="212338"/>
                      <a:pt x="367892" y="208333"/>
                    </a:cubicBezTo>
                    <a:cubicBezTo>
                      <a:pt x="372731" y="201660"/>
                      <a:pt x="377653" y="195069"/>
                      <a:pt x="381657" y="187061"/>
                    </a:cubicBezTo>
                    <a:cubicBezTo>
                      <a:pt x="385161" y="180888"/>
                      <a:pt x="387831" y="174214"/>
                      <a:pt x="390501" y="167541"/>
                    </a:cubicBezTo>
                    <a:cubicBezTo>
                      <a:pt x="395840" y="154694"/>
                      <a:pt x="400679" y="142765"/>
                      <a:pt x="410022" y="133422"/>
                    </a:cubicBezTo>
                    <a:cubicBezTo>
                      <a:pt x="420618" y="122827"/>
                      <a:pt x="434383" y="115236"/>
                      <a:pt x="448566" y="107728"/>
                    </a:cubicBezTo>
                    <a:cubicBezTo>
                      <a:pt x="452987" y="105476"/>
                      <a:pt x="456992" y="103307"/>
                      <a:pt x="460996" y="101054"/>
                    </a:cubicBezTo>
                    <a:cubicBezTo>
                      <a:pt x="480518" y="89960"/>
                      <a:pt x="494701" y="78948"/>
                      <a:pt x="506631" y="63849"/>
                    </a:cubicBezTo>
                    <a:cubicBezTo>
                      <a:pt x="522148" y="44829"/>
                      <a:pt x="532743" y="32817"/>
                      <a:pt x="555352" y="31982"/>
                    </a:cubicBezTo>
                    <a:cubicBezTo>
                      <a:pt x="561526" y="31565"/>
                      <a:pt x="567783" y="32399"/>
                      <a:pt x="574874" y="33317"/>
                    </a:cubicBezTo>
                    <a:cubicBezTo>
                      <a:pt x="591226" y="35069"/>
                      <a:pt x="609830" y="36821"/>
                      <a:pt x="624930" y="25309"/>
                    </a:cubicBezTo>
                    <a:cubicBezTo>
                      <a:pt x="629769" y="21805"/>
                      <a:pt x="633773" y="16883"/>
                      <a:pt x="637778" y="13380"/>
                    </a:cubicBezTo>
                    <a:cubicBezTo>
                      <a:pt x="647122" y="3202"/>
                      <a:pt x="652878" y="-2971"/>
                      <a:pt x="666977" y="1450"/>
                    </a:cubicBezTo>
                    <a:cubicBezTo>
                      <a:pt x="676321" y="4537"/>
                      <a:pt x="680743" y="11211"/>
                      <a:pt x="685999" y="19136"/>
                    </a:cubicBezTo>
                    <a:cubicBezTo>
                      <a:pt x="690003" y="25309"/>
                      <a:pt x="694424" y="31982"/>
                      <a:pt x="701516" y="37321"/>
                    </a:cubicBezTo>
                    <a:cubicBezTo>
                      <a:pt x="715698" y="47916"/>
                      <a:pt x="734303" y="43995"/>
                      <a:pt x="749320" y="40408"/>
                    </a:cubicBezTo>
                    <a:lnTo>
                      <a:pt x="757329" y="38656"/>
                    </a:lnTo>
                    <a:cubicBezTo>
                      <a:pt x="775933" y="34652"/>
                      <a:pt x="792284" y="31565"/>
                      <a:pt x="806050" y="42660"/>
                    </a:cubicBezTo>
                    <a:cubicBezTo>
                      <a:pt x="808719" y="44913"/>
                      <a:pt x="810888" y="47082"/>
                      <a:pt x="813141" y="48833"/>
                    </a:cubicBezTo>
                    <a:cubicBezTo>
                      <a:pt x="827741" y="61263"/>
                      <a:pt x="838836" y="70940"/>
                      <a:pt x="865867" y="62598"/>
                    </a:cubicBezTo>
                    <a:lnTo>
                      <a:pt x="868954" y="61680"/>
                    </a:lnTo>
                    <a:cubicBezTo>
                      <a:pt x="879549" y="58176"/>
                      <a:pt x="884054" y="56841"/>
                      <a:pt x="894232" y="59428"/>
                    </a:cubicBezTo>
                    <a:cubicBezTo>
                      <a:pt x="895984" y="59845"/>
                      <a:pt x="897319" y="60345"/>
                      <a:pt x="899071" y="60762"/>
                    </a:cubicBezTo>
                    <a:cubicBezTo>
                      <a:pt x="905745" y="63015"/>
                      <a:pt x="913253" y="65184"/>
                      <a:pt x="922097" y="62097"/>
                    </a:cubicBezTo>
                    <a:cubicBezTo>
                      <a:pt x="933192" y="58593"/>
                      <a:pt x="938949" y="49251"/>
                      <a:pt x="944205" y="41242"/>
                    </a:cubicBezTo>
                    <a:cubicBezTo>
                      <a:pt x="948626" y="34568"/>
                      <a:pt x="952213" y="28395"/>
                      <a:pt x="958387" y="26644"/>
                    </a:cubicBezTo>
                    <a:cubicBezTo>
                      <a:pt x="963726" y="24892"/>
                      <a:pt x="968983" y="26644"/>
                      <a:pt x="976991" y="29730"/>
                    </a:cubicBezTo>
                    <a:cubicBezTo>
                      <a:pt x="985834" y="33234"/>
                      <a:pt x="996931" y="37738"/>
                      <a:pt x="1010696" y="31982"/>
                    </a:cubicBezTo>
                    <a:cubicBezTo>
                      <a:pt x="1019122" y="28479"/>
                      <a:pt x="1025796" y="23140"/>
                      <a:pt x="1031970" y="17384"/>
                    </a:cubicBezTo>
                    <a:cubicBezTo>
                      <a:pt x="1036391" y="20888"/>
                      <a:pt x="1040396" y="24474"/>
                      <a:pt x="1044400" y="28479"/>
                    </a:cubicBezTo>
                    <a:cubicBezTo>
                      <a:pt x="1057248" y="39574"/>
                      <a:pt x="1068761" y="49751"/>
                      <a:pt x="1078522" y="63432"/>
                    </a:cubicBezTo>
                    <a:cubicBezTo>
                      <a:pt x="1103800" y="98886"/>
                      <a:pt x="1115313" y="146268"/>
                      <a:pt x="1125074" y="188312"/>
                    </a:cubicBezTo>
                    <a:lnTo>
                      <a:pt x="1127327" y="196738"/>
                    </a:lnTo>
                    <a:cubicBezTo>
                      <a:pt x="1135419" y="221847"/>
                      <a:pt x="1137254" y="247541"/>
                      <a:pt x="1139006" y="27456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60556630" name="Полилиния 404"/>
              <p:cNvSpPr/>
              <p:nvPr/>
            </p:nvSpPr>
            <p:spPr bwMode="auto">
              <a:xfrm>
                <a:off x="6519304" y="4149256"/>
                <a:ext cx="1682067" cy="1915794"/>
              </a:xfrm>
              <a:custGeom>
                <a:avLst/>
                <a:gdLst>
                  <a:gd name="connsiteX0" fmla="*/ 1850475 w 1889017"/>
                  <a:gd name="connsiteY0" fmla="*/ 869158 h 2151500"/>
                  <a:gd name="connsiteX1" fmla="*/ 1844301 w 1889017"/>
                  <a:gd name="connsiteY1" fmla="*/ 857646 h 2151500"/>
                  <a:gd name="connsiteX2" fmla="*/ 1843383 w 1889017"/>
                  <a:gd name="connsiteY2" fmla="*/ 847469 h 2151500"/>
                  <a:gd name="connsiteX3" fmla="*/ 1842966 w 1889017"/>
                  <a:gd name="connsiteY3" fmla="*/ 840795 h 2151500"/>
                  <a:gd name="connsiteX4" fmla="*/ 1829701 w 1889017"/>
                  <a:gd name="connsiteY4" fmla="*/ 837709 h 2151500"/>
                  <a:gd name="connsiteX5" fmla="*/ 1815936 w 1889017"/>
                  <a:gd name="connsiteY5" fmla="*/ 836374 h 2151500"/>
                  <a:gd name="connsiteX6" fmla="*/ 1764545 w 1889017"/>
                  <a:gd name="connsiteY6" fmla="*/ 766802 h 2151500"/>
                  <a:gd name="connsiteX7" fmla="*/ 1767214 w 1889017"/>
                  <a:gd name="connsiteY7" fmla="*/ 757041 h 2151500"/>
                  <a:gd name="connsiteX8" fmla="*/ 1768966 w 1889017"/>
                  <a:gd name="connsiteY8" fmla="*/ 747281 h 2151500"/>
                  <a:gd name="connsiteX9" fmla="*/ 1767214 w 1889017"/>
                  <a:gd name="connsiteY9" fmla="*/ 740190 h 2151500"/>
                  <a:gd name="connsiteX10" fmla="*/ 1764962 w 1889017"/>
                  <a:gd name="connsiteY10" fmla="*/ 726009 h 2151500"/>
                  <a:gd name="connsiteX11" fmla="*/ 1767214 w 1889017"/>
                  <a:gd name="connsiteY11" fmla="*/ 716249 h 2151500"/>
                  <a:gd name="connsiteX12" fmla="*/ 1768966 w 1889017"/>
                  <a:gd name="connsiteY12" fmla="*/ 709158 h 2151500"/>
                  <a:gd name="connsiteX13" fmla="*/ 1767214 w 1889017"/>
                  <a:gd name="connsiteY13" fmla="*/ 700732 h 2151500"/>
                  <a:gd name="connsiteX14" fmla="*/ 1764545 w 1889017"/>
                  <a:gd name="connsiteY14" fmla="*/ 690972 h 2151500"/>
                  <a:gd name="connsiteX15" fmla="*/ 1789823 w 1889017"/>
                  <a:gd name="connsiteY15" fmla="*/ 648428 h 2151500"/>
                  <a:gd name="connsiteX16" fmla="*/ 1831453 w 1889017"/>
                  <a:gd name="connsiteY16" fmla="*/ 647093 h 2151500"/>
                  <a:gd name="connsiteX17" fmla="*/ 1843383 w 1889017"/>
                  <a:gd name="connsiteY17" fmla="*/ 649762 h 2151500"/>
                  <a:gd name="connsiteX18" fmla="*/ 1889017 w 1889017"/>
                  <a:gd name="connsiteY18" fmla="*/ 636916 h 2151500"/>
                  <a:gd name="connsiteX19" fmla="*/ 1863739 w 1889017"/>
                  <a:gd name="connsiteY19" fmla="*/ 605466 h 2151500"/>
                  <a:gd name="connsiteX20" fmla="*/ 1833205 w 1889017"/>
                  <a:gd name="connsiteY20" fmla="*/ 564256 h 2151500"/>
                  <a:gd name="connsiteX21" fmla="*/ 1828366 w 1889017"/>
                  <a:gd name="connsiteY21" fmla="*/ 554496 h 2151500"/>
                  <a:gd name="connsiteX22" fmla="*/ 1816436 w 1889017"/>
                  <a:gd name="connsiteY22" fmla="*/ 538980 h 2151500"/>
                  <a:gd name="connsiteX23" fmla="*/ 1812014 w 1889017"/>
                  <a:gd name="connsiteY23" fmla="*/ 534559 h 2151500"/>
                  <a:gd name="connsiteX24" fmla="*/ 1798249 w 1889017"/>
                  <a:gd name="connsiteY24" fmla="*/ 506196 h 2151500"/>
                  <a:gd name="connsiteX25" fmla="*/ 1797332 w 1889017"/>
                  <a:gd name="connsiteY25" fmla="*/ 503109 h 2151500"/>
                  <a:gd name="connsiteX26" fmla="*/ 1767631 w 1889017"/>
                  <a:gd name="connsiteY26" fmla="*/ 476999 h 2151500"/>
                  <a:gd name="connsiteX27" fmla="*/ 1736597 w 1889017"/>
                  <a:gd name="connsiteY27" fmla="*/ 487593 h 2151500"/>
                  <a:gd name="connsiteX28" fmla="*/ 1717575 w 1889017"/>
                  <a:gd name="connsiteY28" fmla="*/ 501357 h 2151500"/>
                  <a:gd name="connsiteX29" fmla="*/ 1657341 w 1889017"/>
                  <a:gd name="connsiteY29" fmla="*/ 503109 h 2151500"/>
                  <a:gd name="connsiteX30" fmla="*/ 1637819 w 1889017"/>
                  <a:gd name="connsiteY30" fmla="*/ 465904 h 2151500"/>
                  <a:gd name="connsiteX31" fmla="*/ 1629811 w 1889017"/>
                  <a:gd name="connsiteY31" fmla="*/ 444214 h 2151500"/>
                  <a:gd name="connsiteX32" fmla="*/ 1523024 w 1889017"/>
                  <a:gd name="connsiteY32" fmla="*/ 409678 h 2151500"/>
                  <a:gd name="connsiteX33" fmla="*/ 1453446 w 1889017"/>
                  <a:gd name="connsiteY33" fmla="*/ 466404 h 2151500"/>
                  <a:gd name="connsiteX34" fmla="*/ 1435759 w 1889017"/>
                  <a:gd name="connsiteY34" fmla="*/ 524882 h 2151500"/>
                  <a:gd name="connsiteX35" fmla="*/ 1408730 w 1889017"/>
                  <a:gd name="connsiteY35" fmla="*/ 587781 h 2151500"/>
                  <a:gd name="connsiteX36" fmla="*/ 1391460 w 1889017"/>
                  <a:gd name="connsiteY36" fmla="*/ 640920 h 2151500"/>
                  <a:gd name="connsiteX37" fmla="*/ 1365348 w 1889017"/>
                  <a:gd name="connsiteY37" fmla="*/ 693642 h 2151500"/>
                  <a:gd name="connsiteX38" fmla="*/ 1345408 w 1889017"/>
                  <a:gd name="connsiteY38" fmla="*/ 711827 h 2151500"/>
                  <a:gd name="connsiteX39" fmla="*/ 1344074 w 1889017"/>
                  <a:gd name="connsiteY39" fmla="*/ 714497 h 2151500"/>
                  <a:gd name="connsiteX40" fmla="*/ 1327221 w 1889017"/>
                  <a:gd name="connsiteY40" fmla="*/ 726426 h 2151500"/>
                  <a:gd name="connsiteX41" fmla="*/ 1306865 w 1889017"/>
                  <a:gd name="connsiteY41" fmla="*/ 702484 h 2151500"/>
                  <a:gd name="connsiteX42" fmla="*/ 1306448 w 1889017"/>
                  <a:gd name="connsiteY42" fmla="*/ 699815 h 2151500"/>
                  <a:gd name="connsiteX43" fmla="*/ 1288261 w 1889017"/>
                  <a:gd name="connsiteY43" fmla="*/ 667948 h 2151500"/>
                  <a:gd name="connsiteX44" fmla="*/ 1271910 w 1889017"/>
                  <a:gd name="connsiteY44" fmla="*/ 689638 h 2151500"/>
                  <a:gd name="connsiteX45" fmla="*/ 1259979 w 1889017"/>
                  <a:gd name="connsiteY45" fmla="*/ 708657 h 2151500"/>
                  <a:gd name="connsiteX46" fmla="*/ 1193989 w 1889017"/>
                  <a:gd name="connsiteY46" fmla="*/ 736603 h 2151500"/>
                  <a:gd name="connsiteX47" fmla="*/ 1186897 w 1889017"/>
                  <a:gd name="connsiteY47" fmla="*/ 737938 h 2151500"/>
                  <a:gd name="connsiteX48" fmla="*/ 1172715 w 1889017"/>
                  <a:gd name="connsiteY48" fmla="*/ 743694 h 2151500"/>
                  <a:gd name="connsiteX49" fmla="*/ 1169628 w 1889017"/>
                  <a:gd name="connsiteY49" fmla="*/ 754789 h 2151500"/>
                  <a:gd name="connsiteX50" fmla="*/ 1164789 w 1889017"/>
                  <a:gd name="connsiteY50" fmla="*/ 772057 h 2151500"/>
                  <a:gd name="connsiteX51" fmla="*/ 1107642 w 1889017"/>
                  <a:gd name="connsiteY51" fmla="*/ 796416 h 2151500"/>
                  <a:gd name="connsiteX52" fmla="*/ 1081529 w 1889017"/>
                  <a:gd name="connsiteY52" fmla="*/ 776061 h 2151500"/>
                  <a:gd name="connsiteX53" fmla="*/ 1068681 w 1889017"/>
                  <a:gd name="connsiteY53" fmla="*/ 763214 h 2151500"/>
                  <a:gd name="connsiteX54" fmla="*/ 1046073 w 1889017"/>
                  <a:gd name="connsiteY54" fmla="*/ 719335 h 2151500"/>
                  <a:gd name="connsiteX55" fmla="*/ 1046490 w 1889017"/>
                  <a:gd name="connsiteY55" fmla="*/ 695894 h 2151500"/>
                  <a:gd name="connsiteX56" fmla="*/ 1049577 w 1889017"/>
                  <a:gd name="connsiteY56" fmla="*/ 651181 h 2151500"/>
                  <a:gd name="connsiteX57" fmla="*/ 1047324 w 1889017"/>
                  <a:gd name="connsiteY57" fmla="*/ 614893 h 2151500"/>
                  <a:gd name="connsiteX58" fmla="*/ 1044237 w 1889017"/>
                  <a:gd name="connsiteY58" fmla="*/ 584778 h 2151500"/>
                  <a:gd name="connsiteX59" fmla="*/ 1051329 w 1889017"/>
                  <a:gd name="connsiteY59" fmla="*/ 540481 h 2151500"/>
                  <a:gd name="connsiteX60" fmla="*/ 1058003 w 1889017"/>
                  <a:gd name="connsiteY60" fmla="*/ 505528 h 2151500"/>
                  <a:gd name="connsiteX61" fmla="*/ 1061090 w 1889017"/>
                  <a:gd name="connsiteY61" fmla="*/ 487343 h 2151500"/>
                  <a:gd name="connsiteX62" fmla="*/ 1063342 w 1889017"/>
                  <a:gd name="connsiteY62" fmla="*/ 447050 h 2151500"/>
                  <a:gd name="connsiteX63" fmla="*/ 1043403 w 1889017"/>
                  <a:gd name="connsiteY63" fmla="*/ 440377 h 2151500"/>
                  <a:gd name="connsiteX64" fmla="*/ 1029221 w 1889017"/>
                  <a:gd name="connsiteY64" fmla="*/ 438125 h 2151500"/>
                  <a:gd name="connsiteX65" fmla="*/ 995099 w 1889017"/>
                  <a:gd name="connsiteY65" fmla="*/ 402671 h 2151500"/>
                  <a:gd name="connsiteX66" fmla="*/ 976495 w 1889017"/>
                  <a:gd name="connsiteY66" fmla="*/ 374725 h 2151500"/>
                  <a:gd name="connsiteX67" fmla="*/ 964064 w 1889017"/>
                  <a:gd name="connsiteY67" fmla="*/ 361878 h 2151500"/>
                  <a:gd name="connsiteX68" fmla="*/ 962729 w 1889017"/>
                  <a:gd name="connsiteY68" fmla="*/ 307822 h 2151500"/>
                  <a:gd name="connsiteX69" fmla="*/ 958308 w 1889017"/>
                  <a:gd name="connsiteY69" fmla="*/ 264443 h 2151500"/>
                  <a:gd name="connsiteX70" fmla="*/ 933030 w 1889017"/>
                  <a:gd name="connsiteY70" fmla="*/ 257769 h 2151500"/>
                  <a:gd name="connsiteX71" fmla="*/ 899325 w 1889017"/>
                  <a:gd name="connsiteY71" fmla="*/ 242670 h 2151500"/>
                  <a:gd name="connsiteX72" fmla="*/ 904163 w 1889017"/>
                  <a:gd name="connsiteY72" fmla="*/ 212556 h 2151500"/>
                  <a:gd name="connsiteX73" fmla="*/ 909003 w 1889017"/>
                  <a:gd name="connsiteY73" fmla="*/ 205465 h 2151500"/>
                  <a:gd name="connsiteX74" fmla="*/ 912506 w 1889017"/>
                  <a:gd name="connsiteY74" fmla="*/ 195705 h 2151500"/>
                  <a:gd name="connsiteX75" fmla="*/ 905415 w 1889017"/>
                  <a:gd name="connsiteY75" fmla="*/ 183275 h 2151500"/>
                  <a:gd name="connsiteX76" fmla="*/ 900076 w 1889017"/>
                  <a:gd name="connsiteY76" fmla="*/ 175767 h 2151500"/>
                  <a:gd name="connsiteX77" fmla="*/ 888146 w 1889017"/>
                  <a:gd name="connsiteY77" fmla="*/ 150991 h 2151500"/>
                  <a:gd name="connsiteX78" fmla="*/ 877551 w 1889017"/>
                  <a:gd name="connsiteY78" fmla="*/ 128885 h 2151500"/>
                  <a:gd name="connsiteX79" fmla="*/ 849603 w 1889017"/>
                  <a:gd name="connsiteY79" fmla="*/ 99688 h 2151500"/>
                  <a:gd name="connsiteX80" fmla="*/ 821655 w 1889017"/>
                  <a:gd name="connsiteY80" fmla="*/ 100605 h 2151500"/>
                  <a:gd name="connsiteX81" fmla="*/ 800381 w 1889017"/>
                  <a:gd name="connsiteY81" fmla="*/ 103692 h 2151500"/>
                  <a:gd name="connsiteX82" fmla="*/ 799964 w 1889017"/>
                  <a:gd name="connsiteY82" fmla="*/ 103692 h 2151500"/>
                  <a:gd name="connsiteX83" fmla="*/ 775603 w 1889017"/>
                  <a:gd name="connsiteY83" fmla="*/ 90845 h 2151500"/>
                  <a:gd name="connsiteX84" fmla="*/ 780943 w 1889017"/>
                  <a:gd name="connsiteY84" fmla="*/ 59396 h 2151500"/>
                  <a:gd name="connsiteX85" fmla="*/ 789785 w 1889017"/>
                  <a:gd name="connsiteY85" fmla="*/ 48801 h 2151500"/>
                  <a:gd name="connsiteX86" fmla="*/ 792455 w 1889017"/>
                  <a:gd name="connsiteY86" fmla="*/ 20855 h 2151500"/>
                  <a:gd name="connsiteX87" fmla="*/ 788034 w 1889017"/>
                  <a:gd name="connsiteY87" fmla="*/ 12847 h 2151500"/>
                  <a:gd name="connsiteX88" fmla="*/ 781360 w 1889017"/>
                  <a:gd name="connsiteY88" fmla="*/ 0 h 2151500"/>
                  <a:gd name="connsiteX89" fmla="*/ 772516 w 1889017"/>
                  <a:gd name="connsiteY89" fmla="*/ 24776 h 2151500"/>
                  <a:gd name="connsiteX90" fmla="*/ 749490 w 1889017"/>
                  <a:gd name="connsiteY90" fmla="*/ 45131 h 2151500"/>
                  <a:gd name="connsiteX91" fmla="*/ 742399 w 1889017"/>
                  <a:gd name="connsiteY91" fmla="*/ 49969 h 2151500"/>
                  <a:gd name="connsiteX92" fmla="*/ 736642 w 1889017"/>
                  <a:gd name="connsiteY92" fmla="*/ 54390 h 2151500"/>
                  <a:gd name="connsiteX93" fmla="*/ 723795 w 1889017"/>
                  <a:gd name="connsiteY93" fmla="*/ 63233 h 2151500"/>
                  <a:gd name="connsiteX94" fmla="*/ 706109 w 1889017"/>
                  <a:gd name="connsiteY94" fmla="*/ 66736 h 2151500"/>
                  <a:gd name="connsiteX95" fmla="*/ 694179 w 1889017"/>
                  <a:gd name="connsiteY95" fmla="*/ 68989 h 2151500"/>
                  <a:gd name="connsiteX96" fmla="*/ 678244 w 1889017"/>
                  <a:gd name="connsiteY96" fmla="*/ 113285 h 2151500"/>
                  <a:gd name="connsiteX97" fmla="*/ 685335 w 1889017"/>
                  <a:gd name="connsiteY97" fmla="*/ 130970 h 2151500"/>
                  <a:gd name="connsiteX98" fmla="*/ 692009 w 1889017"/>
                  <a:gd name="connsiteY98" fmla="*/ 144735 h 2151500"/>
                  <a:gd name="connsiteX99" fmla="*/ 685836 w 1889017"/>
                  <a:gd name="connsiteY99" fmla="*/ 172180 h 2151500"/>
                  <a:gd name="connsiteX100" fmla="*/ 679162 w 1889017"/>
                  <a:gd name="connsiteY100" fmla="*/ 181023 h 2151500"/>
                  <a:gd name="connsiteX101" fmla="*/ 680079 w 1889017"/>
                  <a:gd name="connsiteY101" fmla="*/ 190783 h 2151500"/>
                  <a:gd name="connsiteX102" fmla="*/ 681831 w 1889017"/>
                  <a:gd name="connsiteY102" fmla="*/ 205381 h 2151500"/>
                  <a:gd name="connsiteX103" fmla="*/ 677827 w 1889017"/>
                  <a:gd name="connsiteY103" fmla="*/ 217811 h 2151500"/>
                  <a:gd name="connsiteX104" fmla="*/ 677409 w 1889017"/>
                  <a:gd name="connsiteY104" fmla="*/ 230658 h 2151500"/>
                  <a:gd name="connsiteX105" fmla="*/ 697349 w 1889017"/>
                  <a:gd name="connsiteY105" fmla="*/ 249261 h 2151500"/>
                  <a:gd name="connsiteX106" fmla="*/ 726131 w 1889017"/>
                  <a:gd name="connsiteY106" fmla="*/ 289136 h 2151500"/>
                  <a:gd name="connsiteX107" fmla="*/ 717287 w 1889017"/>
                  <a:gd name="connsiteY107" fmla="*/ 316581 h 2151500"/>
                  <a:gd name="connsiteX108" fmla="*/ 714201 w 1889017"/>
                  <a:gd name="connsiteY108" fmla="*/ 322754 h 2151500"/>
                  <a:gd name="connsiteX109" fmla="*/ 714618 w 1889017"/>
                  <a:gd name="connsiteY109" fmla="*/ 338270 h 2151500"/>
                  <a:gd name="connsiteX110" fmla="*/ 719957 w 1889017"/>
                  <a:gd name="connsiteY110" fmla="*/ 350200 h 2151500"/>
                  <a:gd name="connsiteX111" fmla="*/ 711531 w 1889017"/>
                  <a:gd name="connsiteY111" fmla="*/ 385153 h 2151500"/>
                  <a:gd name="connsiteX112" fmla="*/ 706693 w 1889017"/>
                  <a:gd name="connsiteY112" fmla="*/ 392243 h 2151500"/>
                  <a:gd name="connsiteX113" fmla="*/ 699601 w 1889017"/>
                  <a:gd name="connsiteY113" fmla="*/ 417937 h 2151500"/>
                  <a:gd name="connsiteX114" fmla="*/ 696514 w 1889017"/>
                  <a:gd name="connsiteY114" fmla="*/ 436957 h 2151500"/>
                  <a:gd name="connsiteX115" fmla="*/ 680162 w 1889017"/>
                  <a:gd name="connsiteY115" fmla="*/ 462233 h 2151500"/>
                  <a:gd name="connsiteX116" fmla="*/ 671319 w 1889017"/>
                  <a:gd name="connsiteY116" fmla="*/ 472828 h 2151500"/>
                  <a:gd name="connsiteX117" fmla="*/ 668232 w 1889017"/>
                  <a:gd name="connsiteY117" fmla="*/ 477666 h 2151500"/>
                  <a:gd name="connsiteX118" fmla="*/ 648711 w 1889017"/>
                  <a:gd name="connsiteY118" fmla="*/ 500273 h 2151500"/>
                  <a:gd name="connsiteX119" fmla="*/ 640702 w 1889017"/>
                  <a:gd name="connsiteY119" fmla="*/ 505612 h 2151500"/>
                  <a:gd name="connsiteX120" fmla="*/ 633193 w 1889017"/>
                  <a:gd name="connsiteY120" fmla="*/ 513620 h 2151500"/>
                  <a:gd name="connsiteX121" fmla="*/ 635446 w 1889017"/>
                  <a:gd name="connsiteY121" fmla="*/ 516707 h 2151500"/>
                  <a:gd name="connsiteX122" fmla="*/ 638533 w 1889017"/>
                  <a:gd name="connsiteY122" fmla="*/ 522046 h 2151500"/>
                  <a:gd name="connsiteX123" fmla="*/ 635029 w 1889017"/>
                  <a:gd name="connsiteY123" fmla="*/ 546404 h 2151500"/>
                  <a:gd name="connsiteX124" fmla="*/ 628855 w 1889017"/>
                  <a:gd name="connsiteY124" fmla="*/ 554413 h 2151500"/>
                  <a:gd name="connsiteX125" fmla="*/ 620012 w 1889017"/>
                  <a:gd name="connsiteY125" fmla="*/ 574350 h 2151500"/>
                  <a:gd name="connsiteX126" fmla="*/ 624016 w 1889017"/>
                  <a:gd name="connsiteY126" fmla="*/ 604882 h 2151500"/>
                  <a:gd name="connsiteX127" fmla="*/ 658555 w 1889017"/>
                  <a:gd name="connsiteY127" fmla="*/ 668198 h 2151500"/>
                  <a:gd name="connsiteX128" fmla="*/ 681164 w 1889017"/>
                  <a:gd name="connsiteY128" fmla="*/ 669950 h 2151500"/>
                  <a:gd name="connsiteX129" fmla="*/ 717955 w 1889017"/>
                  <a:gd name="connsiteY129" fmla="*/ 685467 h 2151500"/>
                  <a:gd name="connsiteX130" fmla="*/ 700686 w 1889017"/>
                  <a:gd name="connsiteY130" fmla="*/ 759877 h 2151500"/>
                  <a:gd name="connsiteX131" fmla="*/ 686086 w 1889017"/>
                  <a:gd name="connsiteY131" fmla="*/ 787323 h 2151500"/>
                  <a:gd name="connsiteX132" fmla="*/ 703773 w 1889017"/>
                  <a:gd name="connsiteY132" fmla="*/ 803256 h 2151500"/>
                  <a:gd name="connsiteX133" fmla="*/ 710864 w 1889017"/>
                  <a:gd name="connsiteY133" fmla="*/ 805926 h 2151500"/>
                  <a:gd name="connsiteX134" fmla="*/ 737894 w 1889017"/>
                  <a:gd name="connsiteY134" fmla="*/ 876833 h 2151500"/>
                  <a:gd name="connsiteX135" fmla="*/ 726381 w 1889017"/>
                  <a:gd name="connsiteY135" fmla="*/ 895436 h 2151500"/>
                  <a:gd name="connsiteX136" fmla="*/ 717037 w 1889017"/>
                  <a:gd name="connsiteY136" fmla="*/ 910034 h 2151500"/>
                  <a:gd name="connsiteX137" fmla="*/ 716120 w 1889017"/>
                  <a:gd name="connsiteY137" fmla="*/ 926385 h 2151500"/>
                  <a:gd name="connsiteX138" fmla="*/ 716120 w 1889017"/>
                  <a:gd name="connsiteY138" fmla="*/ 943653 h 2151500"/>
                  <a:gd name="connsiteX139" fmla="*/ 704190 w 1889017"/>
                  <a:gd name="connsiteY139" fmla="*/ 960003 h 2151500"/>
                  <a:gd name="connsiteX140" fmla="*/ 644373 w 1889017"/>
                  <a:gd name="connsiteY140" fmla="*/ 947574 h 2151500"/>
                  <a:gd name="connsiteX141" fmla="*/ 630607 w 1889017"/>
                  <a:gd name="connsiteY141" fmla="*/ 941818 h 2151500"/>
                  <a:gd name="connsiteX142" fmla="*/ 563699 w 1889017"/>
                  <a:gd name="connsiteY142" fmla="*/ 898439 h 2151500"/>
                  <a:gd name="connsiteX143" fmla="*/ 560612 w 1889017"/>
                  <a:gd name="connsiteY143" fmla="*/ 893601 h 2151500"/>
                  <a:gd name="connsiteX144" fmla="*/ 550434 w 1889017"/>
                  <a:gd name="connsiteY144" fmla="*/ 884758 h 2151500"/>
                  <a:gd name="connsiteX145" fmla="*/ 519399 w 1889017"/>
                  <a:gd name="connsiteY145" fmla="*/ 902026 h 2151500"/>
                  <a:gd name="connsiteX146" fmla="*/ 511390 w 1889017"/>
                  <a:gd name="connsiteY146" fmla="*/ 914456 h 2151500"/>
                  <a:gd name="connsiteX147" fmla="*/ 516229 w 1889017"/>
                  <a:gd name="connsiteY147" fmla="*/ 932641 h 2151500"/>
                  <a:gd name="connsiteX148" fmla="*/ 524238 w 1889017"/>
                  <a:gd name="connsiteY148" fmla="*/ 961421 h 2151500"/>
                  <a:gd name="connsiteX149" fmla="*/ 510055 w 1889017"/>
                  <a:gd name="connsiteY149" fmla="*/ 991536 h 2151500"/>
                  <a:gd name="connsiteX150" fmla="*/ 503381 w 1889017"/>
                  <a:gd name="connsiteY150" fmla="*/ 1001297 h 2151500"/>
                  <a:gd name="connsiteX151" fmla="*/ 473264 w 1889017"/>
                  <a:gd name="connsiteY151" fmla="*/ 1035833 h 2151500"/>
                  <a:gd name="connsiteX152" fmla="*/ 428964 w 1889017"/>
                  <a:gd name="connsiteY152" fmla="*/ 1093393 h 2151500"/>
                  <a:gd name="connsiteX153" fmla="*/ 422791 w 1889017"/>
                  <a:gd name="connsiteY153" fmla="*/ 1110661 h 2151500"/>
                  <a:gd name="connsiteX154" fmla="*/ 414365 w 1889017"/>
                  <a:gd name="connsiteY154" fmla="*/ 1132767 h 2151500"/>
                  <a:gd name="connsiteX155" fmla="*/ 413030 w 1889017"/>
                  <a:gd name="connsiteY155" fmla="*/ 1164217 h 2151500"/>
                  <a:gd name="connsiteX156" fmla="*/ 410360 w 1889017"/>
                  <a:gd name="connsiteY156" fmla="*/ 1210265 h 2151500"/>
                  <a:gd name="connsiteX157" fmla="*/ 387334 w 1889017"/>
                  <a:gd name="connsiteY157" fmla="*/ 1211182 h 2151500"/>
                  <a:gd name="connsiteX158" fmla="*/ 357634 w 1889017"/>
                  <a:gd name="connsiteY158" fmla="*/ 1177981 h 2151500"/>
                  <a:gd name="connsiteX159" fmla="*/ 351461 w 1889017"/>
                  <a:gd name="connsiteY159" fmla="*/ 1168221 h 2151500"/>
                  <a:gd name="connsiteX160" fmla="*/ 335109 w 1889017"/>
                  <a:gd name="connsiteY160" fmla="*/ 1147866 h 2151500"/>
                  <a:gd name="connsiteX161" fmla="*/ 323179 w 1889017"/>
                  <a:gd name="connsiteY161" fmla="*/ 1133685 h 2151500"/>
                  <a:gd name="connsiteX162" fmla="*/ 320092 w 1889017"/>
                  <a:gd name="connsiteY162" fmla="*/ 1129264 h 2151500"/>
                  <a:gd name="connsiteX163" fmla="*/ 306827 w 1889017"/>
                  <a:gd name="connsiteY163" fmla="*/ 1122173 h 2151500"/>
                  <a:gd name="connsiteX164" fmla="*/ 288223 w 1889017"/>
                  <a:gd name="connsiteY164" fmla="*/ 1146114 h 2151500"/>
                  <a:gd name="connsiteX165" fmla="*/ 269619 w 1889017"/>
                  <a:gd name="connsiteY165" fmla="*/ 1174477 h 2151500"/>
                  <a:gd name="connsiteX166" fmla="*/ 205381 w 1889017"/>
                  <a:gd name="connsiteY166" fmla="*/ 1182903 h 2151500"/>
                  <a:gd name="connsiteX167" fmla="*/ 184107 w 1889017"/>
                  <a:gd name="connsiteY167" fmla="*/ 1181568 h 2151500"/>
                  <a:gd name="connsiteX168" fmla="*/ 183189 w 1889017"/>
                  <a:gd name="connsiteY168" fmla="*/ 1181568 h 2151500"/>
                  <a:gd name="connsiteX169" fmla="*/ 136220 w 1889017"/>
                  <a:gd name="connsiteY169" fmla="*/ 1224530 h 2151500"/>
                  <a:gd name="connsiteX170" fmla="*/ 131798 w 1889017"/>
                  <a:gd name="connsiteY170" fmla="*/ 1240046 h 2151500"/>
                  <a:gd name="connsiteX171" fmla="*/ 123372 w 1889017"/>
                  <a:gd name="connsiteY171" fmla="*/ 1312705 h 2151500"/>
                  <a:gd name="connsiteX172" fmla="*/ 141559 w 1889017"/>
                  <a:gd name="connsiteY172" fmla="*/ 1337982 h 2151500"/>
                  <a:gd name="connsiteX173" fmla="*/ 161081 w 1889017"/>
                  <a:gd name="connsiteY173" fmla="*/ 1369848 h 2151500"/>
                  <a:gd name="connsiteX174" fmla="*/ 164168 w 1889017"/>
                  <a:gd name="connsiteY174" fmla="*/ 1379192 h 2151500"/>
                  <a:gd name="connsiteX175" fmla="*/ 160163 w 1889017"/>
                  <a:gd name="connsiteY175" fmla="*/ 1413728 h 2151500"/>
                  <a:gd name="connsiteX176" fmla="*/ 154407 w 1889017"/>
                  <a:gd name="connsiteY176" fmla="*/ 1419484 h 2151500"/>
                  <a:gd name="connsiteX177" fmla="*/ 149985 w 1889017"/>
                  <a:gd name="connsiteY177" fmla="*/ 1423905 h 2151500"/>
                  <a:gd name="connsiteX178" fmla="*/ 147732 w 1889017"/>
                  <a:gd name="connsiteY178" fmla="*/ 1434082 h 2151500"/>
                  <a:gd name="connsiteX179" fmla="*/ 146398 w 1889017"/>
                  <a:gd name="connsiteY179" fmla="*/ 1445177 h 2151500"/>
                  <a:gd name="connsiteX180" fmla="*/ 121119 w 1889017"/>
                  <a:gd name="connsiteY180" fmla="*/ 1467784 h 2151500"/>
                  <a:gd name="connsiteX181" fmla="*/ 114445 w 1889017"/>
                  <a:gd name="connsiteY181" fmla="*/ 1469536 h 2151500"/>
                  <a:gd name="connsiteX182" fmla="*/ 92337 w 1889017"/>
                  <a:gd name="connsiteY182" fmla="*/ 1495229 h 2151500"/>
                  <a:gd name="connsiteX183" fmla="*/ 88833 w 1889017"/>
                  <a:gd name="connsiteY183" fmla="*/ 1505824 h 2151500"/>
                  <a:gd name="connsiteX184" fmla="*/ 83077 w 1889017"/>
                  <a:gd name="connsiteY184" fmla="*/ 1530600 h 2151500"/>
                  <a:gd name="connsiteX185" fmla="*/ 89751 w 1889017"/>
                  <a:gd name="connsiteY185" fmla="*/ 1547868 h 2151500"/>
                  <a:gd name="connsiteX186" fmla="*/ 98177 w 1889017"/>
                  <a:gd name="connsiteY186" fmla="*/ 1574896 h 2151500"/>
                  <a:gd name="connsiteX187" fmla="*/ 90669 w 1889017"/>
                  <a:gd name="connsiteY187" fmla="*/ 1603676 h 2151500"/>
                  <a:gd name="connsiteX188" fmla="*/ 84495 w 1889017"/>
                  <a:gd name="connsiteY188" fmla="*/ 1624031 h 2151500"/>
                  <a:gd name="connsiteX189" fmla="*/ 86247 w 1889017"/>
                  <a:gd name="connsiteY189" fmla="*/ 1644385 h 2151500"/>
                  <a:gd name="connsiteX190" fmla="*/ 87165 w 1889017"/>
                  <a:gd name="connsiteY190" fmla="*/ 1674500 h 2151500"/>
                  <a:gd name="connsiteX191" fmla="*/ 76987 w 1889017"/>
                  <a:gd name="connsiteY191" fmla="*/ 1709954 h 2151500"/>
                  <a:gd name="connsiteX192" fmla="*/ 40195 w 1889017"/>
                  <a:gd name="connsiteY192" fmla="*/ 1731643 h 2151500"/>
                  <a:gd name="connsiteX193" fmla="*/ 21174 w 1889017"/>
                  <a:gd name="connsiteY193" fmla="*/ 1743572 h 2151500"/>
                  <a:gd name="connsiteX194" fmla="*/ 14083 w 1889017"/>
                  <a:gd name="connsiteY194" fmla="*/ 1754167 h 2151500"/>
                  <a:gd name="connsiteX195" fmla="*/ 5657 w 1889017"/>
                  <a:gd name="connsiteY195" fmla="*/ 1763009 h 2151500"/>
                  <a:gd name="connsiteX196" fmla="*/ 2570 w 1889017"/>
                  <a:gd name="connsiteY196" fmla="*/ 1774938 h 2151500"/>
                  <a:gd name="connsiteX197" fmla="*/ 16752 w 1889017"/>
                  <a:gd name="connsiteY197" fmla="*/ 1785533 h 2151500"/>
                  <a:gd name="connsiteX198" fmla="*/ 32687 w 1889017"/>
                  <a:gd name="connsiteY198" fmla="*/ 1797045 h 2151500"/>
                  <a:gd name="connsiteX199" fmla="*/ 47787 w 1889017"/>
                  <a:gd name="connsiteY199" fmla="*/ 1814730 h 2151500"/>
                  <a:gd name="connsiteX200" fmla="*/ 69895 w 1889017"/>
                  <a:gd name="connsiteY200" fmla="*/ 1838672 h 2151500"/>
                  <a:gd name="connsiteX201" fmla="*/ 89417 w 1889017"/>
                  <a:gd name="connsiteY201" fmla="*/ 1852436 h 2151500"/>
                  <a:gd name="connsiteX202" fmla="*/ 102265 w 1889017"/>
                  <a:gd name="connsiteY202" fmla="*/ 1861279 h 2151500"/>
                  <a:gd name="connsiteX203" fmla="*/ 179351 w 1889017"/>
                  <a:gd name="connsiteY203" fmla="*/ 1877629 h 2151500"/>
                  <a:gd name="connsiteX204" fmla="*/ 192616 w 1889017"/>
                  <a:gd name="connsiteY204" fmla="*/ 1885637 h 2151500"/>
                  <a:gd name="connsiteX205" fmla="*/ 220064 w 1889017"/>
                  <a:gd name="connsiteY205" fmla="*/ 1899402 h 2151500"/>
                  <a:gd name="connsiteX206" fmla="*/ 251933 w 1889017"/>
                  <a:gd name="connsiteY206" fmla="*/ 1915335 h 2151500"/>
                  <a:gd name="connsiteX207" fmla="*/ 301571 w 1889017"/>
                  <a:gd name="connsiteY207" fmla="*/ 1925095 h 2151500"/>
                  <a:gd name="connsiteX208" fmla="*/ 350293 w 1889017"/>
                  <a:gd name="connsiteY208" fmla="*/ 1943698 h 2151500"/>
                  <a:gd name="connsiteX209" fmla="*/ 350710 w 1889017"/>
                  <a:gd name="connsiteY209" fmla="*/ 1945033 h 2151500"/>
                  <a:gd name="connsiteX210" fmla="*/ 352045 w 1889017"/>
                  <a:gd name="connsiteY210" fmla="*/ 1944115 h 2151500"/>
                  <a:gd name="connsiteX211" fmla="*/ 393258 w 1889017"/>
                  <a:gd name="connsiteY211" fmla="*/ 1909162 h 2151500"/>
                  <a:gd name="connsiteX212" fmla="*/ 401684 w 1889017"/>
                  <a:gd name="connsiteY212" fmla="*/ 1900319 h 2151500"/>
                  <a:gd name="connsiteX213" fmla="*/ 452157 w 1889017"/>
                  <a:gd name="connsiteY213" fmla="*/ 1871122 h 2151500"/>
                  <a:gd name="connsiteX214" fmla="*/ 473431 w 1889017"/>
                  <a:gd name="connsiteY214" fmla="*/ 1897233 h 2151500"/>
                  <a:gd name="connsiteX215" fmla="*/ 476935 w 1889017"/>
                  <a:gd name="connsiteY215" fmla="*/ 1905658 h 2151500"/>
                  <a:gd name="connsiteX216" fmla="*/ 503965 w 1889017"/>
                  <a:gd name="connsiteY216" fmla="*/ 1930017 h 2151500"/>
                  <a:gd name="connsiteX217" fmla="*/ 505717 w 1889017"/>
                  <a:gd name="connsiteY217" fmla="*/ 1931352 h 2151500"/>
                  <a:gd name="connsiteX218" fmla="*/ 548265 w 1889017"/>
                  <a:gd name="connsiteY218" fmla="*/ 1951289 h 2151500"/>
                  <a:gd name="connsiteX219" fmla="*/ 601825 w 1889017"/>
                  <a:gd name="connsiteY219" fmla="*/ 1978735 h 2151500"/>
                  <a:gd name="connsiteX220" fmla="*/ 613755 w 1889017"/>
                  <a:gd name="connsiteY220" fmla="*/ 1989329 h 2151500"/>
                  <a:gd name="connsiteX221" fmla="*/ 642120 w 1889017"/>
                  <a:gd name="connsiteY221" fmla="*/ 2009684 h 2151500"/>
                  <a:gd name="connsiteX222" fmla="*/ 668232 w 1889017"/>
                  <a:gd name="connsiteY222" fmla="*/ 2010601 h 2151500"/>
                  <a:gd name="connsiteX223" fmla="*/ 684585 w 1889017"/>
                  <a:gd name="connsiteY223" fmla="*/ 2008349 h 2151500"/>
                  <a:gd name="connsiteX224" fmla="*/ 725380 w 1889017"/>
                  <a:gd name="connsiteY224" fmla="*/ 2030038 h 2151500"/>
                  <a:gd name="connsiteX225" fmla="*/ 732471 w 1889017"/>
                  <a:gd name="connsiteY225" fmla="*/ 2037129 h 2151500"/>
                  <a:gd name="connsiteX226" fmla="*/ 764841 w 1889017"/>
                  <a:gd name="connsiteY226" fmla="*/ 2057483 h 2151500"/>
                  <a:gd name="connsiteX227" fmla="*/ 794541 w 1889017"/>
                  <a:gd name="connsiteY227" fmla="*/ 2099111 h 2151500"/>
                  <a:gd name="connsiteX228" fmla="*/ 801215 w 1889017"/>
                  <a:gd name="connsiteY228" fmla="*/ 2113292 h 2151500"/>
                  <a:gd name="connsiteX229" fmla="*/ 814981 w 1889017"/>
                  <a:gd name="connsiteY229" fmla="*/ 2114627 h 2151500"/>
                  <a:gd name="connsiteX230" fmla="*/ 863701 w 1889017"/>
                  <a:gd name="connsiteY230" fmla="*/ 2141238 h 2151500"/>
                  <a:gd name="connsiteX231" fmla="*/ 870375 w 1889017"/>
                  <a:gd name="connsiteY231" fmla="*/ 2151415 h 2151500"/>
                  <a:gd name="connsiteX232" fmla="*/ 888563 w 1889017"/>
                  <a:gd name="connsiteY232" fmla="*/ 2140320 h 2151500"/>
                  <a:gd name="connsiteX233" fmla="*/ 899659 w 1889017"/>
                  <a:gd name="connsiteY233" fmla="*/ 2131895 h 2151500"/>
                  <a:gd name="connsiteX234" fmla="*/ 912506 w 1889017"/>
                  <a:gd name="connsiteY234" fmla="*/ 2125722 h 2151500"/>
                  <a:gd name="connsiteX235" fmla="*/ 928024 w 1889017"/>
                  <a:gd name="connsiteY235" fmla="*/ 2113792 h 2151500"/>
                  <a:gd name="connsiteX236" fmla="*/ 928024 w 1889017"/>
                  <a:gd name="connsiteY236" fmla="*/ 2097859 h 2151500"/>
                  <a:gd name="connsiteX237" fmla="*/ 932863 w 1889017"/>
                  <a:gd name="connsiteY237" fmla="*/ 2068662 h 2151500"/>
                  <a:gd name="connsiteX238" fmla="*/ 957640 w 1889017"/>
                  <a:gd name="connsiteY238" fmla="*/ 2049141 h 2151500"/>
                  <a:gd name="connsiteX239" fmla="*/ 971823 w 1889017"/>
                  <a:gd name="connsiteY239" fmla="*/ 2040299 h 2151500"/>
                  <a:gd name="connsiteX240" fmla="*/ 1002858 w 1889017"/>
                  <a:gd name="connsiteY240" fmla="*/ 2006597 h 2151500"/>
                  <a:gd name="connsiteX241" fmla="*/ 1024549 w 1889017"/>
                  <a:gd name="connsiteY241" fmla="*/ 1958296 h 2151500"/>
                  <a:gd name="connsiteX242" fmla="*/ 1050244 w 1889017"/>
                  <a:gd name="connsiteY242" fmla="*/ 1904240 h 2151500"/>
                  <a:gd name="connsiteX243" fmla="*/ 1072352 w 1889017"/>
                  <a:gd name="connsiteY243" fmla="*/ 1881633 h 2151500"/>
                  <a:gd name="connsiteX244" fmla="*/ 1089205 w 1889017"/>
                  <a:gd name="connsiteY244" fmla="*/ 1865283 h 2151500"/>
                  <a:gd name="connsiteX245" fmla="*/ 1112647 w 1889017"/>
                  <a:gd name="connsiteY245" fmla="*/ 1836503 h 2151500"/>
                  <a:gd name="connsiteX246" fmla="*/ 1124577 w 1889017"/>
                  <a:gd name="connsiteY246" fmla="*/ 1821904 h 2151500"/>
                  <a:gd name="connsiteX247" fmla="*/ 1164872 w 1889017"/>
                  <a:gd name="connsiteY247" fmla="*/ 1778025 h 2151500"/>
                  <a:gd name="connsiteX248" fmla="*/ 1167542 w 1889017"/>
                  <a:gd name="connsiteY248" fmla="*/ 1775773 h 2151500"/>
                  <a:gd name="connsiteX249" fmla="*/ 1194156 w 1889017"/>
                  <a:gd name="connsiteY249" fmla="*/ 1741237 h 2151500"/>
                  <a:gd name="connsiteX250" fmla="*/ 1199912 w 1889017"/>
                  <a:gd name="connsiteY250" fmla="*/ 1702696 h 2151500"/>
                  <a:gd name="connsiteX251" fmla="*/ 1202164 w 1889017"/>
                  <a:gd name="connsiteY251" fmla="*/ 1681424 h 2151500"/>
                  <a:gd name="connsiteX252" fmla="*/ 1212342 w 1889017"/>
                  <a:gd name="connsiteY252" fmla="*/ 1621611 h 2151500"/>
                  <a:gd name="connsiteX253" fmla="*/ 1214094 w 1889017"/>
                  <a:gd name="connsiteY253" fmla="*/ 1612268 h 2151500"/>
                  <a:gd name="connsiteX254" fmla="*/ 1225190 w 1889017"/>
                  <a:gd name="connsiteY254" fmla="*/ 1564885 h 2151500"/>
                  <a:gd name="connsiteX255" fmla="*/ 1228277 w 1889017"/>
                  <a:gd name="connsiteY255" fmla="*/ 1556460 h 2151500"/>
                  <a:gd name="connsiteX256" fmla="*/ 1233616 w 1889017"/>
                  <a:gd name="connsiteY256" fmla="*/ 1530766 h 2151500"/>
                  <a:gd name="connsiteX257" fmla="*/ 1219851 w 1889017"/>
                  <a:gd name="connsiteY257" fmla="*/ 1521924 h 2151500"/>
                  <a:gd name="connsiteX258" fmla="*/ 1202581 w 1889017"/>
                  <a:gd name="connsiteY258" fmla="*/ 1513916 h 2151500"/>
                  <a:gd name="connsiteX259" fmla="*/ 1186230 w 1889017"/>
                  <a:gd name="connsiteY259" fmla="*/ 1479379 h 2151500"/>
                  <a:gd name="connsiteX260" fmla="*/ 1183560 w 1889017"/>
                  <a:gd name="connsiteY260" fmla="*/ 1450182 h 2151500"/>
                  <a:gd name="connsiteX261" fmla="*/ 1173382 w 1889017"/>
                  <a:gd name="connsiteY261" fmla="*/ 1403217 h 2151500"/>
                  <a:gd name="connsiteX262" fmla="*/ 1171630 w 1889017"/>
                  <a:gd name="connsiteY262" fmla="*/ 1400130 h 2151500"/>
                  <a:gd name="connsiteX263" fmla="*/ 1157865 w 1889017"/>
                  <a:gd name="connsiteY263" fmla="*/ 1353581 h 2151500"/>
                  <a:gd name="connsiteX264" fmla="*/ 1158282 w 1889017"/>
                  <a:gd name="connsiteY264" fmla="*/ 1336730 h 2151500"/>
                  <a:gd name="connsiteX265" fmla="*/ 1160535 w 1889017"/>
                  <a:gd name="connsiteY265" fmla="*/ 1303946 h 2151500"/>
                  <a:gd name="connsiteX266" fmla="*/ 1172965 w 1889017"/>
                  <a:gd name="connsiteY266" fmla="*/ 1289348 h 2151500"/>
                  <a:gd name="connsiteX267" fmla="*/ 1181809 w 1889017"/>
                  <a:gd name="connsiteY267" fmla="*/ 1279170 h 2151500"/>
                  <a:gd name="connsiteX268" fmla="*/ 1171213 w 1889017"/>
                  <a:gd name="connsiteY268" fmla="*/ 1273831 h 2151500"/>
                  <a:gd name="connsiteX269" fmla="*/ 1161869 w 1889017"/>
                  <a:gd name="connsiteY269" fmla="*/ 1269827 h 2151500"/>
                  <a:gd name="connsiteX270" fmla="*/ 1155695 w 1889017"/>
                  <a:gd name="connsiteY270" fmla="*/ 1262319 h 2151500"/>
                  <a:gd name="connsiteX271" fmla="*/ 1152609 w 1889017"/>
                  <a:gd name="connsiteY271" fmla="*/ 1257898 h 2151500"/>
                  <a:gd name="connsiteX272" fmla="*/ 1140678 w 1889017"/>
                  <a:gd name="connsiteY272" fmla="*/ 1251224 h 2151500"/>
                  <a:gd name="connsiteX273" fmla="*/ 1121657 w 1889017"/>
                  <a:gd name="connsiteY273" fmla="*/ 1237460 h 2151500"/>
                  <a:gd name="connsiteX274" fmla="*/ 1124744 w 1889017"/>
                  <a:gd name="connsiteY274" fmla="*/ 1191412 h 2151500"/>
                  <a:gd name="connsiteX275" fmla="*/ 1163288 w 1889017"/>
                  <a:gd name="connsiteY275" fmla="*/ 1159045 h 2151500"/>
                  <a:gd name="connsiteX276" fmla="*/ 1176552 w 1889017"/>
                  <a:gd name="connsiteY276" fmla="*/ 1154206 h 2151500"/>
                  <a:gd name="connsiteX277" fmla="*/ 1194740 w 1889017"/>
                  <a:gd name="connsiteY277" fmla="*/ 1145781 h 2151500"/>
                  <a:gd name="connsiteX278" fmla="*/ 1202248 w 1889017"/>
                  <a:gd name="connsiteY278" fmla="*/ 1123674 h 2151500"/>
                  <a:gd name="connsiteX279" fmla="*/ 1236369 w 1889017"/>
                  <a:gd name="connsiteY279" fmla="*/ 1092642 h 2151500"/>
                  <a:gd name="connsiteX280" fmla="*/ 1262065 w 1889017"/>
                  <a:gd name="connsiteY280" fmla="*/ 1096646 h 2151500"/>
                  <a:gd name="connsiteX281" fmla="*/ 1310786 w 1889017"/>
                  <a:gd name="connsiteY281" fmla="*/ 1092642 h 2151500"/>
                  <a:gd name="connsiteX282" fmla="*/ 1315625 w 1889017"/>
                  <a:gd name="connsiteY282" fmla="*/ 1076709 h 2151500"/>
                  <a:gd name="connsiteX283" fmla="*/ 1324051 w 1889017"/>
                  <a:gd name="connsiteY283" fmla="*/ 1053685 h 2151500"/>
                  <a:gd name="connsiteX284" fmla="*/ 1369268 w 1889017"/>
                  <a:gd name="connsiteY284" fmla="*/ 1046177 h 2151500"/>
                  <a:gd name="connsiteX285" fmla="*/ 1375442 w 1889017"/>
                  <a:gd name="connsiteY285" fmla="*/ 1047512 h 2151500"/>
                  <a:gd name="connsiteX286" fmla="*/ 1409981 w 1889017"/>
                  <a:gd name="connsiteY286" fmla="*/ 1045259 h 2151500"/>
                  <a:gd name="connsiteX287" fmla="*/ 1460454 w 1889017"/>
                  <a:gd name="connsiteY287" fmla="*/ 1048346 h 2151500"/>
                  <a:gd name="connsiteX288" fmla="*/ 1463540 w 1889017"/>
                  <a:gd name="connsiteY288" fmla="*/ 1050098 h 2151500"/>
                  <a:gd name="connsiteX289" fmla="*/ 1518019 w 1889017"/>
                  <a:gd name="connsiteY289" fmla="*/ 1053184 h 2151500"/>
                  <a:gd name="connsiteX290" fmla="*/ 1549470 w 1889017"/>
                  <a:gd name="connsiteY290" fmla="*/ 1050098 h 2151500"/>
                  <a:gd name="connsiteX291" fmla="*/ 1561401 w 1889017"/>
                  <a:gd name="connsiteY291" fmla="*/ 1053184 h 2151500"/>
                  <a:gd name="connsiteX292" fmla="*/ 1573831 w 1889017"/>
                  <a:gd name="connsiteY292" fmla="*/ 1044341 h 2151500"/>
                  <a:gd name="connsiteX293" fmla="*/ 1582257 w 1889017"/>
                  <a:gd name="connsiteY293" fmla="*/ 1032412 h 2151500"/>
                  <a:gd name="connsiteX294" fmla="*/ 1603531 w 1889017"/>
                  <a:gd name="connsiteY294" fmla="*/ 1019983 h 2151500"/>
                  <a:gd name="connsiteX295" fmla="*/ 1619048 w 1889017"/>
                  <a:gd name="connsiteY295" fmla="*/ 1011557 h 2151500"/>
                  <a:gd name="connsiteX296" fmla="*/ 1629644 w 1889017"/>
                  <a:gd name="connsiteY296" fmla="*/ 981025 h 2151500"/>
                  <a:gd name="connsiteX297" fmla="*/ 1630061 w 1889017"/>
                  <a:gd name="connsiteY297" fmla="*/ 973934 h 2151500"/>
                  <a:gd name="connsiteX298" fmla="*/ 1645995 w 1889017"/>
                  <a:gd name="connsiteY298" fmla="*/ 934060 h 2151500"/>
                  <a:gd name="connsiteX299" fmla="*/ 1660178 w 1889017"/>
                  <a:gd name="connsiteY299" fmla="*/ 925634 h 2151500"/>
                  <a:gd name="connsiteX300" fmla="*/ 1677447 w 1889017"/>
                  <a:gd name="connsiteY300" fmla="*/ 913205 h 2151500"/>
                  <a:gd name="connsiteX301" fmla="*/ 1730173 w 1889017"/>
                  <a:gd name="connsiteY301" fmla="*/ 874247 h 2151500"/>
                  <a:gd name="connsiteX302" fmla="*/ 1744356 w 1889017"/>
                  <a:gd name="connsiteY302" fmla="*/ 892433 h 2151500"/>
                  <a:gd name="connsiteX303" fmla="*/ 1729255 w 1889017"/>
                  <a:gd name="connsiteY303" fmla="*/ 922547 h 2151500"/>
                  <a:gd name="connsiteX304" fmla="*/ 1722163 w 1889017"/>
                  <a:gd name="connsiteY304" fmla="*/ 931390 h 2151500"/>
                  <a:gd name="connsiteX305" fmla="*/ 1721746 w 1889017"/>
                  <a:gd name="connsiteY305" fmla="*/ 931807 h 2151500"/>
                  <a:gd name="connsiteX306" fmla="*/ 1718243 w 1889017"/>
                  <a:gd name="connsiteY306" fmla="*/ 939816 h 2151500"/>
                  <a:gd name="connsiteX307" fmla="*/ 1726669 w 1889017"/>
                  <a:gd name="connsiteY307" fmla="*/ 944654 h 2151500"/>
                  <a:gd name="connsiteX308" fmla="*/ 1727586 w 1889017"/>
                  <a:gd name="connsiteY308" fmla="*/ 945071 h 2151500"/>
                  <a:gd name="connsiteX309" fmla="*/ 1728003 w 1889017"/>
                  <a:gd name="connsiteY309" fmla="*/ 945071 h 2151500"/>
                  <a:gd name="connsiteX310" fmla="*/ 1755034 w 1889017"/>
                  <a:gd name="connsiteY310" fmla="*/ 942819 h 2151500"/>
                  <a:gd name="connsiteX311" fmla="*/ 1770968 w 1889017"/>
                  <a:gd name="connsiteY311" fmla="*/ 940149 h 2151500"/>
                  <a:gd name="connsiteX312" fmla="*/ 1778978 w 1889017"/>
                  <a:gd name="connsiteY312" fmla="*/ 939732 h 2151500"/>
                  <a:gd name="connsiteX313" fmla="*/ 1816186 w 1889017"/>
                  <a:gd name="connsiteY313" fmla="*/ 929138 h 2151500"/>
                  <a:gd name="connsiteX314" fmla="*/ 1829451 w 1889017"/>
                  <a:gd name="connsiteY314" fmla="*/ 913622 h 2151500"/>
                  <a:gd name="connsiteX315" fmla="*/ 1844968 w 1889017"/>
                  <a:gd name="connsiteY315" fmla="*/ 895936 h 2151500"/>
                  <a:gd name="connsiteX316" fmla="*/ 1846303 w 1889017"/>
                  <a:gd name="connsiteY316" fmla="*/ 894601 h 2151500"/>
                  <a:gd name="connsiteX317" fmla="*/ 1855146 w 1889017"/>
                  <a:gd name="connsiteY317" fmla="*/ 873329 h 2151500"/>
                  <a:gd name="connsiteX318" fmla="*/ 1850475 w 1889017"/>
                  <a:gd name="connsiteY318" fmla="*/ 869158 h 215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</a:cxnLst>
                <a:rect l="l" t="t" r="r" b="b"/>
                <a:pathLst>
                  <a:path w="1889017" h="2151500" extrusionOk="0">
                    <a:moveTo>
                      <a:pt x="1850475" y="869158"/>
                    </a:moveTo>
                    <a:cubicBezTo>
                      <a:pt x="1848222" y="866072"/>
                      <a:pt x="1845635" y="862485"/>
                      <a:pt x="1844301" y="857646"/>
                    </a:cubicBezTo>
                    <a:cubicBezTo>
                      <a:pt x="1843383" y="854143"/>
                      <a:pt x="1843383" y="850556"/>
                      <a:pt x="1843383" y="847469"/>
                    </a:cubicBezTo>
                    <a:cubicBezTo>
                      <a:pt x="1843800" y="843965"/>
                      <a:pt x="1843800" y="842130"/>
                      <a:pt x="1842966" y="840795"/>
                    </a:cubicBezTo>
                    <a:cubicBezTo>
                      <a:pt x="1840714" y="838126"/>
                      <a:pt x="1836292" y="837709"/>
                      <a:pt x="1829701" y="837709"/>
                    </a:cubicBezTo>
                    <a:cubicBezTo>
                      <a:pt x="1824862" y="837709"/>
                      <a:pt x="1820357" y="837292"/>
                      <a:pt x="1815936" y="836374"/>
                    </a:cubicBezTo>
                    <a:cubicBezTo>
                      <a:pt x="1795579" y="829700"/>
                      <a:pt x="1761458" y="791160"/>
                      <a:pt x="1764545" y="766802"/>
                    </a:cubicBezTo>
                    <a:cubicBezTo>
                      <a:pt x="1764962" y="763298"/>
                      <a:pt x="1765879" y="760128"/>
                      <a:pt x="1767214" y="757041"/>
                    </a:cubicBezTo>
                    <a:cubicBezTo>
                      <a:pt x="1768132" y="753538"/>
                      <a:pt x="1769467" y="750868"/>
                      <a:pt x="1768966" y="747281"/>
                    </a:cubicBezTo>
                    <a:cubicBezTo>
                      <a:pt x="1768549" y="745029"/>
                      <a:pt x="1768048" y="742443"/>
                      <a:pt x="1767214" y="740190"/>
                    </a:cubicBezTo>
                    <a:cubicBezTo>
                      <a:pt x="1765879" y="736186"/>
                      <a:pt x="1764545" y="731348"/>
                      <a:pt x="1764962" y="726009"/>
                    </a:cubicBezTo>
                    <a:cubicBezTo>
                      <a:pt x="1765379" y="722505"/>
                      <a:pt x="1766297" y="718918"/>
                      <a:pt x="1767214" y="716249"/>
                    </a:cubicBezTo>
                    <a:cubicBezTo>
                      <a:pt x="1768132" y="713579"/>
                      <a:pt x="1768966" y="711410"/>
                      <a:pt x="1768966" y="709158"/>
                    </a:cubicBezTo>
                    <a:cubicBezTo>
                      <a:pt x="1768966" y="706488"/>
                      <a:pt x="1768048" y="703819"/>
                      <a:pt x="1767214" y="700732"/>
                    </a:cubicBezTo>
                    <a:cubicBezTo>
                      <a:pt x="1766297" y="697646"/>
                      <a:pt x="1764962" y="694559"/>
                      <a:pt x="1764545" y="690972"/>
                    </a:cubicBezTo>
                    <a:cubicBezTo>
                      <a:pt x="1762292" y="673287"/>
                      <a:pt x="1771636" y="657270"/>
                      <a:pt x="1789823" y="648428"/>
                    </a:cubicBezTo>
                    <a:cubicBezTo>
                      <a:pt x="1805340" y="641337"/>
                      <a:pt x="1818605" y="644006"/>
                      <a:pt x="1831453" y="647093"/>
                    </a:cubicBezTo>
                    <a:cubicBezTo>
                      <a:pt x="1835458" y="648011"/>
                      <a:pt x="1839462" y="648845"/>
                      <a:pt x="1843383" y="649762"/>
                    </a:cubicBezTo>
                    <a:cubicBezTo>
                      <a:pt x="1861570" y="652432"/>
                      <a:pt x="1874835" y="645758"/>
                      <a:pt x="1889017" y="636916"/>
                    </a:cubicBezTo>
                    <a:cubicBezTo>
                      <a:pt x="1882343" y="624069"/>
                      <a:pt x="1874417" y="612974"/>
                      <a:pt x="1863739" y="605466"/>
                    </a:cubicBezTo>
                    <a:cubicBezTo>
                      <a:pt x="1847388" y="594371"/>
                      <a:pt x="1840714" y="579355"/>
                      <a:pt x="1833205" y="564256"/>
                    </a:cubicBezTo>
                    <a:cubicBezTo>
                      <a:pt x="1831870" y="561170"/>
                      <a:pt x="1830118" y="557583"/>
                      <a:pt x="1828366" y="554496"/>
                    </a:cubicBezTo>
                    <a:cubicBezTo>
                      <a:pt x="1824862" y="546988"/>
                      <a:pt x="1821275" y="543902"/>
                      <a:pt x="1816436" y="538980"/>
                    </a:cubicBezTo>
                    <a:lnTo>
                      <a:pt x="1812014" y="534559"/>
                    </a:lnTo>
                    <a:cubicBezTo>
                      <a:pt x="1801419" y="523464"/>
                      <a:pt x="1800502" y="517708"/>
                      <a:pt x="1798249" y="506196"/>
                    </a:cubicBezTo>
                    <a:lnTo>
                      <a:pt x="1797332" y="503109"/>
                    </a:lnTo>
                    <a:cubicBezTo>
                      <a:pt x="1794662" y="489345"/>
                      <a:pt x="1785819" y="481420"/>
                      <a:pt x="1767631" y="476999"/>
                    </a:cubicBezTo>
                    <a:cubicBezTo>
                      <a:pt x="1753031" y="473495"/>
                      <a:pt x="1746357" y="479251"/>
                      <a:pt x="1736597" y="487593"/>
                    </a:cubicBezTo>
                    <a:cubicBezTo>
                      <a:pt x="1731257" y="492014"/>
                      <a:pt x="1725501" y="497353"/>
                      <a:pt x="1717575" y="501357"/>
                    </a:cubicBezTo>
                    <a:cubicBezTo>
                      <a:pt x="1700306" y="510200"/>
                      <a:pt x="1674193" y="515956"/>
                      <a:pt x="1657341" y="503109"/>
                    </a:cubicBezTo>
                    <a:cubicBezTo>
                      <a:pt x="1646245" y="494684"/>
                      <a:pt x="1641824" y="480085"/>
                      <a:pt x="1637819" y="465904"/>
                    </a:cubicBezTo>
                    <a:cubicBezTo>
                      <a:pt x="1635567" y="457478"/>
                      <a:pt x="1633398" y="449970"/>
                      <a:pt x="1629811" y="444214"/>
                    </a:cubicBezTo>
                    <a:cubicBezTo>
                      <a:pt x="1610288" y="411847"/>
                      <a:pt x="1562068" y="403422"/>
                      <a:pt x="1523024" y="409678"/>
                    </a:cubicBezTo>
                    <a:cubicBezTo>
                      <a:pt x="1484481" y="415434"/>
                      <a:pt x="1468963" y="428281"/>
                      <a:pt x="1453446" y="466404"/>
                    </a:cubicBezTo>
                    <a:cubicBezTo>
                      <a:pt x="1445437" y="486342"/>
                      <a:pt x="1439681" y="503193"/>
                      <a:pt x="1435759" y="524882"/>
                    </a:cubicBezTo>
                    <a:cubicBezTo>
                      <a:pt x="1432672" y="545237"/>
                      <a:pt x="1423829" y="566092"/>
                      <a:pt x="1408730" y="587781"/>
                    </a:cubicBezTo>
                    <a:cubicBezTo>
                      <a:pt x="1395464" y="607718"/>
                      <a:pt x="1387456" y="620982"/>
                      <a:pt x="1391460" y="640920"/>
                    </a:cubicBezTo>
                    <a:cubicBezTo>
                      <a:pt x="1397633" y="669700"/>
                      <a:pt x="1386120" y="679460"/>
                      <a:pt x="1365348" y="693642"/>
                    </a:cubicBezTo>
                    <a:cubicBezTo>
                      <a:pt x="1357338" y="699397"/>
                      <a:pt x="1351165" y="704236"/>
                      <a:pt x="1345408" y="711827"/>
                    </a:cubicBezTo>
                    <a:cubicBezTo>
                      <a:pt x="1344991" y="712745"/>
                      <a:pt x="1344491" y="713162"/>
                      <a:pt x="1344074" y="714497"/>
                    </a:cubicBezTo>
                    <a:cubicBezTo>
                      <a:pt x="1341404" y="718501"/>
                      <a:pt x="1337400" y="725091"/>
                      <a:pt x="1327221" y="726426"/>
                    </a:cubicBezTo>
                    <a:cubicBezTo>
                      <a:pt x="1311286" y="727760"/>
                      <a:pt x="1308617" y="711327"/>
                      <a:pt x="1306865" y="702484"/>
                    </a:cubicBezTo>
                    <a:lnTo>
                      <a:pt x="1306448" y="699815"/>
                    </a:lnTo>
                    <a:cubicBezTo>
                      <a:pt x="1302944" y="679877"/>
                      <a:pt x="1296270" y="668365"/>
                      <a:pt x="1288261" y="667948"/>
                    </a:cubicBezTo>
                    <a:cubicBezTo>
                      <a:pt x="1282921" y="668365"/>
                      <a:pt x="1276331" y="680378"/>
                      <a:pt x="1271910" y="689638"/>
                    </a:cubicBezTo>
                    <a:cubicBezTo>
                      <a:pt x="1267904" y="697145"/>
                      <a:pt x="1264401" y="704236"/>
                      <a:pt x="1259979" y="708657"/>
                    </a:cubicBezTo>
                    <a:cubicBezTo>
                      <a:pt x="1244045" y="724174"/>
                      <a:pt x="1217431" y="731264"/>
                      <a:pt x="1193989" y="736603"/>
                    </a:cubicBezTo>
                    <a:cubicBezTo>
                      <a:pt x="1191736" y="737020"/>
                      <a:pt x="1189567" y="737521"/>
                      <a:pt x="1186897" y="737938"/>
                    </a:cubicBezTo>
                    <a:cubicBezTo>
                      <a:pt x="1179806" y="738856"/>
                      <a:pt x="1175385" y="740190"/>
                      <a:pt x="1172715" y="743694"/>
                    </a:cubicBezTo>
                    <a:cubicBezTo>
                      <a:pt x="1170462" y="746363"/>
                      <a:pt x="1170045" y="750368"/>
                      <a:pt x="1169628" y="754789"/>
                    </a:cubicBezTo>
                    <a:cubicBezTo>
                      <a:pt x="1169211" y="760128"/>
                      <a:pt x="1168293" y="766301"/>
                      <a:pt x="1164789" y="772057"/>
                    </a:cubicBezTo>
                    <a:cubicBezTo>
                      <a:pt x="1155028" y="787573"/>
                      <a:pt x="1127998" y="801755"/>
                      <a:pt x="1107642" y="796416"/>
                    </a:cubicBezTo>
                    <a:cubicBezTo>
                      <a:pt x="1096129" y="793329"/>
                      <a:pt x="1088120" y="783986"/>
                      <a:pt x="1081529" y="776061"/>
                    </a:cubicBezTo>
                    <a:cubicBezTo>
                      <a:pt x="1077108" y="770722"/>
                      <a:pt x="1073103" y="765884"/>
                      <a:pt x="1068681" y="763214"/>
                    </a:cubicBezTo>
                    <a:cubicBezTo>
                      <a:pt x="1048326" y="749950"/>
                      <a:pt x="1044738" y="745529"/>
                      <a:pt x="1046073" y="719335"/>
                    </a:cubicBezTo>
                    <a:cubicBezTo>
                      <a:pt x="1046490" y="711327"/>
                      <a:pt x="1046490" y="703402"/>
                      <a:pt x="1046490" y="695894"/>
                    </a:cubicBezTo>
                    <a:cubicBezTo>
                      <a:pt x="1046490" y="681295"/>
                      <a:pt x="1046490" y="667114"/>
                      <a:pt x="1049577" y="651181"/>
                    </a:cubicBezTo>
                    <a:cubicBezTo>
                      <a:pt x="1051829" y="639252"/>
                      <a:pt x="1049577" y="627239"/>
                      <a:pt x="1047324" y="614893"/>
                    </a:cubicBezTo>
                    <a:cubicBezTo>
                      <a:pt x="1045572" y="605132"/>
                      <a:pt x="1043820" y="595372"/>
                      <a:pt x="1044237" y="584778"/>
                    </a:cubicBezTo>
                    <a:cubicBezTo>
                      <a:pt x="1044654" y="569679"/>
                      <a:pt x="1048242" y="555080"/>
                      <a:pt x="1051329" y="540481"/>
                    </a:cubicBezTo>
                    <a:cubicBezTo>
                      <a:pt x="1053998" y="528970"/>
                      <a:pt x="1057085" y="517041"/>
                      <a:pt x="1058003" y="505528"/>
                    </a:cubicBezTo>
                    <a:cubicBezTo>
                      <a:pt x="1058420" y="500690"/>
                      <a:pt x="1059754" y="494434"/>
                      <a:pt x="1061090" y="487343"/>
                    </a:cubicBezTo>
                    <a:cubicBezTo>
                      <a:pt x="1063760" y="473578"/>
                      <a:pt x="1067764" y="455476"/>
                      <a:pt x="1063342" y="447050"/>
                    </a:cubicBezTo>
                    <a:cubicBezTo>
                      <a:pt x="1060673" y="442212"/>
                      <a:pt x="1053581" y="441295"/>
                      <a:pt x="1043403" y="440377"/>
                    </a:cubicBezTo>
                    <a:cubicBezTo>
                      <a:pt x="1038564" y="439960"/>
                      <a:pt x="1033225" y="439459"/>
                      <a:pt x="1029221" y="438125"/>
                    </a:cubicBezTo>
                    <a:cubicBezTo>
                      <a:pt x="1007112" y="431952"/>
                      <a:pt x="1000021" y="420439"/>
                      <a:pt x="995099" y="402671"/>
                    </a:cubicBezTo>
                    <a:cubicBezTo>
                      <a:pt x="991595" y="389407"/>
                      <a:pt x="984921" y="382734"/>
                      <a:pt x="976495" y="374725"/>
                    </a:cubicBezTo>
                    <a:cubicBezTo>
                      <a:pt x="972490" y="371221"/>
                      <a:pt x="968069" y="366717"/>
                      <a:pt x="964064" y="361878"/>
                    </a:cubicBezTo>
                    <a:cubicBezTo>
                      <a:pt x="949465" y="344610"/>
                      <a:pt x="956055" y="325090"/>
                      <a:pt x="962729" y="307822"/>
                    </a:cubicBezTo>
                    <a:cubicBezTo>
                      <a:pt x="970238" y="286967"/>
                      <a:pt x="973325" y="275038"/>
                      <a:pt x="958308" y="264443"/>
                    </a:cubicBezTo>
                    <a:cubicBezTo>
                      <a:pt x="952551" y="260439"/>
                      <a:pt x="942373" y="259104"/>
                      <a:pt x="933030" y="257769"/>
                    </a:cubicBezTo>
                    <a:cubicBezTo>
                      <a:pt x="918847" y="255517"/>
                      <a:pt x="904664" y="253765"/>
                      <a:pt x="899325" y="242670"/>
                    </a:cubicBezTo>
                    <a:cubicBezTo>
                      <a:pt x="895821" y="234662"/>
                      <a:pt x="897072" y="225402"/>
                      <a:pt x="904163" y="212556"/>
                    </a:cubicBezTo>
                    <a:cubicBezTo>
                      <a:pt x="905499" y="209886"/>
                      <a:pt x="907250" y="207717"/>
                      <a:pt x="909003" y="205465"/>
                    </a:cubicBezTo>
                    <a:cubicBezTo>
                      <a:pt x="911672" y="201961"/>
                      <a:pt x="913007" y="200126"/>
                      <a:pt x="912506" y="195705"/>
                    </a:cubicBezTo>
                    <a:cubicBezTo>
                      <a:pt x="912089" y="192201"/>
                      <a:pt x="908502" y="187279"/>
                      <a:pt x="905415" y="183275"/>
                    </a:cubicBezTo>
                    <a:cubicBezTo>
                      <a:pt x="903163" y="180605"/>
                      <a:pt x="901911" y="177936"/>
                      <a:pt x="900076" y="175767"/>
                    </a:cubicBezTo>
                    <a:cubicBezTo>
                      <a:pt x="895654" y="167342"/>
                      <a:pt x="892066" y="159417"/>
                      <a:pt x="888146" y="150991"/>
                    </a:cubicBezTo>
                    <a:cubicBezTo>
                      <a:pt x="885059" y="142983"/>
                      <a:pt x="881472" y="135475"/>
                      <a:pt x="877551" y="128885"/>
                    </a:cubicBezTo>
                    <a:cubicBezTo>
                      <a:pt x="870877" y="116956"/>
                      <a:pt x="862951" y="104526"/>
                      <a:pt x="849603" y="99688"/>
                    </a:cubicBezTo>
                    <a:cubicBezTo>
                      <a:pt x="840759" y="96184"/>
                      <a:pt x="831916" y="98353"/>
                      <a:pt x="821655" y="100605"/>
                    </a:cubicBezTo>
                    <a:cubicBezTo>
                      <a:pt x="814981" y="101940"/>
                      <a:pt x="807889" y="103692"/>
                      <a:pt x="800381" y="103692"/>
                    </a:cubicBezTo>
                    <a:lnTo>
                      <a:pt x="799964" y="103692"/>
                    </a:lnTo>
                    <a:cubicBezTo>
                      <a:pt x="784029" y="103692"/>
                      <a:pt x="777856" y="95266"/>
                      <a:pt x="775603" y="90845"/>
                    </a:cubicBezTo>
                    <a:cubicBezTo>
                      <a:pt x="771181" y="82003"/>
                      <a:pt x="772933" y="69990"/>
                      <a:pt x="780943" y="59396"/>
                    </a:cubicBezTo>
                    <a:cubicBezTo>
                      <a:pt x="784029" y="55391"/>
                      <a:pt x="787116" y="51888"/>
                      <a:pt x="789785" y="48801"/>
                    </a:cubicBezTo>
                    <a:cubicBezTo>
                      <a:pt x="799129" y="38207"/>
                      <a:pt x="801298" y="35954"/>
                      <a:pt x="792455" y="20855"/>
                    </a:cubicBezTo>
                    <a:cubicBezTo>
                      <a:pt x="791120" y="18603"/>
                      <a:pt x="789785" y="16017"/>
                      <a:pt x="788034" y="12847"/>
                    </a:cubicBezTo>
                    <a:cubicBezTo>
                      <a:pt x="786281" y="9343"/>
                      <a:pt x="783612" y="4004"/>
                      <a:pt x="781360" y="0"/>
                    </a:cubicBezTo>
                    <a:cubicBezTo>
                      <a:pt x="780024" y="8843"/>
                      <a:pt x="776937" y="17268"/>
                      <a:pt x="772516" y="24776"/>
                    </a:cubicBezTo>
                    <a:cubicBezTo>
                      <a:pt x="766343" y="34536"/>
                      <a:pt x="757916" y="40292"/>
                      <a:pt x="749490" y="45131"/>
                    </a:cubicBezTo>
                    <a:cubicBezTo>
                      <a:pt x="747238" y="46465"/>
                      <a:pt x="744652" y="48217"/>
                      <a:pt x="742399" y="49969"/>
                    </a:cubicBezTo>
                    <a:cubicBezTo>
                      <a:pt x="740147" y="51304"/>
                      <a:pt x="738395" y="52638"/>
                      <a:pt x="736642" y="54390"/>
                    </a:cubicBezTo>
                    <a:cubicBezTo>
                      <a:pt x="732638" y="57477"/>
                      <a:pt x="728634" y="61064"/>
                      <a:pt x="723795" y="63233"/>
                    </a:cubicBezTo>
                    <a:cubicBezTo>
                      <a:pt x="717621" y="65902"/>
                      <a:pt x="711364" y="66319"/>
                      <a:pt x="706109" y="66736"/>
                    </a:cubicBezTo>
                    <a:cubicBezTo>
                      <a:pt x="701687" y="67154"/>
                      <a:pt x="697682" y="67654"/>
                      <a:pt x="694179" y="68989"/>
                    </a:cubicBezTo>
                    <a:cubicBezTo>
                      <a:pt x="674656" y="76080"/>
                      <a:pt x="676492" y="102190"/>
                      <a:pt x="678244" y="113285"/>
                    </a:cubicBezTo>
                    <a:cubicBezTo>
                      <a:pt x="679579" y="119959"/>
                      <a:pt x="682248" y="124797"/>
                      <a:pt x="685335" y="130970"/>
                    </a:cubicBezTo>
                    <a:cubicBezTo>
                      <a:pt x="688005" y="134975"/>
                      <a:pt x="690174" y="139396"/>
                      <a:pt x="692009" y="144735"/>
                    </a:cubicBezTo>
                    <a:cubicBezTo>
                      <a:pt x="698183" y="161085"/>
                      <a:pt x="691092" y="167759"/>
                      <a:pt x="685836" y="172180"/>
                    </a:cubicBezTo>
                    <a:cubicBezTo>
                      <a:pt x="683166" y="174849"/>
                      <a:pt x="680997" y="177018"/>
                      <a:pt x="679162" y="181023"/>
                    </a:cubicBezTo>
                    <a:cubicBezTo>
                      <a:pt x="678244" y="183692"/>
                      <a:pt x="678745" y="186361"/>
                      <a:pt x="680079" y="190783"/>
                    </a:cubicBezTo>
                    <a:cubicBezTo>
                      <a:pt x="681414" y="195204"/>
                      <a:pt x="682749" y="199626"/>
                      <a:pt x="681831" y="205381"/>
                    </a:cubicBezTo>
                    <a:cubicBezTo>
                      <a:pt x="680913" y="210220"/>
                      <a:pt x="679162" y="214224"/>
                      <a:pt x="677827" y="217811"/>
                    </a:cubicBezTo>
                    <a:cubicBezTo>
                      <a:pt x="675157" y="223150"/>
                      <a:pt x="674322" y="225819"/>
                      <a:pt x="677409" y="230658"/>
                    </a:cubicBezTo>
                    <a:cubicBezTo>
                      <a:pt x="681414" y="237748"/>
                      <a:pt x="689339" y="243504"/>
                      <a:pt x="697349" y="249261"/>
                    </a:cubicBezTo>
                    <a:cubicBezTo>
                      <a:pt x="710196" y="258604"/>
                      <a:pt x="725297" y="269198"/>
                      <a:pt x="726131" y="289136"/>
                    </a:cubicBezTo>
                    <a:cubicBezTo>
                      <a:pt x="726548" y="300230"/>
                      <a:pt x="721710" y="309073"/>
                      <a:pt x="717287" y="316581"/>
                    </a:cubicBezTo>
                    <a:cubicBezTo>
                      <a:pt x="716370" y="318833"/>
                      <a:pt x="715035" y="320585"/>
                      <a:pt x="714201" y="322754"/>
                    </a:cubicBezTo>
                    <a:cubicBezTo>
                      <a:pt x="710196" y="330762"/>
                      <a:pt x="711114" y="332514"/>
                      <a:pt x="714618" y="338270"/>
                    </a:cubicBezTo>
                    <a:cubicBezTo>
                      <a:pt x="716370" y="341357"/>
                      <a:pt x="718122" y="344944"/>
                      <a:pt x="719957" y="350200"/>
                    </a:cubicBezTo>
                    <a:cubicBezTo>
                      <a:pt x="725297" y="367050"/>
                      <a:pt x="718623" y="376310"/>
                      <a:pt x="711531" y="385153"/>
                    </a:cubicBezTo>
                    <a:cubicBezTo>
                      <a:pt x="710196" y="387405"/>
                      <a:pt x="708444" y="389574"/>
                      <a:pt x="706693" y="392243"/>
                    </a:cubicBezTo>
                    <a:cubicBezTo>
                      <a:pt x="701853" y="400252"/>
                      <a:pt x="700519" y="408177"/>
                      <a:pt x="699601" y="417937"/>
                    </a:cubicBezTo>
                    <a:cubicBezTo>
                      <a:pt x="699184" y="424110"/>
                      <a:pt x="698266" y="430366"/>
                      <a:pt x="696514" y="436957"/>
                    </a:cubicBezTo>
                    <a:cubicBezTo>
                      <a:pt x="693428" y="447551"/>
                      <a:pt x="686753" y="455142"/>
                      <a:pt x="680162" y="462233"/>
                    </a:cubicBezTo>
                    <a:cubicBezTo>
                      <a:pt x="677076" y="465320"/>
                      <a:pt x="673989" y="468907"/>
                      <a:pt x="671319" y="472828"/>
                    </a:cubicBezTo>
                    <a:lnTo>
                      <a:pt x="668232" y="477666"/>
                    </a:lnTo>
                    <a:cubicBezTo>
                      <a:pt x="662894" y="485674"/>
                      <a:pt x="657637" y="493599"/>
                      <a:pt x="648711" y="500273"/>
                    </a:cubicBezTo>
                    <a:cubicBezTo>
                      <a:pt x="646041" y="502525"/>
                      <a:pt x="643371" y="504277"/>
                      <a:pt x="640702" y="505612"/>
                    </a:cubicBezTo>
                    <a:cubicBezTo>
                      <a:pt x="634528" y="508699"/>
                      <a:pt x="633610" y="510033"/>
                      <a:pt x="633193" y="513620"/>
                    </a:cubicBezTo>
                    <a:cubicBezTo>
                      <a:pt x="633610" y="513620"/>
                      <a:pt x="634528" y="515372"/>
                      <a:pt x="635446" y="516707"/>
                    </a:cubicBezTo>
                    <a:cubicBezTo>
                      <a:pt x="636780" y="518458"/>
                      <a:pt x="638116" y="520210"/>
                      <a:pt x="638533" y="522046"/>
                    </a:cubicBezTo>
                    <a:cubicBezTo>
                      <a:pt x="643371" y="534475"/>
                      <a:pt x="640785" y="539314"/>
                      <a:pt x="635029" y="546404"/>
                    </a:cubicBezTo>
                    <a:cubicBezTo>
                      <a:pt x="632359" y="549908"/>
                      <a:pt x="630607" y="552577"/>
                      <a:pt x="628855" y="554413"/>
                    </a:cubicBezTo>
                    <a:cubicBezTo>
                      <a:pt x="623516" y="561086"/>
                      <a:pt x="620429" y="564590"/>
                      <a:pt x="620012" y="574350"/>
                    </a:cubicBezTo>
                    <a:cubicBezTo>
                      <a:pt x="619595" y="582776"/>
                      <a:pt x="620929" y="592953"/>
                      <a:pt x="624016" y="604882"/>
                    </a:cubicBezTo>
                    <a:cubicBezTo>
                      <a:pt x="632443" y="636332"/>
                      <a:pt x="645290" y="659356"/>
                      <a:pt x="658555" y="668198"/>
                    </a:cubicBezTo>
                    <a:cubicBezTo>
                      <a:pt x="665229" y="672620"/>
                      <a:pt x="672738" y="671285"/>
                      <a:pt x="681164" y="669950"/>
                    </a:cubicBezTo>
                    <a:cubicBezTo>
                      <a:pt x="692676" y="667698"/>
                      <a:pt x="708611" y="665112"/>
                      <a:pt x="717955" y="685467"/>
                    </a:cubicBezTo>
                    <a:cubicBezTo>
                      <a:pt x="733890" y="720920"/>
                      <a:pt x="719290" y="742192"/>
                      <a:pt x="700686" y="759877"/>
                    </a:cubicBezTo>
                    <a:cubicBezTo>
                      <a:pt x="690508" y="769638"/>
                      <a:pt x="684334" y="776728"/>
                      <a:pt x="686086" y="787323"/>
                    </a:cubicBezTo>
                    <a:cubicBezTo>
                      <a:pt x="687421" y="797083"/>
                      <a:pt x="692760" y="799252"/>
                      <a:pt x="703773" y="803256"/>
                    </a:cubicBezTo>
                    <a:cubicBezTo>
                      <a:pt x="706025" y="804174"/>
                      <a:pt x="708611" y="804591"/>
                      <a:pt x="710864" y="805926"/>
                    </a:cubicBezTo>
                    <a:cubicBezTo>
                      <a:pt x="738812" y="817855"/>
                      <a:pt x="749824" y="847135"/>
                      <a:pt x="737894" y="876833"/>
                    </a:cubicBezTo>
                    <a:cubicBezTo>
                      <a:pt x="734807" y="883924"/>
                      <a:pt x="730803" y="889680"/>
                      <a:pt x="726381" y="895436"/>
                    </a:cubicBezTo>
                    <a:cubicBezTo>
                      <a:pt x="722877" y="900274"/>
                      <a:pt x="719290" y="905196"/>
                      <a:pt x="717037" y="910034"/>
                    </a:cubicBezTo>
                    <a:cubicBezTo>
                      <a:pt x="714784" y="915374"/>
                      <a:pt x="715703" y="920629"/>
                      <a:pt x="716120" y="926385"/>
                    </a:cubicBezTo>
                    <a:cubicBezTo>
                      <a:pt x="716537" y="931223"/>
                      <a:pt x="717454" y="936979"/>
                      <a:pt x="716120" y="943653"/>
                    </a:cubicBezTo>
                    <a:cubicBezTo>
                      <a:pt x="713867" y="953413"/>
                      <a:pt x="708110" y="957834"/>
                      <a:pt x="704190" y="960003"/>
                    </a:cubicBezTo>
                    <a:cubicBezTo>
                      <a:pt x="688255" y="968012"/>
                      <a:pt x="663894" y="956500"/>
                      <a:pt x="644373" y="947574"/>
                    </a:cubicBezTo>
                    <a:cubicBezTo>
                      <a:pt x="639033" y="944904"/>
                      <a:pt x="634194" y="942735"/>
                      <a:pt x="630607" y="941818"/>
                    </a:cubicBezTo>
                    <a:cubicBezTo>
                      <a:pt x="606246" y="933809"/>
                      <a:pt x="580551" y="923632"/>
                      <a:pt x="563699" y="898439"/>
                    </a:cubicBezTo>
                    <a:cubicBezTo>
                      <a:pt x="562364" y="896687"/>
                      <a:pt x="561446" y="894935"/>
                      <a:pt x="560612" y="893601"/>
                    </a:cubicBezTo>
                    <a:cubicBezTo>
                      <a:pt x="557108" y="887428"/>
                      <a:pt x="555773" y="885592"/>
                      <a:pt x="550434" y="884758"/>
                    </a:cubicBezTo>
                    <a:cubicBezTo>
                      <a:pt x="542425" y="883840"/>
                      <a:pt x="531412" y="889596"/>
                      <a:pt x="519399" y="902026"/>
                    </a:cubicBezTo>
                    <a:lnTo>
                      <a:pt x="511390" y="914456"/>
                    </a:lnTo>
                    <a:cubicBezTo>
                      <a:pt x="510473" y="920212"/>
                      <a:pt x="512725" y="925050"/>
                      <a:pt x="516229" y="932641"/>
                    </a:cubicBezTo>
                    <a:cubicBezTo>
                      <a:pt x="520234" y="940650"/>
                      <a:pt x="525072" y="949910"/>
                      <a:pt x="524238" y="961421"/>
                    </a:cubicBezTo>
                    <a:cubicBezTo>
                      <a:pt x="523320" y="972517"/>
                      <a:pt x="516229" y="982694"/>
                      <a:pt x="510055" y="991536"/>
                    </a:cubicBezTo>
                    <a:cubicBezTo>
                      <a:pt x="507386" y="994623"/>
                      <a:pt x="505217" y="998210"/>
                      <a:pt x="503381" y="1001297"/>
                    </a:cubicBezTo>
                    <a:cubicBezTo>
                      <a:pt x="495873" y="1015061"/>
                      <a:pt x="488782" y="1026573"/>
                      <a:pt x="473264" y="1035833"/>
                    </a:cubicBezTo>
                    <a:cubicBezTo>
                      <a:pt x="456912" y="1046010"/>
                      <a:pt x="440060" y="1067282"/>
                      <a:pt x="428964" y="1093393"/>
                    </a:cubicBezTo>
                    <a:cubicBezTo>
                      <a:pt x="426295" y="1099149"/>
                      <a:pt x="424543" y="1104905"/>
                      <a:pt x="422791" y="1110661"/>
                    </a:cubicBezTo>
                    <a:cubicBezTo>
                      <a:pt x="420122" y="1117751"/>
                      <a:pt x="417952" y="1125259"/>
                      <a:pt x="414365" y="1132767"/>
                    </a:cubicBezTo>
                    <a:cubicBezTo>
                      <a:pt x="409025" y="1144696"/>
                      <a:pt x="409025" y="1150452"/>
                      <a:pt x="413030" y="1164217"/>
                    </a:cubicBezTo>
                    <a:cubicBezTo>
                      <a:pt x="415699" y="1172225"/>
                      <a:pt x="422791" y="1199670"/>
                      <a:pt x="410360" y="1210265"/>
                    </a:cubicBezTo>
                    <a:cubicBezTo>
                      <a:pt x="406856" y="1213351"/>
                      <a:pt x="399765" y="1216438"/>
                      <a:pt x="387334" y="1211182"/>
                    </a:cubicBezTo>
                    <a:cubicBezTo>
                      <a:pt x="373569" y="1205009"/>
                      <a:pt x="365143" y="1190828"/>
                      <a:pt x="357634" y="1177981"/>
                    </a:cubicBezTo>
                    <a:cubicBezTo>
                      <a:pt x="355382" y="1174477"/>
                      <a:pt x="353630" y="1171308"/>
                      <a:pt x="351461" y="1168221"/>
                    </a:cubicBezTo>
                    <a:cubicBezTo>
                      <a:pt x="346622" y="1161130"/>
                      <a:pt x="341283" y="1154456"/>
                      <a:pt x="335109" y="1147866"/>
                    </a:cubicBezTo>
                    <a:cubicBezTo>
                      <a:pt x="331105" y="1143445"/>
                      <a:pt x="326683" y="1138523"/>
                      <a:pt x="323179" y="1133685"/>
                    </a:cubicBezTo>
                    <a:cubicBezTo>
                      <a:pt x="321844" y="1132350"/>
                      <a:pt x="320927" y="1130598"/>
                      <a:pt x="320092" y="1129264"/>
                    </a:cubicBezTo>
                    <a:cubicBezTo>
                      <a:pt x="315254" y="1122173"/>
                      <a:pt x="313918" y="1120421"/>
                      <a:pt x="306827" y="1122173"/>
                    </a:cubicBezTo>
                    <a:cubicBezTo>
                      <a:pt x="297484" y="1124425"/>
                      <a:pt x="293563" y="1132767"/>
                      <a:pt x="288223" y="1146114"/>
                    </a:cubicBezTo>
                    <a:cubicBezTo>
                      <a:pt x="283802" y="1156709"/>
                      <a:pt x="279380" y="1167804"/>
                      <a:pt x="269619" y="1174477"/>
                    </a:cubicBezTo>
                    <a:cubicBezTo>
                      <a:pt x="250097" y="1187324"/>
                      <a:pt x="226654" y="1185072"/>
                      <a:pt x="205381" y="1182903"/>
                    </a:cubicBezTo>
                    <a:cubicBezTo>
                      <a:pt x="198289" y="1181985"/>
                      <a:pt x="191198" y="1181568"/>
                      <a:pt x="184107" y="1181568"/>
                    </a:cubicBezTo>
                    <a:lnTo>
                      <a:pt x="183189" y="1181568"/>
                    </a:lnTo>
                    <a:cubicBezTo>
                      <a:pt x="157911" y="1181568"/>
                      <a:pt x="144229" y="1193998"/>
                      <a:pt x="136220" y="1224530"/>
                    </a:cubicBezTo>
                    <a:cubicBezTo>
                      <a:pt x="134885" y="1229869"/>
                      <a:pt x="133550" y="1234707"/>
                      <a:pt x="131798" y="1240046"/>
                    </a:cubicBezTo>
                    <a:cubicBezTo>
                      <a:pt x="124707" y="1263988"/>
                      <a:pt x="117615" y="1289181"/>
                      <a:pt x="123372" y="1312705"/>
                    </a:cubicBezTo>
                    <a:cubicBezTo>
                      <a:pt x="126459" y="1324217"/>
                      <a:pt x="131381" y="1329556"/>
                      <a:pt x="141559" y="1337982"/>
                    </a:cubicBezTo>
                    <a:cubicBezTo>
                      <a:pt x="154407" y="1348159"/>
                      <a:pt x="157076" y="1357502"/>
                      <a:pt x="161081" y="1369848"/>
                    </a:cubicBezTo>
                    <a:lnTo>
                      <a:pt x="164168" y="1379192"/>
                    </a:lnTo>
                    <a:cubicBezTo>
                      <a:pt x="167671" y="1391121"/>
                      <a:pt x="170842" y="1399546"/>
                      <a:pt x="160163" y="1413728"/>
                    </a:cubicBezTo>
                    <a:cubicBezTo>
                      <a:pt x="158411" y="1416397"/>
                      <a:pt x="156159" y="1418149"/>
                      <a:pt x="154407" y="1419484"/>
                    </a:cubicBezTo>
                    <a:cubicBezTo>
                      <a:pt x="152154" y="1420818"/>
                      <a:pt x="151320" y="1422153"/>
                      <a:pt x="149985" y="1423905"/>
                    </a:cubicBezTo>
                    <a:cubicBezTo>
                      <a:pt x="148650" y="1426574"/>
                      <a:pt x="148233" y="1430078"/>
                      <a:pt x="147732" y="1434082"/>
                    </a:cubicBezTo>
                    <a:cubicBezTo>
                      <a:pt x="147315" y="1437586"/>
                      <a:pt x="147315" y="1441173"/>
                      <a:pt x="146398" y="1445177"/>
                    </a:cubicBezTo>
                    <a:cubicBezTo>
                      <a:pt x="141058" y="1462028"/>
                      <a:pt x="133550" y="1464698"/>
                      <a:pt x="121119" y="1467784"/>
                    </a:cubicBezTo>
                    <a:cubicBezTo>
                      <a:pt x="118867" y="1468201"/>
                      <a:pt x="117115" y="1468702"/>
                      <a:pt x="114445" y="1469536"/>
                    </a:cubicBezTo>
                    <a:cubicBezTo>
                      <a:pt x="100263" y="1473540"/>
                      <a:pt x="96759" y="1479296"/>
                      <a:pt x="92337" y="1495229"/>
                    </a:cubicBezTo>
                    <a:cubicBezTo>
                      <a:pt x="91419" y="1498316"/>
                      <a:pt x="90084" y="1501903"/>
                      <a:pt x="88833" y="1505824"/>
                    </a:cubicBezTo>
                    <a:cubicBezTo>
                      <a:pt x="85747" y="1514249"/>
                      <a:pt x="82159" y="1524009"/>
                      <a:pt x="83077" y="1530600"/>
                    </a:cubicBezTo>
                    <a:cubicBezTo>
                      <a:pt x="83994" y="1536773"/>
                      <a:pt x="86581" y="1542112"/>
                      <a:pt x="89751" y="1547868"/>
                    </a:cubicBezTo>
                    <a:cubicBezTo>
                      <a:pt x="93756" y="1555375"/>
                      <a:pt x="98177" y="1563801"/>
                      <a:pt x="98177" y="1574896"/>
                    </a:cubicBezTo>
                    <a:cubicBezTo>
                      <a:pt x="98594" y="1585991"/>
                      <a:pt x="94673" y="1594834"/>
                      <a:pt x="90669" y="1603676"/>
                    </a:cubicBezTo>
                    <a:cubicBezTo>
                      <a:pt x="87582" y="1610767"/>
                      <a:pt x="84912" y="1617440"/>
                      <a:pt x="84495" y="1624031"/>
                    </a:cubicBezTo>
                    <a:cubicBezTo>
                      <a:pt x="84078" y="1630621"/>
                      <a:pt x="84912" y="1637295"/>
                      <a:pt x="86247" y="1644385"/>
                    </a:cubicBezTo>
                    <a:cubicBezTo>
                      <a:pt x="87582" y="1653728"/>
                      <a:pt x="89334" y="1663906"/>
                      <a:pt x="87165" y="1674500"/>
                    </a:cubicBezTo>
                    <a:cubicBezTo>
                      <a:pt x="84912" y="1686429"/>
                      <a:pt x="80991" y="1699776"/>
                      <a:pt x="76987" y="1709954"/>
                    </a:cubicBezTo>
                    <a:cubicBezTo>
                      <a:pt x="68978" y="1730308"/>
                      <a:pt x="57965" y="1731643"/>
                      <a:pt x="40195" y="1731643"/>
                    </a:cubicBezTo>
                    <a:cubicBezTo>
                      <a:pt x="28265" y="1731643"/>
                      <a:pt x="26430" y="1734730"/>
                      <a:pt x="21174" y="1743572"/>
                    </a:cubicBezTo>
                    <a:cubicBezTo>
                      <a:pt x="18922" y="1746659"/>
                      <a:pt x="17169" y="1750663"/>
                      <a:pt x="14083" y="1754167"/>
                    </a:cubicBezTo>
                    <a:cubicBezTo>
                      <a:pt x="11413" y="1757670"/>
                      <a:pt x="8743" y="1760340"/>
                      <a:pt x="5657" y="1763009"/>
                    </a:cubicBezTo>
                    <a:cubicBezTo>
                      <a:pt x="-1017" y="1769182"/>
                      <a:pt x="-1435" y="1769683"/>
                      <a:pt x="2570" y="1774938"/>
                    </a:cubicBezTo>
                    <a:cubicBezTo>
                      <a:pt x="5657" y="1778942"/>
                      <a:pt x="10996" y="1782029"/>
                      <a:pt x="16752" y="1785533"/>
                    </a:cubicBezTo>
                    <a:cubicBezTo>
                      <a:pt x="22092" y="1789036"/>
                      <a:pt x="27848" y="1792206"/>
                      <a:pt x="32687" y="1797045"/>
                    </a:cubicBezTo>
                    <a:cubicBezTo>
                      <a:pt x="38026" y="1802801"/>
                      <a:pt x="42865" y="1808974"/>
                      <a:pt x="47787" y="1814730"/>
                    </a:cubicBezTo>
                    <a:cubicBezTo>
                      <a:pt x="54879" y="1823572"/>
                      <a:pt x="61553" y="1831998"/>
                      <a:pt x="69895" y="1838672"/>
                    </a:cubicBezTo>
                    <a:cubicBezTo>
                      <a:pt x="76069" y="1843510"/>
                      <a:pt x="82743" y="1848015"/>
                      <a:pt x="89417" y="1852436"/>
                    </a:cubicBezTo>
                    <a:cubicBezTo>
                      <a:pt x="93839" y="1855106"/>
                      <a:pt x="98261" y="1858192"/>
                      <a:pt x="102265" y="1861279"/>
                    </a:cubicBezTo>
                    <a:cubicBezTo>
                      <a:pt x="129295" y="1845345"/>
                      <a:pt x="156743" y="1863031"/>
                      <a:pt x="179351" y="1877629"/>
                    </a:cubicBezTo>
                    <a:cubicBezTo>
                      <a:pt x="183773" y="1880298"/>
                      <a:pt x="188194" y="1883385"/>
                      <a:pt x="192616" y="1885637"/>
                    </a:cubicBezTo>
                    <a:cubicBezTo>
                      <a:pt x="201042" y="1890976"/>
                      <a:pt x="210303" y="1894980"/>
                      <a:pt x="220064" y="1899402"/>
                    </a:cubicBezTo>
                    <a:cubicBezTo>
                      <a:pt x="230659" y="1904240"/>
                      <a:pt x="241338" y="1909162"/>
                      <a:pt x="251933" y="1915335"/>
                    </a:cubicBezTo>
                    <a:cubicBezTo>
                      <a:pt x="271455" y="1927264"/>
                      <a:pt x="282967" y="1931685"/>
                      <a:pt x="301571" y="1925095"/>
                    </a:cubicBezTo>
                    <a:cubicBezTo>
                      <a:pt x="321928" y="1917587"/>
                      <a:pt x="338780" y="1914501"/>
                      <a:pt x="350293" y="1943698"/>
                    </a:cubicBezTo>
                    <a:cubicBezTo>
                      <a:pt x="350710" y="1944115"/>
                      <a:pt x="350710" y="1944616"/>
                      <a:pt x="350710" y="1945033"/>
                    </a:cubicBezTo>
                    <a:cubicBezTo>
                      <a:pt x="351127" y="1944616"/>
                      <a:pt x="351628" y="1944616"/>
                      <a:pt x="352045" y="1944115"/>
                    </a:cubicBezTo>
                    <a:cubicBezTo>
                      <a:pt x="364476" y="1935272"/>
                      <a:pt x="377740" y="1923760"/>
                      <a:pt x="393258" y="1909162"/>
                    </a:cubicBezTo>
                    <a:cubicBezTo>
                      <a:pt x="395511" y="1906492"/>
                      <a:pt x="398096" y="1903823"/>
                      <a:pt x="401684" y="1900319"/>
                    </a:cubicBezTo>
                    <a:cubicBezTo>
                      <a:pt x="414532" y="1885721"/>
                      <a:pt x="432218" y="1864866"/>
                      <a:pt x="452157" y="1871122"/>
                    </a:cubicBezTo>
                    <a:cubicBezTo>
                      <a:pt x="465005" y="1874626"/>
                      <a:pt x="469844" y="1887055"/>
                      <a:pt x="473431" y="1897233"/>
                    </a:cubicBezTo>
                    <a:cubicBezTo>
                      <a:pt x="474766" y="1900319"/>
                      <a:pt x="475683" y="1903406"/>
                      <a:pt x="476935" y="1905658"/>
                    </a:cubicBezTo>
                    <a:cubicBezTo>
                      <a:pt x="483109" y="1916753"/>
                      <a:pt x="492869" y="1922926"/>
                      <a:pt x="503965" y="1930017"/>
                    </a:cubicBezTo>
                    <a:lnTo>
                      <a:pt x="505717" y="1931352"/>
                    </a:lnTo>
                    <a:cubicBezTo>
                      <a:pt x="518982" y="1939777"/>
                      <a:pt x="533665" y="1945533"/>
                      <a:pt x="548265" y="1951289"/>
                    </a:cubicBezTo>
                    <a:cubicBezTo>
                      <a:pt x="566452" y="1958380"/>
                      <a:pt x="585473" y="1965471"/>
                      <a:pt x="601825" y="1978735"/>
                    </a:cubicBezTo>
                    <a:cubicBezTo>
                      <a:pt x="605829" y="1981821"/>
                      <a:pt x="609834" y="1985408"/>
                      <a:pt x="613755" y="1989329"/>
                    </a:cubicBezTo>
                    <a:cubicBezTo>
                      <a:pt x="622598" y="1997338"/>
                      <a:pt x="631942" y="2005680"/>
                      <a:pt x="642120" y="2009684"/>
                    </a:cubicBezTo>
                    <a:cubicBezTo>
                      <a:pt x="650963" y="2013187"/>
                      <a:pt x="658972" y="2012353"/>
                      <a:pt x="668232" y="2010601"/>
                    </a:cubicBezTo>
                    <a:cubicBezTo>
                      <a:pt x="673572" y="2009684"/>
                      <a:pt x="678828" y="2008849"/>
                      <a:pt x="684585" y="2008349"/>
                    </a:cubicBezTo>
                    <a:cubicBezTo>
                      <a:pt x="703606" y="2007014"/>
                      <a:pt x="714701" y="2019444"/>
                      <a:pt x="725380" y="2030038"/>
                    </a:cubicBezTo>
                    <a:cubicBezTo>
                      <a:pt x="727633" y="2032708"/>
                      <a:pt x="730218" y="2034877"/>
                      <a:pt x="732471" y="2037129"/>
                    </a:cubicBezTo>
                    <a:cubicBezTo>
                      <a:pt x="742649" y="2046889"/>
                      <a:pt x="752410" y="2051727"/>
                      <a:pt x="764841" y="2057483"/>
                    </a:cubicBezTo>
                    <a:cubicBezTo>
                      <a:pt x="786949" y="2067661"/>
                      <a:pt x="790537" y="2077421"/>
                      <a:pt x="794541" y="2099111"/>
                    </a:cubicBezTo>
                    <a:cubicBezTo>
                      <a:pt x="795875" y="2106201"/>
                      <a:pt x="798045" y="2111040"/>
                      <a:pt x="801215" y="2113292"/>
                    </a:cubicBezTo>
                    <a:cubicBezTo>
                      <a:pt x="803885" y="2115544"/>
                      <a:pt x="808306" y="2115544"/>
                      <a:pt x="814981" y="2114627"/>
                    </a:cubicBezTo>
                    <a:cubicBezTo>
                      <a:pt x="846016" y="2108871"/>
                      <a:pt x="852606" y="2112374"/>
                      <a:pt x="863701" y="2141238"/>
                    </a:cubicBezTo>
                    <a:cubicBezTo>
                      <a:pt x="866788" y="2149663"/>
                      <a:pt x="869458" y="2150998"/>
                      <a:pt x="870375" y="2151415"/>
                    </a:cubicBezTo>
                    <a:cubicBezTo>
                      <a:pt x="874798" y="2152333"/>
                      <a:pt x="882806" y="2145659"/>
                      <a:pt x="888563" y="2140320"/>
                    </a:cubicBezTo>
                    <a:cubicBezTo>
                      <a:pt x="892066" y="2137234"/>
                      <a:pt x="896072" y="2134147"/>
                      <a:pt x="899659" y="2131895"/>
                    </a:cubicBezTo>
                    <a:cubicBezTo>
                      <a:pt x="904080" y="2128808"/>
                      <a:pt x="908502" y="2127474"/>
                      <a:pt x="912506" y="2125722"/>
                    </a:cubicBezTo>
                    <a:cubicBezTo>
                      <a:pt x="920933" y="2122635"/>
                      <a:pt x="925354" y="2120383"/>
                      <a:pt x="928024" y="2113792"/>
                    </a:cubicBezTo>
                    <a:cubicBezTo>
                      <a:pt x="929358" y="2108954"/>
                      <a:pt x="928941" y="2103615"/>
                      <a:pt x="928024" y="2097859"/>
                    </a:cubicBezTo>
                    <a:cubicBezTo>
                      <a:pt x="926689" y="2089434"/>
                      <a:pt x="925354" y="2078339"/>
                      <a:pt x="932863" y="2068662"/>
                    </a:cubicBezTo>
                    <a:cubicBezTo>
                      <a:pt x="939036" y="2060237"/>
                      <a:pt x="948797" y="2054481"/>
                      <a:pt x="957640" y="2049141"/>
                    </a:cubicBezTo>
                    <a:cubicBezTo>
                      <a:pt x="962979" y="2046055"/>
                      <a:pt x="967819" y="2043385"/>
                      <a:pt x="971823" y="2040299"/>
                    </a:cubicBezTo>
                    <a:cubicBezTo>
                      <a:pt x="983753" y="2030539"/>
                      <a:pt x="993931" y="2019444"/>
                      <a:pt x="1002858" y="2006597"/>
                    </a:cubicBezTo>
                    <a:cubicBezTo>
                      <a:pt x="1012618" y="1992415"/>
                      <a:pt x="1018792" y="1975148"/>
                      <a:pt x="1024549" y="1958296"/>
                    </a:cubicBezTo>
                    <a:cubicBezTo>
                      <a:pt x="1031223" y="1939694"/>
                      <a:pt x="1038314" y="1920174"/>
                      <a:pt x="1050244" y="1904240"/>
                    </a:cubicBezTo>
                    <a:cubicBezTo>
                      <a:pt x="1056417" y="1895815"/>
                      <a:pt x="1064844" y="1888724"/>
                      <a:pt x="1072352" y="1881633"/>
                    </a:cubicBezTo>
                    <a:cubicBezTo>
                      <a:pt x="1078525" y="1876294"/>
                      <a:pt x="1084282" y="1871039"/>
                      <a:pt x="1089205" y="1865283"/>
                    </a:cubicBezTo>
                    <a:cubicBezTo>
                      <a:pt x="1097213" y="1855940"/>
                      <a:pt x="1105139" y="1846263"/>
                      <a:pt x="1112647" y="1836503"/>
                    </a:cubicBezTo>
                    <a:cubicBezTo>
                      <a:pt x="1116151" y="1831664"/>
                      <a:pt x="1120656" y="1826743"/>
                      <a:pt x="1124577" y="1821904"/>
                    </a:cubicBezTo>
                    <a:cubicBezTo>
                      <a:pt x="1135673" y="1808140"/>
                      <a:pt x="1148938" y="1792206"/>
                      <a:pt x="1164872" y="1778025"/>
                    </a:cubicBezTo>
                    <a:lnTo>
                      <a:pt x="1167542" y="1775773"/>
                    </a:lnTo>
                    <a:cubicBezTo>
                      <a:pt x="1179472" y="1765178"/>
                      <a:pt x="1189650" y="1755835"/>
                      <a:pt x="1194156" y="1741237"/>
                    </a:cubicBezTo>
                    <a:cubicBezTo>
                      <a:pt x="1197660" y="1729307"/>
                      <a:pt x="1198994" y="1715960"/>
                      <a:pt x="1199912" y="1702696"/>
                    </a:cubicBezTo>
                    <a:cubicBezTo>
                      <a:pt x="1200329" y="1695605"/>
                      <a:pt x="1200830" y="1688515"/>
                      <a:pt x="1202164" y="1681424"/>
                    </a:cubicBezTo>
                    <a:cubicBezTo>
                      <a:pt x="1204834" y="1663238"/>
                      <a:pt x="1207921" y="1643801"/>
                      <a:pt x="1212342" y="1621611"/>
                    </a:cubicBezTo>
                    <a:lnTo>
                      <a:pt x="1214094" y="1612268"/>
                    </a:lnTo>
                    <a:cubicBezTo>
                      <a:pt x="1217181" y="1596335"/>
                      <a:pt x="1220268" y="1580402"/>
                      <a:pt x="1225190" y="1564885"/>
                    </a:cubicBezTo>
                    <a:cubicBezTo>
                      <a:pt x="1226108" y="1562216"/>
                      <a:pt x="1227442" y="1559546"/>
                      <a:pt x="1228277" y="1556460"/>
                    </a:cubicBezTo>
                    <a:cubicBezTo>
                      <a:pt x="1231781" y="1547617"/>
                      <a:pt x="1236286" y="1537440"/>
                      <a:pt x="1233616" y="1530766"/>
                    </a:cubicBezTo>
                    <a:cubicBezTo>
                      <a:pt x="1231364" y="1525428"/>
                      <a:pt x="1227859" y="1524093"/>
                      <a:pt x="1219851" y="1521924"/>
                    </a:cubicBezTo>
                    <a:cubicBezTo>
                      <a:pt x="1214511" y="1520589"/>
                      <a:pt x="1207921" y="1518837"/>
                      <a:pt x="1202581" y="1513916"/>
                    </a:cubicBezTo>
                    <a:cubicBezTo>
                      <a:pt x="1192403" y="1505490"/>
                      <a:pt x="1188816" y="1492226"/>
                      <a:pt x="1186230" y="1479379"/>
                    </a:cubicBezTo>
                    <a:cubicBezTo>
                      <a:pt x="1184478" y="1469619"/>
                      <a:pt x="1183977" y="1459859"/>
                      <a:pt x="1183560" y="1450182"/>
                    </a:cubicBezTo>
                    <a:cubicBezTo>
                      <a:pt x="1182643" y="1433331"/>
                      <a:pt x="1182226" y="1417398"/>
                      <a:pt x="1173382" y="1403217"/>
                    </a:cubicBezTo>
                    <a:lnTo>
                      <a:pt x="1171630" y="1400130"/>
                    </a:lnTo>
                    <a:cubicBezTo>
                      <a:pt x="1162787" y="1385031"/>
                      <a:pt x="1156112" y="1374436"/>
                      <a:pt x="1157865" y="1353581"/>
                    </a:cubicBezTo>
                    <a:cubicBezTo>
                      <a:pt x="1158282" y="1348242"/>
                      <a:pt x="1158282" y="1342487"/>
                      <a:pt x="1158282" y="1336730"/>
                    </a:cubicBezTo>
                    <a:cubicBezTo>
                      <a:pt x="1157865" y="1325635"/>
                      <a:pt x="1157865" y="1314124"/>
                      <a:pt x="1160535" y="1303946"/>
                    </a:cubicBezTo>
                    <a:cubicBezTo>
                      <a:pt x="1161869" y="1298190"/>
                      <a:pt x="1167209" y="1293769"/>
                      <a:pt x="1172965" y="1289348"/>
                    </a:cubicBezTo>
                    <a:cubicBezTo>
                      <a:pt x="1176052" y="1286261"/>
                      <a:pt x="1182726" y="1280922"/>
                      <a:pt x="1181809" y="1279170"/>
                    </a:cubicBezTo>
                    <a:cubicBezTo>
                      <a:pt x="1180890" y="1276501"/>
                      <a:pt x="1174717" y="1274749"/>
                      <a:pt x="1171213" y="1273831"/>
                    </a:cubicBezTo>
                    <a:cubicBezTo>
                      <a:pt x="1167709" y="1272496"/>
                      <a:pt x="1164539" y="1271579"/>
                      <a:pt x="1161869" y="1269827"/>
                    </a:cubicBezTo>
                    <a:cubicBezTo>
                      <a:pt x="1159199" y="1267575"/>
                      <a:pt x="1157448" y="1264989"/>
                      <a:pt x="1155695" y="1262319"/>
                    </a:cubicBezTo>
                    <a:cubicBezTo>
                      <a:pt x="1154778" y="1260985"/>
                      <a:pt x="1153443" y="1259233"/>
                      <a:pt x="1152609" y="1257898"/>
                    </a:cubicBezTo>
                    <a:cubicBezTo>
                      <a:pt x="1149522" y="1255229"/>
                      <a:pt x="1145518" y="1253477"/>
                      <a:pt x="1140678" y="1251224"/>
                    </a:cubicBezTo>
                    <a:cubicBezTo>
                      <a:pt x="1134004" y="1248138"/>
                      <a:pt x="1126496" y="1245051"/>
                      <a:pt x="1121657" y="1237460"/>
                    </a:cubicBezTo>
                    <a:cubicBezTo>
                      <a:pt x="1111479" y="1223278"/>
                      <a:pt x="1116819" y="1204259"/>
                      <a:pt x="1124744" y="1191412"/>
                    </a:cubicBezTo>
                    <a:cubicBezTo>
                      <a:pt x="1134922" y="1175479"/>
                      <a:pt x="1151358" y="1165301"/>
                      <a:pt x="1163288" y="1159045"/>
                    </a:cubicBezTo>
                    <a:cubicBezTo>
                      <a:pt x="1167292" y="1156792"/>
                      <a:pt x="1171713" y="1155541"/>
                      <a:pt x="1176552" y="1154206"/>
                    </a:cubicBezTo>
                    <a:cubicBezTo>
                      <a:pt x="1183643" y="1151954"/>
                      <a:pt x="1190735" y="1149785"/>
                      <a:pt x="1194740" y="1145781"/>
                    </a:cubicBezTo>
                    <a:cubicBezTo>
                      <a:pt x="1200913" y="1139608"/>
                      <a:pt x="1201414" y="1132016"/>
                      <a:pt x="1202248" y="1123674"/>
                    </a:cubicBezTo>
                    <a:cubicBezTo>
                      <a:pt x="1203583" y="1110828"/>
                      <a:pt x="1205334" y="1092642"/>
                      <a:pt x="1236369" y="1092642"/>
                    </a:cubicBezTo>
                    <a:cubicBezTo>
                      <a:pt x="1244379" y="1092642"/>
                      <a:pt x="1252721" y="1094894"/>
                      <a:pt x="1262065" y="1096646"/>
                    </a:cubicBezTo>
                    <a:cubicBezTo>
                      <a:pt x="1281587" y="1100650"/>
                      <a:pt x="1301025" y="1105072"/>
                      <a:pt x="1310786" y="1092642"/>
                    </a:cubicBezTo>
                    <a:cubicBezTo>
                      <a:pt x="1313873" y="1088638"/>
                      <a:pt x="1315208" y="1082882"/>
                      <a:pt x="1315625" y="1076709"/>
                    </a:cubicBezTo>
                    <a:cubicBezTo>
                      <a:pt x="1316960" y="1069618"/>
                      <a:pt x="1318295" y="1060775"/>
                      <a:pt x="1324051" y="1053685"/>
                    </a:cubicBezTo>
                    <a:cubicBezTo>
                      <a:pt x="1336899" y="1038168"/>
                      <a:pt x="1355503" y="1043090"/>
                      <a:pt x="1369268" y="1046177"/>
                    </a:cubicBezTo>
                    <a:lnTo>
                      <a:pt x="1375442" y="1047512"/>
                    </a:lnTo>
                    <a:cubicBezTo>
                      <a:pt x="1386955" y="1050181"/>
                      <a:pt x="1398050" y="1047929"/>
                      <a:pt x="1409981" y="1045259"/>
                    </a:cubicBezTo>
                    <a:cubicBezTo>
                      <a:pt x="1426332" y="1041756"/>
                      <a:pt x="1442768" y="1038168"/>
                      <a:pt x="1460454" y="1048346"/>
                    </a:cubicBezTo>
                    <a:lnTo>
                      <a:pt x="1463540" y="1050098"/>
                    </a:lnTo>
                    <a:cubicBezTo>
                      <a:pt x="1487901" y="1064279"/>
                      <a:pt x="1494575" y="1068283"/>
                      <a:pt x="1518019" y="1053184"/>
                    </a:cubicBezTo>
                    <a:cubicBezTo>
                      <a:pt x="1532201" y="1044341"/>
                      <a:pt x="1541044" y="1047011"/>
                      <a:pt x="1549470" y="1050098"/>
                    </a:cubicBezTo>
                    <a:cubicBezTo>
                      <a:pt x="1552974" y="1051432"/>
                      <a:pt x="1556561" y="1052767"/>
                      <a:pt x="1561401" y="1053184"/>
                    </a:cubicBezTo>
                    <a:cubicBezTo>
                      <a:pt x="1568492" y="1054102"/>
                      <a:pt x="1569826" y="1051849"/>
                      <a:pt x="1573831" y="1044341"/>
                    </a:cubicBezTo>
                    <a:cubicBezTo>
                      <a:pt x="1576083" y="1040838"/>
                      <a:pt x="1578252" y="1036333"/>
                      <a:pt x="1582257" y="1032412"/>
                    </a:cubicBezTo>
                    <a:cubicBezTo>
                      <a:pt x="1588430" y="1026239"/>
                      <a:pt x="1596023" y="1023069"/>
                      <a:pt x="1603531" y="1019983"/>
                    </a:cubicBezTo>
                    <a:cubicBezTo>
                      <a:pt x="1609704" y="1017313"/>
                      <a:pt x="1615044" y="1015144"/>
                      <a:pt x="1619048" y="1011557"/>
                    </a:cubicBezTo>
                    <a:cubicBezTo>
                      <a:pt x="1627057" y="1004466"/>
                      <a:pt x="1628809" y="995207"/>
                      <a:pt x="1629644" y="981025"/>
                    </a:cubicBezTo>
                    <a:cubicBezTo>
                      <a:pt x="1630061" y="978773"/>
                      <a:pt x="1630061" y="976187"/>
                      <a:pt x="1630061" y="973934"/>
                    </a:cubicBezTo>
                    <a:cubicBezTo>
                      <a:pt x="1630978" y="960170"/>
                      <a:pt x="1631395" y="945154"/>
                      <a:pt x="1645995" y="934060"/>
                    </a:cubicBezTo>
                    <a:cubicBezTo>
                      <a:pt x="1650834" y="930556"/>
                      <a:pt x="1655756" y="927887"/>
                      <a:pt x="1660178" y="925634"/>
                    </a:cubicBezTo>
                    <a:cubicBezTo>
                      <a:pt x="1666852" y="922130"/>
                      <a:pt x="1672107" y="919461"/>
                      <a:pt x="1677447" y="913205"/>
                    </a:cubicBezTo>
                    <a:cubicBezTo>
                      <a:pt x="1701391" y="882673"/>
                      <a:pt x="1717742" y="870660"/>
                      <a:pt x="1730173" y="874247"/>
                    </a:cubicBezTo>
                    <a:cubicBezTo>
                      <a:pt x="1735012" y="875165"/>
                      <a:pt x="1741269" y="879586"/>
                      <a:pt x="1744356" y="892433"/>
                    </a:cubicBezTo>
                    <a:cubicBezTo>
                      <a:pt x="1746608" y="903027"/>
                      <a:pt x="1737681" y="912787"/>
                      <a:pt x="1729255" y="922547"/>
                    </a:cubicBezTo>
                    <a:cubicBezTo>
                      <a:pt x="1727003" y="925217"/>
                      <a:pt x="1724416" y="928304"/>
                      <a:pt x="1722163" y="931390"/>
                    </a:cubicBezTo>
                    <a:lnTo>
                      <a:pt x="1721746" y="931807"/>
                    </a:lnTo>
                    <a:cubicBezTo>
                      <a:pt x="1719077" y="934894"/>
                      <a:pt x="1717742" y="937980"/>
                      <a:pt x="1718243" y="939816"/>
                    </a:cubicBezTo>
                    <a:cubicBezTo>
                      <a:pt x="1718243" y="940233"/>
                      <a:pt x="1719160" y="942485"/>
                      <a:pt x="1726669" y="944654"/>
                    </a:cubicBezTo>
                    <a:cubicBezTo>
                      <a:pt x="1727086" y="944654"/>
                      <a:pt x="1727086" y="945071"/>
                      <a:pt x="1727586" y="945071"/>
                    </a:cubicBezTo>
                    <a:cubicBezTo>
                      <a:pt x="1728003" y="945071"/>
                      <a:pt x="1728003" y="945071"/>
                      <a:pt x="1728003" y="945071"/>
                    </a:cubicBezTo>
                    <a:cubicBezTo>
                      <a:pt x="1735095" y="947323"/>
                      <a:pt x="1745690" y="945071"/>
                      <a:pt x="1755034" y="942819"/>
                    </a:cubicBezTo>
                    <a:cubicBezTo>
                      <a:pt x="1760791" y="941484"/>
                      <a:pt x="1766130" y="940566"/>
                      <a:pt x="1770968" y="940149"/>
                    </a:cubicBezTo>
                    <a:lnTo>
                      <a:pt x="1778978" y="939732"/>
                    </a:lnTo>
                    <a:cubicBezTo>
                      <a:pt x="1793160" y="938814"/>
                      <a:pt x="1806926" y="938397"/>
                      <a:pt x="1816186" y="929138"/>
                    </a:cubicBezTo>
                    <a:cubicBezTo>
                      <a:pt x="1821024" y="924716"/>
                      <a:pt x="1825029" y="918960"/>
                      <a:pt x="1829451" y="913622"/>
                    </a:cubicBezTo>
                    <a:cubicBezTo>
                      <a:pt x="1833872" y="907449"/>
                      <a:pt x="1838795" y="901192"/>
                      <a:pt x="1844968" y="895936"/>
                    </a:cubicBezTo>
                    <a:lnTo>
                      <a:pt x="1846303" y="894601"/>
                    </a:lnTo>
                    <a:cubicBezTo>
                      <a:pt x="1856481" y="885259"/>
                      <a:pt x="1859151" y="882172"/>
                      <a:pt x="1855146" y="873329"/>
                    </a:cubicBezTo>
                    <a:cubicBezTo>
                      <a:pt x="1852726" y="872746"/>
                      <a:pt x="1851392" y="870994"/>
                      <a:pt x="1850475" y="86915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2808648" name="Полилиния 405"/>
              <p:cNvSpPr/>
              <p:nvPr/>
            </p:nvSpPr>
            <p:spPr bwMode="auto">
              <a:xfrm>
                <a:off x="1023085" y="2962980"/>
                <a:ext cx="201004" cy="217719"/>
              </a:xfrm>
              <a:custGeom>
                <a:avLst/>
                <a:gdLst>
                  <a:gd name="connsiteX0" fmla="*/ 190380 w 225735"/>
                  <a:gd name="connsiteY0" fmla="*/ 87174 h 244505"/>
                  <a:gd name="connsiteX1" fmla="*/ 171359 w 225735"/>
                  <a:gd name="connsiteY1" fmla="*/ 53973 h 244505"/>
                  <a:gd name="connsiteX2" fmla="*/ 133733 w 225735"/>
                  <a:gd name="connsiteY2" fmla="*/ 71241 h 244505"/>
                  <a:gd name="connsiteX3" fmla="*/ 109790 w 225735"/>
                  <a:gd name="connsiteY3" fmla="*/ 45548 h 244505"/>
                  <a:gd name="connsiteX4" fmla="*/ 110707 w 225735"/>
                  <a:gd name="connsiteY4" fmla="*/ 19437 h 244505"/>
                  <a:gd name="connsiteX5" fmla="*/ 47386 w 225735"/>
                  <a:gd name="connsiteY5" fmla="*/ 24776 h 244505"/>
                  <a:gd name="connsiteX6" fmla="*/ 36791 w 225735"/>
                  <a:gd name="connsiteY6" fmla="*/ 7925 h 244505"/>
                  <a:gd name="connsiteX7" fmla="*/ 22192 w 225735"/>
                  <a:gd name="connsiteY7" fmla="*/ 21689 h 244505"/>
                  <a:gd name="connsiteX8" fmla="*/ 11096 w 225735"/>
                  <a:gd name="connsiteY8" fmla="*/ 8843 h 244505"/>
                  <a:gd name="connsiteX9" fmla="*/ 0 w 225735"/>
                  <a:gd name="connsiteY9" fmla="*/ 0 h 244505"/>
                  <a:gd name="connsiteX10" fmla="*/ 44717 w 225735"/>
                  <a:gd name="connsiteY10" fmla="*/ 102774 h 244505"/>
                  <a:gd name="connsiteX11" fmla="*/ 71747 w 225735"/>
                  <a:gd name="connsiteY11" fmla="*/ 135975 h 244505"/>
                  <a:gd name="connsiteX12" fmla="*/ 92103 w 225735"/>
                  <a:gd name="connsiteY12" fmla="*/ 159917 h 244505"/>
                  <a:gd name="connsiteX13" fmla="*/ 112042 w 225735"/>
                  <a:gd name="connsiteY13" fmla="*/ 189114 h 244505"/>
                  <a:gd name="connsiteX14" fmla="*/ 135986 w 225735"/>
                  <a:gd name="connsiteY14" fmla="*/ 222816 h 244505"/>
                  <a:gd name="connsiteX15" fmla="*/ 146581 w 225735"/>
                  <a:gd name="connsiteY15" fmla="*/ 234328 h 244505"/>
                  <a:gd name="connsiteX16" fmla="*/ 156342 w 225735"/>
                  <a:gd name="connsiteY16" fmla="*/ 244506 h 244505"/>
                  <a:gd name="connsiteX17" fmla="*/ 171442 w 225735"/>
                  <a:gd name="connsiteY17" fmla="*/ 239667 h 244505"/>
                  <a:gd name="connsiteX18" fmla="*/ 225503 w 225735"/>
                  <a:gd name="connsiteY18" fmla="*/ 186028 h 244505"/>
                  <a:gd name="connsiteX19" fmla="*/ 190380 w 225735"/>
                  <a:gd name="connsiteY19" fmla="*/ 87174 h 244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25735" h="244505" extrusionOk="0">
                    <a:moveTo>
                      <a:pt x="190380" y="87174"/>
                    </a:moveTo>
                    <a:cubicBezTo>
                      <a:pt x="183706" y="76580"/>
                      <a:pt x="177115" y="65485"/>
                      <a:pt x="171359" y="53973"/>
                    </a:cubicBezTo>
                    <a:cubicBezTo>
                      <a:pt x="161598" y="69489"/>
                      <a:pt x="152337" y="84505"/>
                      <a:pt x="133733" y="71241"/>
                    </a:cubicBezTo>
                    <a:cubicBezTo>
                      <a:pt x="123555" y="64150"/>
                      <a:pt x="110707" y="58811"/>
                      <a:pt x="109790" y="45548"/>
                    </a:cubicBezTo>
                    <a:cubicBezTo>
                      <a:pt x="108872" y="37122"/>
                      <a:pt x="118216" y="26945"/>
                      <a:pt x="110707" y="19437"/>
                    </a:cubicBezTo>
                    <a:cubicBezTo>
                      <a:pt x="93438" y="3504"/>
                      <a:pt x="65073" y="59729"/>
                      <a:pt x="47386" y="24776"/>
                    </a:cubicBezTo>
                    <a:cubicBezTo>
                      <a:pt x="43882" y="17685"/>
                      <a:pt x="47804" y="2670"/>
                      <a:pt x="36791" y="7925"/>
                    </a:cubicBezTo>
                    <a:cubicBezTo>
                      <a:pt x="30117" y="11429"/>
                      <a:pt x="35456" y="23858"/>
                      <a:pt x="22192" y="21689"/>
                    </a:cubicBezTo>
                    <a:cubicBezTo>
                      <a:pt x="14183" y="20355"/>
                      <a:pt x="15517" y="12847"/>
                      <a:pt x="11096" y="8843"/>
                    </a:cubicBezTo>
                    <a:cubicBezTo>
                      <a:pt x="6674" y="4838"/>
                      <a:pt x="4422" y="2169"/>
                      <a:pt x="0" y="0"/>
                    </a:cubicBezTo>
                    <a:cubicBezTo>
                      <a:pt x="7091" y="34953"/>
                      <a:pt x="22609" y="70407"/>
                      <a:pt x="44717" y="102774"/>
                    </a:cubicBezTo>
                    <a:cubicBezTo>
                      <a:pt x="52726" y="114286"/>
                      <a:pt x="62403" y="125381"/>
                      <a:pt x="71747" y="135975"/>
                    </a:cubicBezTo>
                    <a:cubicBezTo>
                      <a:pt x="78838" y="143984"/>
                      <a:pt x="85513" y="151492"/>
                      <a:pt x="92103" y="159917"/>
                    </a:cubicBezTo>
                    <a:cubicBezTo>
                      <a:pt x="99194" y="169260"/>
                      <a:pt x="105869" y="179438"/>
                      <a:pt x="112042" y="189114"/>
                    </a:cubicBezTo>
                    <a:cubicBezTo>
                      <a:pt x="119551" y="200626"/>
                      <a:pt x="127560" y="212556"/>
                      <a:pt x="135986" y="222816"/>
                    </a:cubicBezTo>
                    <a:cubicBezTo>
                      <a:pt x="139073" y="226820"/>
                      <a:pt x="143077" y="230825"/>
                      <a:pt x="146581" y="234328"/>
                    </a:cubicBezTo>
                    <a:cubicBezTo>
                      <a:pt x="149668" y="237415"/>
                      <a:pt x="153255" y="241002"/>
                      <a:pt x="156342" y="244506"/>
                    </a:cubicBezTo>
                    <a:cubicBezTo>
                      <a:pt x="161181" y="242754"/>
                      <a:pt x="166520" y="241002"/>
                      <a:pt x="171442" y="239667"/>
                    </a:cubicBezTo>
                    <a:cubicBezTo>
                      <a:pt x="203812" y="229073"/>
                      <a:pt x="223250" y="217060"/>
                      <a:pt x="225503" y="186028"/>
                    </a:cubicBezTo>
                    <a:cubicBezTo>
                      <a:pt x="228006" y="149156"/>
                      <a:pt x="209902" y="119041"/>
                      <a:pt x="190380" y="871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55659768" name="Полилиния 406"/>
              <p:cNvSpPr/>
              <p:nvPr/>
            </p:nvSpPr>
            <p:spPr bwMode="auto">
              <a:xfrm>
                <a:off x="4993211" y="5694561"/>
                <a:ext cx="771692" cy="547650"/>
              </a:xfrm>
              <a:custGeom>
                <a:avLst/>
                <a:gdLst>
                  <a:gd name="connsiteX0" fmla="*/ 570640 w 866637"/>
                  <a:gd name="connsiteY0" fmla="*/ 614112 h 615029"/>
                  <a:gd name="connsiteX1" fmla="*/ 556457 w 866637"/>
                  <a:gd name="connsiteY1" fmla="*/ 615030 h 615029"/>
                  <a:gd name="connsiteX2" fmla="*/ 484710 w 866637"/>
                  <a:gd name="connsiteY2" fmla="*/ 544623 h 615029"/>
                  <a:gd name="connsiteX3" fmla="*/ 426645 w 866637"/>
                  <a:gd name="connsiteY3" fmla="*/ 560973 h 615029"/>
                  <a:gd name="connsiteX4" fmla="*/ 383680 w 866637"/>
                  <a:gd name="connsiteY4" fmla="*/ 576489 h 615029"/>
                  <a:gd name="connsiteX5" fmla="*/ 280898 w 866637"/>
                  <a:gd name="connsiteY5" fmla="*/ 545040 h 615029"/>
                  <a:gd name="connsiteX6" fmla="*/ 261376 w 866637"/>
                  <a:gd name="connsiteY6" fmla="*/ 513590 h 615029"/>
                  <a:gd name="connsiteX7" fmla="*/ 262711 w 866637"/>
                  <a:gd name="connsiteY7" fmla="*/ 504748 h 615029"/>
                  <a:gd name="connsiteX8" fmla="*/ 251198 w 866637"/>
                  <a:gd name="connsiteY8" fmla="*/ 471046 h 615029"/>
                  <a:gd name="connsiteX9" fmla="*/ 212655 w 866637"/>
                  <a:gd name="connsiteY9" fmla="*/ 462203 h 615029"/>
                  <a:gd name="connsiteX10" fmla="*/ 184290 w 866637"/>
                  <a:gd name="connsiteY10" fmla="*/ 491400 h 615029"/>
                  <a:gd name="connsiteX11" fmla="*/ 153755 w 866637"/>
                  <a:gd name="connsiteY11" fmla="*/ 530858 h 615029"/>
                  <a:gd name="connsiteX12" fmla="*/ 137821 w 866637"/>
                  <a:gd name="connsiteY12" fmla="*/ 526020 h 615029"/>
                  <a:gd name="connsiteX13" fmla="*/ 125390 w 866637"/>
                  <a:gd name="connsiteY13" fmla="*/ 494153 h 615029"/>
                  <a:gd name="connsiteX14" fmla="*/ 123639 w 866637"/>
                  <a:gd name="connsiteY14" fmla="*/ 485311 h 615029"/>
                  <a:gd name="connsiteX15" fmla="*/ 108538 w 866637"/>
                  <a:gd name="connsiteY15" fmla="*/ 425498 h 615029"/>
                  <a:gd name="connsiteX16" fmla="*/ 86847 w 866637"/>
                  <a:gd name="connsiteY16" fmla="*/ 354591 h 615029"/>
                  <a:gd name="connsiteX17" fmla="*/ 69995 w 866637"/>
                  <a:gd name="connsiteY17" fmla="*/ 300534 h 615029"/>
                  <a:gd name="connsiteX18" fmla="*/ 26613 w 866637"/>
                  <a:gd name="connsiteY18" fmla="*/ 174736 h 615029"/>
                  <a:gd name="connsiteX19" fmla="*/ 24361 w 866637"/>
                  <a:gd name="connsiteY19" fmla="*/ 169898 h 615029"/>
                  <a:gd name="connsiteX20" fmla="*/ 0 w 866637"/>
                  <a:gd name="connsiteY20" fmla="*/ 109668 h 615029"/>
                  <a:gd name="connsiteX21" fmla="*/ 0 w 866637"/>
                  <a:gd name="connsiteY21" fmla="*/ 109251 h 615029"/>
                  <a:gd name="connsiteX22" fmla="*/ 13765 w 866637"/>
                  <a:gd name="connsiteY22" fmla="*/ 77802 h 615029"/>
                  <a:gd name="connsiteX23" fmla="*/ 16852 w 866637"/>
                  <a:gd name="connsiteY23" fmla="*/ 77384 h 615029"/>
                  <a:gd name="connsiteX24" fmla="*/ 19939 w 866637"/>
                  <a:gd name="connsiteY24" fmla="*/ 79637 h 615029"/>
                  <a:gd name="connsiteX25" fmla="*/ 20857 w 866637"/>
                  <a:gd name="connsiteY25" fmla="*/ 84058 h 615029"/>
                  <a:gd name="connsiteX26" fmla="*/ 27948 w 866637"/>
                  <a:gd name="connsiteY26" fmla="*/ 96905 h 615029"/>
                  <a:gd name="connsiteX27" fmla="*/ 62487 w 866637"/>
                  <a:gd name="connsiteY27" fmla="*/ 90732 h 615029"/>
                  <a:gd name="connsiteX28" fmla="*/ 65156 w 866637"/>
                  <a:gd name="connsiteY28" fmla="*/ 88062 h 615029"/>
                  <a:gd name="connsiteX29" fmla="*/ 82008 w 866637"/>
                  <a:gd name="connsiteY29" fmla="*/ 78302 h 615029"/>
                  <a:gd name="connsiteX30" fmla="*/ 89100 w 866637"/>
                  <a:gd name="connsiteY30" fmla="*/ 79637 h 615029"/>
                  <a:gd name="connsiteX31" fmla="*/ 90852 w 866637"/>
                  <a:gd name="connsiteY31" fmla="*/ 80554 h 615029"/>
                  <a:gd name="connsiteX32" fmla="*/ 202894 w 866637"/>
                  <a:gd name="connsiteY32" fmla="*/ 48187 h 615029"/>
                  <a:gd name="connsiteX33" fmla="*/ 205564 w 866637"/>
                  <a:gd name="connsiteY33" fmla="*/ 45935 h 615029"/>
                  <a:gd name="connsiteX34" fmla="*/ 215742 w 866637"/>
                  <a:gd name="connsiteY34" fmla="*/ 37510 h 615029"/>
                  <a:gd name="connsiteX35" fmla="*/ 237850 w 866637"/>
                  <a:gd name="connsiteY35" fmla="*/ 29501 h 615029"/>
                  <a:gd name="connsiteX36" fmla="*/ 263545 w 866637"/>
                  <a:gd name="connsiteY36" fmla="*/ 21076 h 615029"/>
                  <a:gd name="connsiteX37" fmla="*/ 276393 w 866637"/>
                  <a:gd name="connsiteY37" fmla="*/ 11315 h 615029"/>
                  <a:gd name="connsiteX38" fmla="*/ 285236 w 866637"/>
                  <a:gd name="connsiteY38" fmla="*/ 4224 h 615029"/>
                  <a:gd name="connsiteX39" fmla="*/ 302923 w 866637"/>
                  <a:gd name="connsiteY39" fmla="*/ 1555 h 615029"/>
                  <a:gd name="connsiteX40" fmla="*/ 310431 w 866637"/>
                  <a:gd name="connsiteY40" fmla="*/ 13484 h 615029"/>
                  <a:gd name="connsiteX41" fmla="*/ 313935 w 866637"/>
                  <a:gd name="connsiteY41" fmla="*/ 21910 h 615029"/>
                  <a:gd name="connsiteX42" fmla="*/ 343134 w 866637"/>
                  <a:gd name="connsiteY42" fmla="*/ 48020 h 615029"/>
                  <a:gd name="connsiteX43" fmla="*/ 367912 w 866637"/>
                  <a:gd name="connsiteY43" fmla="*/ 71044 h 615029"/>
                  <a:gd name="connsiteX44" fmla="*/ 371416 w 866637"/>
                  <a:gd name="connsiteY44" fmla="*/ 83474 h 615029"/>
                  <a:gd name="connsiteX45" fmla="*/ 370999 w 866637"/>
                  <a:gd name="connsiteY45" fmla="*/ 86978 h 615029"/>
                  <a:gd name="connsiteX46" fmla="*/ 371917 w 866637"/>
                  <a:gd name="connsiteY46" fmla="*/ 97572 h 615029"/>
                  <a:gd name="connsiteX47" fmla="*/ 387434 w 866637"/>
                  <a:gd name="connsiteY47" fmla="*/ 112671 h 615029"/>
                  <a:gd name="connsiteX48" fmla="*/ 390938 w 866637"/>
                  <a:gd name="connsiteY48" fmla="*/ 114006 h 615029"/>
                  <a:gd name="connsiteX49" fmla="*/ 399782 w 866637"/>
                  <a:gd name="connsiteY49" fmla="*/ 118845 h 615029"/>
                  <a:gd name="connsiteX50" fmla="*/ 404620 w 866637"/>
                  <a:gd name="connsiteY50" fmla="*/ 127270 h 615029"/>
                  <a:gd name="connsiteX51" fmla="*/ 409959 w 866637"/>
                  <a:gd name="connsiteY51" fmla="*/ 136613 h 615029"/>
                  <a:gd name="connsiteX52" fmla="*/ 433903 w 866637"/>
                  <a:gd name="connsiteY52" fmla="*/ 149460 h 615029"/>
                  <a:gd name="connsiteX53" fmla="*/ 434320 w 866637"/>
                  <a:gd name="connsiteY53" fmla="*/ 149460 h 615029"/>
                  <a:gd name="connsiteX54" fmla="*/ 457346 w 866637"/>
                  <a:gd name="connsiteY54" fmla="*/ 129522 h 615029"/>
                  <a:gd name="connsiteX55" fmla="*/ 462185 w 866637"/>
                  <a:gd name="connsiteY55" fmla="*/ 118928 h 615029"/>
                  <a:gd name="connsiteX56" fmla="*/ 467524 w 866637"/>
                  <a:gd name="connsiteY56" fmla="*/ 106999 h 615029"/>
                  <a:gd name="connsiteX57" fmla="*/ 498976 w 866637"/>
                  <a:gd name="connsiteY57" fmla="*/ 78219 h 615029"/>
                  <a:gd name="connsiteX58" fmla="*/ 508320 w 866637"/>
                  <a:gd name="connsiteY58" fmla="*/ 73380 h 615029"/>
                  <a:gd name="connsiteX59" fmla="*/ 514076 w 866637"/>
                  <a:gd name="connsiteY59" fmla="*/ 73798 h 615029"/>
                  <a:gd name="connsiteX60" fmla="*/ 515828 w 866637"/>
                  <a:gd name="connsiteY60" fmla="*/ 76050 h 615029"/>
                  <a:gd name="connsiteX61" fmla="*/ 523336 w 866637"/>
                  <a:gd name="connsiteY61" fmla="*/ 82723 h 615029"/>
                  <a:gd name="connsiteX62" fmla="*/ 543276 w 866637"/>
                  <a:gd name="connsiteY62" fmla="*/ 75633 h 615029"/>
                  <a:gd name="connsiteX63" fmla="*/ 546362 w 866637"/>
                  <a:gd name="connsiteY63" fmla="*/ 71211 h 615029"/>
                  <a:gd name="connsiteX64" fmla="*/ 550367 w 866637"/>
                  <a:gd name="connsiteY64" fmla="*/ 65873 h 615029"/>
                  <a:gd name="connsiteX65" fmla="*/ 562798 w 866637"/>
                  <a:gd name="connsiteY65" fmla="*/ 64955 h 615029"/>
                  <a:gd name="connsiteX66" fmla="*/ 566301 w 866637"/>
                  <a:gd name="connsiteY66" fmla="*/ 65873 h 615029"/>
                  <a:gd name="connsiteX67" fmla="*/ 583571 w 866637"/>
                  <a:gd name="connsiteY67" fmla="*/ 68125 h 615029"/>
                  <a:gd name="connsiteX68" fmla="*/ 601257 w 866637"/>
                  <a:gd name="connsiteY68" fmla="*/ 61034 h 615029"/>
                  <a:gd name="connsiteX69" fmla="*/ 615023 w 866637"/>
                  <a:gd name="connsiteY69" fmla="*/ 55695 h 615029"/>
                  <a:gd name="connsiteX70" fmla="*/ 622531 w 866637"/>
                  <a:gd name="connsiteY70" fmla="*/ 57030 h 615029"/>
                  <a:gd name="connsiteX71" fmla="*/ 638048 w 866637"/>
                  <a:gd name="connsiteY71" fmla="*/ 58365 h 615029"/>
                  <a:gd name="connsiteX72" fmla="*/ 651313 w 866637"/>
                  <a:gd name="connsiteY72" fmla="*/ 51274 h 615029"/>
                  <a:gd name="connsiteX73" fmla="*/ 683182 w 866637"/>
                  <a:gd name="connsiteY73" fmla="*/ 25997 h 615029"/>
                  <a:gd name="connsiteX74" fmla="*/ 694695 w 866637"/>
                  <a:gd name="connsiteY74" fmla="*/ 14903 h 615029"/>
                  <a:gd name="connsiteX75" fmla="*/ 696948 w 866637"/>
                  <a:gd name="connsiteY75" fmla="*/ 16654 h 615029"/>
                  <a:gd name="connsiteX76" fmla="*/ 708044 w 866637"/>
                  <a:gd name="connsiteY76" fmla="*/ 32170 h 615029"/>
                  <a:gd name="connsiteX77" fmla="*/ 723144 w 866637"/>
                  <a:gd name="connsiteY77" fmla="*/ 51691 h 615029"/>
                  <a:gd name="connsiteX78" fmla="*/ 740413 w 866637"/>
                  <a:gd name="connsiteY78" fmla="*/ 62285 h 615029"/>
                  <a:gd name="connsiteX79" fmla="*/ 758100 w 866637"/>
                  <a:gd name="connsiteY79" fmla="*/ 74715 h 615029"/>
                  <a:gd name="connsiteX80" fmla="*/ 776287 w 866637"/>
                  <a:gd name="connsiteY80" fmla="*/ 92400 h 615029"/>
                  <a:gd name="connsiteX81" fmla="*/ 787382 w 866637"/>
                  <a:gd name="connsiteY81" fmla="*/ 102995 h 615029"/>
                  <a:gd name="connsiteX82" fmla="*/ 809073 w 866637"/>
                  <a:gd name="connsiteY82" fmla="*/ 140200 h 615029"/>
                  <a:gd name="connsiteX83" fmla="*/ 826343 w 866637"/>
                  <a:gd name="connsiteY83" fmla="*/ 173902 h 615029"/>
                  <a:gd name="connsiteX84" fmla="*/ 844947 w 866637"/>
                  <a:gd name="connsiteY84" fmla="*/ 187166 h 615029"/>
                  <a:gd name="connsiteX85" fmla="*/ 854708 w 866637"/>
                  <a:gd name="connsiteY85" fmla="*/ 188084 h 615029"/>
                  <a:gd name="connsiteX86" fmla="*/ 858212 w 866637"/>
                  <a:gd name="connsiteY86" fmla="*/ 189001 h 615029"/>
                  <a:gd name="connsiteX87" fmla="*/ 849786 w 866637"/>
                  <a:gd name="connsiteY87" fmla="*/ 200096 h 615029"/>
                  <a:gd name="connsiteX88" fmla="*/ 840025 w 866637"/>
                  <a:gd name="connsiteY88" fmla="*/ 212025 h 615029"/>
                  <a:gd name="connsiteX89" fmla="*/ 848034 w 866637"/>
                  <a:gd name="connsiteY89" fmla="*/ 239470 h 615029"/>
                  <a:gd name="connsiteX90" fmla="*/ 853373 w 866637"/>
                  <a:gd name="connsiteY90" fmla="*/ 244810 h 615029"/>
                  <a:gd name="connsiteX91" fmla="*/ 859129 w 866637"/>
                  <a:gd name="connsiteY91" fmla="*/ 270086 h 615029"/>
                  <a:gd name="connsiteX92" fmla="*/ 866638 w 866637"/>
                  <a:gd name="connsiteY92" fmla="*/ 310378 h 615029"/>
                  <a:gd name="connsiteX93" fmla="*/ 866221 w 866637"/>
                  <a:gd name="connsiteY93" fmla="*/ 310378 h 615029"/>
                  <a:gd name="connsiteX94" fmla="*/ 862717 w 866637"/>
                  <a:gd name="connsiteY94" fmla="*/ 311295 h 615029"/>
                  <a:gd name="connsiteX95" fmla="*/ 821921 w 866637"/>
                  <a:gd name="connsiteY95" fmla="*/ 339241 h 615029"/>
                  <a:gd name="connsiteX96" fmla="*/ 826760 w 866637"/>
                  <a:gd name="connsiteY96" fmla="*/ 367187 h 615029"/>
                  <a:gd name="connsiteX97" fmla="*/ 831599 w 866637"/>
                  <a:gd name="connsiteY97" fmla="*/ 382286 h 615029"/>
                  <a:gd name="connsiteX98" fmla="*/ 823590 w 866637"/>
                  <a:gd name="connsiteY98" fmla="*/ 393381 h 615029"/>
                  <a:gd name="connsiteX99" fmla="*/ 816916 w 866637"/>
                  <a:gd name="connsiteY99" fmla="*/ 395634 h 615029"/>
                  <a:gd name="connsiteX100" fmla="*/ 804068 w 866637"/>
                  <a:gd name="connsiteY100" fmla="*/ 403642 h 615029"/>
                  <a:gd name="connsiteX101" fmla="*/ 788968 w 866637"/>
                  <a:gd name="connsiteY101" fmla="*/ 410733 h 615029"/>
                  <a:gd name="connsiteX102" fmla="*/ 779624 w 866637"/>
                  <a:gd name="connsiteY102" fmla="*/ 404560 h 615029"/>
                  <a:gd name="connsiteX103" fmla="*/ 747755 w 866637"/>
                  <a:gd name="connsiteY103" fmla="*/ 407229 h 615029"/>
                  <a:gd name="connsiteX104" fmla="*/ 735825 w 866637"/>
                  <a:gd name="connsiteY104" fmla="*/ 429336 h 615029"/>
                  <a:gd name="connsiteX105" fmla="*/ 728316 w 866637"/>
                  <a:gd name="connsiteY105" fmla="*/ 444852 h 615029"/>
                  <a:gd name="connsiteX106" fmla="*/ 709295 w 866637"/>
                  <a:gd name="connsiteY106" fmla="*/ 460785 h 615029"/>
                  <a:gd name="connsiteX107" fmla="*/ 694695 w 866637"/>
                  <a:gd name="connsiteY107" fmla="*/ 472297 h 615029"/>
                  <a:gd name="connsiteX108" fmla="*/ 654400 w 866637"/>
                  <a:gd name="connsiteY108" fmla="*/ 489982 h 615029"/>
                  <a:gd name="connsiteX109" fmla="*/ 613604 w 866637"/>
                  <a:gd name="connsiteY109" fmla="*/ 506333 h 615029"/>
                  <a:gd name="connsiteX110" fmla="*/ 592331 w 866637"/>
                  <a:gd name="connsiteY110" fmla="*/ 513007 h 615029"/>
                  <a:gd name="connsiteX111" fmla="*/ 575061 w 866637"/>
                  <a:gd name="connsiteY111" fmla="*/ 515676 h 615029"/>
                  <a:gd name="connsiteX112" fmla="*/ 546279 w 866637"/>
                  <a:gd name="connsiteY112" fmla="*/ 539117 h 615029"/>
                  <a:gd name="connsiteX113" fmla="*/ 549783 w 866637"/>
                  <a:gd name="connsiteY113" fmla="*/ 560806 h 615029"/>
                  <a:gd name="connsiteX114" fmla="*/ 575061 w 866637"/>
                  <a:gd name="connsiteY114" fmla="*/ 573653 h 615029"/>
                  <a:gd name="connsiteX115" fmla="*/ 587909 w 866637"/>
                  <a:gd name="connsiteY115" fmla="*/ 577157 h 615029"/>
                  <a:gd name="connsiteX116" fmla="*/ 596335 w 866637"/>
                  <a:gd name="connsiteY116" fmla="*/ 590004 h 615029"/>
                  <a:gd name="connsiteX117" fmla="*/ 590996 w 866637"/>
                  <a:gd name="connsiteY117" fmla="*/ 607272 h 615029"/>
                  <a:gd name="connsiteX118" fmla="*/ 570640 w 866637"/>
                  <a:gd name="connsiteY118" fmla="*/ 614112 h 61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866637" h="615029" extrusionOk="0">
                    <a:moveTo>
                      <a:pt x="570640" y="614112"/>
                    </a:moveTo>
                    <a:cubicBezTo>
                      <a:pt x="566218" y="614112"/>
                      <a:pt x="560878" y="614529"/>
                      <a:pt x="556457" y="615030"/>
                    </a:cubicBezTo>
                    <a:cubicBezTo>
                      <a:pt x="544527" y="588001"/>
                      <a:pt x="524588" y="549461"/>
                      <a:pt x="484710" y="544623"/>
                    </a:cubicBezTo>
                    <a:cubicBezTo>
                      <a:pt x="462101" y="542370"/>
                      <a:pt x="444415" y="551714"/>
                      <a:pt x="426645" y="560973"/>
                    </a:cubicBezTo>
                    <a:cubicBezTo>
                      <a:pt x="412462" y="568981"/>
                      <a:pt x="399197" y="576072"/>
                      <a:pt x="383680" y="576489"/>
                    </a:cubicBezTo>
                    <a:cubicBezTo>
                      <a:pt x="343385" y="577407"/>
                      <a:pt x="305676" y="566312"/>
                      <a:pt x="280898" y="545040"/>
                    </a:cubicBezTo>
                    <a:cubicBezTo>
                      <a:pt x="267133" y="533528"/>
                      <a:pt x="260542" y="526854"/>
                      <a:pt x="261376" y="513590"/>
                    </a:cubicBezTo>
                    <a:cubicBezTo>
                      <a:pt x="261793" y="510504"/>
                      <a:pt x="262294" y="507417"/>
                      <a:pt x="262711" y="504748"/>
                    </a:cubicBezTo>
                    <a:cubicBezTo>
                      <a:pt x="264964" y="494153"/>
                      <a:pt x="266716" y="482141"/>
                      <a:pt x="251198" y="471046"/>
                    </a:cubicBezTo>
                    <a:cubicBezTo>
                      <a:pt x="234847" y="459117"/>
                      <a:pt x="221081" y="459534"/>
                      <a:pt x="212655" y="462203"/>
                    </a:cubicBezTo>
                    <a:cubicBezTo>
                      <a:pt x="200224" y="465707"/>
                      <a:pt x="190046" y="476385"/>
                      <a:pt x="184290" y="491400"/>
                    </a:cubicBezTo>
                    <a:cubicBezTo>
                      <a:pt x="178116" y="507751"/>
                      <a:pt x="166604" y="527688"/>
                      <a:pt x="153755" y="530858"/>
                    </a:cubicBezTo>
                    <a:cubicBezTo>
                      <a:pt x="148416" y="532193"/>
                      <a:pt x="143161" y="530441"/>
                      <a:pt x="137821" y="526020"/>
                    </a:cubicBezTo>
                    <a:cubicBezTo>
                      <a:pt x="129812" y="519847"/>
                      <a:pt x="127643" y="505665"/>
                      <a:pt x="125390" y="494153"/>
                    </a:cubicBezTo>
                    <a:cubicBezTo>
                      <a:pt x="124973" y="491067"/>
                      <a:pt x="124056" y="487980"/>
                      <a:pt x="123639" y="485311"/>
                    </a:cubicBezTo>
                    <a:cubicBezTo>
                      <a:pt x="119217" y="464956"/>
                      <a:pt x="113878" y="444518"/>
                      <a:pt x="108538" y="425498"/>
                    </a:cubicBezTo>
                    <a:cubicBezTo>
                      <a:pt x="101864" y="401557"/>
                      <a:pt x="94356" y="378115"/>
                      <a:pt x="86847" y="354591"/>
                    </a:cubicBezTo>
                    <a:cubicBezTo>
                      <a:pt x="81091" y="336405"/>
                      <a:pt x="75751" y="318303"/>
                      <a:pt x="69995" y="300534"/>
                    </a:cubicBezTo>
                    <a:cubicBezTo>
                      <a:pt x="57565" y="257990"/>
                      <a:pt x="41630" y="215445"/>
                      <a:pt x="26613" y="174736"/>
                    </a:cubicBezTo>
                    <a:lnTo>
                      <a:pt x="24361" y="169898"/>
                    </a:lnTo>
                    <a:cubicBezTo>
                      <a:pt x="17270" y="149960"/>
                      <a:pt x="9761" y="129105"/>
                      <a:pt x="0" y="109668"/>
                    </a:cubicBezTo>
                    <a:lnTo>
                      <a:pt x="0" y="109251"/>
                    </a:lnTo>
                    <a:cubicBezTo>
                      <a:pt x="1752" y="100409"/>
                      <a:pt x="8843" y="80471"/>
                      <a:pt x="13765" y="77802"/>
                    </a:cubicBezTo>
                    <a:cubicBezTo>
                      <a:pt x="14183" y="77384"/>
                      <a:pt x="15517" y="77384"/>
                      <a:pt x="16852" y="77384"/>
                    </a:cubicBezTo>
                    <a:cubicBezTo>
                      <a:pt x="18604" y="77802"/>
                      <a:pt x="19522" y="78719"/>
                      <a:pt x="19939" y="79637"/>
                    </a:cubicBezTo>
                    <a:cubicBezTo>
                      <a:pt x="20356" y="80554"/>
                      <a:pt x="20857" y="82306"/>
                      <a:pt x="20857" y="84058"/>
                    </a:cubicBezTo>
                    <a:cubicBezTo>
                      <a:pt x="21774" y="87562"/>
                      <a:pt x="22609" y="93401"/>
                      <a:pt x="27948" y="96905"/>
                    </a:cubicBezTo>
                    <a:cubicBezTo>
                      <a:pt x="36791" y="103578"/>
                      <a:pt x="50056" y="101326"/>
                      <a:pt x="62487" y="90732"/>
                    </a:cubicBezTo>
                    <a:lnTo>
                      <a:pt x="65156" y="88062"/>
                    </a:lnTo>
                    <a:cubicBezTo>
                      <a:pt x="70913" y="83224"/>
                      <a:pt x="76252" y="78302"/>
                      <a:pt x="82008" y="78302"/>
                    </a:cubicBezTo>
                    <a:cubicBezTo>
                      <a:pt x="84261" y="78719"/>
                      <a:pt x="86847" y="79220"/>
                      <a:pt x="89100" y="79637"/>
                    </a:cubicBezTo>
                    <a:lnTo>
                      <a:pt x="90852" y="80554"/>
                    </a:lnTo>
                    <a:cubicBezTo>
                      <a:pt x="126308" y="90732"/>
                      <a:pt x="169273" y="78302"/>
                      <a:pt x="202894" y="48187"/>
                    </a:cubicBezTo>
                    <a:lnTo>
                      <a:pt x="205564" y="45935"/>
                    </a:lnTo>
                    <a:cubicBezTo>
                      <a:pt x="208651" y="42848"/>
                      <a:pt x="212238" y="39762"/>
                      <a:pt x="215742" y="37510"/>
                    </a:cubicBezTo>
                    <a:cubicBezTo>
                      <a:pt x="221915" y="33505"/>
                      <a:pt x="229924" y="31753"/>
                      <a:pt x="237850" y="29501"/>
                    </a:cubicBezTo>
                    <a:cubicBezTo>
                      <a:pt x="246276" y="27749"/>
                      <a:pt x="255119" y="25497"/>
                      <a:pt x="263545" y="21076"/>
                    </a:cubicBezTo>
                    <a:cubicBezTo>
                      <a:pt x="268384" y="18406"/>
                      <a:pt x="272389" y="14903"/>
                      <a:pt x="276393" y="11315"/>
                    </a:cubicBezTo>
                    <a:cubicBezTo>
                      <a:pt x="279063" y="8646"/>
                      <a:pt x="282150" y="6477"/>
                      <a:pt x="285236" y="4224"/>
                    </a:cubicBezTo>
                    <a:cubicBezTo>
                      <a:pt x="290075" y="1138"/>
                      <a:pt x="298084" y="-1949"/>
                      <a:pt x="302923" y="1555"/>
                    </a:cubicBezTo>
                    <a:cubicBezTo>
                      <a:pt x="306009" y="3807"/>
                      <a:pt x="308262" y="8229"/>
                      <a:pt x="310431" y="13484"/>
                    </a:cubicBezTo>
                    <a:cubicBezTo>
                      <a:pt x="311766" y="16571"/>
                      <a:pt x="313101" y="19240"/>
                      <a:pt x="313935" y="21910"/>
                    </a:cubicBezTo>
                    <a:cubicBezTo>
                      <a:pt x="320609" y="33839"/>
                      <a:pt x="332122" y="41430"/>
                      <a:pt x="343134" y="48020"/>
                    </a:cubicBezTo>
                    <a:cubicBezTo>
                      <a:pt x="353730" y="54694"/>
                      <a:pt x="363491" y="60867"/>
                      <a:pt x="367912" y="71044"/>
                    </a:cubicBezTo>
                    <a:cubicBezTo>
                      <a:pt x="369664" y="74548"/>
                      <a:pt x="371416" y="79470"/>
                      <a:pt x="371416" y="83474"/>
                    </a:cubicBezTo>
                    <a:cubicBezTo>
                      <a:pt x="371416" y="84392"/>
                      <a:pt x="370999" y="85727"/>
                      <a:pt x="370999" y="86978"/>
                    </a:cubicBezTo>
                    <a:cubicBezTo>
                      <a:pt x="370582" y="90065"/>
                      <a:pt x="370582" y="93651"/>
                      <a:pt x="371917" y="97572"/>
                    </a:cubicBezTo>
                    <a:cubicBezTo>
                      <a:pt x="373669" y="103745"/>
                      <a:pt x="379008" y="109084"/>
                      <a:pt x="387434" y="112671"/>
                    </a:cubicBezTo>
                    <a:lnTo>
                      <a:pt x="390938" y="114006"/>
                    </a:lnTo>
                    <a:cubicBezTo>
                      <a:pt x="394442" y="115341"/>
                      <a:pt x="397612" y="116676"/>
                      <a:pt x="399782" y="118845"/>
                    </a:cubicBezTo>
                    <a:cubicBezTo>
                      <a:pt x="402034" y="121097"/>
                      <a:pt x="403285" y="123683"/>
                      <a:pt x="404620" y="127270"/>
                    </a:cubicBezTo>
                    <a:cubicBezTo>
                      <a:pt x="405955" y="129939"/>
                      <a:pt x="407707" y="133443"/>
                      <a:pt x="409959" y="136613"/>
                    </a:cubicBezTo>
                    <a:cubicBezTo>
                      <a:pt x="414798" y="142786"/>
                      <a:pt x="425477" y="149460"/>
                      <a:pt x="433903" y="149460"/>
                    </a:cubicBezTo>
                    <a:cubicBezTo>
                      <a:pt x="433903" y="149460"/>
                      <a:pt x="433903" y="149460"/>
                      <a:pt x="434320" y="149460"/>
                    </a:cubicBezTo>
                    <a:cubicBezTo>
                      <a:pt x="442746" y="149043"/>
                      <a:pt x="450672" y="142786"/>
                      <a:pt x="457346" y="129522"/>
                    </a:cubicBezTo>
                    <a:cubicBezTo>
                      <a:pt x="459098" y="126018"/>
                      <a:pt x="460433" y="122432"/>
                      <a:pt x="462185" y="118928"/>
                    </a:cubicBezTo>
                    <a:cubicBezTo>
                      <a:pt x="463520" y="114924"/>
                      <a:pt x="465272" y="110920"/>
                      <a:pt x="467524" y="106999"/>
                    </a:cubicBezTo>
                    <a:cubicBezTo>
                      <a:pt x="474615" y="95070"/>
                      <a:pt x="487463" y="86144"/>
                      <a:pt x="498976" y="78219"/>
                    </a:cubicBezTo>
                    <a:cubicBezTo>
                      <a:pt x="502063" y="75966"/>
                      <a:pt x="505149" y="73798"/>
                      <a:pt x="508320" y="73380"/>
                    </a:cubicBezTo>
                    <a:cubicBezTo>
                      <a:pt x="510572" y="72463"/>
                      <a:pt x="513159" y="72963"/>
                      <a:pt x="514076" y="73798"/>
                    </a:cubicBezTo>
                    <a:cubicBezTo>
                      <a:pt x="514493" y="74215"/>
                      <a:pt x="515411" y="75132"/>
                      <a:pt x="515828" y="76050"/>
                    </a:cubicBezTo>
                    <a:cubicBezTo>
                      <a:pt x="517163" y="78302"/>
                      <a:pt x="519332" y="80888"/>
                      <a:pt x="523336" y="82723"/>
                    </a:cubicBezTo>
                    <a:cubicBezTo>
                      <a:pt x="530845" y="86227"/>
                      <a:pt x="538854" y="81806"/>
                      <a:pt x="543276" y="75633"/>
                    </a:cubicBezTo>
                    <a:cubicBezTo>
                      <a:pt x="544610" y="74298"/>
                      <a:pt x="545528" y="72963"/>
                      <a:pt x="546362" y="71211"/>
                    </a:cubicBezTo>
                    <a:cubicBezTo>
                      <a:pt x="547697" y="68959"/>
                      <a:pt x="549032" y="67207"/>
                      <a:pt x="550367" y="65873"/>
                    </a:cubicBezTo>
                    <a:cubicBezTo>
                      <a:pt x="553454" y="63620"/>
                      <a:pt x="558793" y="64121"/>
                      <a:pt x="562798" y="64955"/>
                    </a:cubicBezTo>
                    <a:lnTo>
                      <a:pt x="566301" y="65873"/>
                    </a:lnTo>
                    <a:cubicBezTo>
                      <a:pt x="571140" y="67207"/>
                      <a:pt x="576897" y="68542"/>
                      <a:pt x="583571" y="68125"/>
                    </a:cubicBezTo>
                    <a:cubicBezTo>
                      <a:pt x="590662" y="67207"/>
                      <a:pt x="596418" y="63704"/>
                      <a:pt x="601257" y="61034"/>
                    </a:cubicBezTo>
                    <a:cubicBezTo>
                      <a:pt x="606096" y="57948"/>
                      <a:pt x="610601" y="55695"/>
                      <a:pt x="615023" y="55695"/>
                    </a:cubicBezTo>
                    <a:cubicBezTo>
                      <a:pt x="617692" y="56112"/>
                      <a:pt x="619861" y="56613"/>
                      <a:pt x="622531" y="57030"/>
                    </a:cubicBezTo>
                    <a:cubicBezTo>
                      <a:pt x="626953" y="58365"/>
                      <a:pt x="632292" y="59699"/>
                      <a:pt x="638048" y="58365"/>
                    </a:cubicBezTo>
                    <a:cubicBezTo>
                      <a:pt x="643388" y="57447"/>
                      <a:pt x="648227" y="53943"/>
                      <a:pt x="651313" y="51274"/>
                    </a:cubicBezTo>
                    <a:lnTo>
                      <a:pt x="683182" y="25997"/>
                    </a:lnTo>
                    <a:cubicBezTo>
                      <a:pt x="686686" y="22911"/>
                      <a:pt x="691608" y="19324"/>
                      <a:pt x="694695" y="14903"/>
                    </a:cubicBezTo>
                    <a:cubicBezTo>
                      <a:pt x="695613" y="15320"/>
                      <a:pt x="696030" y="15820"/>
                      <a:pt x="696948" y="16654"/>
                    </a:cubicBezTo>
                    <a:cubicBezTo>
                      <a:pt x="701370" y="20659"/>
                      <a:pt x="704957" y="26414"/>
                      <a:pt x="708044" y="32170"/>
                    </a:cubicBezTo>
                    <a:cubicBezTo>
                      <a:pt x="712048" y="38844"/>
                      <a:pt x="716470" y="45935"/>
                      <a:pt x="723144" y="51691"/>
                    </a:cubicBezTo>
                    <a:cubicBezTo>
                      <a:pt x="728483" y="56529"/>
                      <a:pt x="734657" y="59699"/>
                      <a:pt x="740413" y="62285"/>
                    </a:cubicBezTo>
                    <a:cubicBezTo>
                      <a:pt x="746587" y="65789"/>
                      <a:pt x="752844" y="68959"/>
                      <a:pt x="758100" y="74715"/>
                    </a:cubicBezTo>
                    <a:cubicBezTo>
                      <a:pt x="763856" y="80888"/>
                      <a:pt x="770030" y="86644"/>
                      <a:pt x="776287" y="92400"/>
                    </a:cubicBezTo>
                    <a:cubicBezTo>
                      <a:pt x="779791" y="95904"/>
                      <a:pt x="783795" y="99491"/>
                      <a:pt x="787382" y="102995"/>
                    </a:cubicBezTo>
                    <a:cubicBezTo>
                      <a:pt x="797561" y="113172"/>
                      <a:pt x="803317" y="126436"/>
                      <a:pt x="809073" y="140200"/>
                    </a:cubicBezTo>
                    <a:cubicBezTo>
                      <a:pt x="813495" y="151295"/>
                      <a:pt x="818834" y="163641"/>
                      <a:pt x="826343" y="173902"/>
                    </a:cubicBezTo>
                    <a:cubicBezTo>
                      <a:pt x="833017" y="182744"/>
                      <a:pt x="835186" y="184079"/>
                      <a:pt x="844947" y="187166"/>
                    </a:cubicBezTo>
                    <a:cubicBezTo>
                      <a:pt x="848451" y="188501"/>
                      <a:pt x="852038" y="188084"/>
                      <a:pt x="854708" y="188084"/>
                    </a:cubicBezTo>
                    <a:cubicBezTo>
                      <a:pt x="855626" y="188084"/>
                      <a:pt x="857378" y="188084"/>
                      <a:pt x="858212" y="189001"/>
                    </a:cubicBezTo>
                    <a:cubicBezTo>
                      <a:pt x="859547" y="191253"/>
                      <a:pt x="855125" y="195675"/>
                      <a:pt x="849786" y="200096"/>
                    </a:cubicBezTo>
                    <a:cubicBezTo>
                      <a:pt x="845781" y="203600"/>
                      <a:pt x="841777" y="207604"/>
                      <a:pt x="840025" y="212025"/>
                    </a:cubicBezTo>
                    <a:cubicBezTo>
                      <a:pt x="833851" y="226207"/>
                      <a:pt x="842277" y="233714"/>
                      <a:pt x="848034" y="239470"/>
                    </a:cubicBezTo>
                    <a:cubicBezTo>
                      <a:pt x="849786" y="241222"/>
                      <a:pt x="851538" y="242974"/>
                      <a:pt x="853373" y="244810"/>
                    </a:cubicBezTo>
                    <a:cubicBezTo>
                      <a:pt x="860464" y="253235"/>
                      <a:pt x="860464" y="257239"/>
                      <a:pt x="859129" y="270086"/>
                    </a:cubicBezTo>
                    <a:cubicBezTo>
                      <a:pt x="858212" y="283850"/>
                      <a:pt x="860881" y="298032"/>
                      <a:pt x="866638" y="310378"/>
                    </a:cubicBezTo>
                    <a:cubicBezTo>
                      <a:pt x="866221" y="310378"/>
                      <a:pt x="866221" y="310378"/>
                      <a:pt x="866221" y="310378"/>
                    </a:cubicBezTo>
                    <a:lnTo>
                      <a:pt x="862717" y="311295"/>
                    </a:lnTo>
                    <a:cubicBezTo>
                      <a:pt x="848117" y="314799"/>
                      <a:pt x="828178" y="320138"/>
                      <a:pt x="821921" y="339241"/>
                    </a:cubicBezTo>
                    <a:cubicBezTo>
                      <a:pt x="818417" y="350337"/>
                      <a:pt x="823256" y="359596"/>
                      <a:pt x="826760" y="367187"/>
                    </a:cubicBezTo>
                    <a:cubicBezTo>
                      <a:pt x="829430" y="372526"/>
                      <a:pt x="831599" y="377365"/>
                      <a:pt x="831599" y="382286"/>
                    </a:cubicBezTo>
                    <a:cubicBezTo>
                      <a:pt x="831599" y="391129"/>
                      <a:pt x="831181" y="391129"/>
                      <a:pt x="823590" y="393381"/>
                    </a:cubicBezTo>
                    <a:cubicBezTo>
                      <a:pt x="821337" y="393798"/>
                      <a:pt x="819168" y="394716"/>
                      <a:pt x="816916" y="395634"/>
                    </a:cubicBezTo>
                    <a:cubicBezTo>
                      <a:pt x="812077" y="397386"/>
                      <a:pt x="808072" y="400472"/>
                      <a:pt x="804068" y="403642"/>
                    </a:cubicBezTo>
                    <a:cubicBezTo>
                      <a:pt x="798728" y="407646"/>
                      <a:pt x="793473" y="411651"/>
                      <a:pt x="788968" y="410733"/>
                    </a:cubicBezTo>
                    <a:cubicBezTo>
                      <a:pt x="785464" y="409815"/>
                      <a:pt x="782294" y="407646"/>
                      <a:pt x="779624" y="404560"/>
                    </a:cubicBezTo>
                    <a:cubicBezTo>
                      <a:pt x="771615" y="397469"/>
                      <a:pt x="762354" y="391296"/>
                      <a:pt x="747755" y="407229"/>
                    </a:cubicBezTo>
                    <a:cubicBezTo>
                      <a:pt x="741581" y="413903"/>
                      <a:pt x="738411" y="421828"/>
                      <a:pt x="735825" y="429336"/>
                    </a:cubicBezTo>
                    <a:cubicBezTo>
                      <a:pt x="733572" y="435091"/>
                      <a:pt x="731403" y="440431"/>
                      <a:pt x="728316" y="444852"/>
                    </a:cubicBezTo>
                    <a:cubicBezTo>
                      <a:pt x="723895" y="450191"/>
                      <a:pt x="716386" y="455446"/>
                      <a:pt x="709295" y="460785"/>
                    </a:cubicBezTo>
                    <a:cubicBezTo>
                      <a:pt x="703955" y="464289"/>
                      <a:pt x="698700" y="468794"/>
                      <a:pt x="694695" y="472297"/>
                    </a:cubicBezTo>
                    <a:cubicBezTo>
                      <a:pt x="683599" y="482475"/>
                      <a:pt x="669417" y="486061"/>
                      <a:pt x="654400" y="489982"/>
                    </a:cubicBezTo>
                    <a:cubicBezTo>
                      <a:pt x="640635" y="493486"/>
                      <a:pt x="626452" y="497490"/>
                      <a:pt x="613604" y="506333"/>
                    </a:cubicBezTo>
                    <a:cubicBezTo>
                      <a:pt x="605595" y="511672"/>
                      <a:pt x="600340" y="512506"/>
                      <a:pt x="592331" y="513007"/>
                    </a:cubicBezTo>
                    <a:cubicBezTo>
                      <a:pt x="587492" y="513424"/>
                      <a:pt x="581735" y="513924"/>
                      <a:pt x="575061" y="515676"/>
                    </a:cubicBezTo>
                    <a:cubicBezTo>
                      <a:pt x="563965" y="518762"/>
                      <a:pt x="550284" y="527188"/>
                      <a:pt x="546279" y="539117"/>
                    </a:cubicBezTo>
                    <a:cubicBezTo>
                      <a:pt x="544026" y="543955"/>
                      <a:pt x="543609" y="551964"/>
                      <a:pt x="549783" y="560806"/>
                    </a:cubicBezTo>
                    <a:cubicBezTo>
                      <a:pt x="555956" y="569649"/>
                      <a:pt x="566135" y="571901"/>
                      <a:pt x="575061" y="573653"/>
                    </a:cubicBezTo>
                    <a:cubicBezTo>
                      <a:pt x="579900" y="574571"/>
                      <a:pt x="584822" y="575906"/>
                      <a:pt x="587909" y="577157"/>
                    </a:cubicBezTo>
                    <a:cubicBezTo>
                      <a:pt x="592331" y="579826"/>
                      <a:pt x="595000" y="584665"/>
                      <a:pt x="596335" y="590004"/>
                    </a:cubicBezTo>
                    <a:cubicBezTo>
                      <a:pt x="597253" y="596177"/>
                      <a:pt x="595000" y="602850"/>
                      <a:pt x="590996" y="607272"/>
                    </a:cubicBezTo>
                    <a:cubicBezTo>
                      <a:pt x="589244" y="614112"/>
                      <a:pt x="580401" y="614112"/>
                      <a:pt x="570640" y="61411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20133465" name="Полилиния 407"/>
              <p:cNvSpPr/>
              <p:nvPr/>
            </p:nvSpPr>
            <p:spPr bwMode="auto">
              <a:xfrm>
                <a:off x="2684196" y="3224376"/>
                <a:ext cx="981337" cy="690519"/>
              </a:xfrm>
              <a:custGeom>
                <a:avLst/>
                <a:gdLst>
                  <a:gd name="connsiteX0" fmla="*/ 774645 w 1102075"/>
                  <a:gd name="connsiteY0" fmla="*/ 122711 h 775476"/>
                  <a:gd name="connsiteX1" fmla="*/ 706903 w 1102075"/>
                  <a:gd name="connsiteY1" fmla="*/ 57560 h 775476"/>
                  <a:gd name="connsiteX2" fmla="*/ 648421 w 1102075"/>
                  <a:gd name="connsiteY2" fmla="*/ 0 h 775476"/>
                  <a:gd name="connsiteX3" fmla="*/ 647503 w 1102075"/>
                  <a:gd name="connsiteY3" fmla="*/ 0 h 775476"/>
                  <a:gd name="connsiteX4" fmla="*/ 606707 w 1102075"/>
                  <a:gd name="connsiteY4" fmla="*/ 23942 h 775476"/>
                  <a:gd name="connsiteX5" fmla="*/ 565912 w 1102075"/>
                  <a:gd name="connsiteY5" fmla="*/ 49218 h 775476"/>
                  <a:gd name="connsiteX6" fmla="*/ 565494 w 1102075"/>
                  <a:gd name="connsiteY6" fmla="*/ 49218 h 775476"/>
                  <a:gd name="connsiteX7" fmla="*/ 518942 w 1102075"/>
                  <a:gd name="connsiteY7" fmla="*/ 47466 h 775476"/>
                  <a:gd name="connsiteX8" fmla="*/ 461378 w 1102075"/>
                  <a:gd name="connsiteY8" fmla="*/ 52305 h 775476"/>
                  <a:gd name="connsiteX9" fmla="*/ 309457 w 1102075"/>
                  <a:gd name="connsiteY9" fmla="*/ 120960 h 775476"/>
                  <a:gd name="connsiteX10" fmla="*/ 254062 w 1102075"/>
                  <a:gd name="connsiteY10" fmla="*/ 95683 h 775476"/>
                  <a:gd name="connsiteX11" fmla="*/ 220858 w 1102075"/>
                  <a:gd name="connsiteY11" fmla="*/ 110282 h 775476"/>
                  <a:gd name="connsiteX12" fmla="*/ 135763 w 1102075"/>
                  <a:gd name="connsiteY12" fmla="*/ 42962 h 775476"/>
                  <a:gd name="connsiteX13" fmla="*/ 121580 w 1102075"/>
                  <a:gd name="connsiteY13" fmla="*/ 54474 h 775476"/>
                  <a:gd name="connsiteX14" fmla="*/ 111819 w 1102075"/>
                  <a:gd name="connsiteY14" fmla="*/ 61981 h 775476"/>
                  <a:gd name="connsiteX15" fmla="*/ 102058 w 1102075"/>
                  <a:gd name="connsiteY15" fmla="*/ 99187 h 775476"/>
                  <a:gd name="connsiteX16" fmla="*/ 101141 w 1102075"/>
                  <a:gd name="connsiteY16" fmla="*/ 116872 h 775476"/>
                  <a:gd name="connsiteX17" fmla="*/ 72358 w 1102075"/>
                  <a:gd name="connsiteY17" fmla="*/ 154495 h 775476"/>
                  <a:gd name="connsiteX18" fmla="*/ 61763 w 1102075"/>
                  <a:gd name="connsiteY18" fmla="*/ 161585 h 775476"/>
                  <a:gd name="connsiteX19" fmla="*/ 39655 w 1102075"/>
                  <a:gd name="connsiteY19" fmla="*/ 171763 h 775476"/>
                  <a:gd name="connsiteX20" fmla="*/ 30311 w 1102075"/>
                  <a:gd name="connsiteY20" fmla="*/ 187696 h 775476"/>
                  <a:gd name="connsiteX21" fmla="*/ 8203 w 1102075"/>
                  <a:gd name="connsiteY21" fmla="*/ 235496 h 775476"/>
                  <a:gd name="connsiteX22" fmla="*/ 194 w 1102075"/>
                  <a:gd name="connsiteY22" fmla="*/ 293056 h 775476"/>
                  <a:gd name="connsiteX23" fmla="*/ 2864 w 1102075"/>
                  <a:gd name="connsiteY23" fmla="*/ 312994 h 775476"/>
                  <a:gd name="connsiteX24" fmla="*/ 9955 w 1102075"/>
                  <a:gd name="connsiteY24" fmla="*/ 316998 h 775476"/>
                  <a:gd name="connsiteX25" fmla="*/ 22803 w 1102075"/>
                  <a:gd name="connsiteY25" fmla="*/ 324088 h 775476"/>
                  <a:gd name="connsiteX26" fmla="*/ 31646 w 1102075"/>
                  <a:gd name="connsiteY26" fmla="*/ 341357 h 775476"/>
                  <a:gd name="connsiteX27" fmla="*/ 41407 w 1102075"/>
                  <a:gd name="connsiteY27" fmla="*/ 355955 h 775476"/>
                  <a:gd name="connsiteX28" fmla="*/ 47163 w 1102075"/>
                  <a:gd name="connsiteY28" fmla="*/ 359459 h 775476"/>
                  <a:gd name="connsiteX29" fmla="*/ 57341 w 1102075"/>
                  <a:gd name="connsiteY29" fmla="*/ 366550 h 775476"/>
                  <a:gd name="connsiteX30" fmla="*/ 67102 w 1102075"/>
                  <a:gd name="connsiteY30" fmla="*/ 382066 h 775476"/>
                  <a:gd name="connsiteX31" fmla="*/ 71524 w 1102075"/>
                  <a:gd name="connsiteY31" fmla="*/ 390491 h 775476"/>
                  <a:gd name="connsiteX32" fmla="*/ 89711 w 1102075"/>
                  <a:gd name="connsiteY32" fmla="*/ 400252 h 775476"/>
                  <a:gd name="connsiteX33" fmla="*/ 106980 w 1102075"/>
                  <a:gd name="connsiteY33" fmla="*/ 405590 h 775476"/>
                  <a:gd name="connsiteX34" fmla="*/ 130924 w 1102075"/>
                  <a:gd name="connsiteY34" fmla="*/ 432619 h 775476"/>
                  <a:gd name="connsiteX35" fmla="*/ 143772 w 1102075"/>
                  <a:gd name="connsiteY35" fmla="*/ 450805 h 775476"/>
                  <a:gd name="connsiteX36" fmla="*/ 166797 w 1102075"/>
                  <a:gd name="connsiteY36" fmla="*/ 455643 h 775476"/>
                  <a:gd name="connsiteX37" fmla="*/ 173889 w 1102075"/>
                  <a:gd name="connsiteY37" fmla="*/ 455643 h 775476"/>
                  <a:gd name="connsiteX38" fmla="*/ 214184 w 1102075"/>
                  <a:gd name="connsiteY38" fmla="*/ 475580 h 775476"/>
                  <a:gd name="connsiteX39" fmla="*/ 241631 w 1102075"/>
                  <a:gd name="connsiteY39" fmla="*/ 496852 h 775476"/>
                  <a:gd name="connsiteX40" fmla="*/ 248723 w 1102075"/>
                  <a:gd name="connsiteY40" fmla="*/ 500857 h 775476"/>
                  <a:gd name="connsiteX41" fmla="*/ 275753 w 1102075"/>
                  <a:gd name="connsiteY41" fmla="*/ 528803 h 775476"/>
                  <a:gd name="connsiteX42" fmla="*/ 286849 w 1102075"/>
                  <a:gd name="connsiteY42" fmla="*/ 543401 h 775476"/>
                  <a:gd name="connsiteX43" fmla="*/ 323640 w 1102075"/>
                  <a:gd name="connsiteY43" fmla="*/ 549574 h 775476"/>
                  <a:gd name="connsiteX44" fmla="*/ 373279 w 1102075"/>
                  <a:gd name="connsiteY44" fmla="*/ 563756 h 775476"/>
                  <a:gd name="connsiteX45" fmla="*/ 377701 w 1102075"/>
                  <a:gd name="connsiteY45" fmla="*/ 570430 h 775476"/>
                  <a:gd name="connsiteX46" fmla="*/ 432595 w 1102075"/>
                  <a:gd name="connsiteY46" fmla="*/ 610721 h 775476"/>
                  <a:gd name="connsiteX47" fmla="*/ 437017 w 1102075"/>
                  <a:gd name="connsiteY47" fmla="*/ 608052 h 775476"/>
                  <a:gd name="connsiteX48" fmla="*/ 471139 w 1102075"/>
                  <a:gd name="connsiteY48" fmla="*/ 597875 h 775476"/>
                  <a:gd name="connsiteX49" fmla="*/ 483986 w 1102075"/>
                  <a:gd name="connsiteY49" fmla="*/ 613808 h 775476"/>
                  <a:gd name="connsiteX50" fmla="*/ 481317 w 1102075"/>
                  <a:gd name="connsiteY50" fmla="*/ 631994 h 775476"/>
                  <a:gd name="connsiteX51" fmla="*/ 479064 w 1102075"/>
                  <a:gd name="connsiteY51" fmla="*/ 639502 h 775476"/>
                  <a:gd name="connsiteX52" fmla="*/ 491912 w 1102075"/>
                  <a:gd name="connsiteY52" fmla="*/ 655018 h 775476"/>
                  <a:gd name="connsiteX53" fmla="*/ 502507 w 1102075"/>
                  <a:gd name="connsiteY53" fmla="*/ 658522 h 775476"/>
                  <a:gd name="connsiteX54" fmla="*/ 518442 w 1102075"/>
                  <a:gd name="connsiteY54" fmla="*/ 665195 h 775476"/>
                  <a:gd name="connsiteX55" fmla="*/ 528202 w 1102075"/>
                  <a:gd name="connsiteY55" fmla="*/ 690472 h 775476"/>
                  <a:gd name="connsiteX56" fmla="*/ 528620 w 1102075"/>
                  <a:gd name="connsiteY56" fmla="*/ 695810 h 775476"/>
                  <a:gd name="connsiteX57" fmla="*/ 536629 w 1102075"/>
                  <a:gd name="connsiteY57" fmla="*/ 717500 h 775476"/>
                  <a:gd name="connsiteX58" fmla="*/ 539715 w 1102075"/>
                  <a:gd name="connsiteY58" fmla="*/ 714830 h 775476"/>
                  <a:gd name="connsiteX59" fmla="*/ 549893 w 1102075"/>
                  <a:gd name="connsiteY59" fmla="*/ 706822 h 775476"/>
                  <a:gd name="connsiteX60" fmla="*/ 580428 w 1102075"/>
                  <a:gd name="connsiteY60" fmla="*/ 708574 h 775476"/>
                  <a:gd name="connsiteX61" fmla="*/ 600367 w 1102075"/>
                  <a:gd name="connsiteY61" fmla="*/ 726759 h 775476"/>
                  <a:gd name="connsiteX62" fmla="*/ 609210 w 1102075"/>
                  <a:gd name="connsiteY62" fmla="*/ 741358 h 775476"/>
                  <a:gd name="connsiteX63" fmla="*/ 610128 w 1102075"/>
                  <a:gd name="connsiteY63" fmla="*/ 753788 h 775476"/>
                  <a:gd name="connsiteX64" fmla="*/ 610128 w 1102075"/>
                  <a:gd name="connsiteY64" fmla="*/ 760878 h 775476"/>
                  <a:gd name="connsiteX65" fmla="*/ 624310 w 1102075"/>
                  <a:gd name="connsiteY65" fmla="*/ 775477 h 775476"/>
                  <a:gd name="connsiteX66" fmla="*/ 629650 w 1102075"/>
                  <a:gd name="connsiteY66" fmla="*/ 770639 h 775476"/>
                  <a:gd name="connsiteX67" fmla="*/ 687214 w 1102075"/>
                  <a:gd name="connsiteY67" fmla="*/ 763131 h 775476"/>
                  <a:gd name="connsiteX68" fmla="*/ 694305 w 1102075"/>
                  <a:gd name="connsiteY68" fmla="*/ 764883 h 775476"/>
                  <a:gd name="connsiteX69" fmla="*/ 722671 w 1102075"/>
                  <a:gd name="connsiteY69" fmla="*/ 760461 h 775476"/>
                  <a:gd name="connsiteX70" fmla="*/ 731097 w 1102075"/>
                  <a:gd name="connsiteY70" fmla="*/ 753788 h 775476"/>
                  <a:gd name="connsiteX71" fmla="*/ 749701 w 1102075"/>
                  <a:gd name="connsiteY71" fmla="*/ 733850 h 775476"/>
                  <a:gd name="connsiteX72" fmla="*/ 745279 w 1102075"/>
                  <a:gd name="connsiteY72" fmla="*/ 719669 h 775476"/>
                  <a:gd name="connsiteX73" fmla="*/ 739940 w 1102075"/>
                  <a:gd name="connsiteY73" fmla="*/ 692223 h 775476"/>
                  <a:gd name="connsiteX74" fmla="*/ 774896 w 1102075"/>
                  <a:gd name="connsiteY74" fmla="*/ 651431 h 775476"/>
                  <a:gd name="connsiteX75" fmla="*/ 794418 w 1102075"/>
                  <a:gd name="connsiteY75" fmla="*/ 643005 h 775476"/>
                  <a:gd name="connsiteX76" fmla="*/ 812605 w 1102075"/>
                  <a:gd name="connsiteY76" fmla="*/ 634580 h 775476"/>
                  <a:gd name="connsiteX77" fmla="*/ 823700 w 1102075"/>
                  <a:gd name="connsiteY77" fmla="*/ 622150 h 775476"/>
                  <a:gd name="connsiteX78" fmla="*/ 838300 w 1102075"/>
                  <a:gd name="connsiteY78" fmla="*/ 606217 h 775476"/>
                  <a:gd name="connsiteX79" fmla="*/ 856904 w 1102075"/>
                  <a:gd name="connsiteY79" fmla="*/ 574350 h 775476"/>
                  <a:gd name="connsiteX80" fmla="*/ 844057 w 1102075"/>
                  <a:gd name="connsiteY80" fmla="*/ 551743 h 775476"/>
                  <a:gd name="connsiteX81" fmla="*/ 798005 w 1102075"/>
                  <a:gd name="connsiteY81" fmla="*/ 545570 h 775476"/>
                  <a:gd name="connsiteX82" fmla="*/ 781653 w 1102075"/>
                  <a:gd name="connsiteY82" fmla="*/ 559751 h 775476"/>
                  <a:gd name="connsiteX83" fmla="*/ 768806 w 1102075"/>
                  <a:gd name="connsiteY83" fmla="*/ 573933 h 775476"/>
                  <a:gd name="connsiteX84" fmla="*/ 732014 w 1102075"/>
                  <a:gd name="connsiteY84" fmla="*/ 575268 h 775476"/>
                  <a:gd name="connsiteX85" fmla="*/ 724923 w 1102075"/>
                  <a:gd name="connsiteY85" fmla="*/ 571764 h 775476"/>
                  <a:gd name="connsiteX86" fmla="*/ 711658 w 1102075"/>
                  <a:gd name="connsiteY86" fmla="*/ 568678 h 775476"/>
                  <a:gd name="connsiteX87" fmla="*/ 685963 w 1102075"/>
                  <a:gd name="connsiteY87" fmla="*/ 547405 h 775476"/>
                  <a:gd name="connsiteX88" fmla="*/ 700562 w 1102075"/>
                  <a:gd name="connsiteY88" fmla="*/ 503526 h 775476"/>
                  <a:gd name="connsiteX89" fmla="*/ 711658 w 1102075"/>
                  <a:gd name="connsiteY89" fmla="*/ 484506 h 775476"/>
                  <a:gd name="connsiteX90" fmla="*/ 720084 w 1102075"/>
                  <a:gd name="connsiteY90" fmla="*/ 466821 h 775476"/>
                  <a:gd name="connsiteX91" fmla="*/ 747532 w 1102075"/>
                  <a:gd name="connsiteY91" fmla="*/ 450888 h 775476"/>
                  <a:gd name="connsiteX92" fmla="*/ 758628 w 1102075"/>
                  <a:gd name="connsiteY92" fmla="*/ 447384 h 775476"/>
                  <a:gd name="connsiteX93" fmla="*/ 766636 w 1102075"/>
                  <a:gd name="connsiteY93" fmla="*/ 412848 h 775476"/>
                  <a:gd name="connsiteX94" fmla="*/ 767054 w 1102075"/>
                  <a:gd name="connsiteY94" fmla="*/ 367634 h 775476"/>
                  <a:gd name="connsiteX95" fmla="*/ 771475 w 1102075"/>
                  <a:gd name="connsiteY95" fmla="*/ 360961 h 775476"/>
                  <a:gd name="connsiteX96" fmla="*/ 785658 w 1102075"/>
                  <a:gd name="connsiteY96" fmla="*/ 327759 h 775476"/>
                  <a:gd name="connsiteX97" fmla="*/ 775480 w 1102075"/>
                  <a:gd name="connsiteY97" fmla="*/ 285715 h 775476"/>
                  <a:gd name="connsiteX98" fmla="*/ 772810 w 1102075"/>
                  <a:gd name="connsiteY98" fmla="*/ 281294 h 775476"/>
                  <a:gd name="connsiteX99" fmla="*/ 747532 w 1102075"/>
                  <a:gd name="connsiteY99" fmla="*/ 212639 h 775476"/>
                  <a:gd name="connsiteX100" fmla="*/ 768806 w 1102075"/>
                  <a:gd name="connsiteY100" fmla="*/ 200710 h 775476"/>
                  <a:gd name="connsiteX101" fmla="*/ 804262 w 1102075"/>
                  <a:gd name="connsiteY101" fmla="*/ 214474 h 775476"/>
                  <a:gd name="connsiteX102" fmla="*/ 816192 w 1102075"/>
                  <a:gd name="connsiteY102" fmla="*/ 222900 h 775476"/>
                  <a:gd name="connsiteX103" fmla="*/ 836548 w 1102075"/>
                  <a:gd name="connsiteY103" fmla="*/ 229573 h 775476"/>
                  <a:gd name="connsiteX104" fmla="*/ 861827 w 1102075"/>
                  <a:gd name="connsiteY104" fmla="*/ 237999 h 775476"/>
                  <a:gd name="connsiteX105" fmla="*/ 916721 w 1102075"/>
                  <a:gd name="connsiteY105" fmla="*/ 269865 h 775476"/>
                  <a:gd name="connsiteX106" fmla="*/ 934908 w 1102075"/>
                  <a:gd name="connsiteY106" fmla="*/ 288468 h 775476"/>
                  <a:gd name="connsiteX107" fmla="*/ 935826 w 1102075"/>
                  <a:gd name="connsiteY107" fmla="*/ 302233 h 775476"/>
                  <a:gd name="connsiteX108" fmla="*/ 935409 w 1102075"/>
                  <a:gd name="connsiteY108" fmla="*/ 308406 h 775476"/>
                  <a:gd name="connsiteX109" fmla="*/ 952261 w 1102075"/>
                  <a:gd name="connsiteY109" fmla="*/ 313244 h 775476"/>
                  <a:gd name="connsiteX110" fmla="*/ 966027 w 1102075"/>
                  <a:gd name="connsiteY110" fmla="*/ 314162 h 775476"/>
                  <a:gd name="connsiteX111" fmla="*/ 970448 w 1102075"/>
                  <a:gd name="connsiteY111" fmla="*/ 315079 h 775476"/>
                  <a:gd name="connsiteX112" fmla="*/ 977122 w 1102075"/>
                  <a:gd name="connsiteY112" fmla="*/ 315079 h 775476"/>
                  <a:gd name="connsiteX113" fmla="*/ 981544 w 1102075"/>
                  <a:gd name="connsiteY113" fmla="*/ 312410 h 775476"/>
                  <a:gd name="connsiteX114" fmla="*/ 996144 w 1102075"/>
                  <a:gd name="connsiteY114" fmla="*/ 307571 h 775476"/>
                  <a:gd name="connsiteX115" fmla="*/ 1015666 w 1102075"/>
                  <a:gd name="connsiteY115" fmla="*/ 320418 h 775476"/>
                  <a:gd name="connsiteX116" fmla="*/ 1026261 w 1102075"/>
                  <a:gd name="connsiteY116" fmla="*/ 326591 h 775476"/>
                  <a:gd name="connsiteX117" fmla="*/ 1029348 w 1102075"/>
                  <a:gd name="connsiteY117" fmla="*/ 323922 h 775476"/>
                  <a:gd name="connsiteX118" fmla="*/ 1044448 w 1102075"/>
                  <a:gd name="connsiteY118" fmla="*/ 317248 h 775476"/>
                  <a:gd name="connsiteX119" fmla="*/ 1063970 w 1102075"/>
                  <a:gd name="connsiteY119" fmla="*/ 331013 h 775476"/>
                  <a:gd name="connsiteX120" fmla="*/ 1068391 w 1102075"/>
                  <a:gd name="connsiteY120" fmla="*/ 336769 h 775476"/>
                  <a:gd name="connsiteX121" fmla="*/ 1078987 w 1102075"/>
                  <a:gd name="connsiteY121" fmla="*/ 348280 h 775476"/>
                  <a:gd name="connsiteX122" fmla="*/ 1085661 w 1102075"/>
                  <a:gd name="connsiteY122" fmla="*/ 345194 h 775476"/>
                  <a:gd name="connsiteX123" fmla="*/ 1102012 w 1102075"/>
                  <a:gd name="connsiteY123" fmla="*/ 315496 h 775476"/>
                  <a:gd name="connsiteX124" fmla="*/ 1097591 w 1102075"/>
                  <a:gd name="connsiteY124" fmla="*/ 305319 h 775476"/>
                  <a:gd name="connsiteX125" fmla="*/ 1091417 w 1102075"/>
                  <a:gd name="connsiteY125" fmla="*/ 291137 h 775476"/>
                  <a:gd name="connsiteX126" fmla="*/ 976705 w 1102075"/>
                  <a:gd name="connsiteY126" fmla="*/ 214474 h 775476"/>
                  <a:gd name="connsiteX127" fmla="*/ 774645 w 1102075"/>
                  <a:gd name="connsiteY127" fmla="*/ 122711 h 775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102075" h="775476" extrusionOk="0">
                    <a:moveTo>
                      <a:pt x="774645" y="122711"/>
                    </a:moveTo>
                    <a:cubicBezTo>
                      <a:pt x="734767" y="121794"/>
                      <a:pt x="719751" y="87758"/>
                      <a:pt x="706903" y="57560"/>
                    </a:cubicBezTo>
                    <a:cubicBezTo>
                      <a:pt x="694055" y="27862"/>
                      <a:pt x="681625" y="0"/>
                      <a:pt x="648421" y="0"/>
                    </a:cubicBezTo>
                    <a:cubicBezTo>
                      <a:pt x="648004" y="0"/>
                      <a:pt x="648004" y="0"/>
                      <a:pt x="647503" y="0"/>
                    </a:cubicBezTo>
                    <a:cubicBezTo>
                      <a:pt x="632903" y="3504"/>
                      <a:pt x="620056" y="13264"/>
                      <a:pt x="606707" y="23942"/>
                    </a:cubicBezTo>
                    <a:cubicBezTo>
                      <a:pt x="594277" y="33702"/>
                      <a:pt x="581429" y="43879"/>
                      <a:pt x="565912" y="49218"/>
                    </a:cubicBezTo>
                    <a:lnTo>
                      <a:pt x="565494" y="49218"/>
                    </a:lnTo>
                    <a:cubicBezTo>
                      <a:pt x="550394" y="52722"/>
                      <a:pt x="534459" y="50136"/>
                      <a:pt x="518942" y="47466"/>
                    </a:cubicBezTo>
                    <a:cubicBezTo>
                      <a:pt x="497668" y="43963"/>
                      <a:pt x="478146" y="40375"/>
                      <a:pt x="461378" y="52305"/>
                    </a:cubicBezTo>
                    <a:cubicBezTo>
                      <a:pt x="441439" y="69990"/>
                      <a:pt x="372361" y="125381"/>
                      <a:pt x="309457" y="120960"/>
                    </a:cubicBezTo>
                    <a:cubicBezTo>
                      <a:pt x="287766" y="119625"/>
                      <a:pt x="269579" y="111200"/>
                      <a:pt x="254062" y="95683"/>
                    </a:cubicBezTo>
                    <a:cubicBezTo>
                      <a:pt x="244301" y="105861"/>
                      <a:pt x="232788" y="110782"/>
                      <a:pt x="220858" y="110282"/>
                    </a:cubicBezTo>
                    <a:cubicBezTo>
                      <a:pt x="188071" y="109364"/>
                      <a:pt x="156202" y="69990"/>
                      <a:pt x="135763" y="42962"/>
                    </a:cubicBezTo>
                    <a:cubicBezTo>
                      <a:pt x="131341" y="47383"/>
                      <a:pt x="126002" y="50970"/>
                      <a:pt x="121580" y="54474"/>
                    </a:cubicBezTo>
                    <a:cubicBezTo>
                      <a:pt x="118076" y="57143"/>
                      <a:pt x="114489" y="59812"/>
                      <a:pt x="111819" y="61981"/>
                    </a:cubicBezTo>
                    <a:cubicBezTo>
                      <a:pt x="102058" y="71325"/>
                      <a:pt x="102058" y="84088"/>
                      <a:pt x="102058" y="99187"/>
                    </a:cubicBezTo>
                    <a:cubicBezTo>
                      <a:pt x="102058" y="104943"/>
                      <a:pt x="102058" y="111116"/>
                      <a:pt x="101141" y="116872"/>
                    </a:cubicBezTo>
                    <a:cubicBezTo>
                      <a:pt x="98471" y="137227"/>
                      <a:pt x="85206" y="146069"/>
                      <a:pt x="72358" y="154495"/>
                    </a:cubicBezTo>
                    <a:cubicBezTo>
                      <a:pt x="68854" y="156747"/>
                      <a:pt x="65267" y="158916"/>
                      <a:pt x="61763" y="161585"/>
                    </a:cubicBezTo>
                    <a:cubicBezTo>
                      <a:pt x="54672" y="166924"/>
                      <a:pt x="47163" y="170428"/>
                      <a:pt x="39655" y="171763"/>
                    </a:cubicBezTo>
                    <a:cubicBezTo>
                      <a:pt x="36568" y="177519"/>
                      <a:pt x="33481" y="182858"/>
                      <a:pt x="30311" y="187696"/>
                    </a:cubicBezTo>
                    <a:cubicBezTo>
                      <a:pt x="20550" y="203629"/>
                      <a:pt x="11707" y="218228"/>
                      <a:pt x="8203" y="235496"/>
                    </a:cubicBezTo>
                    <a:cubicBezTo>
                      <a:pt x="3364" y="255851"/>
                      <a:pt x="695" y="275788"/>
                      <a:pt x="194" y="293056"/>
                    </a:cubicBezTo>
                    <a:cubicBezTo>
                      <a:pt x="-223" y="300147"/>
                      <a:pt x="-223" y="308990"/>
                      <a:pt x="2864" y="312994"/>
                    </a:cubicBezTo>
                    <a:cubicBezTo>
                      <a:pt x="3782" y="314746"/>
                      <a:pt x="6368" y="315663"/>
                      <a:pt x="9955" y="316998"/>
                    </a:cubicBezTo>
                    <a:cubicBezTo>
                      <a:pt x="13960" y="318333"/>
                      <a:pt x="18798" y="320084"/>
                      <a:pt x="22803" y="324088"/>
                    </a:cubicBezTo>
                    <a:cubicBezTo>
                      <a:pt x="28142" y="330262"/>
                      <a:pt x="29894" y="336018"/>
                      <a:pt x="31646" y="341357"/>
                    </a:cubicBezTo>
                    <a:cubicBezTo>
                      <a:pt x="33898" y="347113"/>
                      <a:pt x="35150" y="351534"/>
                      <a:pt x="41407" y="355955"/>
                    </a:cubicBezTo>
                    <a:cubicBezTo>
                      <a:pt x="43159" y="357290"/>
                      <a:pt x="44911" y="358625"/>
                      <a:pt x="47163" y="359459"/>
                    </a:cubicBezTo>
                    <a:cubicBezTo>
                      <a:pt x="50250" y="361211"/>
                      <a:pt x="54255" y="363463"/>
                      <a:pt x="57341" y="366550"/>
                    </a:cubicBezTo>
                    <a:cubicBezTo>
                      <a:pt x="62681" y="371388"/>
                      <a:pt x="64850" y="377144"/>
                      <a:pt x="67102" y="382066"/>
                    </a:cubicBezTo>
                    <a:cubicBezTo>
                      <a:pt x="68437" y="385152"/>
                      <a:pt x="69772" y="387822"/>
                      <a:pt x="71524" y="390491"/>
                    </a:cubicBezTo>
                    <a:cubicBezTo>
                      <a:pt x="75946" y="397165"/>
                      <a:pt x="81702" y="398500"/>
                      <a:pt x="89711" y="400252"/>
                    </a:cubicBezTo>
                    <a:cubicBezTo>
                      <a:pt x="95050" y="401169"/>
                      <a:pt x="100807" y="402504"/>
                      <a:pt x="106980" y="405590"/>
                    </a:cubicBezTo>
                    <a:cubicBezTo>
                      <a:pt x="118911" y="411764"/>
                      <a:pt x="124667" y="422442"/>
                      <a:pt x="130924" y="432619"/>
                    </a:cubicBezTo>
                    <a:cubicBezTo>
                      <a:pt x="134928" y="439709"/>
                      <a:pt x="138432" y="445882"/>
                      <a:pt x="143772" y="450805"/>
                    </a:cubicBezTo>
                    <a:cubicBezTo>
                      <a:pt x="149528" y="456143"/>
                      <a:pt x="157037" y="455643"/>
                      <a:pt x="166797" y="455643"/>
                    </a:cubicBezTo>
                    <a:lnTo>
                      <a:pt x="173889" y="455643"/>
                    </a:lnTo>
                    <a:cubicBezTo>
                      <a:pt x="193828" y="456060"/>
                      <a:pt x="202254" y="460481"/>
                      <a:pt x="214184" y="475580"/>
                    </a:cubicBezTo>
                    <a:cubicBezTo>
                      <a:pt x="222193" y="485758"/>
                      <a:pt x="231036" y="490679"/>
                      <a:pt x="241631" y="496852"/>
                    </a:cubicBezTo>
                    <a:lnTo>
                      <a:pt x="248723" y="500857"/>
                    </a:lnTo>
                    <a:cubicBezTo>
                      <a:pt x="261988" y="508865"/>
                      <a:pt x="269079" y="519042"/>
                      <a:pt x="275753" y="528803"/>
                    </a:cubicBezTo>
                    <a:cubicBezTo>
                      <a:pt x="278840" y="533224"/>
                      <a:pt x="282427" y="538563"/>
                      <a:pt x="286849" y="543401"/>
                    </a:cubicBezTo>
                    <a:cubicBezTo>
                      <a:pt x="296610" y="554496"/>
                      <a:pt x="307205" y="552744"/>
                      <a:pt x="323640" y="549574"/>
                    </a:cubicBezTo>
                    <a:cubicBezTo>
                      <a:pt x="339575" y="546488"/>
                      <a:pt x="359096" y="542484"/>
                      <a:pt x="373279" y="563756"/>
                    </a:cubicBezTo>
                    <a:lnTo>
                      <a:pt x="377701" y="570430"/>
                    </a:lnTo>
                    <a:cubicBezTo>
                      <a:pt x="394052" y="595706"/>
                      <a:pt x="413157" y="621817"/>
                      <a:pt x="432595" y="610721"/>
                    </a:cubicBezTo>
                    <a:cubicBezTo>
                      <a:pt x="433930" y="609804"/>
                      <a:pt x="435682" y="608970"/>
                      <a:pt x="437017" y="608052"/>
                    </a:cubicBezTo>
                    <a:cubicBezTo>
                      <a:pt x="446778" y="601879"/>
                      <a:pt x="459626" y="593454"/>
                      <a:pt x="471139" y="597875"/>
                    </a:cubicBezTo>
                    <a:cubicBezTo>
                      <a:pt x="477312" y="600127"/>
                      <a:pt x="481317" y="605383"/>
                      <a:pt x="483986" y="613808"/>
                    </a:cubicBezTo>
                    <a:cubicBezTo>
                      <a:pt x="486239" y="621316"/>
                      <a:pt x="483569" y="627573"/>
                      <a:pt x="481317" y="631994"/>
                    </a:cubicBezTo>
                    <a:cubicBezTo>
                      <a:pt x="479982" y="635080"/>
                      <a:pt x="478647" y="637333"/>
                      <a:pt x="479064" y="639502"/>
                    </a:cubicBezTo>
                    <a:cubicBezTo>
                      <a:pt x="479982" y="643923"/>
                      <a:pt x="484821" y="650096"/>
                      <a:pt x="491912" y="655018"/>
                    </a:cubicBezTo>
                    <a:cubicBezTo>
                      <a:pt x="494999" y="656770"/>
                      <a:pt x="499003" y="657687"/>
                      <a:pt x="502507" y="658522"/>
                    </a:cubicBezTo>
                    <a:cubicBezTo>
                      <a:pt x="507846" y="659856"/>
                      <a:pt x="513603" y="661191"/>
                      <a:pt x="518442" y="665195"/>
                    </a:cubicBezTo>
                    <a:cubicBezTo>
                      <a:pt x="526868" y="672286"/>
                      <a:pt x="527785" y="682046"/>
                      <a:pt x="528202" y="690472"/>
                    </a:cubicBezTo>
                    <a:cubicBezTo>
                      <a:pt x="528202" y="692223"/>
                      <a:pt x="528202" y="694476"/>
                      <a:pt x="528620" y="695810"/>
                    </a:cubicBezTo>
                    <a:cubicBezTo>
                      <a:pt x="529537" y="704236"/>
                      <a:pt x="532124" y="711327"/>
                      <a:pt x="536629" y="717500"/>
                    </a:cubicBezTo>
                    <a:lnTo>
                      <a:pt x="539715" y="714830"/>
                    </a:lnTo>
                    <a:cubicBezTo>
                      <a:pt x="542385" y="712161"/>
                      <a:pt x="545472" y="709074"/>
                      <a:pt x="549893" y="706822"/>
                    </a:cubicBezTo>
                    <a:cubicBezTo>
                      <a:pt x="558737" y="702401"/>
                      <a:pt x="570250" y="702818"/>
                      <a:pt x="580428" y="708574"/>
                    </a:cubicBezTo>
                    <a:cubicBezTo>
                      <a:pt x="588437" y="712995"/>
                      <a:pt x="594193" y="719669"/>
                      <a:pt x="600367" y="726759"/>
                    </a:cubicBezTo>
                    <a:cubicBezTo>
                      <a:pt x="603454" y="730263"/>
                      <a:pt x="607875" y="735185"/>
                      <a:pt x="609210" y="741358"/>
                    </a:cubicBezTo>
                    <a:cubicBezTo>
                      <a:pt x="610545" y="745362"/>
                      <a:pt x="610545" y="750201"/>
                      <a:pt x="610128" y="753788"/>
                    </a:cubicBezTo>
                    <a:cubicBezTo>
                      <a:pt x="609711" y="756457"/>
                      <a:pt x="609711" y="758626"/>
                      <a:pt x="610128" y="760878"/>
                    </a:cubicBezTo>
                    <a:cubicBezTo>
                      <a:pt x="611463" y="766634"/>
                      <a:pt x="617636" y="771473"/>
                      <a:pt x="624310" y="775477"/>
                    </a:cubicBezTo>
                    <a:cubicBezTo>
                      <a:pt x="626062" y="773725"/>
                      <a:pt x="627397" y="771974"/>
                      <a:pt x="629650" y="770639"/>
                    </a:cubicBezTo>
                    <a:cubicBezTo>
                      <a:pt x="643415" y="759544"/>
                      <a:pt x="662019" y="756874"/>
                      <a:pt x="687214" y="763131"/>
                    </a:cubicBezTo>
                    <a:lnTo>
                      <a:pt x="694305" y="764883"/>
                    </a:lnTo>
                    <a:cubicBezTo>
                      <a:pt x="708071" y="768386"/>
                      <a:pt x="712910" y="769721"/>
                      <a:pt x="722671" y="760461"/>
                    </a:cubicBezTo>
                    <a:cubicBezTo>
                      <a:pt x="724923" y="758709"/>
                      <a:pt x="728010" y="756457"/>
                      <a:pt x="731097" y="753788"/>
                    </a:cubicBezTo>
                    <a:cubicBezTo>
                      <a:pt x="738188" y="748032"/>
                      <a:pt x="748783" y="739606"/>
                      <a:pt x="749701" y="733850"/>
                    </a:cubicBezTo>
                    <a:cubicBezTo>
                      <a:pt x="750118" y="729429"/>
                      <a:pt x="747949" y="725008"/>
                      <a:pt x="745279" y="719669"/>
                    </a:cubicBezTo>
                    <a:cubicBezTo>
                      <a:pt x="741275" y="712578"/>
                      <a:pt x="736436" y="703318"/>
                      <a:pt x="739940" y="692223"/>
                    </a:cubicBezTo>
                    <a:cubicBezTo>
                      <a:pt x="743944" y="679377"/>
                      <a:pt x="765218" y="658105"/>
                      <a:pt x="774896" y="651431"/>
                    </a:cubicBezTo>
                    <a:cubicBezTo>
                      <a:pt x="781069" y="647426"/>
                      <a:pt x="787743" y="645257"/>
                      <a:pt x="794418" y="643005"/>
                    </a:cubicBezTo>
                    <a:cubicBezTo>
                      <a:pt x="801092" y="640753"/>
                      <a:pt x="807682" y="639001"/>
                      <a:pt x="812605" y="634580"/>
                    </a:cubicBezTo>
                    <a:cubicBezTo>
                      <a:pt x="816609" y="631076"/>
                      <a:pt x="820113" y="626571"/>
                      <a:pt x="823700" y="622150"/>
                    </a:cubicBezTo>
                    <a:cubicBezTo>
                      <a:pt x="828122" y="616394"/>
                      <a:pt x="832544" y="611055"/>
                      <a:pt x="838300" y="606217"/>
                    </a:cubicBezTo>
                    <a:cubicBezTo>
                      <a:pt x="850230" y="596039"/>
                      <a:pt x="857321" y="587614"/>
                      <a:pt x="856904" y="574350"/>
                    </a:cubicBezTo>
                    <a:cubicBezTo>
                      <a:pt x="856487" y="565007"/>
                      <a:pt x="852066" y="557082"/>
                      <a:pt x="844057" y="551743"/>
                    </a:cubicBezTo>
                    <a:cubicBezTo>
                      <a:pt x="831626" y="542901"/>
                      <a:pt x="813022" y="540648"/>
                      <a:pt x="798005" y="545570"/>
                    </a:cubicBezTo>
                    <a:cubicBezTo>
                      <a:pt x="790497" y="547822"/>
                      <a:pt x="786492" y="553078"/>
                      <a:pt x="781653" y="559751"/>
                    </a:cubicBezTo>
                    <a:cubicBezTo>
                      <a:pt x="778566" y="564173"/>
                      <a:pt x="774145" y="569512"/>
                      <a:pt x="768806" y="573933"/>
                    </a:cubicBezTo>
                    <a:cubicBezTo>
                      <a:pt x="751953" y="587197"/>
                      <a:pt x="742192" y="581441"/>
                      <a:pt x="732014" y="575268"/>
                    </a:cubicBezTo>
                    <a:cubicBezTo>
                      <a:pt x="729762" y="574350"/>
                      <a:pt x="727593" y="573016"/>
                      <a:pt x="724923" y="571764"/>
                    </a:cubicBezTo>
                    <a:cubicBezTo>
                      <a:pt x="720501" y="570012"/>
                      <a:pt x="716497" y="569095"/>
                      <a:pt x="711658" y="568678"/>
                    </a:cubicBezTo>
                    <a:cubicBezTo>
                      <a:pt x="701897" y="567343"/>
                      <a:pt x="689049" y="566008"/>
                      <a:pt x="685963" y="547405"/>
                    </a:cubicBezTo>
                    <a:cubicBezTo>
                      <a:pt x="682876" y="529720"/>
                      <a:pt x="688215" y="515038"/>
                      <a:pt x="700562" y="503526"/>
                    </a:cubicBezTo>
                    <a:cubicBezTo>
                      <a:pt x="706736" y="497353"/>
                      <a:pt x="708989" y="491597"/>
                      <a:pt x="711658" y="484506"/>
                    </a:cubicBezTo>
                    <a:cubicBezTo>
                      <a:pt x="713410" y="479168"/>
                      <a:pt x="715663" y="473411"/>
                      <a:pt x="720084" y="466821"/>
                    </a:cubicBezTo>
                    <a:cubicBezTo>
                      <a:pt x="727175" y="456227"/>
                      <a:pt x="737771" y="453557"/>
                      <a:pt x="747532" y="450888"/>
                    </a:cubicBezTo>
                    <a:cubicBezTo>
                      <a:pt x="751536" y="449970"/>
                      <a:pt x="755040" y="448636"/>
                      <a:pt x="758628" y="447384"/>
                    </a:cubicBezTo>
                    <a:cubicBezTo>
                      <a:pt x="774562" y="440293"/>
                      <a:pt x="772393" y="431868"/>
                      <a:pt x="766636" y="412848"/>
                    </a:cubicBezTo>
                    <a:cubicBezTo>
                      <a:pt x="762215" y="398667"/>
                      <a:pt x="757293" y="382316"/>
                      <a:pt x="767054" y="367634"/>
                    </a:cubicBezTo>
                    <a:lnTo>
                      <a:pt x="771475" y="360961"/>
                    </a:lnTo>
                    <a:cubicBezTo>
                      <a:pt x="779484" y="349449"/>
                      <a:pt x="783405" y="343692"/>
                      <a:pt x="785658" y="327759"/>
                    </a:cubicBezTo>
                    <a:cubicBezTo>
                      <a:pt x="787910" y="310074"/>
                      <a:pt x="785658" y="301148"/>
                      <a:pt x="775480" y="285715"/>
                    </a:cubicBezTo>
                    <a:lnTo>
                      <a:pt x="772810" y="281294"/>
                    </a:lnTo>
                    <a:cubicBezTo>
                      <a:pt x="754623" y="255601"/>
                      <a:pt x="739606" y="228989"/>
                      <a:pt x="747532" y="212639"/>
                    </a:cubicBezTo>
                    <a:cubicBezTo>
                      <a:pt x="750201" y="207300"/>
                      <a:pt x="755958" y="201544"/>
                      <a:pt x="768806" y="200710"/>
                    </a:cubicBezTo>
                    <a:cubicBezTo>
                      <a:pt x="784323" y="199375"/>
                      <a:pt x="794918" y="207383"/>
                      <a:pt x="804262" y="214474"/>
                    </a:cubicBezTo>
                    <a:cubicBezTo>
                      <a:pt x="808267" y="217978"/>
                      <a:pt x="811770" y="220647"/>
                      <a:pt x="816192" y="222900"/>
                    </a:cubicBezTo>
                    <a:cubicBezTo>
                      <a:pt x="822366" y="225986"/>
                      <a:pt x="829457" y="227738"/>
                      <a:pt x="836548" y="229573"/>
                    </a:cubicBezTo>
                    <a:cubicBezTo>
                      <a:pt x="844557" y="231325"/>
                      <a:pt x="853400" y="233577"/>
                      <a:pt x="861827" y="237999"/>
                    </a:cubicBezTo>
                    <a:cubicBezTo>
                      <a:pt x="879096" y="246841"/>
                      <a:pt x="898618" y="257936"/>
                      <a:pt x="916721" y="269865"/>
                    </a:cubicBezTo>
                    <a:cubicBezTo>
                      <a:pt x="924230" y="274704"/>
                      <a:pt x="931822" y="279626"/>
                      <a:pt x="934908" y="288468"/>
                    </a:cubicBezTo>
                    <a:cubicBezTo>
                      <a:pt x="936660" y="293807"/>
                      <a:pt x="936243" y="298645"/>
                      <a:pt x="935826" y="302233"/>
                    </a:cubicBezTo>
                    <a:cubicBezTo>
                      <a:pt x="934908" y="304902"/>
                      <a:pt x="934908" y="307071"/>
                      <a:pt x="935409" y="308406"/>
                    </a:cubicBezTo>
                    <a:cubicBezTo>
                      <a:pt x="936744" y="312827"/>
                      <a:pt x="940748" y="313744"/>
                      <a:pt x="952261" y="313244"/>
                    </a:cubicBezTo>
                    <a:cubicBezTo>
                      <a:pt x="957100" y="313244"/>
                      <a:pt x="961605" y="313244"/>
                      <a:pt x="966027" y="314162"/>
                    </a:cubicBezTo>
                    <a:cubicBezTo>
                      <a:pt x="967779" y="314579"/>
                      <a:pt x="969113" y="314579"/>
                      <a:pt x="970448" y="315079"/>
                    </a:cubicBezTo>
                    <a:cubicBezTo>
                      <a:pt x="973535" y="315997"/>
                      <a:pt x="973952" y="315997"/>
                      <a:pt x="977122" y="315079"/>
                    </a:cubicBezTo>
                    <a:cubicBezTo>
                      <a:pt x="978457" y="314662"/>
                      <a:pt x="979792" y="313744"/>
                      <a:pt x="981544" y="312410"/>
                    </a:cubicBezTo>
                    <a:cubicBezTo>
                      <a:pt x="985048" y="310158"/>
                      <a:pt x="989970" y="307071"/>
                      <a:pt x="996144" y="307571"/>
                    </a:cubicBezTo>
                    <a:cubicBezTo>
                      <a:pt x="1005905" y="308489"/>
                      <a:pt x="1011661" y="315580"/>
                      <a:pt x="1015666" y="320418"/>
                    </a:cubicBezTo>
                    <a:cubicBezTo>
                      <a:pt x="1020504" y="326591"/>
                      <a:pt x="1021839" y="327926"/>
                      <a:pt x="1026261" y="326591"/>
                    </a:cubicBezTo>
                    <a:cubicBezTo>
                      <a:pt x="1026678" y="326591"/>
                      <a:pt x="1028013" y="325257"/>
                      <a:pt x="1029348" y="323922"/>
                    </a:cubicBezTo>
                    <a:cubicBezTo>
                      <a:pt x="1032434" y="320835"/>
                      <a:pt x="1036856" y="316831"/>
                      <a:pt x="1044448" y="317248"/>
                    </a:cubicBezTo>
                    <a:cubicBezTo>
                      <a:pt x="1054209" y="318166"/>
                      <a:pt x="1060382" y="325674"/>
                      <a:pt x="1063970" y="331013"/>
                    </a:cubicBezTo>
                    <a:cubicBezTo>
                      <a:pt x="1065722" y="332765"/>
                      <a:pt x="1067057" y="334516"/>
                      <a:pt x="1068391" y="336769"/>
                    </a:cubicBezTo>
                    <a:cubicBezTo>
                      <a:pt x="1071895" y="341607"/>
                      <a:pt x="1075900" y="347363"/>
                      <a:pt x="1078987" y="348280"/>
                    </a:cubicBezTo>
                    <a:cubicBezTo>
                      <a:pt x="1081239" y="348280"/>
                      <a:pt x="1083825" y="346529"/>
                      <a:pt x="1085661" y="345194"/>
                    </a:cubicBezTo>
                    <a:cubicBezTo>
                      <a:pt x="1093670" y="339021"/>
                      <a:pt x="1102930" y="322587"/>
                      <a:pt x="1102012" y="315496"/>
                    </a:cubicBezTo>
                    <a:cubicBezTo>
                      <a:pt x="1101595" y="313244"/>
                      <a:pt x="1099760" y="308823"/>
                      <a:pt x="1097591" y="305319"/>
                    </a:cubicBezTo>
                    <a:cubicBezTo>
                      <a:pt x="1094921" y="300481"/>
                      <a:pt x="1092251" y="295559"/>
                      <a:pt x="1091417" y="291137"/>
                    </a:cubicBezTo>
                    <a:cubicBezTo>
                      <a:pt x="1049370" y="272118"/>
                      <a:pt x="1012579" y="242837"/>
                      <a:pt x="976705" y="214474"/>
                    </a:cubicBezTo>
                    <a:cubicBezTo>
                      <a:pt x="915053" y="166174"/>
                      <a:pt x="856153" y="119625"/>
                      <a:pt x="774645" y="12271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0241054" name="Полилиния 408"/>
              <p:cNvSpPr/>
              <p:nvPr/>
            </p:nvSpPr>
            <p:spPr bwMode="auto">
              <a:xfrm>
                <a:off x="3162604" y="3289998"/>
                <a:ext cx="1257114" cy="906877"/>
              </a:xfrm>
              <a:custGeom>
                <a:avLst/>
                <a:gdLst>
                  <a:gd name="connsiteX0" fmla="*/ 1410442 w 1411781"/>
                  <a:gd name="connsiteY0" fmla="*/ 472543 h 1018453"/>
                  <a:gd name="connsiteX1" fmla="*/ 1411360 w 1411781"/>
                  <a:gd name="connsiteY1" fmla="*/ 469456 h 1018453"/>
                  <a:gd name="connsiteX2" fmla="*/ 1411777 w 1411781"/>
                  <a:gd name="connsiteY2" fmla="*/ 466787 h 1018453"/>
                  <a:gd name="connsiteX3" fmla="*/ 1405603 w 1411781"/>
                  <a:gd name="connsiteY3" fmla="*/ 457443 h 1018453"/>
                  <a:gd name="connsiteX4" fmla="*/ 1401181 w 1411781"/>
                  <a:gd name="connsiteY4" fmla="*/ 452605 h 1018453"/>
                  <a:gd name="connsiteX5" fmla="*/ 1395008 w 1411781"/>
                  <a:gd name="connsiteY5" fmla="*/ 400300 h 1018453"/>
                  <a:gd name="connsiteX6" fmla="*/ 1396343 w 1411781"/>
                  <a:gd name="connsiteY6" fmla="*/ 383032 h 1018453"/>
                  <a:gd name="connsiteX7" fmla="*/ 1391003 w 1411781"/>
                  <a:gd name="connsiteY7" fmla="*/ 371937 h 1018453"/>
                  <a:gd name="connsiteX8" fmla="*/ 1386582 w 1411781"/>
                  <a:gd name="connsiteY8" fmla="*/ 363929 h 1018453"/>
                  <a:gd name="connsiteX9" fmla="*/ 1402933 w 1411781"/>
                  <a:gd name="connsiteY9" fmla="*/ 308121 h 1018453"/>
                  <a:gd name="connsiteX10" fmla="*/ 1405603 w 1411781"/>
                  <a:gd name="connsiteY10" fmla="*/ 306369 h 1018453"/>
                  <a:gd name="connsiteX11" fmla="*/ 1405603 w 1411781"/>
                  <a:gd name="connsiteY11" fmla="*/ 306369 h 1018453"/>
                  <a:gd name="connsiteX12" fmla="*/ 1397594 w 1411781"/>
                  <a:gd name="connsiteY12" fmla="*/ 290435 h 1018453"/>
                  <a:gd name="connsiteX13" fmla="*/ 1374151 w 1411781"/>
                  <a:gd name="connsiteY13" fmla="*/ 279341 h 1018453"/>
                  <a:gd name="connsiteX14" fmla="*/ 1364808 w 1411781"/>
                  <a:gd name="connsiteY14" fmla="*/ 274002 h 1018453"/>
                  <a:gd name="connsiteX15" fmla="*/ 1247009 w 1411781"/>
                  <a:gd name="connsiteY15" fmla="*/ 213772 h 1018453"/>
                  <a:gd name="connsiteX16" fmla="*/ 1164166 w 1411781"/>
                  <a:gd name="connsiteY16" fmla="*/ 172980 h 1018453"/>
                  <a:gd name="connsiteX17" fmla="*/ 1026428 w 1411781"/>
                  <a:gd name="connsiteY17" fmla="*/ 103907 h 1018453"/>
                  <a:gd name="connsiteX18" fmla="*/ 1008742 w 1411781"/>
                  <a:gd name="connsiteY18" fmla="*/ 94147 h 1018453"/>
                  <a:gd name="connsiteX19" fmla="*/ 927234 w 1411781"/>
                  <a:gd name="connsiteY19" fmla="*/ 43177 h 1018453"/>
                  <a:gd name="connsiteX20" fmla="*/ 913468 w 1411781"/>
                  <a:gd name="connsiteY20" fmla="*/ 31248 h 1018453"/>
                  <a:gd name="connsiteX21" fmla="*/ 849230 w 1411781"/>
                  <a:gd name="connsiteY21" fmla="*/ 716 h 1018453"/>
                  <a:gd name="connsiteX22" fmla="*/ 823951 w 1411781"/>
                  <a:gd name="connsiteY22" fmla="*/ 10059 h 1018453"/>
                  <a:gd name="connsiteX23" fmla="*/ 786743 w 1411781"/>
                  <a:gd name="connsiteY23" fmla="*/ 21154 h 1018453"/>
                  <a:gd name="connsiteX24" fmla="*/ 754874 w 1411781"/>
                  <a:gd name="connsiteY24" fmla="*/ 21154 h 1018453"/>
                  <a:gd name="connsiteX25" fmla="*/ 738939 w 1411781"/>
                  <a:gd name="connsiteY25" fmla="*/ 21154 h 1018453"/>
                  <a:gd name="connsiteX26" fmla="*/ 704818 w 1411781"/>
                  <a:gd name="connsiteY26" fmla="*/ 20737 h 1018453"/>
                  <a:gd name="connsiteX27" fmla="*/ 637075 w 1411781"/>
                  <a:gd name="connsiteY27" fmla="*/ 21154 h 1018453"/>
                  <a:gd name="connsiteX28" fmla="*/ 626897 w 1411781"/>
                  <a:gd name="connsiteY28" fmla="*/ 22906 h 1018453"/>
                  <a:gd name="connsiteX29" fmla="*/ 613632 w 1411781"/>
                  <a:gd name="connsiteY29" fmla="*/ 29580 h 1018453"/>
                  <a:gd name="connsiteX30" fmla="*/ 579510 w 1411781"/>
                  <a:gd name="connsiteY30" fmla="*/ 70372 h 1018453"/>
                  <a:gd name="connsiteX31" fmla="*/ 563993 w 1411781"/>
                  <a:gd name="connsiteY31" fmla="*/ 92479 h 1018453"/>
                  <a:gd name="connsiteX32" fmla="*/ 551562 w 1411781"/>
                  <a:gd name="connsiteY32" fmla="*/ 111082 h 1018453"/>
                  <a:gd name="connsiteX33" fmla="*/ 558654 w 1411781"/>
                  <a:gd name="connsiteY33" fmla="*/ 140779 h 1018453"/>
                  <a:gd name="connsiteX34" fmla="*/ 563075 w 1411781"/>
                  <a:gd name="connsiteY34" fmla="*/ 145201 h 1018453"/>
                  <a:gd name="connsiteX35" fmla="*/ 570167 w 1411781"/>
                  <a:gd name="connsiteY35" fmla="*/ 182406 h 1018453"/>
                  <a:gd name="connsiteX36" fmla="*/ 567080 w 1411781"/>
                  <a:gd name="connsiteY36" fmla="*/ 195253 h 1018453"/>
                  <a:gd name="connsiteX37" fmla="*/ 567998 w 1411781"/>
                  <a:gd name="connsiteY37" fmla="*/ 215608 h 1018453"/>
                  <a:gd name="connsiteX38" fmla="*/ 572419 w 1411781"/>
                  <a:gd name="connsiteY38" fmla="*/ 226202 h 1018453"/>
                  <a:gd name="connsiteX39" fmla="*/ 578176 w 1411781"/>
                  <a:gd name="connsiteY39" fmla="*/ 241301 h 1018453"/>
                  <a:gd name="connsiteX40" fmla="*/ 556485 w 1411781"/>
                  <a:gd name="connsiteY40" fmla="*/ 283845 h 1018453"/>
                  <a:gd name="connsiteX41" fmla="*/ 538798 w 1411781"/>
                  <a:gd name="connsiteY41" fmla="*/ 289601 h 1018453"/>
                  <a:gd name="connsiteX42" fmla="*/ 518859 w 1411781"/>
                  <a:gd name="connsiteY42" fmla="*/ 271916 h 1018453"/>
                  <a:gd name="connsiteX43" fmla="*/ 515355 w 1411781"/>
                  <a:gd name="connsiteY43" fmla="*/ 266578 h 1018453"/>
                  <a:gd name="connsiteX44" fmla="*/ 506512 w 1411781"/>
                  <a:gd name="connsiteY44" fmla="*/ 258569 h 1018453"/>
                  <a:gd name="connsiteX45" fmla="*/ 502091 w 1411781"/>
                  <a:gd name="connsiteY45" fmla="*/ 261238 h 1018453"/>
                  <a:gd name="connsiteX46" fmla="*/ 492747 w 1411781"/>
                  <a:gd name="connsiteY46" fmla="*/ 267412 h 1018453"/>
                  <a:gd name="connsiteX47" fmla="*/ 467051 w 1411781"/>
                  <a:gd name="connsiteY47" fmla="*/ 256317 h 1018453"/>
                  <a:gd name="connsiteX48" fmla="*/ 457707 w 1411781"/>
                  <a:gd name="connsiteY48" fmla="*/ 248809 h 1018453"/>
                  <a:gd name="connsiteX49" fmla="*/ 452368 w 1411781"/>
                  <a:gd name="connsiteY49" fmla="*/ 251478 h 1018453"/>
                  <a:gd name="connsiteX50" fmla="*/ 443942 w 1411781"/>
                  <a:gd name="connsiteY50" fmla="*/ 255899 h 1018453"/>
                  <a:gd name="connsiteX51" fmla="*/ 429759 w 1411781"/>
                  <a:gd name="connsiteY51" fmla="*/ 255899 h 1018453"/>
                  <a:gd name="connsiteX52" fmla="*/ 426255 w 1411781"/>
                  <a:gd name="connsiteY52" fmla="*/ 254982 h 1018453"/>
                  <a:gd name="connsiteX53" fmla="*/ 415160 w 1411781"/>
                  <a:gd name="connsiteY53" fmla="*/ 254565 h 1018453"/>
                  <a:gd name="connsiteX54" fmla="*/ 384625 w 1411781"/>
                  <a:gd name="connsiteY54" fmla="*/ 239466 h 1018453"/>
                  <a:gd name="connsiteX55" fmla="*/ 384208 w 1411781"/>
                  <a:gd name="connsiteY55" fmla="*/ 227536 h 1018453"/>
                  <a:gd name="connsiteX56" fmla="*/ 384208 w 1411781"/>
                  <a:gd name="connsiteY56" fmla="*/ 220863 h 1018453"/>
                  <a:gd name="connsiteX57" fmla="*/ 373113 w 1411781"/>
                  <a:gd name="connsiteY57" fmla="*/ 210269 h 1018453"/>
                  <a:gd name="connsiteX58" fmla="*/ 317717 w 1411781"/>
                  <a:gd name="connsiteY58" fmla="*/ 177901 h 1018453"/>
                  <a:gd name="connsiteX59" fmla="*/ 296026 w 1411781"/>
                  <a:gd name="connsiteY59" fmla="*/ 170811 h 1018453"/>
                  <a:gd name="connsiteX60" fmla="*/ 272083 w 1411781"/>
                  <a:gd name="connsiteY60" fmla="*/ 162802 h 1018453"/>
                  <a:gd name="connsiteX61" fmla="*/ 258317 w 1411781"/>
                  <a:gd name="connsiteY61" fmla="*/ 153459 h 1018453"/>
                  <a:gd name="connsiteX62" fmla="*/ 232622 w 1411781"/>
                  <a:gd name="connsiteY62" fmla="*/ 142364 h 1018453"/>
                  <a:gd name="connsiteX63" fmla="*/ 223278 w 1411781"/>
                  <a:gd name="connsiteY63" fmla="*/ 146368 h 1018453"/>
                  <a:gd name="connsiteX64" fmla="*/ 247222 w 1411781"/>
                  <a:gd name="connsiteY64" fmla="*/ 200842 h 1018453"/>
                  <a:gd name="connsiteX65" fmla="*/ 250308 w 1411781"/>
                  <a:gd name="connsiteY65" fmla="*/ 205263 h 1018453"/>
                  <a:gd name="connsiteX66" fmla="*/ 262238 w 1411781"/>
                  <a:gd name="connsiteY66" fmla="*/ 257067 h 1018453"/>
                  <a:gd name="connsiteX67" fmla="*/ 245887 w 1411781"/>
                  <a:gd name="connsiteY67" fmla="*/ 296525 h 1018453"/>
                  <a:gd name="connsiteX68" fmla="*/ 241465 w 1411781"/>
                  <a:gd name="connsiteY68" fmla="*/ 302698 h 1018453"/>
                  <a:gd name="connsiteX69" fmla="*/ 242800 w 1411781"/>
                  <a:gd name="connsiteY69" fmla="*/ 336400 h 1018453"/>
                  <a:gd name="connsiteX70" fmla="*/ 226865 w 1411781"/>
                  <a:gd name="connsiteY70" fmla="*/ 387787 h 1018453"/>
                  <a:gd name="connsiteX71" fmla="*/ 214018 w 1411781"/>
                  <a:gd name="connsiteY71" fmla="*/ 392208 h 1018453"/>
                  <a:gd name="connsiteX72" fmla="*/ 194496 w 1411781"/>
                  <a:gd name="connsiteY72" fmla="*/ 402386 h 1018453"/>
                  <a:gd name="connsiteX73" fmla="*/ 187404 w 1411781"/>
                  <a:gd name="connsiteY73" fmla="*/ 416985 h 1018453"/>
                  <a:gd name="connsiteX74" fmla="*/ 172805 w 1411781"/>
                  <a:gd name="connsiteY74" fmla="*/ 441343 h 1018453"/>
                  <a:gd name="connsiteX75" fmla="*/ 162627 w 1411781"/>
                  <a:gd name="connsiteY75" fmla="*/ 472376 h 1018453"/>
                  <a:gd name="connsiteX76" fmla="*/ 175892 w 1411781"/>
                  <a:gd name="connsiteY76" fmla="*/ 482136 h 1018453"/>
                  <a:gd name="connsiteX77" fmla="*/ 193578 w 1411781"/>
                  <a:gd name="connsiteY77" fmla="*/ 486557 h 1018453"/>
                  <a:gd name="connsiteX78" fmla="*/ 201587 w 1411781"/>
                  <a:gd name="connsiteY78" fmla="*/ 490979 h 1018453"/>
                  <a:gd name="connsiteX79" fmla="*/ 222444 w 1411781"/>
                  <a:gd name="connsiteY79" fmla="*/ 490562 h 1018453"/>
                  <a:gd name="connsiteX80" fmla="*/ 233039 w 1411781"/>
                  <a:gd name="connsiteY80" fmla="*/ 479466 h 1018453"/>
                  <a:gd name="connsiteX81" fmla="*/ 256482 w 1411781"/>
                  <a:gd name="connsiteY81" fmla="*/ 460447 h 1018453"/>
                  <a:gd name="connsiteX82" fmla="*/ 314964 w 1411781"/>
                  <a:gd name="connsiteY82" fmla="*/ 468455 h 1018453"/>
                  <a:gd name="connsiteX83" fmla="*/ 333568 w 1411781"/>
                  <a:gd name="connsiteY83" fmla="*/ 501656 h 1018453"/>
                  <a:gd name="connsiteX84" fmla="*/ 310125 w 1411781"/>
                  <a:gd name="connsiteY84" fmla="*/ 545536 h 1018453"/>
                  <a:gd name="connsiteX85" fmla="*/ 297695 w 1411781"/>
                  <a:gd name="connsiteY85" fmla="*/ 559300 h 1018453"/>
                  <a:gd name="connsiteX86" fmla="*/ 284847 w 1411781"/>
                  <a:gd name="connsiteY86" fmla="*/ 573482 h 1018453"/>
                  <a:gd name="connsiteX87" fmla="*/ 261404 w 1411781"/>
                  <a:gd name="connsiteY87" fmla="*/ 584993 h 1018453"/>
                  <a:gd name="connsiteX88" fmla="*/ 245469 w 1411781"/>
                  <a:gd name="connsiteY88" fmla="*/ 591667 h 1018453"/>
                  <a:gd name="connsiteX89" fmla="*/ 215769 w 1411781"/>
                  <a:gd name="connsiteY89" fmla="*/ 624869 h 1018453"/>
                  <a:gd name="connsiteX90" fmla="*/ 219774 w 1411781"/>
                  <a:gd name="connsiteY90" fmla="*/ 641219 h 1018453"/>
                  <a:gd name="connsiteX91" fmla="*/ 225948 w 1411781"/>
                  <a:gd name="connsiteY91" fmla="*/ 664243 h 1018453"/>
                  <a:gd name="connsiteX92" fmla="*/ 202922 w 1411781"/>
                  <a:gd name="connsiteY92" fmla="*/ 693941 h 1018453"/>
                  <a:gd name="connsiteX93" fmla="*/ 195413 w 1411781"/>
                  <a:gd name="connsiteY93" fmla="*/ 700114 h 1018453"/>
                  <a:gd name="connsiteX94" fmla="*/ 153783 w 1411781"/>
                  <a:gd name="connsiteY94" fmla="*/ 708122 h 1018453"/>
                  <a:gd name="connsiteX95" fmla="*/ 147109 w 1411781"/>
                  <a:gd name="connsiteY95" fmla="*/ 706370 h 1018453"/>
                  <a:gd name="connsiteX96" fmla="*/ 101892 w 1411781"/>
                  <a:gd name="connsiteY96" fmla="*/ 711209 h 1018453"/>
                  <a:gd name="connsiteX97" fmla="*/ 100140 w 1411781"/>
                  <a:gd name="connsiteY97" fmla="*/ 712960 h 1018453"/>
                  <a:gd name="connsiteX98" fmla="*/ 92131 w 1411781"/>
                  <a:gd name="connsiteY98" fmla="*/ 724890 h 1018453"/>
                  <a:gd name="connsiteX99" fmla="*/ 88126 w 1411781"/>
                  <a:gd name="connsiteY99" fmla="*/ 735484 h 1018453"/>
                  <a:gd name="connsiteX100" fmla="*/ 84122 w 1411781"/>
                  <a:gd name="connsiteY100" fmla="*/ 746996 h 1018453"/>
                  <a:gd name="connsiteX101" fmla="*/ 73944 w 1411781"/>
                  <a:gd name="connsiteY101" fmla="*/ 766016 h 1018453"/>
                  <a:gd name="connsiteX102" fmla="*/ 62848 w 1411781"/>
                  <a:gd name="connsiteY102" fmla="*/ 791293 h 1018453"/>
                  <a:gd name="connsiteX103" fmla="*/ 42492 w 1411781"/>
                  <a:gd name="connsiteY103" fmla="*/ 812982 h 1018453"/>
                  <a:gd name="connsiteX104" fmla="*/ 31396 w 1411781"/>
                  <a:gd name="connsiteY104" fmla="*/ 817403 h 1018453"/>
                  <a:gd name="connsiteX105" fmla="*/ 18966 w 1411781"/>
                  <a:gd name="connsiteY105" fmla="*/ 837758 h 1018453"/>
                  <a:gd name="connsiteX106" fmla="*/ 13626 w 1411781"/>
                  <a:gd name="connsiteY106" fmla="*/ 850187 h 1018453"/>
                  <a:gd name="connsiteX107" fmla="*/ 8788 w 1411781"/>
                  <a:gd name="connsiteY107" fmla="*/ 858196 h 1018453"/>
                  <a:gd name="connsiteX108" fmla="*/ 1279 w 1411781"/>
                  <a:gd name="connsiteY108" fmla="*/ 881220 h 1018453"/>
                  <a:gd name="connsiteX109" fmla="*/ 6118 w 1411781"/>
                  <a:gd name="connsiteY109" fmla="*/ 884306 h 1018453"/>
                  <a:gd name="connsiteX110" fmla="*/ 15462 w 1411781"/>
                  <a:gd name="connsiteY110" fmla="*/ 890980 h 1018453"/>
                  <a:gd name="connsiteX111" fmla="*/ 21635 w 1411781"/>
                  <a:gd name="connsiteY111" fmla="*/ 922012 h 1018453"/>
                  <a:gd name="connsiteX112" fmla="*/ 19883 w 1411781"/>
                  <a:gd name="connsiteY112" fmla="*/ 930438 h 1018453"/>
                  <a:gd name="connsiteX113" fmla="*/ 18131 w 1411781"/>
                  <a:gd name="connsiteY113" fmla="*/ 940198 h 1018453"/>
                  <a:gd name="connsiteX114" fmla="*/ 22553 w 1411781"/>
                  <a:gd name="connsiteY114" fmla="*/ 945537 h 1018453"/>
                  <a:gd name="connsiteX115" fmla="*/ 29644 w 1411781"/>
                  <a:gd name="connsiteY115" fmla="*/ 955714 h 1018453"/>
                  <a:gd name="connsiteX116" fmla="*/ 29227 w 1411781"/>
                  <a:gd name="connsiteY116" fmla="*/ 976069 h 1018453"/>
                  <a:gd name="connsiteX117" fmla="*/ 28810 w 1411781"/>
                  <a:gd name="connsiteY117" fmla="*/ 990250 h 1018453"/>
                  <a:gd name="connsiteX118" fmla="*/ 31897 w 1411781"/>
                  <a:gd name="connsiteY118" fmla="*/ 991168 h 1018453"/>
                  <a:gd name="connsiteX119" fmla="*/ 49583 w 1411781"/>
                  <a:gd name="connsiteY119" fmla="*/ 970813 h 1018453"/>
                  <a:gd name="connsiteX120" fmla="*/ 50918 w 1411781"/>
                  <a:gd name="connsiteY120" fmla="*/ 968144 h 1018453"/>
                  <a:gd name="connsiteX121" fmla="*/ 89878 w 1411781"/>
                  <a:gd name="connsiteY121" fmla="*/ 935360 h 1018453"/>
                  <a:gd name="connsiteX122" fmla="*/ 140852 w 1411781"/>
                  <a:gd name="connsiteY122" fmla="*/ 942033 h 1018453"/>
                  <a:gd name="connsiteX123" fmla="*/ 175391 w 1411781"/>
                  <a:gd name="connsiteY123" fmla="*/ 942951 h 1018453"/>
                  <a:gd name="connsiteX124" fmla="*/ 183400 w 1411781"/>
                  <a:gd name="connsiteY124" fmla="*/ 940698 h 1018453"/>
                  <a:gd name="connsiteX125" fmla="*/ 214435 w 1411781"/>
                  <a:gd name="connsiteY125" fmla="*/ 953545 h 1018453"/>
                  <a:gd name="connsiteX126" fmla="*/ 221109 w 1411781"/>
                  <a:gd name="connsiteY126" fmla="*/ 962388 h 1018453"/>
                  <a:gd name="connsiteX127" fmla="*/ 246387 w 1411781"/>
                  <a:gd name="connsiteY127" fmla="*/ 957967 h 1018453"/>
                  <a:gd name="connsiteX128" fmla="*/ 256565 w 1411781"/>
                  <a:gd name="connsiteY128" fmla="*/ 951293 h 1018453"/>
                  <a:gd name="connsiteX129" fmla="*/ 299530 w 1411781"/>
                  <a:gd name="connsiteY129" fmla="*/ 951293 h 1018453"/>
                  <a:gd name="connsiteX130" fmla="*/ 302617 w 1411781"/>
                  <a:gd name="connsiteY130" fmla="*/ 952628 h 1018453"/>
                  <a:gd name="connsiteX131" fmla="*/ 304869 w 1411781"/>
                  <a:gd name="connsiteY131" fmla="*/ 947789 h 1018453"/>
                  <a:gd name="connsiteX132" fmla="*/ 300031 w 1411781"/>
                  <a:gd name="connsiteY132" fmla="*/ 924348 h 1018453"/>
                  <a:gd name="connsiteX133" fmla="*/ 290687 w 1411781"/>
                  <a:gd name="connsiteY133" fmla="*/ 905745 h 1018453"/>
                  <a:gd name="connsiteX134" fmla="*/ 296026 w 1411781"/>
                  <a:gd name="connsiteY134" fmla="*/ 878300 h 1018453"/>
                  <a:gd name="connsiteX135" fmla="*/ 319469 w 1411781"/>
                  <a:gd name="connsiteY135" fmla="*/ 864536 h 1018453"/>
                  <a:gd name="connsiteX136" fmla="*/ 338490 w 1411781"/>
                  <a:gd name="connsiteY136" fmla="*/ 868957 h 1018453"/>
                  <a:gd name="connsiteX137" fmla="*/ 344664 w 1411781"/>
                  <a:gd name="connsiteY137" fmla="*/ 871626 h 1018453"/>
                  <a:gd name="connsiteX138" fmla="*/ 353090 w 1411781"/>
                  <a:gd name="connsiteY138" fmla="*/ 872043 h 1018453"/>
                  <a:gd name="connsiteX139" fmla="*/ 361099 w 1411781"/>
                  <a:gd name="connsiteY139" fmla="*/ 870709 h 1018453"/>
                  <a:gd name="connsiteX140" fmla="*/ 408068 w 1411781"/>
                  <a:gd name="connsiteY140" fmla="*/ 872961 h 1018453"/>
                  <a:gd name="connsiteX141" fmla="*/ 438603 w 1411781"/>
                  <a:gd name="connsiteY141" fmla="*/ 909750 h 1018453"/>
                  <a:gd name="connsiteX142" fmla="*/ 456289 w 1411781"/>
                  <a:gd name="connsiteY142" fmla="*/ 933191 h 1018453"/>
                  <a:gd name="connsiteX143" fmla="*/ 464715 w 1411781"/>
                  <a:gd name="connsiteY143" fmla="*/ 931439 h 1018453"/>
                  <a:gd name="connsiteX144" fmla="*/ 488158 w 1411781"/>
                  <a:gd name="connsiteY144" fmla="*/ 933691 h 1018453"/>
                  <a:gd name="connsiteX145" fmla="*/ 503258 w 1411781"/>
                  <a:gd name="connsiteY145" fmla="*/ 947873 h 1018453"/>
                  <a:gd name="connsiteX146" fmla="*/ 506762 w 1411781"/>
                  <a:gd name="connsiteY146" fmla="*/ 951877 h 1018453"/>
                  <a:gd name="connsiteX147" fmla="*/ 509015 w 1411781"/>
                  <a:gd name="connsiteY147" fmla="*/ 954546 h 1018453"/>
                  <a:gd name="connsiteX148" fmla="*/ 537797 w 1411781"/>
                  <a:gd name="connsiteY148" fmla="*/ 974484 h 1018453"/>
                  <a:gd name="connsiteX149" fmla="*/ 540467 w 1411781"/>
                  <a:gd name="connsiteY149" fmla="*/ 974484 h 1018453"/>
                  <a:gd name="connsiteX150" fmla="*/ 551562 w 1411781"/>
                  <a:gd name="connsiteY150" fmla="*/ 970980 h 1018453"/>
                  <a:gd name="connsiteX151" fmla="*/ 555067 w 1411781"/>
                  <a:gd name="connsiteY151" fmla="*/ 968728 h 1018453"/>
                  <a:gd name="connsiteX152" fmla="*/ 588270 w 1411781"/>
                  <a:gd name="connsiteY152" fmla="*/ 964724 h 1018453"/>
                  <a:gd name="connsiteX153" fmla="*/ 598031 w 1411781"/>
                  <a:gd name="connsiteY153" fmla="*/ 971397 h 1018453"/>
                  <a:gd name="connsiteX154" fmla="*/ 606457 w 1411781"/>
                  <a:gd name="connsiteY154" fmla="*/ 976236 h 1018453"/>
                  <a:gd name="connsiteX155" fmla="*/ 606875 w 1411781"/>
                  <a:gd name="connsiteY155" fmla="*/ 976236 h 1018453"/>
                  <a:gd name="connsiteX156" fmla="*/ 612214 w 1411781"/>
                  <a:gd name="connsiteY156" fmla="*/ 973149 h 1018453"/>
                  <a:gd name="connsiteX157" fmla="*/ 620640 w 1411781"/>
                  <a:gd name="connsiteY157" fmla="*/ 968311 h 1018453"/>
                  <a:gd name="connsiteX158" fmla="*/ 644583 w 1411781"/>
                  <a:gd name="connsiteY158" fmla="*/ 971814 h 1018453"/>
                  <a:gd name="connsiteX159" fmla="*/ 657431 w 1411781"/>
                  <a:gd name="connsiteY159" fmla="*/ 974067 h 1018453"/>
                  <a:gd name="connsiteX160" fmla="*/ 664105 w 1411781"/>
                  <a:gd name="connsiteY160" fmla="*/ 967894 h 1018453"/>
                  <a:gd name="connsiteX161" fmla="*/ 676953 w 1411781"/>
                  <a:gd name="connsiteY161" fmla="*/ 956799 h 1018453"/>
                  <a:gd name="connsiteX162" fmla="*/ 708822 w 1411781"/>
                  <a:gd name="connsiteY162" fmla="*/ 951043 h 1018453"/>
                  <a:gd name="connsiteX163" fmla="*/ 724757 w 1411781"/>
                  <a:gd name="connsiteY163" fmla="*/ 959885 h 1018453"/>
                  <a:gd name="connsiteX164" fmla="*/ 729178 w 1411781"/>
                  <a:gd name="connsiteY164" fmla="*/ 963889 h 1018453"/>
                  <a:gd name="connsiteX165" fmla="*/ 742026 w 1411781"/>
                  <a:gd name="connsiteY165" fmla="*/ 968311 h 1018453"/>
                  <a:gd name="connsiteX166" fmla="*/ 749117 w 1411781"/>
                  <a:gd name="connsiteY166" fmla="*/ 970563 h 1018453"/>
                  <a:gd name="connsiteX167" fmla="*/ 791164 w 1411781"/>
                  <a:gd name="connsiteY167" fmla="*/ 989166 h 1018453"/>
                  <a:gd name="connsiteX168" fmla="*/ 797338 w 1411781"/>
                  <a:gd name="connsiteY168" fmla="*/ 992252 h 1018453"/>
                  <a:gd name="connsiteX169" fmla="*/ 877094 w 1411781"/>
                  <a:gd name="connsiteY169" fmla="*/ 1018363 h 1018453"/>
                  <a:gd name="connsiteX170" fmla="*/ 891277 w 1411781"/>
                  <a:gd name="connsiteY170" fmla="*/ 1015694 h 1018453"/>
                  <a:gd name="connsiteX171" fmla="*/ 904124 w 1411781"/>
                  <a:gd name="connsiteY171" fmla="*/ 1009020 h 1018453"/>
                  <a:gd name="connsiteX172" fmla="*/ 924981 w 1411781"/>
                  <a:gd name="connsiteY172" fmla="*/ 983743 h 1018453"/>
                  <a:gd name="connsiteX173" fmla="*/ 932072 w 1411781"/>
                  <a:gd name="connsiteY173" fmla="*/ 971814 h 1018453"/>
                  <a:gd name="connsiteX174" fmla="*/ 932990 w 1411781"/>
                  <a:gd name="connsiteY174" fmla="*/ 970480 h 1018453"/>
                  <a:gd name="connsiteX175" fmla="*/ 950259 w 1411781"/>
                  <a:gd name="connsiteY175" fmla="*/ 943451 h 1018453"/>
                  <a:gd name="connsiteX176" fmla="*/ 966611 w 1411781"/>
                  <a:gd name="connsiteY176" fmla="*/ 918175 h 1018453"/>
                  <a:gd name="connsiteX177" fmla="*/ 973702 w 1411781"/>
                  <a:gd name="connsiteY177" fmla="*/ 894734 h 1018453"/>
                  <a:gd name="connsiteX178" fmla="*/ 980794 w 1411781"/>
                  <a:gd name="connsiteY178" fmla="*/ 870375 h 1018453"/>
                  <a:gd name="connsiteX179" fmla="*/ 987468 w 1411781"/>
                  <a:gd name="connsiteY179" fmla="*/ 858446 h 1018453"/>
                  <a:gd name="connsiteX180" fmla="*/ 993641 w 1411781"/>
                  <a:gd name="connsiteY180" fmla="*/ 836340 h 1018453"/>
                  <a:gd name="connsiteX181" fmla="*/ 1004737 w 1411781"/>
                  <a:gd name="connsiteY181" fmla="*/ 785370 h 1018453"/>
                  <a:gd name="connsiteX182" fmla="*/ 1075149 w 1411781"/>
                  <a:gd name="connsiteY182" fmla="*/ 699029 h 1018453"/>
                  <a:gd name="connsiteX183" fmla="*/ 1080489 w 1411781"/>
                  <a:gd name="connsiteY183" fmla="*/ 694191 h 1018453"/>
                  <a:gd name="connsiteX184" fmla="*/ 1101345 w 1411781"/>
                  <a:gd name="connsiteY184" fmla="*/ 665411 h 1018453"/>
                  <a:gd name="connsiteX185" fmla="*/ 1111941 w 1411781"/>
                  <a:gd name="connsiteY185" fmla="*/ 621532 h 1018453"/>
                  <a:gd name="connsiteX186" fmla="*/ 1114610 w 1411781"/>
                  <a:gd name="connsiteY186" fmla="*/ 608685 h 1018453"/>
                  <a:gd name="connsiteX187" fmla="*/ 1123954 w 1411781"/>
                  <a:gd name="connsiteY187" fmla="*/ 580739 h 1018453"/>
                  <a:gd name="connsiteX188" fmla="*/ 1167837 w 1411781"/>
                  <a:gd name="connsiteY188" fmla="*/ 545786 h 1018453"/>
                  <a:gd name="connsiteX189" fmla="*/ 1210801 w 1411781"/>
                  <a:gd name="connsiteY189" fmla="*/ 552876 h 1018453"/>
                  <a:gd name="connsiteX190" fmla="*/ 1236497 w 1411781"/>
                  <a:gd name="connsiteY190" fmla="*/ 563471 h 1018453"/>
                  <a:gd name="connsiteX191" fmla="*/ 1290558 w 1411781"/>
                  <a:gd name="connsiteY191" fmla="*/ 529769 h 1018453"/>
                  <a:gd name="connsiteX192" fmla="*/ 1312249 w 1411781"/>
                  <a:gd name="connsiteY192" fmla="*/ 511583 h 1018453"/>
                  <a:gd name="connsiteX193" fmla="*/ 1359218 w 1411781"/>
                  <a:gd name="connsiteY193" fmla="*/ 491646 h 1018453"/>
                  <a:gd name="connsiteX194" fmla="*/ 1373400 w 1411781"/>
                  <a:gd name="connsiteY194" fmla="*/ 488976 h 1018453"/>
                  <a:gd name="connsiteX195" fmla="*/ 1376904 w 1411781"/>
                  <a:gd name="connsiteY195" fmla="*/ 488059 h 1018453"/>
                  <a:gd name="connsiteX196" fmla="*/ 1410609 w 1411781"/>
                  <a:gd name="connsiteY196" fmla="*/ 480551 h 1018453"/>
                  <a:gd name="connsiteX197" fmla="*/ 1410442 w 1411781"/>
                  <a:gd name="connsiteY197" fmla="*/ 472543 h 1018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</a:cxnLst>
                <a:rect l="l" t="t" r="r" b="b"/>
                <a:pathLst>
                  <a:path w="1411781" h="1018453" extrusionOk="0">
                    <a:moveTo>
                      <a:pt x="1410442" y="472543"/>
                    </a:moveTo>
                    <a:cubicBezTo>
                      <a:pt x="1410442" y="471625"/>
                      <a:pt x="1410859" y="470290"/>
                      <a:pt x="1411360" y="469456"/>
                    </a:cubicBezTo>
                    <a:cubicBezTo>
                      <a:pt x="1411860" y="468622"/>
                      <a:pt x="1411777" y="467204"/>
                      <a:pt x="1411777" y="466787"/>
                    </a:cubicBezTo>
                    <a:cubicBezTo>
                      <a:pt x="1411777" y="464117"/>
                      <a:pt x="1408690" y="461030"/>
                      <a:pt x="1405603" y="457443"/>
                    </a:cubicBezTo>
                    <a:cubicBezTo>
                      <a:pt x="1404268" y="456109"/>
                      <a:pt x="1402516" y="454357"/>
                      <a:pt x="1401181" y="452605"/>
                    </a:cubicBezTo>
                    <a:cubicBezTo>
                      <a:pt x="1389251" y="438007"/>
                      <a:pt x="1391421" y="418069"/>
                      <a:pt x="1395008" y="400300"/>
                    </a:cubicBezTo>
                    <a:cubicBezTo>
                      <a:pt x="1396343" y="393627"/>
                      <a:pt x="1397678" y="388371"/>
                      <a:pt x="1396343" y="383032"/>
                    </a:cubicBezTo>
                    <a:cubicBezTo>
                      <a:pt x="1395425" y="379529"/>
                      <a:pt x="1393256" y="375941"/>
                      <a:pt x="1391003" y="371937"/>
                    </a:cubicBezTo>
                    <a:cubicBezTo>
                      <a:pt x="1389669" y="369268"/>
                      <a:pt x="1387917" y="366599"/>
                      <a:pt x="1386582" y="363929"/>
                    </a:cubicBezTo>
                    <a:cubicBezTo>
                      <a:pt x="1377739" y="344409"/>
                      <a:pt x="1384830" y="319633"/>
                      <a:pt x="1402933" y="308121"/>
                    </a:cubicBezTo>
                    <a:cubicBezTo>
                      <a:pt x="1404268" y="307203"/>
                      <a:pt x="1405186" y="306786"/>
                      <a:pt x="1405603" y="306369"/>
                    </a:cubicBezTo>
                    <a:lnTo>
                      <a:pt x="1405603" y="306369"/>
                    </a:lnTo>
                    <a:cubicBezTo>
                      <a:pt x="1401598" y="301948"/>
                      <a:pt x="1398929" y="296609"/>
                      <a:pt x="1397594" y="290435"/>
                    </a:cubicBezTo>
                    <a:cubicBezTo>
                      <a:pt x="1389168" y="287766"/>
                      <a:pt x="1381659" y="283345"/>
                      <a:pt x="1374151" y="279341"/>
                    </a:cubicBezTo>
                    <a:cubicBezTo>
                      <a:pt x="1371065" y="277088"/>
                      <a:pt x="1367978" y="275337"/>
                      <a:pt x="1364808" y="274002"/>
                    </a:cubicBezTo>
                    <a:cubicBezTo>
                      <a:pt x="1325847" y="253647"/>
                      <a:pt x="1286386" y="233710"/>
                      <a:pt x="1247009" y="213772"/>
                    </a:cubicBezTo>
                    <a:cubicBezTo>
                      <a:pt x="1219978" y="200008"/>
                      <a:pt x="1192114" y="186744"/>
                      <a:pt x="1164166" y="172980"/>
                    </a:cubicBezTo>
                    <a:cubicBezTo>
                      <a:pt x="1118531" y="150873"/>
                      <a:pt x="1071562" y="128266"/>
                      <a:pt x="1026428" y="103907"/>
                    </a:cubicBezTo>
                    <a:lnTo>
                      <a:pt x="1008742" y="94147"/>
                    </a:lnTo>
                    <a:cubicBezTo>
                      <a:pt x="981294" y="79549"/>
                      <a:pt x="952512" y="64449"/>
                      <a:pt x="927234" y="43177"/>
                    </a:cubicBezTo>
                    <a:cubicBezTo>
                      <a:pt x="922395" y="39173"/>
                      <a:pt x="917890" y="35169"/>
                      <a:pt x="913468" y="31248"/>
                    </a:cubicBezTo>
                    <a:cubicBezTo>
                      <a:pt x="893529" y="13062"/>
                      <a:pt x="874925" y="-3705"/>
                      <a:pt x="849230" y="716"/>
                    </a:cubicBezTo>
                    <a:cubicBezTo>
                      <a:pt x="840386" y="2468"/>
                      <a:pt x="832377" y="6472"/>
                      <a:pt x="823951" y="10059"/>
                    </a:cubicBezTo>
                    <a:cubicBezTo>
                      <a:pt x="812855" y="15398"/>
                      <a:pt x="800925" y="20654"/>
                      <a:pt x="786743" y="21154"/>
                    </a:cubicBezTo>
                    <a:cubicBezTo>
                      <a:pt x="776148" y="21571"/>
                      <a:pt x="765469" y="21571"/>
                      <a:pt x="754874" y="21154"/>
                    </a:cubicBezTo>
                    <a:lnTo>
                      <a:pt x="738939" y="21154"/>
                    </a:lnTo>
                    <a:cubicBezTo>
                      <a:pt x="727844" y="21154"/>
                      <a:pt x="716330" y="21154"/>
                      <a:pt x="704818" y="20737"/>
                    </a:cubicBezTo>
                    <a:cubicBezTo>
                      <a:pt x="682209" y="20320"/>
                      <a:pt x="659183" y="19819"/>
                      <a:pt x="637075" y="21154"/>
                    </a:cubicBezTo>
                    <a:cubicBezTo>
                      <a:pt x="633571" y="21571"/>
                      <a:pt x="629984" y="22072"/>
                      <a:pt x="626897" y="22906"/>
                    </a:cubicBezTo>
                    <a:cubicBezTo>
                      <a:pt x="622058" y="24658"/>
                      <a:pt x="617553" y="26410"/>
                      <a:pt x="613632" y="29580"/>
                    </a:cubicBezTo>
                    <a:cubicBezTo>
                      <a:pt x="599867" y="38005"/>
                      <a:pt x="590189" y="53021"/>
                      <a:pt x="579510" y="70372"/>
                    </a:cubicBezTo>
                    <a:cubicBezTo>
                      <a:pt x="574672" y="77880"/>
                      <a:pt x="569332" y="85472"/>
                      <a:pt x="563993" y="92479"/>
                    </a:cubicBezTo>
                    <a:cubicBezTo>
                      <a:pt x="559989" y="98652"/>
                      <a:pt x="555567" y="104908"/>
                      <a:pt x="551562" y="111082"/>
                    </a:cubicBezTo>
                    <a:cubicBezTo>
                      <a:pt x="542719" y="124345"/>
                      <a:pt x="546724" y="128350"/>
                      <a:pt x="558654" y="140779"/>
                    </a:cubicBezTo>
                    <a:lnTo>
                      <a:pt x="563075" y="145201"/>
                    </a:lnTo>
                    <a:cubicBezTo>
                      <a:pt x="577258" y="160299"/>
                      <a:pt x="573671" y="171311"/>
                      <a:pt x="570167" y="182406"/>
                    </a:cubicBezTo>
                    <a:cubicBezTo>
                      <a:pt x="569249" y="186410"/>
                      <a:pt x="567914" y="190414"/>
                      <a:pt x="567080" y="195253"/>
                    </a:cubicBezTo>
                    <a:cubicBezTo>
                      <a:pt x="565745" y="202344"/>
                      <a:pt x="566663" y="209852"/>
                      <a:pt x="567998" y="215608"/>
                    </a:cubicBezTo>
                    <a:cubicBezTo>
                      <a:pt x="568415" y="218277"/>
                      <a:pt x="570250" y="222698"/>
                      <a:pt x="572419" y="226202"/>
                    </a:cubicBezTo>
                    <a:cubicBezTo>
                      <a:pt x="575089" y="231040"/>
                      <a:pt x="577759" y="236379"/>
                      <a:pt x="578176" y="241301"/>
                    </a:cubicBezTo>
                    <a:cubicBezTo>
                      <a:pt x="579510" y="255065"/>
                      <a:pt x="566246" y="276254"/>
                      <a:pt x="556485" y="283845"/>
                    </a:cubicBezTo>
                    <a:cubicBezTo>
                      <a:pt x="550311" y="288684"/>
                      <a:pt x="544054" y="290519"/>
                      <a:pt x="538798" y="289601"/>
                    </a:cubicBezTo>
                    <a:cubicBezTo>
                      <a:pt x="529454" y="287850"/>
                      <a:pt x="523698" y="279424"/>
                      <a:pt x="518859" y="271916"/>
                    </a:cubicBezTo>
                    <a:cubicBezTo>
                      <a:pt x="517942" y="270164"/>
                      <a:pt x="516607" y="267912"/>
                      <a:pt x="515355" y="266578"/>
                    </a:cubicBezTo>
                    <a:cubicBezTo>
                      <a:pt x="512686" y="263074"/>
                      <a:pt x="509599" y="259070"/>
                      <a:pt x="506512" y="258569"/>
                    </a:cubicBezTo>
                    <a:cubicBezTo>
                      <a:pt x="505177" y="258569"/>
                      <a:pt x="504760" y="258569"/>
                      <a:pt x="502091" y="261238"/>
                    </a:cubicBezTo>
                    <a:cubicBezTo>
                      <a:pt x="499838" y="263491"/>
                      <a:pt x="497252" y="266077"/>
                      <a:pt x="492747" y="267412"/>
                    </a:cubicBezTo>
                    <a:cubicBezTo>
                      <a:pt x="478981" y="271833"/>
                      <a:pt x="471890" y="262573"/>
                      <a:pt x="467051" y="256317"/>
                    </a:cubicBezTo>
                    <a:cubicBezTo>
                      <a:pt x="463047" y="251895"/>
                      <a:pt x="460878" y="249226"/>
                      <a:pt x="457707" y="248809"/>
                    </a:cubicBezTo>
                    <a:cubicBezTo>
                      <a:pt x="455955" y="248809"/>
                      <a:pt x="454621" y="249726"/>
                      <a:pt x="452368" y="251478"/>
                    </a:cubicBezTo>
                    <a:cubicBezTo>
                      <a:pt x="450116" y="252813"/>
                      <a:pt x="447029" y="254982"/>
                      <a:pt x="443942" y="255899"/>
                    </a:cubicBezTo>
                    <a:cubicBezTo>
                      <a:pt x="437768" y="257651"/>
                      <a:pt x="434181" y="257234"/>
                      <a:pt x="429759" y="255899"/>
                    </a:cubicBezTo>
                    <a:cubicBezTo>
                      <a:pt x="428842" y="255482"/>
                      <a:pt x="427507" y="255482"/>
                      <a:pt x="426255" y="254982"/>
                    </a:cubicBezTo>
                    <a:cubicBezTo>
                      <a:pt x="423169" y="254565"/>
                      <a:pt x="419581" y="254565"/>
                      <a:pt x="415160" y="254565"/>
                    </a:cubicBezTo>
                    <a:cubicBezTo>
                      <a:pt x="404064" y="254982"/>
                      <a:pt x="389047" y="254982"/>
                      <a:pt x="384625" y="239466"/>
                    </a:cubicBezTo>
                    <a:cubicBezTo>
                      <a:pt x="383291" y="235044"/>
                      <a:pt x="383708" y="231040"/>
                      <a:pt x="384208" y="227536"/>
                    </a:cubicBezTo>
                    <a:cubicBezTo>
                      <a:pt x="384625" y="225284"/>
                      <a:pt x="385126" y="222698"/>
                      <a:pt x="384208" y="220863"/>
                    </a:cubicBezTo>
                    <a:cubicBezTo>
                      <a:pt x="382873" y="216442"/>
                      <a:pt x="378452" y="213772"/>
                      <a:pt x="373113" y="210269"/>
                    </a:cubicBezTo>
                    <a:cubicBezTo>
                      <a:pt x="354091" y="197422"/>
                      <a:pt x="334569" y="186827"/>
                      <a:pt x="317717" y="177901"/>
                    </a:cubicBezTo>
                    <a:cubicBezTo>
                      <a:pt x="311043" y="174398"/>
                      <a:pt x="303952" y="172562"/>
                      <a:pt x="296026" y="170811"/>
                    </a:cubicBezTo>
                    <a:cubicBezTo>
                      <a:pt x="288017" y="169059"/>
                      <a:pt x="280092" y="166807"/>
                      <a:pt x="272083" y="162802"/>
                    </a:cubicBezTo>
                    <a:cubicBezTo>
                      <a:pt x="267244" y="160133"/>
                      <a:pt x="262739" y="156629"/>
                      <a:pt x="258317" y="153459"/>
                    </a:cubicBezTo>
                    <a:cubicBezTo>
                      <a:pt x="250308" y="147286"/>
                      <a:pt x="242800" y="141530"/>
                      <a:pt x="232622" y="142364"/>
                    </a:cubicBezTo>
                    <a:cubicBezTo>
                      <a:pt x="227783" y="142781"/>
                      <a:pt x="224196" y="144116"/>
                      <a:pt x="223278" y="146368"/>
                    </a:cubicBezTo>
                    <a:cubicBezTo>
                      <a:pt x="217521" y="157880"/>
                      <a:pt x="240130" y="190248"/>
                      <a:pt x="247222" y="200842"/>
                    </a:cubicBezTo>
                    <a:lnTo>
                      <a:pt x="250308" y="205263"/>
                    </a:lnTo>
                    <a:cubicBezTo>
                      <a:pt x="261821" y="223449"/>
                      <a:pt x="264908" y="235795"/>
                      <a:pt x="262238" y="257067"/>
                    </a:cubicBezTo>
                    <a:cubicBezTo>
                      <a:pt x="259986" y="276087"/>
                      <a:pt x="254229" y="284096"/>
                      <a:pt x="245887" y="296525"/>
                    </a:cubicBezTo>
                    <a:lnTo>
                      <a:pt x="241465" y="302698"/>
                    </a:lnTo>
                    <a:cubicBezTo>
                      <a:pt x="235291" y="312042"/>
                      <a:pt x="238795" y="323971"/>
                      <a:pt x="242800" y="336400"/>
                    </a:cubicBezTo>
                    <a:cubicBezTo>
                      <a:pt x="247639" y="352751"/>
                      <a:pt x="254730" y="375858"/>
                      <a:pt x="226865" y="387787"/>
                    </a:cubicBezTo>
                    <a:cubicBezTo>
                      <a:pt x="222861" y="389539"/>
                      <a:pt x="218439" y="390874"/>
                      <a:pt x="214018" y="392208"/>
                    </a:cubicBezTo>
                    <a:cubicBezTo>
                      <a:pt x="205591" y="394461"/>
                      <a:pt x="198500" y="396213"/>
                      <a:pt x="194496" y="402386"/>
                    </a:cubicBezTo>
                    <a:cubicBezTo>
                      <a:pt x="190992" y="407224"/>
                      <a:pt x="189156" y="412146"/>
                      <a:pt x="187404" y="416985"/>
                    </a:cubicBezTo>
                    <a:cubicBezTo>
                      <a:pt x="184735" y="424993"/>
                      <a:pt x="181648" y="432918"/>
                      <a:pt x="172805" y="441343"/>
                    </a:cubicBezTo>
                    <a:cubicBezTo>
                      <a:pt x="163461" y="449769"/>
                      <a:pt x="160374" y="459529"/>
                      <a:pt x="162627" y="472376"/>
                    </a:cubicBezTo>
                    <a:cubicBezTo>
                      <a:pt x="163962" y="479884"/>
                      <a:pt x="166130" y="480801"/>
                      <a:pt x="175892" y="482136"/>
                    </a:cubicBezTo>
                    <a:cubicBezTo>
                      <a:pt x="181231" y="482553"/>
                      <a:pt x="187404" y="483471"/>
                      <a:pt x="193578" y="486557"/>
                    </a:cubicBezTo>
                    <a:cubicBezTo>
                      <a:pt x="196665" y="488309"/>
                      <a:pt x="198917" y="489644"/>
                      <a:pt x="201587" y="490979"/>
                    </a:cubicBezTo>
                    <a:cubicBezTo>
                      <a:pt x="210931" y="496735"/>
                      <a:pt x="213100" y="497652"/>
                      <a:pt x="222444" y="490562"/>
                    </a:cubicBezTo>
                    <a:cubicBezTo>
                      <a:pt x="226865" y="487475"/>
                      <a:pt x="229952" y="483888"/>
                      <a:pt x="233039" y="479466"/>
                    </a:cubicBezTo>
                    <a:cubicBezTo>
                      <a:pt x="238378" y="472376"/>
                      <a:pt x="244552" y="463950"/>
                      <a:pt x="256482" y="460447"/>
                    </a:cubicBezTo>
                    <a:cubicBezTo>
                      <a:pt x="275503" y="454274"/>
                      <a:pt x="299029" y="457360"/>
                      <a:pt x="314964" y="468455"/>
                    </a:cubicBezTo>
                    <a:cubicBezTo>
                      <a:pt x="326477" y="476463"/>
                      <a:pt x="333151" y="487975"/>
                      <a:pt x="333568" y="501656"/>
                    </a:cubicBezTo>
                    <a:cubicBezTo>
                      <a:pt x="334486" y="523346"/>
                      <a:pt x="322055" y="535775"/>
                      <a:pt x="310125" y="545536"/>
                    </a:cubicBezTo>
                    <a:cubicBezTo>
                      <a:pt x="305704" y="549540"/>
                      <a:pt x="301699" y="554378"/>
                      <a:pt x="297695" y="559300"/>
                    </a:cubicBezTo>
                    <a:cubicBezTo>
                      <a:pt x="294191" y="563721"/>
                      <a:pt x="290186" y="569060"/>
                      <a:pt x="284847" y="573482"/>
                    </a:cubicBezTo>
                    <a:cubicBezTo>
                      <a:pt x="277338" y="580155"/>
                      <a:pt x="268913" y="582824"/>
                      <a:pt x="261404" y="584993"/>
                    </a:cubicBezTo>
                    <a:cubicBezTo>
                      <a:pt x="255648" y="586745"/>
                      <a:pt x="249891" y="588497"/>
                      <a:pt x="245469" y="591667"/>
                    </a:cubicBezTo>
                    <a:cubicBezTo>
                      <a:pt x="236126" y="597840"/>
                      <a:pt x="218439" y="616944"/>
                      <a:pt x="215769" y="624869"/>
                    </a:cubicBezTo>
                    <a:cubicBezTo>
                      <a:pt x="214018" y="630207"/>
                      <a:pt x="216187" y="634211"/>
                      <a:pt x="219774" y="641219"/>
                    </a:cubicBezTo>
                    <a:cubicBezTo>
                      <a:pt x="223278" y="647892"/>
                      <a:pt x="227282" y="654983"/>
                      <a:pt x="225948" y="664243"/>
                    </a:cubicBezTo>
                    <a:cubicBezTo>
                      <a:pt x="224613" y="674837"/>
                      <a:pt x="212683" y="684180"/>
                      <a:pt x="202922" y="693941"/>
                    </a:cubicBezTo>
                    <a:cubicBezTo>
                      <a:pt x="199835" y="696193"/>
                      <a:pt x="197583" y="697945"/>
                      <a:pt x="195413" y="700114"/>
                    </a:cubicBezTo>
                    <a:cubicBezTo>
                      <a:pt x="179896" y="714712"/>
                      <a:pt x="168383" y="711626"/>
                      <a:pt x="153783" y="708122"/>
                    </a:cubicBezTo>
                    <a:lnTo>
                      <a:pt x="147109" y="706370"/>
                    </a:lnTo>
                    <a:cubicBezTo>
                      <a:pt x="126753" y="701532"/>
                      <a:pt x="112153" y="703284"/>
                      <a:pt x="101892" y="711209"/>
                    </a:cubicBezTo>
                    <a:cubicBezTo>
                      <a:pt x="100974" y="711626"/>
                      <a:pt x="100557" y="712126"/>
                      <a:pt x="100140" y="712960"/>
                    </a:cubicBezTo>
                    <a:cubicBezTo>
                      <a:pt x="96636" y="716464"/>
                      <a:pt x="94383" y="720468"/>
                      <a:pt x="92131" y="724890"/>
                    </a:cubicBezTo>
                    <a:cubicBezTo>
                      <a:pt x="90796" y="727976"/>
                      <a:pt x="89461" y="731980"/>
                      <a:pt x="88126" y="735484"/>
                    </a:cubicBezTo>
                    <a:cubicBezTo>
                      <a:pt x="86792" y="739488"/>
                      <a:pt x="85457" y="743492"/>
                      <a:pt x="84122" y="746996"/>
                    </a:cubicBezTo>
                    <a:cubicBezTo>
                      <a:pt x="81035" y="754087"/>
                      <a:pt x="77448" y="760260"/>
                      <a:pt x="73944" y="766016"/>
                    </a:cubicBezTo>
                    <a:cubicBezTo>
                      <a:pt x="69522" y="774024"/>
                      <a:pt x="65518" y="781532"/>
                      <a:pt x="62848" y="791293"/>
                    </a:cubicBezTo>
                    <a:cubicBezTo>
                      <a:pt x="58844" y="807643"/>
                      <a:pt x="52253" y="810312"/>
                      <a:pt x="42492" y="812982"/>
                    </a:cubicBezTo>
                    <a:cubicBezTo>
                      <a:pt x="39405" y="813899"/>
                      <a:pt x="35818" y="814733"/>
                      <a:pt x="31396" y="817403"/>
                    </a:cubicBezTo>
                    <a:cubicBezTo>
                      <a:pt x="25640" y="821407"/>
                      <a:pt x="22052" y="829332"/>
                      <a:pt x="18966" y="837758"/>
                    </a:cubicBezTo>
                    <a:cubicBezTo>
                      <a:pt x="17214" y="842179"/>
                      <a:pt x="15879" y="846600"/>
                      <a:pt x="13626" y="850187"/>
                    </a:cubicBezTo>
                    <a:cubicBezTo>
                      <a:pt x="12291" y="852857"/>
                      <a:pt x="10539" y="855526"/>
                      <a:pt x="8788" y="858196"/>
                    </a:cubicBezTo>
                    <a:cubicBezTo>
                      <a:pt x="2113" y="867956"/>
                      <a:pt x="-2308" y="875464"/>
                      <a:pt x="1279" y="881220"/>
                    </a:cubicBezTo>
                    <a:cubicBezTo>
                      <a:pt x="1696" y="882137"/>
                      <a:pt x="3949" y="883472"/>
                      <a:pt x="6118" y="884306"/>
                    </a:cubicBezTo>
                    <a:cubicBezTo>
                      <a:pt x="8788" y="886058"/>
                      <a:pt x="12792" y="887810"/>
                      <a:pt x="15462" y="890980"/>
                    </a:cubicBezTo>
                    <a:cubicBezTo>
                      <a:pt x="22970" y="900323"/>
                      <a:pt x="22970" y="911335"/>
                      <a:pt x="21635" y="922012"/>
                    </a:cubicBezTo>
                    <a:cubicBezTo>
                      <a:pt x="21218" y="924682"/>
                      <a:pt x="20718" y="927351"/>
                      <a:pt x="19883" y="930438"/>
                    </a:cubicBezTo>
                    <a:cubicBezTo>
                      <a:pt x="18548" y="933942"/>
                      <a:pt x="17631" y="937946"/>
                      <a:pt x="18131" y="940198"/>
                    </a:cubicBezTo>
                    <a:cubicBezTo>
                      <a:pt x="18548" y="941533"/>
                      <a:pt x="20801" y="943284"/>
                      <a:pt x="22553" y="945537"/>
                    </a:cubicBezTo>
                    <a:cubicBezTo>
                      <a:pt x="25223" y="948623"/>
                      <a:pt x="28309" y="951293"/>
                      <a:pt x="29644" y="955714"/>
                    </a:cubicBezTo>
                    <a:cubicBezTo>
                      <a:pt x="31897" y="961887"/>
                      <a:pt x="30562" y="968978"/>
                      <a:pt x="29227" y="976069"/>
                    </a:cubicBezTo>
                    <a:cubicBezTo>
                      <a:pt x="28309" y="980907"/>
                      <a:pt x="26558" y="988916"/>
                      <a:pt x="28810" y="990250"/>
                    </a:cubicBezTo>
                    <a:cubicBezTo>
                      <a:pt x="30145" y="991585"/>
                      <a:pt x="31063" y="991585"/>
                      <a:pt x="31897" y="991168"/>
                    </a:cubicBezTo>
                    <a:cubicBezTo>
                      <a:pt x="38571" y="989833"/>
                      <a:pt x="46496" y="976569"/>
                      <a:pt x="49583" y="970813"/>
                    </a:cubicBezTo>
                    <a:lnTo>
                      <a:pt x="50918" y="968144"/>
                    </a:lnTo>
                    <a:cubicBezTo>
                      <a:pt x="58009" y="956632"/>
                      <a:pt x="69939" y="940698"/>
                      <a:pt x="89878" y="935360"/>
                    </a:cubicBezTo>
                    <a:cubicBezTo>
                      <a:pt x="104478" y="931355"/>
                      <a:pt x="121747" y="933608"/>
                      <a:pt x="140852" y="942033"/>
                    </a:cubicBezTo>
                    <a:cubicBezTo>
                      <a:pt x="155035" y="948206"/>
                      <a:pt x="161208" y="946455"/>
                      <a:pt x="175391" y="942951"/>
                    </a:cubicBezTo>
                    <a:lnTo>
                      <a:pt x="183400" y="940698"/>
                    </a:lnTo>
                    <a:cubicBezTo>
                      <a:pt x="202004" y="935860"/>
                      <a:pt x="208678" y="945120"/>
                      <a:pt x="214435" y="953545"/>
                    </a:cubicBezTo>
                    <a:cubicBezTo>
                      <a:pt x="216187" y="956215"/>
                      <a:pt x="218439" y="959301"/>
                      <a:pt x="221109" y="962388"/>
                    </a:cubicBezTo>
                    <a:cubicBezTo>
                      <a:pt x="227783" y="969061"/>
                      <a:pt x="232622" y="967226"/>
                      <a:pt x="246387" y="957967"/>
                    </a:cubicBezTo>
                    <a:cubicBezTo>
                      <a:pt x="249891" y="955714"/>
                      <a:pt x="253479" y="953128"/>
                      <a:pt x="256565" y="951293"/>
                    </a:cubicBezTo>
                    <a:cubicBezTo>
                      <a:pt x="276087" y="941115"/>
                      <a:pt x="284930" y="944619"/>
                      <a:pt x="299530" y="951293"/>
                    </a:cubicBezTo>
                    <a:lnTo>
                      <a:pt x="302617" y="952628"/>
                    </a:lnTo>
                    <a:cubicBezTo>
                      <a:pt x="303535" y="950876"/>
                      <a:pt x="303952" y="949541"/>
                      <a:pt x="304869" y="947789"/>
                    </a:cubicBezTo>
                    <a:cubicBezTo>
                      <a:pt x="308874" y="938029"/>
                      <a:pt x="305286" y="932690"/>
                      <a:pt x="300031" y="924348"/>
                    </a:cubicBezTo>
                    <a:cubicBezTo>
                      <a:pt x="296527" y="919510"/>
                      <a:pt x="292939" y="913754"/>
                      <a:pt x="290687" y="905745"/>
                    </a:cubicBezTo>
                    <a:cubicBezTo>
                      <a:pt x="288017" y="896402"/>
                      <a:pt x="290270" y="886225"/>
                      <a:pt x="296026" y="878300"/>
                    </a:cubicBezTo>
                    <a:cubicBezTo>
                      <a:pt x="301365" y="870792"/>
                      <a:pt x="309792" y="865453"/>
                      <a:pt x="319469" y="864536"/>
                    </a:cubicBezTo>
                    <a:cubicBezTo>
                      <a:pt x="327478" y="863618"/>
                      <a:pt x="333234" y="866288"/>
                      <a:pt x="338490" y="868957"/>
                    </a:cubicBezTo>
                    <a:cubicBezTo>
                      <a:pt x="340242" y="869874"/>
                      <a:pt x="342495" y="870709"/>
                      <a:pt x="344664" y="871626"/>
                    </a:cubicBezTo>
                    <a:cubicBezTo>
                      <a:pt x="349086" y="872961"/>
                      <a:pt x="350420" y="872961"/>
                      <a:pt x="353090" y="872043"/>
                    </a:cubicBezTo>
                    <a:cubicBezTo>
                      <a:pt x="354842" y="871626"/>
                      <a:pt x="357512" y="870709"/>
                      <a:pt x="361099" y="870709"/>
                    </a:cubicBezTo>
                    <a:cubicBezTo>
                      <a:pt x="372195" y="870292"/>
                      <a:pt x="387712" y="870709"/>
                      <a:pt x="408068" y="872961"/>
                    </a:cubicBezTo>
                    <a:cubicBezTo>
                      <a:pt x="432846" y="875213"/>
                      <a:pt x="436016" y="895068"/>
                      <a:pt x="438603" y="909750"/>
                    </a:cubicBezTo>
                    <a:cubicBezTo>
                      <a:pt x="441272" y="927017"/>
                      <a:pt x="443441" y="933191"/>
                      <a:pt x="456289" y="933191"/>
                    </a:cubicBezTo>
                    <a:cubicBezTo>
                      <a:pt x="459793" y="933191"/>
                      <a:pt x="462046" y="932273"/>
                      <a:pt x="464715" y="931439"/>
                    </a:cubicBezTo>
                    <a:cubicBezTo>
                      <a:pt x="470054" y="930104"/>
                      <a:pt x="477146" y="927435"/>
                      <a:pt x="488158" y="933691"/>
                    </a:cubicBezTo>
                    <a:cubicBezTo>
                      <a:pt x="494832" y="937195"/>
                      <a:pt x="499254" y="943034"/>
                      <a:pt x="503258" y="947873"/>
                    </a:cubicBezTo>
                    <a:cubicBezTo>
                      <a:pt x="504176" y="949207"/>
                      <a:pt x="505511" y="950542"/>
                      <a:pt x="506762" y="951877"/>
                    </a:cubicBezTo>
                    <a:lnTo>
                      <a:pt x="509015" y="954546"/>
                    </a:lnTo>
                    <a:cubicBezTo>
                      <a:pt x="517858" y="964307"/>
                      <a:pt x="526284" y="974067"/>
                      <a:pt x="537797" y="974484"/>
                    </a:cubicBezTo>
                    <a:lnTo>
                      <a:pt x="540467" y="974484"/>
                    </a:lnTo>
                    <a:cubicBezTo>
                      <a:pt x="544471" y="974067"/>
                      <a:pt x="547975" y="972732"/>
                      <a:pt x="551562" y="970980"/>
                    </a:cubicBezTo>
                    <a:cubicBezTo>
                      <a:pt x="552897" y="970063"/>
                      <a:pt x="553815" y="969645"/>
                      <a:pt x="555067" y="968728"/>
                    </a:cubicBezTo>
                    <a:cubicBezTo>
                      <a:pt x="563075" y="963889"/>
                      <a:pt x="573253" y="958134"/>
                      <a:pt x="588270" y="964724"/>
                    </a:cubicBezTo>
                    <a:cubicBezTo>
                      <a:pt x="592275" y="966476"/>
                      <a:pt x="595362" y="969145"/>
                      <a:pt x="598031" y="971397"/>
                    </a:cubicBezTo>
                    <a:cubicBezTo>
                      <a:pt x="601535" y="974067"/>
                      <a:pt x="603788" y="976236"/>
                      <a:pt x="606457" y="976236"/>
                    </a:cubicBezTo>
                    <a:cubicBezTo>
                      <a:pt x="606875" y="976236"/>
                      <a:pt x="606875" y="976236"/>
                      <a:pt x="606875" y="976236"/>
                    </a:cubicBezTo>
                    <a:cubicBezTo>
                      <a:pt x="608209" y="976236"/>
                      <a:pt x="609544" y="974901"/>
                      <a:pt x="612214" y="973149"/>
                    </a:cubicBezTo>
                    <a:cubicBezTo>
                      <a:pt x="614466" y="971397"/>
                      <a:pt x="617053" y="969145"/>
                      <a:pt x="620640" y="968311"/>
                    </a:cubicBezTo>
                    <a:cubicBezTo>
                      <a:pt x="630401" y="965224"/>
                      <a:pt x="638326" y="968728"/>
                      <a:pt x="644583" y="971814"/>
                    </a:cubicBezTo>
                    <a:cubicBezTo>
                      <a:pt x="650340" y="974484"/>
                      <a:pt x="653927" y="975818"/>
                      <a:pt x="657431" y="974067"/>
                    </a:cubicBezTo>
                    <a:cubicBezTo>
                      <a:pt x="659183" y="973149"/>
                      <a:pt x="661853" y="970563"/>
                      <a:pt x="664105" y="967894"/>
                    </a:cubicBezTo>
                    <a:cubicBezTo>
                      <a:pt x="667609" y="963889"/>
                      <a:pt x="671614" y="959468"/>
                      <a:pt x="676953" y="956799"/>
                    </a:cubicBezTo>
                    <a:cubicBezTo>
                      <a:pt x="683127" y="953712"/>
                      <a:pt x="695974" y="948373"/>
                      <a:pt x="708822" y="951043"/>
                    </a:cubicBezTo>
                    <a:cubicBezTo>
                      <a:pt x="716831" y="952377"/>
                      <a:pt x="721253" y="956799"/>
                      <a:pt x="724757" y="959885"/>
                    </a:cubicBezTo>
                    <a:cubicBezTo>
                      <a:pt x="726092" y="961220"/>
                      <a:pt x="727426" y="962555"/>
                      <a:pt x="729178" y="963889"/>
                    </a:cubicBezTo>
                    <a:cubicBezTo>
                      <a:pt x="732265" y="965641"/>
                      <a:pt x="737187" y="966976"/>
                      <a:pt x="742026" y="968311"/>
                    </a:cubicBezTo>
                    <a:cubicBezTo>
                      <a:pt x="744278" y="969228"/>
                      <a:pt x="746865" y="969645"/>
                      <a:pt x="749117" y="970563"/>
                    </a:cubicBezTo>
                    <a:cubicBezTo>
                      <a:pt x="763717" y="974984"/>
                      <a:pt x="776565" y="981658"/>
                      <a:pt x="791164" y="989166"/>
                    </a:cubicBezTo>
                    <a:lnTo>
                      <a:pt x="797338" y="992252"/>
                    </a:lnTo>
                    <a:cubicBezTo>
                      <a:pt x="822616" y="1006017"/>
                      <a:pt x="848312" y="1019698"/>
                      <a:pt x="877094" y="1018363"/>
                    </a:cubicBezTo>
                    <a:cubicBezTo>
                      <a:pt x="882433" y="1018363"/>
                      <a:pt x="886855" y="1017445"/>
                      <a:pt x="891277" y="1015694"/>
                    </a:cubicBezTo>
                    <a:cubicBezTo>
                      <a:pt x="895698" y="1014359"/>
                      <a:pt x="900120" y="1011689"/>
                      <a:pt x="904124" y="1009020"/>
                    </a:cubicBezTo>
                    <a:cubicBezTo>
                      <a:pt x="912133" y="1002346"/>
                      <a:pt x="918724" y="993921"/>
                      <a:pt x="924981" y="983743"/>
                    </a:cubicBezTo>
                    <a:cubicBezTo>
                      <a:pt x="927234" y="980240"/>
                      <a:pt x="929820" y="976236"/>
                      <a:pt x="932072" y="971814"/>
                    </a:cubicBezTo>
                    <a:cubicBezTo>
                      <a:pt x="932489" y="971397"/>
                      <a:pt x="932489" y="970897"/>
                      <a:pt x="932990" y="970480"/>
                    </a:cubicBezTo>
                    <a:cubicBezTo>
                      <a:pt x="938329" y="960719"/>
                      <a:pt x="944503" y="951877"/>
                      <a:pt x="950259" y="943451"/>
                    </a:cubicBezTo>
                    <a:cubicBezTo>
                      <a:pt x="956016" y="935443"/>
                      <a:pt x="961772" y="927101"/>
                      <a:pt x="966611" y="918175"/>
                    </a:cubicBezTo>
                    <a:cubicBezTo>
                      <a:pt x="971033" y="911084"/>
                      <a:pt x="972367" y="903076"/>
                      <a:pt x="973702" y="894734"/>
                    </a:cubicBezTo>
                    <a:cubicBezTo>
                      <a:pt x="975454" y="886726"/>
                      <a:pt x="976789" y="878801"/>
                      <a:pt x="980794" y="870375"/>
                    </a:cubicBezTo>
                    <a:cubicBezTo>
                      <a:pt x="983046" y="865537"/>
                      <a:pt x="985215" y="861949"/>
                      <a:pt x="987468" y="858446"/>
                    </a:cubicBezTo>
                    <a:cubicBezTo>
                      <a:pt x="992807" y="850938"/>
                      <a:pt x="994976" y="846934"/>
                      <a:pt x="993641" y="836340"/>
                    </a:cubicBezTo>
                    <a:cubicBezTo>
                      <a:pt x="990555" y="814650"/>
                      <a:pt x="994559" y="802637"/>
                      <a:pt x="1004737" y="785370"/>
                    </a:cubicBezTo>
                    <a:cubicBezTo>
                      <a:pt x="1023341" y="754337"/>
                      <a:pt x="1049037" y="722471"/>
                      <a:pt x="1075149" y="699029"/>
                    </a:cubicBezTo>
                    <a:lnTo>
                      <a:pt x="1080489" y="694191"/>
                    </a:lnTo>
                    <a:cubicBezTo>
                      <a:pt x="1091084" y="684848"/>
                      <a:pt x="1098676" y="678258"/>
                      <a:pt x="1101345" y="665411"/>
                    </a:cubicBezTo>
                    <a:cubicBezTo>
                      <a:pt x="1104849" y="647726"/>
                      <a:pt x="1108019" y="635296"/>
                      <a:pt x="1111941" y="621532"/>
                    </a:cubicBezTo>
                    <a:cubicBezTo>
                      <a:pt x="1113276" y="617527"/>
                      <a:pt x="1113693" y="613106"/>
                      <a:pt x="1114610" y="608685"/>
                    </a:cubicBezTo>
                    <a:cubicBezTo>
                      <a:pt x="1115945" y="598925"/>
                      <a:pt x="1117280" y="589164"/>
                      <a:pt x="1123954" y="580739"/>
                    </a:cubicBezTo>
                    <a:cubicBezTo>
                      <a:pt x="1131462" y="569644"/>
                      <a:pt x="1146563" y="558132"/>
                      <a:pt x="1167837" y="545786"/>
                    </a:cubicBezTo>
                    <a:cubicBezTo>
                      <a:pt x="1189111" y="532939"/>
                      <a:pt x="1201040" y="544034"/>
                      <a:pt x="1210801" y="552876"/>
                    </a:cubicBezTo>
                    <a:cubicBezTo>
                      <a:pt x="1218310" y="559967"/>
                      <a:pt x="1224567" y="565723"/>
                      <a:pt x="1236497" y="563471"/>
                    </a:cubicBezTo>
                    <a:cubicBezTo>
                      <a:pt x="1256853" y="559967"/>
                      <a:pt x="1274122" y="544451"/>
                      <a:pt x="1290558" y="529769"/>
                    </a:cubicBezTo>
                    <a:cubicBezTo>
                      <a:pt x="1297649" y="523596"/>
                      <a:pt x="1305157" y="516922"/>
                      <a:pt x="1312249" y="511583"/>
                    </a:cubicBezTo>
                    <a:cubicBezTo>
                      <a:pt x="1327349" y="500071"/>
                      <a:pt x="1343283" y="495233"/>
                      <a:pt x="1359218" y="491646"/>
                    </a:cubicBezTo>
                    <a:cubicBezTo>
                      <a:pt x="1363639" y="490311"/>
                      <a:pt x="1368562" y="489894"/>
                      <a:pt x="1373400" y="488976"/>
                    </a:cubicBezTo>
                    <a:cubicBezTo>
                      <a:pt x="1374735" y="488559"/>
                      <a:pt x="1375653" y="488559"/>
                      <a:pt x="1376904" y="488059"/>
                    </a:cubicBezTo>
                    <a:cubicBezTo>
                      <a:pt x="1388000" y="486307"/>
                      <a:pt x="1399013" y="484055"/>
                      <a:pt x="1410609" y="480551"/>
                    </a:cubicBezTo>
                    <a:cubicBezTo>
                      <a:pt x="1410025" y="477798"/>
                      <a:pt x="1410025" y="475212"/>
                      <a:pt x="1410442" y="47254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33311220" name="Полилиния 409"/>
              <p:cNvSpPr/>
              <p:nvPr/>
            </p:nvSpPr>
            <p:spPr bwMode="auto">
              <a:xfrm>
                <a:off x="5640921" y="4663324"/>
                <a:ext cx="1333928" cy="1439096"/>
              </a:xfrm>
              <a:custGeom>
                <a:avLst/>
                <a:gdLst>
                  <a:gd name="connsiteX0" fmla="*/ 391188 w 1498046"/>
                  <a:gd name="connsiteY0" fmla="*/ 131091 h 1616153"/>
                  <a:gd name="connsiteX1" fmla="*/ 344636 w 1498046"/>
                  <a:gd name="connsiteY1" fmla="*/ 115992 h 1616153"/>
                  <a:gd name="connsiteX2" fmla="*/ 316271 w 1498046"/>
                  <a:gd name="connsiteY2" fmla="*/ 67274 h 1616153"/>
                  <a:gd name="connsiteX3" fmla="*/ 315854 w 1498046"/>
                  <a:gd name="connsiteY3" fmla="*/ 65523 h 1616153"/>
                  <a:gd name="connsiteX4" fmla="*/ 306093 w 1498046"/>
                  <a:gd name="connsiteY4" fmla="*/ 44250 h 1616153"/>
                  <a:gd name="connsiteX5" fmla="*/ 289241 w 1498046"/>
                  <a:gd name="connsiteY5" fmla="*/ 39829 h 1616153"/>
                  <a:gd name="connsiteX6" fmla="*/ 283902 w 1498046"/>
                  <a:gd name="connsiteY6" fmla="*/ 46002 h 1616153"/>
                  <a:gd name="connsiteX7" fmla="*/ 273306 w 1498046"/>
                  <a:gd name="connsiteY7" fmla="*/ 57097 h 1616153"/>
                  <a:gd name="connsiteX8" fmla="*/ 240520 w 1498046"/>
                  <a:gd name="connsiteY8" fmla="*/ 44250 h 1616153"/>
                  <a:gd name="connsiteX9" fmla="*/ 239185 w 1498046"/>
                  <a:gd name="connsiteY9" fmla="*/ 41998 h 1616153"/>
                  <a:gd name="connsiteX10" fmla="*/ 229007 w 1498046"/>
                  <a:gd name="connsiteY10" fmla="*/ 31404 h 1616153"/>
                  <a:gd name="connsiteX11" fmla="*/ 229007 w 1498046"/>
                  <a:gd name="connsiteY11" fmla="*/ 31821 h 1616153"/>
                  <a:gd name="connsiteX12" fmla="*/ 228590 w 1498046"/>
                  <a:gd name="connsiteY12" fmla="*/ 32738 h 1616153"/>
                  <a:gd name="connsiteX13" fmla="*/ 227672 w 1498046"/>
                  <a:gd name="connsiteY13" fmla="*/ 34490 h 1616153"/>
                  <a:gd name="connsiteX14" fmla="*/ 217494 w 1498046"/>
                  <a:gd name="connsiteY14" fmla="*/ 42498 h 1616153"/>
                  <a:gd name="connsiteX15" fmla="*/ 194051 w 1498046"/>
                  <a:gd name="connsiteY15" fmla="*/ 37660 h 1616153"/>
                  <a:gd name="connsiteX16" fmla="*/ 175447 w 1498046"/>
                  <a:gd name="connsiteY16" fmla="*/ 21310 h 1616153"/>
                  <a:gd name="connsiteX17" fmla="*/ 171442 w 1498046"/>
                  <a:gd name="connsiteY17" fmla="*/ 15554 h 1616153"/>
                  <a:gd name="connsiteX18" fmla="*/ 166604 w 1498046"/>
                  <a:gd name="connsiteY18" fmla="*/ 8463 h 1616153"/>
                  <a:gd name="connsiteX19" fmla="*/ 146247 w 1498046"/>
                  <a:gd name="connsiteY19" fmla="*/ 37 h 1616153"/>
                  <a:gd name="connsiteX20" fmla="*/ 126725 w 1498046"/>
                  <a:gd name="connsiteY20" fmla="*/ 9798 h 1616153"/>
                  <a:gd name="connsiteX21" fmla="*/ 129812 w 1498046"/>
                  <a:gd name="connsiteY21" fmla="*/ 17806 h 1616153"/>
                  <a:gd name="connsiteX22" fmla="*/ 122721 w 1498046"/>
                  <a:gd name="connsiteY22" fmla="*/ 36409 h 1616153"/>
                  <a:gd name="connsiteX23" fmla="*/ 116047 w 1498046"/>
                  <a:gd name="connsiteY23" fmla="*/ 43082 h 1616153"/>
                  <a:gd name="connsiteX24" fmla="*/ 107203 w 1498046"/>
                  <a:gd name="connsiteY24" fmla="*/ 53260 h 1616153"/>
                  <a:gd name="connsiteX25" fmla="*/ 104534 w 1498046"/>
                  <a:gd name="connsiteY25" fmla="*/ 59433 h 1616153"/>
                  <a:gd name="connsiteX26" fmla="*/ 87265 w 1498046"/>
                  <a:gd name="connsiteY26" fmla="*/ 76284 h 1616153"/>
                  <a:gd name="connsiteX27" fmla="*/ 73082 w 1498046"/>
                  <a:gd name="connsiteY27" fmla="*/ 78953 h 1616153"/>
                  <a:gd name="connsiteX28" fmla="*/ 60651 w 1498046"/>
                  <a:gd name="connsiteY28" fmla="*/ 81623 h 1616153"/>
                  <a:gd name="connsiteX29" fmla="*/ 40295 w 1498046"/>
                  <a:gd name="connsiteY29" fmla="*/ 94887 h 1616153"/>
                  <a:gd name="connsiteX30" fmla="*/ 27864 w 1498046"/>
                  <a:gd name="connsiteY30" fmla="*/ 104230 h 1616153"/>
                  <a:gd name="connsiteX31" fmla="*/ 23443 w 1498046"/>
                  <a:gd name="connsiteY31" fmla="*/ 106899 h 1616153"/>
                  <a:gd name="connsiteX32" fmla="*/ 0 w 1498046"/>
                  <a:gd name="connsiteY32" fmla="*/ 121081 h 1616153"/>
                  <a:gd name="connsiteX33" fmla="*/ 27948 w 1498046"/>
                  <a:gd name="connsiteY33" fmla="*/ 194574 h 1616153"/>
                  <a:gd name="connsiteX34" fmla="*/ 16852 w 1498046"/>
                  <a:gd name="connsiteY34" fmla="*/ 229527 h 1616153"/>
                  <a:gd name="connsiteX35" fmla="*/ 12431 w 1498046"/>
                  <a:gd name="connsiteY35" fmla="*/ 267650 h 1616153"/>
                  <a:gd name="connsiteX36" fmla="*/ 85095 w 1498046"/>
                  <a:gd name="connsiteY36" fmla="*/ 274741 h 1616153"/>
                  <a:gd name="connsiteX37" fmla="*/ 106786 w 1498046"/>
                  <a:gd name="connsiteY37" fmla="*/ 272072 h 1616153"/>
                  <a:gd name="connsiteX38" fmla="*/ 206481 w 1498046"/>
                  <a:gd name="connsiteY38" fmla="*/ 293344 h 1616153"/>
                  <a:gd name="connsiteX39" fmla="*/ 216243 w 1498046"/>
                  <a:gd name="connsiteY39" fmla="*/ 307108 h 1616153"/>
                  <a:gd name="connsiteX40" fmla="*/ 225586 w 1498046"/>
                  <a:gd name="connsiteY40" fmla="*/ 318620 h 1616153"/>
                  <a:gd name="connsiteX41" fmla="*/ 234930 w 1498046"/>
                  <a:gd name="connsiteY41" fmla="*/ 322625 h 1616153"/>
                  <a:gd name="connsiteX42" fmla="*/ 256621 w 1498046"/>
                  <a:gd name="connsiteY42" fmla="*/ 339893 h 1616153"/>
                  <a:gd name="connsiteX43" fmla="*/ 263712 w 1498046"/>
                  <a:gd name="connsiteY43" fmla="*/ 364251 h 1616153"/>
                  <a:gd name="connsiteX44" fmla="*/ 288990 w 1498046"/>
                  <a:gd name="connsiteY44" fmla="*/ 388193 h 1616153"/>
                  <a:gd name="connsiteX45" fmla="*/ 294330 w 1498046"/>
                  <a:gd name="connsiteY45" fmla="*/ 387776 h 1616153"/>
                  <a:gd name="connsiteX46" fmla="*/ 332456 w 1498046"/>
                  <a:gd name="connsiteY46" fmla="*/ 397119 h 1616153"/>
                  <a:gd name="connsiteX47" fmla="*/ 340882 w 1498046"/>
                  <a:gd name="connsiteY47" fmla="*/ 440081 h 1616153"/>
                  <a:gd name="connsiteX48" fmla="*/ 320943 w 1498046"/>
                  <a:gd name="connsiteY48" fmla="*/ 459601 h 1616153"/>
                  <a:gd name="connsiteX49" fmla="*/ 310348 w 1498046"/>
                  <a:gd name="connsiteY49" fmla="*/ 466692 h 1616153"/>
                  <a:gd name="connsiteX50" fmla="*/ 282900 w 1498046"/>
                  <a:gd name="connsiteY50" fmla="*/ 502145 h 1616153"/>
                  <a:gd name="connsiteX51" fmla="*/ 283818 w 1498046"/>
                  <a:gd name="connsiteY51" fmla="*/ 567714 h 1616153"/>
                  <a:gd name="connsiteX52" fmla="*/ 309514 w 1498046"/>
                  <a:gd name="connsiteY52" fmla="*/ 590321 h 1616153"/>
                  <a:gd name="connsiteX53" fmla="*/ 324113 w 1498046"/>
                  <a:gd name="connsiteY53" fmla="*/ 596077 h 1616153"/>
                  <a:gd name="connsiteX54" fmla="*/ 353313 w 1498046"/>
                  <a:gd name="connsiteY54" fmla="*/ 605837 h 1616153"/>
                  <a:gd name="connsiteX55" fmla="*/ 363908 w 1498046"/>
                  <a:gd name="connsiteY55" fmla="*/ 605837 h 1616153"/>
                  <a:gd name="connsiteX56" fmla="*/ 396695 w 1498046"/>
                  <a:gd name="connsiteY56" fmla="*/ 616932 h 1616153"/>
                  <a:gd name="connsiteX57" fmla="*/ 395360 w 1498046"/>
                  <a:gd name="connsiteY57" fmla="*/ 650634 h 1616153"/>
                  <a:gd name="connsiteX58" fmla="*/ 363908 w 1498046"/>
                  <a:gd name="connsiteY58" fmla="*/ 696265 h 1616153"/>
                  <a:gd name="connsiteX59" fmla="*/ 347056 w 1498046"/>
                  <a:gd name="connsiteY59" fmla="*/ 717537 h 1616153"/>
                  <a:gd name="connsiteX60" fmla="*/ 339547 w 1498046"/>
                  <a:gd name="connsiteY60" fmla="*/ 726880 h 1616153"/>
                  <a:gd name="connsiteX61" fmla="*/ 324030 w 1498046"/>
                  <a:gd name="connsiteY61" fmla="*/ 752991 h 1616153"/>
                  <a:gd name="connsiteX62" fmla="*/ 326700 w 1498046"/>
                  <a:gd name="connsiteY62" fmla="*/ 757412 h 1616153"/>
                  <a:gd name="connsiteX63" fmla="*/ 332039 w 1498046"/>
                  <a:gd name="connsiteY63" fmla="*/ 767590 h 1616153"/>
                  <a:gd name="connsiteX64" fmla="*/ 329369 w 1498046"/>
                  <a:gd name="connsiteY64" fmla="*/ 782689 h 1616153"/>
                  <a:gd name="connsiteX65" fmla="*/ 327117 w 1498046"/>
                  <a:gd name="connsiteY65" fmla="*/ 786192 h 1616153"/>
                  <a:gd name="connsiteX66" fmla="*/ 325782 w 1498046"/>
                  <a:gd name="connsiteY66" fmla="*/ 791531 h 1616153"/>
                  <a:gd name="connsiteX67" fmla="*/ 326199 w 1498046"/>
                  <a:gd name="connsiteY67" fmla="*/ 805295 h 1616153"/>
                  <a:gd name="connsiteX68" fmla="*/ 326199 w 1498046"/>
                  <a:gd name="connsiteY68" fmla="*/ 805713 h 1616153"/>
                  <a:gd name="connsiteX69" fmla="*/ 326616 w 1498046"/>
                  <a:gd name="connsiteY69" fmla="*/ 823398 h 1616153"/>
                  <a:gd name="connsiteX70" fmla="*/ 323947 w 1498046"/>
                  <a:gd name="connsiteY70" fmla="*/ 836245 h 1616153"/>
                  <a:gd name="connsiteX71" fmla="*/ 324864 w 1498046"/>
                  <a:gd name="connsiteY71" fmla="*/ 858351 h 1616153"/>
                  <a:gd name="connsiteX72" fmla="*/ 339047 w 1498046"/>
                  <a:gd name="connsiteY72" fmla="*/ 868528 h 1616153"/>
                  <a:gd name="connsiteX73" fmla="*/ 354981 w 1498046"/>
                  <a:gd name="connsiteY73" fmla="*/ 879623 h 1616153"/>
                  <a:gd name="connsiteX74" fmla="*/ 361655 w 1498046"/>
                  <a:gd name="connsiteY74" fmla="*/ 891135 h 1616153"/>
                  <a:gd name="connsiteX75" fmla="*/ 364325 w 1498046"/>
                  <a:gd name="connsiteY75" fmla="*/ 896891 h 1616153"/>
                  <a:gd name="connsiteX76" fmla="*/ 369664 w 1498046"/>
                  <a:gd name="connsiteY76" fmla="*/ 903064 h 1616153"/>
                  <a:gd name="connsiteX77" fmla="*/ 375421 w 1498046"/>
                  <a:gd name="connsiteY77" fmla="*/ 909237 h 1616153"/>
                  <a:gd name="connsiteX78" fmla="*/ 388686 w 1498046"/>
                  <a:gd name="connsiteY78" fmla="*/ 956203 h 1616153"/>
                  <a:gd name="connsiteX79" fmla="*/ 367829 w 1498046"/>
                  <a:gd name="connsiteY79" fmla="*/ 985901 h 1616153"/>
                  <a:gd name="connsiteX80" fmla="*/ 327033 w 1498046"/>
                  <a:gd name="connsiteY80" fmla="*/ 1015599 h 1616153"/>
                  <a:gd name="connsiteX81" fmla="*/ 358068 w 1498046"/>
                  <a:gd name="connsiteY81" fmla="*/ 1056391 h 1616153"/>
                  <a:gd name="connsiteX82" fmla="*/ 370916 w 1498046"/>
                  <a:gd name="connsiteY82" fmla="*/ 1073242 h 1616153"/>
                  <a:gd name="connsiteX83" fmla="*/ 419637 w 1498046"/>
                  <a:gd name="connsiteY83" fmla="*/ 1080333 h 1616153"/>
                  <a:gd name="connsiteX84" fmla="*/ 434737 w 1498046"/>
                  <a:gd name="connsiteY84" fmla="*/ 1075912 h 1616153"/>
                  <a:gd name="connsiteX85" fmla="*/ 463937 w 1498046"/>
                  <a:gd name="connsiteY85" fmla="*/ 1075912 h 1616153"/>
                  <a:gd name="connsiteX86" fmla="*/ 480288 w 1498046"/>
                  <a:gd name="connsiteY86" fmla="*/ 1077246 h 1616153"/>
                  <a:gd name="connsiteX87" fmla="*/ 494471 w 1498046"/>
                  <a:gd name="connsiteY87" fmla="*/ 1074160 h 1616153"/>
                  <a:gd name="connsiteX88" fmla="*/ 525506 w 1498046"/>
                  <a:gd name="connsiteY88" fmla="*/ 1072825 h 1616153"/>
                  <a:gd name="connsiteX89" fmla="*/ 540105 w 1498046"/>
                  <a:gd name="connsiteY89" fmla="*/ 1122460 h 1616153"/>
                  <a:gd name="connsiteX90" fmla="*/ 538354 w 1498046"/>
                  <a:gd name="connsiteY90" fmla="*/ 1137977 h 1616153"/>
                  <a:gd name="connsiteX91" fmla="*/ 551201 w 1498046"/>
                  <a:gd name="connsiteY91" fmla="*/ 1160083 h 1616153"/>
                  <a:gd name="connsiteX92" fmla="*/ 575562 w 1498046"/>
                  <a:gd name="connsiteY92" fmla="*/ 1197706 h 1616153"/>
                  <a:gd name="connsiteX93" fmla="*/ 578231 w 1498046"/>
                  <a:gd name="connsiteY93" fmla="*/ 1203045 h 1616153"/>
                  <a:gd name="connsiteX94" fmla="*/ 599088 w 1498046"/>
                  <a:gd name="connsiteY94" fmla="*/ 1239333 h 1616153"/>
                  <a:gd name="connsiteX95" fmla="*/ 627036 w 1498046"/>
                  <a:gd name="connsiteY95" fmla="*/ 1293806 h 1616153"/>
                  <a:gd name="connsiteX96" fmla="*/ 627453 w 1498046"/>
                  <a:gd name="connsiteY96" fmla="*/ 1384651 h 1616153"/>
                  <a:gd name="connsiteX97" fmla="*/ 608849 w 1498046"/>
                  <a:gd name="connsiteY97" fmla="*/ 1403254 h 1616153"/>
                  <a:gd name="connsiteX98" fmla="*/ 598671 w 1498046"/>
                  <a:gd name="connsiteY98" fmla="*/ 1411262 h 1616153"/>
                  <a:gd name="connsiteX99" fmla="*/ 588076 w 1498046"/>
                  <a:gd name="connsiteY99" fmla="*/ 1437373 h 1616153"/>
                  <a:gd name="connsiteX100" fmla="*/ 583237 w 1498046"/>
                  <a:gd name="connsiteY100" fmla="*/ 1455058 h 1616153"/>
                  <a:gd name="connsiteX101" fmla="*/ 553537 w 1498046"/>
                  <a:gd name="connsiteY101" fmla="*/ 1492263 h 1616153"/>
                  <a:gd name="connsiteX102" fmla="*/ 541107 w 1498046"/>
                  <a:gd name="connsiteY102" fmla="*/ 1497102 h 1616153"/>
                  <a:gd name="connsiteX103" fmla="*/ 520750 w 1498046"/>
                  <a:gd name="connsiteY103" fmla="*/ 1511701 h 1616153"/>
                  <a:gd name="connsiteX104" fmla="*/ 513242 w 1498046"/>
                  <a:gd name="connsiteY104" fmla="*/ 1525465 h 1616153"/>
                  <a:gd name="connsiteX105" fmla="*/ 497307 w 1498046"/>
                  <a:gd name="connsiteY105" fmla="*/ 1550741 h 1616153"/>
                  <a:gd name="connsiteX106" fmla="*/ 494220 w 1498046"/>
                  <a:gd name="connsiteY106" fmla="*/ 1553828 h 1616153"/>
                  <a:gd name="connsiteX107" fmla="*/ 515911 w 1498046"/>
                  <a:gd name="connsiteY107" fmla="*/ 1574683 h 1616153"/>
                  <a:gd name="connsiteX108" fmla="*/ 557959 w 1498046"/>
                  <a:gd name="connsiteY108" fmla="*/ 1591034 h 1616153"/>
                  <a:gd name="connsiteX109" fmla="*/ 573476 w 1498046"/>
                  <a:gd name="connsiteY109" fmla="*/ 1591951 h 1616153"/>
                  <a:gd name="connsiteX110" fmla="*/ 624867 w 1498046"/>
                  <a:gd name="connsiteY110" fmla="*/ 1604381 h 1616153"/>
                  <a:gd name="connsiteX111" fmla="*/ 708627 w 1498046"/>
                  <a:gd name="connsiteY111" fmla="*/ 1610554 h 1616153"/>
                  <a:gd name="connsiteX112" fmla="*/ 740080 w 1498046"/>
                  <a:gd name="connsiteY112" fmla="*/ 1586612 h 1616153"/>
                  <a:gd name="connsiteX113" fmla="*/ 753845 w 1498046"/>
                  <a:gd name="connsiteY113" fmla="*/ 1573348 h 1616153"/>
                  <a:gd name="connsiteX114" fmla="*/ 771114 w 1498046"/>
                  <a:gd name="connsiteY114" fmla="*/ 1560502 h 1616153"/>
                  <a:gd name="connsiteX115" fmla="*/ 798562 w 1498046"/>
                  <a:gd name="connsiteY115" fmla="*/ 1534808 h 1616153"/>
                  <a:gd name="connsiteX116" fmla="*/ 802566 w 1498046"/>
                  <a:gd name="connsiteY116" fmla="*/ 1522879 h 1616153"/>
                  <a:gd name="connsiteX117" fmla="*/ 809240 w 1498046"/>
                  <a:gd name="connsiteY117" fmla="*/ 1504693 h 1616153"/>
                  <a:gd name="connsiteX118" fmla="*/ 819836 w 1498046"/>
                  <a:gd name="connsiteY118" fmla="*/ 1492263 h 1616153"/>
                  <a:gd name="connsiteX119" fmla="*/ 827344 w 1498046"/>
                  <a:gd name="connsiteY119" fmla="*/ 1484255 h 1616153"/>
                  <a:gd name="connsiteX120" fmla="*/ 835770 w 1498046"/>
                  <a:gd name="connsiteY120" fmla="*/ 1464735 h 1616153"/>
                  <a:gd name="connsiteX121" fmla="*/ 856627 w 1498046"/>
                  <a:gd name="connsiteY121" fmla="*/ 1431951 h 1616153"/>
                  <a:gd name="connsiteX122" fmla="*/ 865971 w 1498046"/>
                  <a:gd name="connsiteY122" fmla="*/ 1427112 h 1616153"/>
                  <a:gd name="connsiteX123" fmla="*/ 878401 w 1498046"/>
                  <a:gd name="connsiteY123" fmla="*/ 1417352 h 1616153"/>
                  <a:gd name="connsiteX124" fmla="*/ 883240 w 1498046"/>
                  <a:gd name="connsiteY124" fmla="*/ 1399667 h 1616153"/>
                  <a:gd name="connsiteX125" fmla="*/ 884158 w 1498046"/>
                  <a:gd name="connsiteY125" fmla="*/ 1393911 h 1616153"/>
                  <a:gd name="connsiteX126" fmla="*/ 906266 w 1498046"/>
                  <a:gd name="connsiteY126" fmla="*/ 1350949 h 1616153"/>
                  <a:gd name="connsiteX127" fmla="*/ 941222 w 1498046"/>
                  <a:gd name="connsiteY127" fmla="*/ 1342106 h 1616153"/>
                  <a:gd name="connsiteX128" fmla="*/ 949648 w 1498046"/>
                  <a:gd name="connsiteY128" fmla="*/ 1341189 h 1616153"/>
                  <a:gd name="connsiteX129" fmla="*/ 987273 w 1498046"/>
                  <a:gd name="connsiteY129" fmla="*/ 1327425 h 1616153"/>
                  <a:gd name="connsiteX130" fmla="*/ 1023564 w 1498046"/>
                  <a:gd name="connsiteY130" fmla="*/ 1317664 h 1616153"/>
                  <a:gd name="connsiteX131" fmla="*/ 1044838 w 1498046"/>
                  <a:gd name="connsiteY131" fmla="*/ 1313243 h 1616153"/>
                  <a:gd name="connsiteX132" fmla="*/ 1055433 w 1498046"/>
                  <a:gd name="connsiteY132" fmla="*/ 1310991 h 1616153"/>
                  <a:gd name="connsiteX133" fmla="*/ 1066529 w 1498046"/>
                  <a:gd name="connsiteY133" fmla="*/ 1308321 h 1616153"/>
                  <a:gd name="connsiteX134" fmla="*/ 1076290 w 1498046"/>
                  <a:gd name="connsiteY134" fmla="*/ 1299896 h 1616153"/>
                  <a:gd name="connsiteX135" fmla="*/ 1079377 w 1498046"/>
                  <a:gd name="connsiteY135" fmla="*/ 1296809 h 1616153"/>
                  <a:gd name="connsiteX136" fmla="*/ 1070533 w 1498046"/>
                  <a:gd name="connsiteY136" fmla="*/ 1290636 h 1616153"/>
                  <a:gd name="connsiteX137" fmla="*/ 1050177 w 1498046"/>
                  <a:gd name="connsiteY137" fmla="*/ 1276038 h 1616153"/>
                  <a:gd name="connsiteX138" fmla="*/ 1025816 w 1498046"/>
                  <a:gd name="connsiteY138" fmla="*/ 1249927 h 1616153"/>
                  <a:gd name="connsiteX139" fmla="*/ 1011634 w 1498046"/>
                  <a:gd name="connsiteY139" fmla="*/ 1233577 h 1616153"/>
                  <a:gd name="connsiteX140" fmla="*/ 998786 w 1498046"/>
                  <a:gd name="connsiteY140" fmla="*/ 1224233 h 1616153"/>
                  <a:gd name="connsiteX141" fmla="*/ 980599 w 1498046"/>
                  <a:gd name="connsiteY141" fmla="*/ 1210052 h 1616153"/>
                  <a:gd name="connsiteX142" fmla="*/ 985021 w 1498046"/>
                  <a:gd name="connsiteY142" fmla="*/ 1179019 h 1616153"/>
                  <a:gd name="connsiteX143" fmla="*/ 991695 w 1498046"/>
                  <a:gd name="connsiteY143" fmla="*/ 1171929 h 1616153"/>
                  <a:gd name="connsiteX144" fmla="*/ 997868 w 1498046"/>
                  <a:gd name="connsiteY144" fmla="*/ 1162169 h 1616153"/>
                  <a:gd name="connsiteX145" fmla="*/ 1028903 w 1498046"/>
                  <a:gd name="connsiteY145" fmla="*/ 1143149 h 1616153"/>
                  <a:gd name="connsiteX146" fmla="*/ 1052346 w 1498046"/>
                  <a:gd name="connsiteY146" fmla="*/ 1130719 h 1616153"/>
                  <a:gd name="connsiteX147" fmla="*/ 1062107 w 1498046"/>
                  <a:gd name="connsiteY147" fmla="*/ 1097518 h 1616153"/>
                  <a:gd name="connsiteX148" fmla="*/ 1060772 w 1498046"/>
                  <a:gd name="connsiteY148" fmla="*/ 1072742 h 1616153"/>
                  <a:gd name="connsiteX149" fmla="*/ 1058520 w 1498046"/>
                  <a:gd name="connsiteY149" fmla="*/ 1048800 h 1616153"/>
                  <a:gd name="connsiteX150" fmla="*/ 1066028 w 1498046"/>
                  <a:gd name="connsiteY150" fmla="*/ 1024024 h 1616153"/>
                  <a:gd name="connsiteX151" fmla="*/ 1072703 w 1498046"/>
                  <a:gd name="connsiteY151" fmla="*/ 1000583 h 1616153"/>
                  <a:gd name="connsiteX152" fmla="*/ 1065611 w 1498046"/>
                  <a:gd name="connsiteY152" fmla="*/ 980646 h 1616153"/>
                  <a:gd name="connsiteX153" fmla="*/ 1057185 w 1498046"/>
                  <a:gd name="connsiteY153" fmla="*/ 958539 h 1616153"/>
                  <a:gd name="connsiteX154" fmla="*/ 1063859 w 1498046"/>
                  <a:gd name="connsiteY154" fmla="*/ 927089 h 1616153"/>
                  <a:gd name="connsiteX155" fmla="*/ 1066946 w 1498046"/>
                  <a:gd name="connsiteY155" fmla="*/ 917329 h 1616153"/>
                  <a:gd name="connsiteX156" fmla="*/ 1098398 w 1498046"/>
                  <a:gd name="connsiteY156" fmla="*/ 882376 h 1616153"/>
                  <a:gd name="connsiteX157" fmla="*/ 1105489 w 1498046"/>
                  <a:gd name="connsiteY157" fmla="*/ 880124 h 1616153"/>
                  <a:gd name="connsiteX158" fmla="*/ 1120089 w 1498046"/>
                  <a:gd name="connsiteY158" fmla="*/ 867277 h 1616153"/>
                  <a:gd name="connsiteX159" fmla="*/ 1121424 w 1498046"/>
                  <a:gd name="connsiteY159" fmla="*/ 859269 h 1616153"/>
                  <a:gd name="connsiteX160" fmla="*/ 1124927 w 1498046"/>
                  <a:gd name="connsiteY160" fmla="*/ 843752 h 1616153"/>
                  <a:gd name="connsiteX161" fmla="*/ 1132936 w 1498046"/>
                  <a:gd name="connsiteY161" fmla="*/ 834910 h 1616153"/>
                  <a:gd name="connsiteX162" fmla="*/ 1136441 w 1498046"/>
                  <a:gd name="connsiteY162" fmla="*/ 831823 h 1616153"/>
                  <a:gd name="connsiteX163" fmla="*/ 1138193 w 1498046"/>
                  <a:gd name="connsiteY163" fmla="*/ 810551 h 1616153"/>
                  <a:gd name="connsiteX164" fmla="*/ 1135106 w 1498046"/>
                  <a:gd name="connsiteY164" fmla="*/ 800791 h 1616153"/>
                  <a:gd name="connsiteX165" fmla="*/ 1120506 w 1498046"/>
                  <a:gd name="connsiteY165" fmla="*/ 776015 h 1616153"/>
                  <a:gd name="connsiteX166" fmla="*/ 1097480 w 1498046"/>
                  <a:gd name="connsiteY166" fmla="*/ 743648 h 1616153"/>
                  <a:gd name="connsiteX167" fmla="*/ 1105906 w 1498046"/>
                  <a:gd name="connsiteY167" fmla="*/ 663481 h 1616153"/>
                  <a:gd name="connsiteX168" fmla="*/ 1110328 w 1498046"/>
                  <a:gd name="connsiteY168" fmla="*/ 647965 h 1616153"/>
                  <a:gd name="connsiteX169" fmla="*/ 1171897 w 1498046"/>
                  <a:gd name="connsiteY169" fmla="*/ 594325 h 1616153"/>
                  <a:gd name="connsiteX170" fmla="*/ 1194005 w 1498046"/>
                  <a:gd name="connsiteY170" fmla="*/ 596077 h 1616153"/>
                  <a:gd name="connsiteX171" fmla="*/ 1248483 w 1498046"/>
                  <a:gd name="connsiteY171" fmla="*/ 589904 h 1616153"/>
                  <a:gd name="connsiteX172" fmla="*/ 1262248 w 1498046"/>
                  <a:gd name="connsiteY172" fmla="*/ 568215 h 1616153"/>
                  <a:gd name="connsiteX173" fmla="*/ 1291031 w 1498046"/>
                  <a:gd name="connsiteY173" fmla="*/ 535847 h 1616153"/>
                  <a:gd name="connsiteX174" fmla="*/ 1318979 w 1498046"/>
                  <a:gd name="connsiteY174" fmla="*/ 548277 h 1616153"/>
                  <a:gd name="connsiteX175" fmla="*/ 1322065 w 1498046"/>
                  <a:gd name="connsiteY175" fmla="*/ 551781 h 1616153"/>
                  <a:gd name="connsiteX176" fmla="*/ 1333161 w 1498046"/>
                  <a:gd name="connsiteY176" fmla="*/ 565545 h 1616153"/>
                  <a:gd name="connsiteX177" fmla="*/ 1350847 w 1498046"/>
                  <a:gd name="connsiteY177" fmla="*/ 587234 h 1616153"/>
                  <a:gd name="connsiteX178" fmla="*/ 1357521 w 1498046"/>
                  <a:gd name="connsiteY178" fmla="*/ 597412 h 1616153"/>
                  <a:gd name="connsiteX179" fmla="*/ 1380965 w 1498046"/>
                  <a:gd name="connsiteY179" fmla="*/ 624857 h 1616153"/>
                  <a:gd name="connsiteX180" fmla="*/ 1388973 w 1498046"/>
                  <a:gd name="connsiteY180" fmla="*/ 626192 h 1616153"/>
                  <a:gd name="connsiteX181" fmla="*/ 1387639 w 1498046"/>
                  <a:gd name="connsiteY181" fmla="*/ 595159 h 1616153"/>
                  <a:gd name="connsiteX182" fmla="*/ 1389892 w 1498046"/>
                  <a:gd name="connsiteY182" fmla="*/ 553115 h 1616153"/>
                  <a:gd name="connsiteX183" fmla="*/ 1397400 w 1498046"/>
                  <a:gd name="connsiteY183" fmla="*/ 532761 h 1616153"/>
                  <a:gd name="connsiteX184" fmla="*/ 1404074 w 1498046"/>
                  <a:gd name="connsiteY184" fmla="*/ 514158 h 1616153"/>
                  <a:gd name="connsiteX185" fmla="*/ 1454130 w 1498046"/>
                  <a:gd name="connsiteY185" fmla="*/ 449924 h 1616153"/>
                  <a:gd name="connsiteX186" fmla="*/ 1479408 w 1498046"/>
                  <a:gd name="connsiteY186" fmla="*/ 421144 h 1616153"/>
                  <a:gd name="connsiteX187" fmla="*/ 1486500 w 1498046"/>
                  <a:gd name="connsiteY187" fmla="*/ 410049 h 1616153"/>
                  <a:gd name="connsiteX188" fmla="*/ 1498012 w 1498046"/>
                  <a:gd name="connsiteY188" fmla="*/ 387025 h 1616153"/>
                  <a:gd name="connsiteX189" fmla="*/ 1491338 w 1498046"/>
                  <a:gd name="connsiteY189" fmla="*/ 365336 h 1616153"/>
                  <a:gd name="connsiteX190" fmla="*/ 1488668 w 1498046"/>
                  <a:gd name="connsiteY190" fmla="*/ 329048 h 1616153"/>
                  <a:gd name="connsiteX191" fmla="*/ 1488668 w 1498046"/>
                  <a:gd name="connsiteY191" fmla="*/ 328631 h 1616153"/>
                  <a:gd name="connsiteX192" fmla="*/ 1478490 w 1498046"/>
                  <a:gd name="connsiteY192" fmla="*/ 303354 h 1616153"/>
                  <a:gd name="connsiteX193" fmla="*/ 1462973 w 1498046"/>
                  <a:gd name="connsiteY193" fmla="*/ 274157 h 1616153"/>
                  <a:gd name="connsiteX194" fmla="*/ 1384552 w 1498046"/>
                  <a:gd name="connsiteY194" fmla="*/ 267484 h 1616153"/>
                  <a:gd name="connsiteX195" fmla="*/ 1360191 w 1498046"/>
                  <a:gd name="connsiteY195" fmla="*/ 270987 h 1616153"/>
                  <a:gd name="connsiteX196" fmla="*/ 1298622 w 1498046"/>
                  <a:gd name="connsiteY196" fmla="*/ 260810 h 1616153"/>
                  <a:gd name="connsiteX197" fmla="*/ 1278266 w 1498046"/>
                  <a:gd name="connsiteY197" fmla="*/ 246629 h 1616153"/>
                  <a:gd name="connsiteX198" fmla="*/ 1239723 w 1498046"/>
                  <a:gd name="connsiteY198" fmla="*/ 230278 h 1616153"/>
                  <a:gd name="connsiteX199" fmla="*/ 1208688 w 1498046"/>
                  <a:gd name="connsiteY199" fmla="*/ 254220 h 1616153"/>
                  <a:gd name="connsiteX200" fmla="*/ 1196758 w 1498046"/>
                  <a:gd name="connsiteY200" fmla="*/ 267484 h 1616153"/>
                  <a:gd name="connsiteX201" fmla="*/ 1129433 w 1498046"/>
                  <a:gd name="connsiteY201" fmla="*/ 300268 h 1616153"/>
                  <a:gd name="connsiteX202" fmla="*/ 1126763 w 1498046"/>
                  <a:gd name="connsiteY202" fmla="*/ 301185 h 1616153"/>
                  <a:gd name="connsiteX203" fmla="*/ 1105489 w 1498046"/>
                  <a:gd name="connsiteY203" fmla="*/ 306524 h 1616153"/>
                  <a:gd name="connsiteX204" fmla="*/ 1063859 w 1498046"/>
                  <a:gd name="connsiteY204" fmla="*/ 320289 h 1616153"/>
                  <a:gd name="connsiteX205" fmla="*/ 1047925 w 1498046"/>
                  <a:gd name="connsiteY205" fmla="*/ 329131 h 1616153"/>
                  <a:gd name="connsiteX206" fmla="*/ 995616 w 1498046"/>
                  <a:gd name="connsiteY206" fmla="*/ 346400 h 1616153"/>
                  <a:gd name="connsiteX207" fmla="*/ 985021 w 1498046"/>
                  <a:gd name="connsiteY207" fmla="*/ 346400 h 1616153"/>
                  <a:gd name="connsiteX208" fmla="*/ 893335 w 1498046"/>
                  <a:gd name="connsiteY208" fmla="*/ 336639 h 1616153"/>
                  <a:gd name="connsiteX209" fmla="*/ 859630 w 1498046"/>
                  <a:gd name="connsiteY209" fmla="*/ 305189 h 1616153"/>
                  <a:gd name="connsiteX210" fmla="*/ 856543 w 1498046"/>
                  <a:gd name="connsiteY210" fmla="*/ 289256 h 1616153"/>
                  <a:gd name="connsiteX211" fmla="*/ 853457 w 1498046"/>
                  <a:gd name="connsiteY211" fmla="*/ 273740 h 1616153"/>
                  <a:gd name="connsiteX212" fmla="*/ 849452 w 1498046"/>
                  <a:gd name="connsiteY212" fmla="*/ 264397 h 1616153"/>
                  <a:gd name="connsiteX213" fmla="*/ 841026 w 1498046"/>
                  <a:gd name="connsiteY213" fmla="*/ 237369 h 1616153"/>
                  <a:gd name="connsiteX214" fmla="*/ 856543 w 1498046"/>
                  <a:gd name="connsiteY214" fmla="*/ 195742 h 1616153"/>
                  <a:gd name="connsiteX215" fmla="*/ 866304 w 1498046"/>
                  <a:gd name="connsiteY215" fmla="*/ 178057 h 1616153"/>
                  <a:gd name="connsiteX216" fmla="*/ 864970 w 1498046"/>
                  <a:gd name="connsiteY216" fmla="*/ 124000 h 1616153"/>
                  <a:gd name="connsiteX217" fmla="*/ 829513 w 1498046"/>
                  <a:gd name="connsiteY217" fmla="*/ 92968 h 1616153"/>
                  <a:gd name="connsiteX218" fmla="*/ 797644 w 1498046"/>
                  <a:gd name="connsiteY218" fmla="*/ 98307 h 1616153"/>
                  <a:gd name="connsiteX219" fmla="*/ 779040 w 1498046"/>
                  <a:gd name="connsiteY219" fmla="*/ 107149 h 1616153"/>
                  <a:gd name="connsiteX220" fmla="*/ 723644 w 1498046"/>
                  <a:gd name="connsiteY220" fmla="*/ 96555 h 1616153"/>
                  <a:gd name="connsiteX221" fmla="*/ 696614 w 1498046"/>
                  <a:gd name="connsiteY221" fmla="*/ 75700 h 1616153"/>
                  <a:gd name="connsiteX222" fmla="*/ 684184 w 1498046"/>
                  <a:gd name="connsiteY222" fmla="*/ 63270 h 1616153"/>
                  <a:gd name="connsiteX223" fmla="*/ 671753 w 1498046"/>
                  <a:gd name="connsiteY223" fmla="*/ 58432 h 1616153"/>
                  <a:gd name="connsiteX224" fmla="*/ 651814 w 1498046"/>
                  <a:gd name="connsiteY224" fmla="*/ 96055 h 1616153"/>
                  <a:gd name="connsiteX225" fmla="*/ 639884 w 1498046"/>
                  <a:gd name="connsiteY225" fmla="*/ 124000 h 1616153"/>
                  <a:gd name="connsiteX226" fmla="*/ 565884 w 1498046"/>
                  <a:gd name="connsiteY226" fmla="*/ 164292 h 1616153"/>
                  <a:gd name="connsiteX227" fmla="*/ 532180 w 1498046"/>
                  <a:gd name="connsiteY227" fmla="*/ 143437 h 1616153"/>
                  <a:gd name="connsiteX228" fmla="*/ 519332 w 1498046"/>
                  <a:gd name="connsiteY228" fmla="*/ 112905 h 1616153"/>
                  <a:gd name="connsiteX229" fmla="*/ 519332 w 1498046"/>
                  <a:gd name="connsiteY229" fmla="*/ 112905 h 1616153"/>
                  <a:gd name="connsiteX230" fmla="*/ 416550 w 1498046"/>
                  <a:gd name="connsiteY230" fmla="*/ 131925 h 1616153"/>
                  <a:gd name="connsiteX231" fmla="*/ 391188 w 1498046"/>
                  <a:gd name="connsiteY231" fmla="*/ 131091 h 1616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</a:cxnLst>
                <a:rect l="l" t="t" r="r" b="b"/>
                <a:pathLst>
                  <a:path w="1498046" h="1616153" extrusionOk="0">
                    <a:moveTo>
                      <a:pt x="391188" y="131091"/>
                    </a:moveTo>
                    <a:cubicBezTo>
                      <a:pt x="377006" y="129756"/>
                      <a:pt x="358819" y="127087"/>
                      <a:pt x="344636" y="115992"/>
                    </a:cubicBezTo>
                    <a:cubicBezTo>
                      <a:pt x="328702" y="103562"/>
                      <a:pt x="321193" y="84542"/>
                      <a:pt x="316271" y="67274"/>
                    </a:cubicBezTo>
                    <a:lnTo>
                      <a:pt x="315854" y="65523"/>
                    </a:lnTo>
                    <a:cubicBezTo>
                      <a:pt x="313184" y="57514"/>
                      <a:pt x="311015" y="49589"/>
                      <a:pt x="306093" y="44250"/>
                    </a:cubicBezTo>
                    <a:cubicBezTo>
                      <a:pt x="302089" y="39412"/>
                      <a:pt x="294163" y="36742"/>
                      <a:pt x="289241" y="39829"/>
                    </a:cubicBezTo>
                    <a:cubicBezTo>
                      <a:pt x="287489" y="41164"/>
                      <a:pt x="285737" y="43333"/>
                      <a:pt x="283902" y="46002"/>
                    </a:cubicBezTo>
                    <a:cubicBezTo>
                      <a:pt x="281232" y="50006"/>
                      <a:pt x="278145" y="54428"/>
                      <a:pt x="273306" y="57097"/>
                    </a:cubicBezTo>
                    <a:cubicBezTo>
                      <a:pt x="260876" y="63270"/>
                      <a:pt x="248528" y="54428"/>
                      <a:pt x="240520" y="44250"/>
                    </a:cubicBezTo>
                    <a:cubicBezTo>
                      <a:pt x="240103" y="43833"/>
                      <a:pt x="239602" y="42915"/>
                      <a:pt x="239185" y="41998"/>
                    </a:cubicBezTo>
                    <a:cubicBezTo>
                      <a:pt x="233429" y="33990"/>
                      <a:pt x="230759" y="31821"/>
                      <a:pt x="229007" y="31404"/>
                    </a:cubicBezTo>
                    <a:cubicBezTo>
                      <a:pt x="229007" y="31404"/>
                      <a:pt x="229007" y="31404"/>
                      <a:pt x="229007" y="31821"/>
                    </a:cubicBezTo>
                    <a:cubicBezTo>
                      <a:pt x="228590" y="32238"/>
                      <a:pt x="228590" y="32738"/>
                      <a:pt x="228590" y="32738"/>
                    </a:cubicBezTo>
                    <a:cubicBezTo>
                      <a:pt x="228172" y="33156"/>
                      <a:pt x="228172" y="34073"/>
                      <a:pt x="227672" y="34490"/>
                    </a:cubicBezTo>
                    <a:cubicBezTo>
                      <a:pt x="225419" y="38494"/>
                      <a:pt x="221915" y="41164"/>
                      <a:pt x="217494" y="42498"/>
                    </a:cubicBezTo>
                    <a:cubicBezTo>
                      <a:pt x="207733" y="45168"/>
                      <a:pt x="197138" y="39412"/>
                      <a:pt x="194051" y="37660"/>
                    </a:cubicBezTo>
                    <a:cubicBezTo>
                      <a:pt x="186542" y="33239"/>
                      <a:pt x="179868" y="27900"/>
                      <a:pt x="175447" y="21310"/>
                    </a:cubicBezTo>
                    <a:cubicBezTo>
                      <a:pt x="174112" y="19558"/>
                      <a:pt x="172777" y="17306"/>
                      <a:pt x="171442" y="15554"/>
                    </a:cubicBezTo>
                    <a:cubicBezTo>
                      <a:pt x="169690" y="12884"/>
                      <a:pt x="168356" y="10715"/>
                      <a:pt x="166604" y="8463"/>
                    </a:cubicBezTo>
                    <a:cubicBezTo>
                      <a:pt x="161765" y="2707"/>
                      <a:pt x="153756" y="-380"/>
                      <a:pt x="146247" y="37"/>
                    </a:cubicBezTo>
                    <a:cubicBezTo>
                      <a:pt x="142243" y="455"/>
                      <a:pt x="133817" y="4876"/>
                      <a:pt x="126725" y="9798"/>
                    </a:cubicBezTo>
                    <a:cubicBezTo>
                      <a:pt x="128477" y="12050"/>
                      <a:pt x="129395" y="14636"/>
                      <a:pt x="129812" y="17806"/>
                    </a:cubicBezTo>
                    <a:cubicBezTo>
                      <a:pt x="130730" y="23979"/>
                      <a:pt x="128060" y="30236"/>
                      <a:pt x="122721" y="36409"/>
                    </a:cubicBezTo>
                    <a:cubicBezTo>
                      <a:pt x="120468" y="39078"/>
                      <a:pt x="118299" y="40830"/>
                      <a:pt x="116047" y="43082"/>
                    </a:cubicBezTo>
                    <a:cubicBezTo>
                      <a:pt x="112543" y="46169"/>
                      <a:pt x="109873" y="48838"/>
                      <a:pt x="107203" y="53260"/>
                    </a:cubicBezTo>
                    <a:cubicBezTo>
                      <a:pt x="105869" y="55929"/>
                      <a:pt x="105451" y="57681"/>
                      <a:pt x="104534" y="59433"/>
                    </a:cubicBezTo>
                    <a:cubicBezTo>
                      <a:pt x="101447" y="66107"/>
                      <a:pt x="99194" y="71863"/>
                      <a:pt x="87265" y="76284"/>
                    </a:cubicBezTo>
                    <a:cubicBezTo>
                      <a:pt x="82426" y="78036"/>
                      <a:pt x="77503" y="78536"/>
                      <a:pt x="73082" y="78953"/>
                    </a:cubicBezTo>
                    <a:cubicBezTo>
                      <a:pt x="68661" y="79370"/>
                      <a:pt x="64239" y="80288"/>
                      <a:pt x="60651" y="81623"/>
                    </a:cubicBezTo>
                    <a:cubicBezTo>
                      <a:pt x="53977" y="84292"/>
                      <a:pt x="46886" y="90048"/>
                      <a:pt x="40295" y="94887"/>
                    </a:cubicBezTo>
                    <a:cubicBezTo>
                      <a:pt x="36291" y="98390"/>
                      <a:pt x="31869" y="101560"/>
                      <a:pt x="27864" y="104230"/>
                    </a:cubicBezTo>
                    <a:lnTo>
                      <a:pt x="23443" y="106899"/>
                    </a:lnTo>
                    <a:cubicBezTo>
                      <a:pt x="16769" y="111320"/>
                      <a:pt x="8343" y="117076"/>
                      <a:pt x="0" y="121081"/>
                    </a:cubicBezTo>
                    <a:cubicBezTo>
                      <a:pt x="12848" y="144522"/>
                      <a:pt x="26113" y="170716"/>
                      <a:pt x="27948" y="194574"/>
                    </a:cubicBezTo>
                    <a:cubicBezTo>
                      <a:pt x="28866" y="206503"/>
                      <a:pt x="23109" y="218516"/>
                      <a:pt x="16852" y="229527"/>
                    </a:cubicBezTo>
                    <a:cubicBezTo>
                      <a:pt x="7508" y="246378"/>
                      <a:pt x="2670" y="257473"/>
                      <a:pt x="12431" y="267650"/>
                    </a:cubicBezTo>
                    <a:cubicBezTo>
                      <a:pt x="27531" y="283167"/>
                      <a:pt x="59400" y="278245"/>
                      <a:pt x="85095" y="274741"/>
                    </a:cubicBezTo>
                    <a:cubicBezTo>
                      <a:pt x="93104" y="273407"/>
                      <a:pt x="100613" y="272489"/>
                      <a:pt x="106786" y="272072"/>
                    </a:cubicBezTo>
                    <a:cubicBezTo>
                      <a:pt x="128477" y="271154"/>
                      <a:pt x="181620" y="269819"/>
                      <a:pt x="206481" y="293344"/>
                    </a:cubicBezTo>
                    <a:cubicBezTo>
                      <a:pt x="211320" y="297765"/>
                      <a:pt x="213990" y="302687"/>
                      <a:pt x="216243" y="307108"/>
                    </a:cubicBezTo>
                    <a:cubicBezTo>
                      <a:pt x="218912" y="311947"/>
                      <a:pt x="220664" y="315951"/>
                      <a:pt x="225586" y="318620"/>
                    </a:cubicBezTo>
                    <a:cubicBezTo>
                      <a:pt x="228673" y="320372"/>
                      <a:pt x="232260" y="321707"/>
                      <a:pt x="234930" y="322625"/>
                    </a:cubicBezTo>
                    <a:cubicBezTo>
                      <a:pt x="242438" y="325294"/>
                      <a:pt x="250865" y="327964"/>
                      <a:pt x="256621" y="339893"/>
                    </a:cubicBezTo>
                    <a:cubicBezTo>
                      <a:pt x="260625" y="347901"/>
                      <a:pt x="262377" y="356243"/>
                      <a:pt x="263712" y="364251"/>
                    </a:cubicBezTo>
                    <a:cubicBezTo>
                      <a:pt x="267216" y="381519"/>
                      <a:pt x="269052" y="389528"/>
                      <a:pt x="288990" y="388193"/>
                    </a:cubicBezTo>
                    <a:lnTo>
                      <a:pt x="294330" y="387776"/>
                    </a:lnTo>
                    <a:cubicBezTo>
                      <a:pt x="306761" y="386441"/>
                      <a:pt x="320443" y="385107"/>
                      <a:pt x="332456" y="397119"/>
                    </a:cubicBezTo>
                    <a:cubicBezTo>
                      <a:pt x="343051" y="407297"/>
                      <a:pt x="346639" y="425899"/>
                      <a:pt x="340882" y="440081"/>
                    </a:cubicBezTo>
                    <a:cubicBezTo>
                      <a:pt x="336878" y="449841"/>
                      <a:pt x="328034" y="455180"/>
                      <a:pt x="320943" y="459601"/>
                    </a:cubicBezTo>
                    <a:cubicBezTo>
                      <a:pt x="316938" y="461853"/>
                      <a:pt x="313435" y="464022"/>
                      <a:pt x="310348" y="466692"/>
                    </a:cubicBezTo>
                    <a:cubicBezTo>
                      <a:pt x="301004" y="475117"/>
                      <a:pt x="291327" y="487964"/>
                      <a:pt x="282900" y="502145"/>
                    </a:cubicBezTo>
                    <a:cubicBezTo>
                      <a:pt x="272305" y="519831"/>
                      <a:pt x="272722" y="545107"/>
                      <a:pt x="283818" y="567714"/>
                    </a:cubicBezTo>
                    <a:cubicBezTo>
                      <a:pt x="289575" y="579643"/>
                      <a:pt x="297083" y="585900"/>
                      <a:pt x="309514" y="590321"/>
                    </a:cubicBezTo>
                    <a:cubicBezTo>
                      <a:pt x="313935" y="592073"/>
                      <a:pt x="318858" y="593824"/>
                      <a:pt x="324113" y="596077"/>
                    </a:cubicBezTo>
                    <a:cubicBezTo>
                      <a:pt x="333874" y="600498"/>
                      <a:pt x="344469" y="604503"/>
                      <a:pt x="353313" y="605837"/>
                    </a:cubicBezTo>
                    <a:cubicBezTo>
                      <a:pt x="356817" y="606254"/>
                      <a:pt x="360404" y="606254"/>
                      <a:pt x="363908" y="605837"/>
                    </a:cubicBezTo>
                    <a:cubicBezTo>
                      <a:pt x="374086" y="604920"/>
                      <a:pt x="388268" y="604503"/>
                      <a:pt x="396695" y="616932"/>
                    </a:cubicBezTo>
                    <a:cubicBezTo>
                      <a:pt x="405121" y="629362"/>
                      <a:pt x="398447" y="643960"/>
                      <a:pt x="395360" y="650634"/>
                    </a:cubicBezTo>
                    <a:cubicBezTo>
                      <a:pt x="387851" y="667485"/>
                      <a:pt x="375838" y="682084"/>
                      <a:pt x="363908" y="696265"/>
                    </a:cubicBezTo>
                    <a:cubicBezTo>
                      <a:pt x="357735" y="703356"/>
                      <a:pt x="351978" y="710447"/>
                      <a:pt x="347056" y="717537"/>
                    </a:cubicBezTo>
                    <a:cubicBezTo>
                      <a:pt x="344803" y="720207"/>
                      <a:pt x="342217" y="723293"/>
                      <a:pt x="339547" y="726880"/>
                    </a:cubicBezTo>
                    <a:cubicBezTo>
                      <a:pt x="332873" y="734889"/>
                      <a:pt x="323613" y="745483"/>
                      <a:pt x="324030" y="752991"/>
                    </a:cubicBezTo>
                    <a:cubicBezTo>
                      <a:pt x="324447" y="754326"/>
                      <a:pt x="324948" y="755243"/>
                      <a:pt x="326700" y="757412"/>
                    </a:cubicBezTo>
                    <a:cubicBezTo>
                      <a:pt x="328952" y="759665"/>
                      <a:pt x="331121" y="763168"/>
                      <a:pt x="332039" y="767590"/>
                    </a:cubicBezTo>
                    <a:cubicBezTo>
                      <a:pt x="333374" y="774680"/>
                      <a:pt x="331622" y="778684"/>
                      <a:pt x="329369" y="782689"/>
                    </a:cubicBezTo>
                    <a:cubicBezTo>
                      <a:pt x="328452" y="783606"/>
                      <a:pt x="327617" y="784440"/>
                      <a:pt x="327117" y="786192"/>
                    </a:cubicBezTo>
                    <a:cubicBezTo>
                      <a:pt x="326616" y="787944"/>
                      <a:pt x="326199" y="789696"/>
                      <a:pt x="325782" y="791531"/>
                    </a:cubicBezTo>
                    <a:cubicBezTo>
                      <a:pt x="325365" y="795953"/>
                      <a:pt x="325782" y="800374"/>
                      <a:pt x="326199" y="805295"/>
                    </a:cubicBezTo>
                    <a:lnTo>
                      <a:pt x="326199" y="805713"/>
                    </a:lnTo>
                    <a:cubicBezTo>
                      <a:pt x="327117" y="811052"/>
                      <a:pt x="327534" y="816808"/>
                      <a:pt x="326616" y="823398"/>
                    </a:cubicBezTo>
                    <a:cubicBezTo>
                      <a:pt x="326199" y="827819"/>
                      <a:pt x="325281" y="832241"/>
                      <a:pt x="323947" y="836245"/>
                    </a:cubicBezTo>
                    <a:cubicBezTo>
                      <a:pt x="321694" y="845087"/>
                      <a:pt x="319942" y="850843"/>
                      <a:pt x="324864" y="858351"/>
                    </a:cubicBezTo>
                    <a:cubicBezTo>
                      <a:pt x="328368" y="863190"/>
                      <a:pt x="333290" y="865442"/>
                      <a:pt x="339047" y="868528"/>
                    </a:cubicBezTo>
                    <a:cubicBezTo>
                      <a:pt x="344386" y="871198"/>
                      <a:pt x="350143" y="874284"/>
                      <a:pt x="354981" y="879623"/>
                    </a:cubicBezTo>
                    <a:cubicBezTo>
                      <a:pt x="358485" y="883628"/>
                      <a:pt x="360320" y="887632"/>
                      <a:pt x="361655" y="891135"/>
                    </a:cubicBezTo>
                    <a:cubicBezTo>
                      <a:pt x="362072" y="893388"/>
                      <a:pt x="362990" y="894639"/>
                      <a:pt x="364325" y="896891"/>
                    </a:cubicBezTo>
                    <a:cubicBezTo>
                      <a:pt x="365243" y="899144"/>
                      <a:pt x="367412" y="900895"/>
                      <a:pt x="369664" y="903064"/>
                    </a:cubicBezTo>
                    <a:cubicBezTo>
                      <a:pt x="371917" y="904816"/>
                      <a:pt x="373669" y="907068"/>
                      <a:pt x="375421" y="909237"/>
                    </a:cubicBezTo>
                    <a:cubicBezTo>
                      <a:pt x="386517" y="923002"/>
                      <a:pt x="391773" y="940687"/>
                      <a:pt x="388686" y="956203"/>
                    </a:cubicBezTo>
                    <a:cubicBezTo>
                      <a:pt x="386433" y="968633"/>
                      <a:pt x="378925" y="979227"/>
                      <a:pt x="367829" y="985901"/>
                    </a:cubicBezTo>
                    <a:cubicBezTo>
                      <a:pt x="351895" y="995244"/>
                      <a:pt x="338129" y="1004504"/>
                      <a:pt x="327033" y="1015599"/>
                    </a:cubicBezTo>
                    <a:cubicBezTo>
                      <a:pt x="337629" y="1029363"/>
                      <a:pt x="347890" y="1042627"/>
                      <a:pt x="358068" y="1056391"/>
                    </a:cubicBezTo>
                    <a:lnTo>
                      <a:pt x="370916" y="1073242"/>
                    </a:lnTo>
                    <a:cubicBezTo>
                      <a:pt x="384181" y="1090511"/>
                      <a:pt x="396611" y="1087424"/>
                      <a:pt x="419637" y="1080333"/>
                    </a:cubicBezTo>
                    <a:cubicBezTo>
                      <a:pt x="424476" y="1078581"/>
                      <a:pt x="429398" y="1077246"/>
                      <a:pt x="434737" y="1075912"/>
                    </a:cubicBezTo>
                    <a:cubicBezTo>
                      <a:pt x="445833" y="1073242"/>
                      <a:pt x="455093" y="1074577"/>
                      <a:pt x="463937" y="1075912"/>
                    </a:cubicBezTo>
                    <a:cubicBezTo>
                      <a:pt x="469276" y="1076829"/>
                      <a:pt x="474115" y="1077663"/>
                      <a:pt x="480288" y="1077246"/>
                    </a:cubicBezTo>
                    <a:cubicBezTo>
                      <a:pt x="484710" y="1077246"/>
                      <a:pt x="489632" y="1075495"/>
                      <a:pt x="494471" y="1074160"/>
                    </a:cubicBezTo>
                    <a:cubicBezTo>
                      <a:pt x="503815" y="1071490"/>
                      <a:pt x="514410" y="1067987"/>
                      <a:pt x="525506" y="1072825"/>
                    </a:cubicBezTo>
                    <a:cubicBezTo>
                      <a:pt x="546362" y="1082168"/>
                      <a:pt x="542775" y="1105192"/>
                      <a:pt x="540105" y="1122460"/>
                    </a:cubicBezTo>
                    <a:cubicBezTo>
                      <a:pt x="539188" y="1128216"/>
                      <a:pt x="538354" y="1133555"/>
                      <a:pt x="538354" y="1137977"/>
                    </a:cubicBezTo>
                    <a:cubicBezTo>
                      <a:pt x="538354" y="1148154"/>
                      <a:pt x="542358" y="1151741"/>
                      <a:pt x="551201" y="1160083"/>
                    </a:cubicBezTo>
                    <a:cubicBezTo>
                      <a:pt x="563632" y="1171178"/>
                      <a:pt x="569388" y="1184025"/>
                      <a:pt x="575562" y="1197706"/>
                    </a:cubicBezTo>
                    <a:lnTo>
                      <a:pt x="578231" y="1203045"/>
                    </a:lnTo>
                    <a:cubicBezTo>
                      <a:pt x="584405" y="1215474"/>
                      <a:pt x="591997" y="1227820"/>
                      <a:pt x="599088" y="1239333"/>
                    </a:cubicBezTo>
                    <a:cubicBezTo>
                      <a:pt x="609266" y="1256600"/>
                      <a:pt x="620362" y="1273869"/>
                      <a:pt x="627036" y="1293806"/>
                    </a:cubicBezTo>
                    <a:cubicBezTo>
                      <a:pt x="634127" y="1314661"/>
                      <a:pt x="643889" y="1354036"/>
                      <a:pt x="627453" y="1384651"/>
                    </a:cubicBezTo>
                    <a:cubicBezTo>
                      <a:pt x="622114" y="1394411"/>
                      <a:pt x="615023" y="1398832"/>
                      <a:pt x="608849" y="1403254"/>
                    </a:cubicBezTo>
                    <a:cubicBezTo>
                      <a:pt x="605345" y="1405923"/>
                      <a:pt x="601758" y="1408092"/>
                      <a:pt x="598671" y="1411262"/>
                    </a:cubicBezTo>
                    <a:cubicBezTo>
                      <a:pt x="592498" y="1417435"/>
                      <a:pt x="590245" y="1427195"/>
                      <a:pt x="588076" y="1437373"/>
                    </a:cubicBezTo>
                    <a:cubicBezTo>
                      <a:pt x="586741" y="1443129"/>
                      <a:pt x="585406" y="1449302"/>
                      <a:pt x="583237" y="1455058"/>
                    </a:cubicBezTo>
                    <a:cubicBezTo>
                      <a:pt x="578399" y="1466987"/>
                      <a:pt x="570389" y="1484255"/>
                      <a:pt x="553537" y="1492263"/>
                    </a:cubicBezTo>
                    <a:cubicBezTo>
                      <a:pt x="549116" y="1494516"/>
                      <a:pt x="544694" y="1495767"/>
                      <a:pt x="541107" y="1497102"/>
                    </a:cubicBezTo>
                    <a:cubicBezTo>
                      <a:pt x="532680" y="1500605"/>
                      <a:pt x="526507" y="1502858"/>
                      <a:pt x="520750" y="1511701"/>
                    </a:cubicBezTo>
                    <a:cubicBezTo>
                      <a:pt x="518081" y="1516122"/>
                      <a:pt x="515911" y="1521043"/>
                      <a:pt x="513242" y="1525465"/>
                    </a:cubicBezTo>
                    <a:cubicBezTo>
                      <a:pt x="508820" y="1533891"/>
                      <a:pt x="504399" y="1542733"/>
                      <a:pt x="497307" y="1550741"/>
                    </a:cubicBezTo>
                    <a:cubicBezTo>
                      <a:pt x="496390" y="1551659"/>
                      <a:pt x="495055" y="1552994"/>
                      <a:pt x="494220" y="1553828"/>
                    </a:cubicBezTo>
                    <a:cubicBezTo>
                      <a:pt x="501729" y="1560502"/>
                      <a:pt x="508820" y="1567592"/>
                      <a:pt x="515911" y="1574683"/>
                    </a:cubicBezTo>
                    <a:cubicBezTo>
                      <a:pt x="528760" y="1587530"/>
                      <a:pt x="539855" y="1587947"/>
                      <a:pt x="557959" y="1591034"/>
                    </a:cubicBezTo>
                    <a:cubicBezTo>
                      <a:pt x="562798" y="1591451"/>
                      <a:pt x="568137" y="1591451"/>
                      <a:pt x="573476" y="1591951"/>
                    </a:cubicBezTo>
                    <a:cubicBezTo>
                      <a:pt x="591663" y="1593703"/>
                      <a:pt x="608432" y="1599042"/>
                      <a:pt x="624867" y="1604381"/>
                    </a:cubicBezTo>
                    <a:cubicBezTo>
                      <a:pt x="652314" y="1613724"/>
                      <a:pt x="678511" y="1622066"/>
                      <a:pt x="708627" y="1610554"/>
                    </a:cubicBezTo>
                    <a:cubicBezTo>
                      <a:pt x="721476" y="1606132"/>
                      <a:pt x="730318" y="1596790"/>
                      <a:pt x="740080" y="1586612"/>
                    </a:cubicBezTo>
                    <a:cubicBezTo>
                      <a:pt x="744501" y="1582191"/>
                      <a:pt x="748923" y="1577269"/>
                      <a:pt x="753845" y="1573348"/>
                    </a:cubicBezTo>
                    <a:cubicBezTo>
                      <a:pt x="759184" y="1568510"/>
                      <a:pt x="764941" y="1564506"/>
                      <a:pt x="771114" y="1560502"/>
                    </a:cubicBezTo>
                    <a:cubicBezTo>
                      <a:pt x="782627" y="1552994"/>
                      <a:pt x="793306" y="1545903"/>
                      <a:pt x="798562" y="1534808"/>
                    </a:cubicBezTo>
                    <a:cubicBezTo>
                      <a:pt x="800314" y="1531304"/>
                      <a:pt x="801231" y="1527300"/>
                      <a:pt x="802566" y="1522879"/>
                    </a:cubicBezTo>
                    <a:cubicBezTo>
                      <a:pt x="804318" y="1516706"/>
                      <a:pt x="805653" y="1510950"/>
                      <a:pt x="809240" y="1504693"/>
                    </a:cubicBezTo>
                    <a:cubicBezTo>
                      <a:pt x="811910" y="1499855"/>
                      <a:pt x="816332" y="1495851"/>
                      <a:pt x="819836" y="1492263"/>
                    </a:cubicBezTo>
                    <a:cubicBezTo>
                      <a:pt x="822505" y="1489594"/>
                      <a:pt x="825175" y="1487425"/>
                      <a:pt x="827344" y="1484255"/>
                    </a:cubicBezTo>
                    <a:cubicBezTo>
                      <a:pt x="831348" y="1478916"/>
                      <a:pt x="833100" y="1471825"/>
                      <a:pt x="835770" y="1464735"/>
                    </a:cubicBezTo>
                    <a:cubicBezTo>
                      <a:pt x="839274" y="1453223"/>
                      <a:pt x="843779" y="1439959"/>
                      <a:pt x="856627" y="1431951"/>
                    </a:cubicBezTo>
                    <a:cubicBezTo>
                      <a:pt x="859714" y="1429698"/>
                      <a:pt x="862801" y="1428447"/>
                      <a:pt x="865971" y="1427112"/>
                    </a:cubicBezTo>
                    <a:cubicBezTo>
                      <a:pt x="871727" y="1424443"/>
                      <a:pt x="874814" y="1423108"/>
                      <a:pt x="878401" y="1417352"/>
                    </a:cubicBezTo>
                    <a:cubicBezTo>
                      <a:pt x="881071" y="1412013"/>
                      <a:pt x="882406" y="1405840"/>
                      <a:pt x="883240" y="1399667"/>
                    </a:cubicBezTo>
                    <a:lnTo>
                      <a:pt x="884158" y="1393911"/>
                    </a:lnTo>
                    <a:cubicBezTo>
                      <a:pt x="886827" y="1378811"/>
                      <a:pt x="889914" y="1361544"/>
                      <a:pt x="906266" y="1350949"/>
                    </a:cubicBezTo>
                    <a:cubicBezTo>
                      <a:pt x="917362" y="1344275"/>
                      <a:pt x="930209" y="1342941"/>
                      <a:pt x="941222" y="1342106"/>
                    </a:cubicBezTo>
                    <a:cubicBezTo>
                      <a:pt x="943891" y="1342106"/>
                      <a:pt x="946978" y="1341689"/>
                      <a:pt x="949648" y="1341189"/>
                    </a:cubicBezTo>
                    <a:cubicBezTo>
                      <a:pt x="964248" y="1339437"/>
                      <a:pt x="973591" y="1334516"/>
                      <a:pt x="987273" y="1327425"/>
                    </a:cubicBezTo>
                    <a:cubicBezTo>
                      <a:pt x="998369" y="1321668"/>
                      <a:pt x="1011217" y="1319917"/>
                      <a:pt x="1023564" y="1317664"/>
                    </a:cubicBezTo>
                    <a:cubicBezTo>
                      <a:pt x="1031072" y="1316330"/>
                      <a:pt x="1038163" y="1314995"/>
                      <a:pt x="1044838" y="1313243"/>
                    </a:cubicBezTo>
                    <a:cubicBezTo>
                      <a:pt x="1048342" y="1311908"/>
                      <a:pt x="1051929" y="1311491"/>
                      <a:pt x="1055433" y="1310991"/>
                    </a:cubicBezTo>
                    <a:cubicBezTo>
                      <a:pt x="1059437" y="1310574"/>
                      <a:pt x="1063442" y="1309656"/>
                      <a:pt x="1066529" y="1308321"/>
                    </a:cubicBezTo>
                    <a:cubicBezTo>
                      <a:pt x="1070033" y="1306570"/>
                      <a:pt x="1073203" y="1303483"/>
                      <a:pt x="1076290" y="1299896"/>
                    </a:cubicBezTo>
                    <a:cubicBezTo>
                      <a:pt x="1077207" y="1298978"/>
                      <a:pt x="1078042" y="1297643"/>
                      <a:pt x="1079377" y="1296809"/>
                    </a:cubicBezTo>
                    <a:cubicBezTo>
                      <a:pt x="1076707" y="1294557"/>
                      <a:pt x="1073620" y="1292805"/>
                      <a:pt x="1070533" y="1290636"/>
                    </a:cubicBezTo>
                    <a:cubicBezTo>
                      <a:pt x="1063859" y="1286215"/>
                      <a:pt x="1056768" y="1281293"/>
                      <a:pt x="1050177" y="1276038"/>
                    </a:cubicBezTo>
                    <a:cubicBezTo>
                      <a:pt x="1040416" y="1268530"/>
                      <a:pt x="1032908" y="1258769"/>
                      <a:pt x="1025816" y="1249927"/>
                    </a:cubicBezTo>
                    <a:cubicBezTo>
                      <a:pt x="1021395" y="1244588"/>
                      <a:pt x="1016973" y="1238832"/>
                      <a:pt x="1011634" y="1233577"/>
                    </a:cubicBezTo>
                    <a:cubicBezTo>
                      <a:pt x="1008547" y="1230073"/>
                      <a:pt x="1003625" y="1227403"/>
                      <a:pt x="998786" y="1224233"/>
                    </a:cubicBezTo>
                    <a:cubicBezTo>
                      <a:pt x="992112" y="1220229"/>
                      <a:pt x="985521" y="1216225"/>
                      <a:pt x="980599" y="1210052"/>
                    </a:cubicBezTo>
                    <a:cubicBezTo>
                      <a:pt x="968669" y="1194536"/>
                      <a:pt x="978347" y="1185276"/>
                      <a:pt x="985021" y="1179019"/>
                    </a:cubicBezTo>
                    <a:cubicBezTo>
                      <a:pt x="987273" y="1176767"/>
                      <a:pt x="989442" y="1174598"/>
                      <a:pt x="991695" y="1171929"/>
                    </a:cubicBezTo>
                    <a:cubicBezTo>
                      <a:pt x="994364" y="1168425"/>
                      <a:pt x="996116" y="1165255"/>
                      <a:pt x="997868" y="1162169"/>
                    </a:cubicBezTo>
                    <a:cubicBezTo>
                      <a:pt x="1003625" y="1152408"/>
                      <a:pt x="1008964" y="1143149"/>
                      <a:pt x="1028903" y="1143149"/>
                    </a:cubicBezTo>
                    <a:cubicBezTo>
                      <a:pt x="1044420" y="1143149"/>
                      <a:pt x="1047925" y="1142731"/>
                      <a:pt x="1052346" y="1130719"/>
                    </a:cubicBezTo>
                    <a:cubicBezTo>
                      <a:pt x="1055850" y="1121376"/>
                      <a:pt x="1059854" y="1108613"/>
                      <a:pt x="1062107" y="1097518"/>
                    </a:cubicBezTo>
                    <a:cubicBezTo>
                      <a:pt x="1063859" y="1089509"/>
                      <a:pt x="1062107" y="1081167"/>
                      <a:pt x="1060772" y="1072742"/>
                    </a:cubicBezTo>
                    <a:cubicBezTo>
                      <a:pt x="1059437" y="1065234"/>
                      <a:pt x="1057686" y="1057225"/>
                      <a:pt x="1058520" y="1048800"/>
                    </a:cubicBezTo>
                    <a:cubicBezTo>
                      <a:pt x="1059437" y="1039457"/>
                      <a:pt x="1062941" y="1031949"/>
                      <a:pt x="1066028" y="1024024"/>
                    </a:cubicBezTo>
                    <a:cubicBezTo>
                      <a:pt x="1069532" y="1016016"/>
                      <a:pt x="1072703" y="1008508"/>
                      <a:pt x="1072703" y="1000583"/>
                    </a:cubicBezTo>
                    <a:cubicBezTo>
                      <a:pt x="1072703" y="993492"/>
                      <a:pt x="1069198" y="987319"/>
                      <a:pt x="1065611" y="980646"/>
                    </a:cubicBezTo>
                    <a:cubicBezTo>
                      <a:pt x="1061607" y="973972"/>
                      <a:pt x="1058103" y="966881"/>
                      <a:pt x="1057185" y="958539"/>
                    </a:cubicBezTo>
                    <a:cubicBezTo>
                      <a:pt x="1055850" y="948779"/>
                      <a:pt x="1060272" y="937267"/>
                      <a:pt x="1063859" y="927089"/>
                    </a:cubicBezTo>
                    <a:cubicBezTo>
                      <a:pt x="1064777" y="923586"/>
                      <a:pt x="1066111" y="920416"/>
                      <a:pt x="1066946" y="917329"/>
                    </a:cubicBezTo>
                    <a:cubicBezTo>
                      <a:pt x="1072285" y="898726"/>
                      <a:pt x="1078459" y="888132"/>
                      <a:pt x="1098398" y="882376"/>
                    </a:cubicBezTo>
                    <a:cubicBezTo>
                      <a:pt x="1101068" y="881459"/>
                      <a:pt x="1103236" y="880624"/>
                      <a:pt x="1105489" y="880124"/>
                    </a:cubicBezTo>
                    <a:cubicBezTo>
                      <a:pt x="1115250" y="877871"/>
                      <a:pt x="1117002" y="877454"/>
                      <a:pt x="1120089" y="867277"/>
                    </a:cubicBezTo>
                    <a:cubicBezTo>
                      <a:pt x="1121007" y="864608"/>
                      <a:pt x="1121007" y="862439"/>
                      <a:pt x="1121424" y="859269"/>
                    </a:cubicBezTo>
                    <a:cubicBezTo>
                      <a:pt x="1121841" y="854430"/>
                      <a:pt x="1122341" y="849091"/>
                      <a:pt x="1124927" y="843752"/>
                    </a:cubicBezTo>
                    <a:cubicBezTo>
                      <a:pt x="1127597" y="839748"/>
                      <a:pt x="1130267" y="837079"/>
                      <a:pt x="1132936" y="834910"/>
                    </a:cubicBezTo>
                    <a:cubicBezTo>
                      <a:pt x="1134271" y="833992"/>
                      <a:pt x="1135606" y="833158"/>
                      <a:pt x="1136441" y="831823"/>
                    </a:cubicBezTo>
                    <a:cubicBezTo>
                      <a:pt x="1142614" y="823815"/>
                      <a:pt x="1141780" y="821646"/>
                      <a:pt x="1138193" y="810551"/>
                    </a:cubicBezTo>
                    <a:lnTo>
                      <a:pt x="1135106" y="800791"/>
                    </a:lnTo>
                    <a:cubicBezTo>
                      <a:pt x="1131602" y="789279"/>
                      <a:pt x="1129766" y="783523"/>
                      <a:pt x="1120506" y="776015"/>
                    </a:cubicBezTo>
                    <a:cubicBezTo>
                      <a:pt x="1108075" y="766255"/>
                      <a:pt x="1101485" y="758330"/>
                      <a:pt x="1097480" y="743648"/>
                    </a:cubicBezTo>
                    <a:cubicBezTo>
                      <a:pt x="1090389" y="716203"/>
                      <a:pt x="1097897" y="689591"/>
                      <a:pt x="1105906" y="663481"/>
                    </a:cubicBezTo>
                    <a:cubicBezTo>
                      <a:pt x="1107241" y="658142"/>
                      <a:pt x="1108993" y="652886"/>
                      <a:pt x="1110328" y="647965"/>
                    </a:cubicBezTo>
                    <a:cubicBezTo>
                      <a:pt x="1117002" y="622688"/>
                      <a:pt x="1130267" y="594826"/>
                      <a:pt x="1171897" y="594325"/>
                    </a:cubicBezTo>
                    <a:cubicBezTo>
                      <a:pt x="1178571" y="594742"/>
                      <a:pt x="1186497" y="595243"/>
                      <a:pt x="1194005" y="596077"/>
                    </a:cubicBezTo>
                    <a:cubicBezTo>
                      <a:pt x="1213527" y="597829"/>
                      <a:pt x="1233466" y="600081"/>
                      <a:pt x="1248483" y="589904"/>
                    </a:cubicBezTo>
                    <a:cubicBezTo>
                      <a:pt x="1255157" y="585900"/>
                      <a:pt x="1258661" y="577057"/>
                      <a:pt x="1262248" y="568215"/>
                    </a:cubicBezTo>
                    <a:cubicBezTo>
                      <a:pt x="1267587" y="554951"/>
                      <a:pt x="1273761" y="539852"/>
                      <a:pt x="1291031" y="535847"/>
                    </a:cubicBezTo>
                    <a:cubicBezTo>
                      <a:pt x="1306965" y="531843"/>
                      <a:pt x="1313639" y="540269"/>
                      <a:pt x="1318979" y="548277"/>
                    </a:cubicBezTo>
                    <a:lnTo>
                      <a:pt x="1322065" y="551781"/>
                    </a:lnTo>
                    <a:cubicBezTo>
                      <a:pt x="1325152" y="556619"/>
                      <a:pt x="1329573" y="561124"/>
                      <a:pt x="1333161" y="565545"/>
                    </a:cubicBezTo>
                    <a:cubicBezTo>
                      <a:pt x="1339334" y="572219"/>
                      <a:pt x="1345591" y="579309"/>
                      <a:pt x="1350847" y="587234"/>
                    </a:cubicBezTo>
                    <a:cubicBezTo>
                      <a:pt x="1353100" y="590321"/>
                      <a:pt x="1355269" y="593908"/>
                      <a:pt x="1357521" y="597412"/>
                    </a:cubicBezTo>
                    <a:cubicBezTo>
                      <a:pt x="1363695" y="608507"/>
                      <a:pt x="1371287" y="620436"/>
                      <a:pt x="1380965" y="624857"/>
                    </a:cubicBezTo>
                    <a:cubicBezTo>
                      <a:pt x="1385386" y="627110"/>
                      <a:pt x="1388056" y="627110"/>
                      <a:pt x="1388973" y="626192"/>
                    </a:cubicBezTo>
                    <a:cubicBezTo>
                      <a:pt x="1392060" y="623939"/>
                      <a:pt x="1392060" y="610258"/>
                      <a:pt x="1387639" y="595159"/>
                    </a:cubicBezTo>
                    <a:cubicBezTo>
                      <a:pt x="1383217" y="578809"/>
                      <a:pt x="1382299" y="569049"/>
                      <a:pt x="1389892" y="553115"/>
                    </a:cubicBezTo>
                    <a:cubicBezTo>
                      <a:pt x="1392978" y="546442"/>
                      <a:pt x="1395230" y="539852"/>
                      <a:pt x="1397400" y="532761"/>
                    </a:cubicBezTo>
                    <a:cubicBezTo>
                      <a:pt x="1399652" y="526588"/>
                      <a:pt x="1401404" y="520331"/>
                      <a:pt x="1404074" y="514158"/>
                    </a:cubicBezTo>
                    <a:cubicBezTo>
                      <a:pt x="1409830" y="500393"/>
                      <a:pt x="1426682" y="466358"/>
                      <a:pt x="1454130" y="449924"/>
                    </a:cubicBezTo>
                    <a:cubicBezTo>
                      <a:pt x="1466977" y="442833"/>
                      <a:pt x="1472317" y="433574"/>
                      <a:pt x="1479408" y="421144"/>
                    </a:cubicBezTo>
                    <a:cubicBezTo>
                      <a:pt x="1481160" y="418058"/>
                      <a:pt x="1483830" y="413636"/>
                      <a:pt x="1486500" y="410049"/>
                    </a:cubicBezTo>
                    <a:cubicBezTo>
                      <a:pt x="1491838" y="402041"/>
                      <a:pt x="1497595" y="394116"/>
                      <a:pt x="1498012" y="387025"/>
                    </a:cubicBezTo>
                    <a:cubicBezTo>
                      <a:pt x="1498429" y="379017"/>
                      <a:pt x="1494925" y="372427"/>
                      <a:pt x="1491338" y="365336"/>
                    </a:cubicBezTo>
                    <a:cubicBezTo>
                      <a:pt x="1485999" y="355159"/>
                      <a:pt x="1480243" y="343229"/>
                      <a:pt x="1488668" y="329048"/>
                    </a:cubicBezTo>
                    <a:lnTo>
                      <a:pt x="1488668" y="328631"/>
                    </a:lnTo>
                    <a:cubicBezTo>
                      <a:pt x="1483830" y="320622"/>
                      <a:pt x="1481160" y="311780"/>
                      <a:pt x="1478490" y="303354"/>
                    </a:cubicBezTo>
                    <a:cubicBezTo>
                      <a:pt x="1474987" y="292259"/>
                      <a:pt x="1471399" y="281248"/>
                      <a:pt x="1462973" y="274157"/>
                    </a:cubicBezTo>
                    <a:cubicBezTo>
                      <a:pt x="1443451" y="257306"/>
                      <a:pt x="1412000" y="262645"/>
                      <a:pt x="1384552" y="267484"/>
                    </a:cubicBezTo>
                    <a:cubicBezTo>
                      <a:pt x="1376126" y="268818"/>
                      <a:pt x="1368201" y="270570"/>
                      <a:pt x="1360191" y="270987"/>
                    </a:cubicBezTo>
                    <a:cubicBezTo>
                      <a:pt x="1337166" y="273240"/>
                      <a:pt x="1316809" y="269653"/>
                      <a:pt x="1298622" y="260810"/>
                    </a:cubicBezTo>
                    <a:cubicBezTo>
                      <a:pt x="1291114" y="256806"/>
                      <a:pt x="1284857" y="251467"/>
                      <a:pt x="1278266" y="246629"/>
                    </a:cubicBezTo>
                    <a:cubicBezTo>
                      <a:pt x="1265836" y="236868"/>
                      <a:pt x="1254322" y="227608"/>
                      <a:pt x="1239723" y="230278"/>
                    </a:cubicBezTo>
                    <a:cubicBezTo>
                      <a:pt x="1225957" y="232948"/>
                      <a:pt x="1218032" y="242708"/>
                      <a:pt x="1208688" y="254220"/>
                    </a:cubicBezTo>
                    <a:cubicBezTo>
                      <a:pt x="1204684" y="258641"/>
                      <a:pt x="1200679" y="263563"/>
                      <a:pt x="1196758" y="267484"/>
                    </a:cubicBezTo>
                    <a:cubicBezTo>
                      <a:pt x="1178154" y="285669"/>
                      <a:pt x="1152458" y="293594"/>
                      <a:pt x="1129433" y="300268"/>
                    </a:cubicBezTo>
                    <a:lnTo>
                      <a:pt x="1126763" y="301185"/>
                    </a:lnTo>
                    <a:cubicBezTo>
                      <a:pt x="1119672" y="302937"/>
                      <a:pt x="1112580" y="304689"/>
                      <a:pt x="1105489" y="306524"/>
                    </a:cubicBezTo>
                    <a:cubicBezTo>
                      <a:pt x="1091307" y="310028"/>
                      <a:pt x="1076707" y="314032"/>
                      <a:pt x="1063859" y="320289"/>
                    </a:cubicBezTo>
                    <a:cubicBezTo>
                      <a:pt x="1058103" y="323375"/>
                      <a:pt x="1052763" y="326462"/>
                      <a:pt x="1047925" y="329131"/>
                    </a:cubicBezTo>
                    <a:cubicBezTo>
                      <a:pt x="1032824" y="337974"/>
                      <a:pt x="1018725" y="346400"/>
                      <a:pt x="995616" y="346400"/>
                    </a:cubicBezTo>
                    <a:lnTo>
                      <a:pt x="985021" y="346400"/>
                    </a:lnTo>
                    <a:cubicBezTo>
                      <a:pt x="954904" y="346400"/>
                      <a:pt x="920782" y="346400"/>
                      <a:pt x="893335" y="336639"/>
                    </a:cubicBezTo>
                    <a:cubicBezTo>
                      <a:pt x="875648" y="330466"/>
                      <a:pt x="864553" y="319788"/>
                      <a:pt x="859630" y="305189"/>
                    </a:cubicBezTo>
                    <a:cubicBezTo>
                      <a:pt x="857878" y="299851"/>
                      <a:pt x="857378" y="294095"/>
                      <a:pt x="856543" y="289256"/>
                    </a:cubicBezTo>
                    <a:cubicBezTo>
                      <a:pt x="856126" y="283917"/>
                      <a:pt x="855209" y="278662"/>
                      <a:pt x="853457" y="273740"/>
                    </a:cubicBezTo>
                    <a:cubicBezTo>
                      <a:pt x="852122" y="270653"/>
                      <a:pt x="850787" y="267567"/>
                      <a:pt x="849452" y="264397"/>
                    </a:cubicBezTo>
                    <a:cubicBezTo>
                      <a:pt x="845447" y="255971"/>
                      <a:pt x="841443" y="247546"/>
                      <a:pt x="841026" y="237369"/>
                    </a:cubicBezTo>
                    <a:cubicBezTo>
                      <a:pt x="840609" y="221018"/>
                      <a:pt x="848534" y="208172"/>
                      <a:pt x="856543" y="195742"/>
                    </a:cubicBezTo>
                    <a:cubicBezTo>
                      <a:pt x="860047" y="189569"/>
                      <a:pt x="864052" y="183813"/>
                      <a:pt x="866304" y="178057"/>
                    </a:cubicBezTo>
                    <a:cubicBezTo>
                      <a:pt x="873395" y="160789"/>
                      <a:pt x="872978" y="140851"/>
                      <a:pt x="864970" y="124000"/>
                    </a:cubicBezTo>
                    <a:cubicBezTo>
                      <a:pt x="857461" y="108901"/>
                      <a:pt x="845030" y="97890"/>
                      <a:pt x="829513" y="92968"/>
                    </a:cubicBezTo>
                    <a:cubicBezTo>
                      <a:pt x="815748" y="88130"/>
                      <a:pt x="808239" y="92551"/>
                      <a:pt x="797644" y="98307"/>
                    </a:cubicBezTo>
                    <a:cubicBezTo>
                      <a:pt x="792805" y="101393"/>
                      <a:pt x="786548" y="104480"/>
                      <a:pt x="779040" y="107149"/>
                    </a:cubicBezTo>
                    <a:cubicBezTo>
                      <a:pt x="759518" y="113823"/>
                      <a:pt x="739579" y="104480"/>
                      <a:pt x="723644" y="96555"/>
                    </a:cubicBezTo>
                    <a:cubicBezTo>
                      <a:pt x="710797" y="90799"/>
                      <a:pt x="703705" y="82791"/>
                      <a:pt x="696614" y="75700"/>
                    </a:cubicBezTo>
                    <a:cubicBezTo>
                      <a:pt x="693110" y="71696"/>
                      <a:pt x="689106" y="67274"/>
                      <a:pt x="684184" y="63270"/>
                    </a:cubicBezTo>
                    <a:cubicBezTo>
                      <a:pt x="678844" y="59266"/>
                      <a:pt x="674840" y="57514"/>
                      <a:pt x="671753" y="58432"/>
                    </a:cubicBezTo>
                    <a:cubicBezTo>
                      <a:pt x="663327" y="61101"/>
                      <a:pt x="656653" y="81456"/>
                      <a:pt x="651814" y="96055"/>
                    </a:cubicBezTo>
                    <a:cubicBezTo>
                      <a:pt x="647809" y="107983"/>
                      <a:pt x="644723" y="118161"/>
                      <a:pt x="639884" y="124000"/>
                    </a:cubicBezTo>
                    <a:cubicBezTo>
                      <a:pt x="627036" y="140851"/>
                      <a:pt x="595584" y="166545"/>
                      <a:pt x="565884" y="164292"/>
                    </a:cubicBezTo>
                    <a:cubicBezTo>
                      <a:pt x="552119" y="163375"/>
                      <a:pt x="540189" y="156284"/>
                      <a:pt x="532180" y="143437"/>
                    </a:cubicBezTo>
                    <a:cubicBezTo>
                      <a:pt x="526423" y="134094"/>
                      <a:pt x="522836" y="123083"/>
                      <a:pt x="519332" y="112905"/>
                    </a:cubicBezTo>
                    <a:lnTo>
                      <a:pt x="519332" y="112905"/>
                    </a:lnTo>
                    <a:cubicBezTo>
                      <a:pt x="486545" y="125335"/>
                      <a:pt x="451590" y="131925"/>
                      <a:pt x="416550" y="131925"/>
                    </a:cubicBezTo>
                    <a:cubicBezTo>
                      <a:pt x="408041" y="132009"/>
                      <a:pt x="399615" y="131508"/>
                      <a:pt x="391188" y="13109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10000"/>
                </a:schemeClr>
              </a:solidFill>
              <a:ln w="6350" cap="rnd" cmpd="tri">
                <a:solidFill>
                  <a:schemeClr val="bg1">
                    <a:alpha val="21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  <p:grpSp>
          <p:nvGrpSpPr>
            <p:cNvPr id="1338341045" name="Группа 410"/>
            <p:cNvGrpSpPr/>
            <p:nvPr/>
          </p:nvGrpSpPr>
          <p:grpSpPr bwMode="auto">
            <a:xfrm>
              <a:off x="6807092" y="1538416"/>
              <a:ext cx="4688906" cy="4708176"/>
              <a:chOff x="6807092" y="1538416"/>
              <a:chExt cx="4688906" cy="4708176"/>
            </a:xfrm>
          </p:grpSpPr>
          <p:sp>
            <p:nvSpPr>
              <p:cNvPr id="550608390" name="Полилиния 411"/>
              <p:cNvSpPr/>
              <p:nvPr/>
            </p:nvSpPr>
            <p:spPr bwMode="auto">
              <a:xfrm>
                <a:off x="6807092" y="4940718"/>
                <a:ext cx="1428802" cy="1268220"/>
              </a:xfrm>
              <a:custGeom>
                <a:avLst/>
                <a:gdLst>
                  <a:gd name="connsiteX0" fmla="*/ 1000188 w 1604593"/>
                  <a:gd name="connsiteY0" fmla="*/ 1299031 h 1424254"/>
                  <a:gd name="connsiteX1" fmla="*/ 969154 w 1604593"/>
                  <a:gd name="connsiteY1" fmla="*/ 1365934 h 1424254"/>
                  <a:gd name="connsiteX2" fmla="*/ 958976 w 1604593"/>
                  <a:gd name="connsiteY2" fmla="*/ 1367269 h 1424254"/>
                  <a:gd name="connsiteX3" fmla="*/ 930611 w 1604593"/>
                  <a:gd name="connsiteY3" fmla="*/ 1367686 h 1424254"/>
                  <a:gd name="connsiteX4" fmla="*/ 910672 w 1604593"/>
                  <a:gd name="connsiteY4" fmla="*/ 1353088 h 1424254"/>
                  <a:gd name="connsiteX5" fmla="*/ 892485 w 1604593"/>
                  <a:gd name="connsiteY5" fmla="*/ 1337988 h 1424254"/>
                  <a:gd name="connsiteX6" fmla="*/ 843763 w 1604593"/>
                  <a:gd name="connsiteY6" fmla="*/ 1333567 h 1424254"/>
                  <a:gd name="connsiteX7" fmla="*/ 825159 w 1604593"/>
                  <a:gd name="connsiteY7" fmla="*/ 1337988 h 1424254"/>
                  <a:gd name="connsiteX8" fmla="*/ 791038 w 1604593"/>
                  <a:gd name="connsiteY8" fmla="*/ 1343745 h 1424254"/>
                  <a:gd name="connsiteX9" fmla="*/ 773769 w 1604593"/>
                  <a:gd name="connsiteY9" fmla="*/ 1343745 h 1424254"/>
                  <a:gd name="connsiteX10" fmla="*/ 738312 w 1604593"/>
                  <a:gd name="connsiteY10" fmla="*/ 1345079 h 1424254"/>
                  <a:gd name="connsiteX11" fmla="*/ 641287 w 1604593"/>
                  <a:gd name="connsiteY11" fmla="*/ 1389376 h 1424254"/>
                  <a:gd name="connsiteX12" fmla="*/ 552687 w 1604593"/>
                  <a:gd name="connsiteY12" fmla="*/ 1423077 h 1424254"/>
                  <a:gd name="connsiteX13" fmla="*/ 521652 w 1604593"/>
                  <a:gd name="connsiteY13" fmla="*/ 1419073 h 1424254"/>
                  <a:gd name="connsiteX14" fmla="*/ 442814 w 1604593"/>
                  <a:gd name="connsiteY14" fmla="*/ 1400471 h 1424254"/>
                  <a:gd name="connsiteX15" fmla="*/ 406523 w 1604593"/>
                  <a:gd name="connsiteY15" fmla="*/ 1334902 h 1424254"/>
                  <a:gd name="connsiteX16" fmla="*/ 353797 w 1604593"/>
                  <a:gd name="connsiteY16" fmla="*/ 1258739 h 1424254"/>
                  <a:gd name="connsiteX17" fmla="*/ 315254 w 1604593"/>
                  <a:gd name="connsiteY17" fmla="*/ 1258322 h 1424254"/>
                  <a:gd name="connsiteX18" fmla="*/ 294397 w 1604593"/>
                  <a:gd name="connsiteY18" fmla="*/ 1259657 h 1424254"/>
                  <a:gd name="connsiteX19" fmla="*/ 251015 w 1604593"/>
                  <a:gd name="connsiteY19" fmla="*/ 1246810 h 1424254"/>
                  <a:gd name="connsiteX20" fmla="*/ 185025 w 1604593"/>
                  <a:gd name="connsiteY20" fmla="*/ 1233963 h 1424254"/>
                  <a:gd name="connsiteX21" fmla="*/ 136721 w 1604593"/>
                  <a:gd name="connsiteY21" fmla="*/ 1227790 h 1424254"/>
                  <a:gd name="connsiteX22" fmla="*/ 86665 w 1604593"/>
                  <a:gd name="connsiteY22" fmla="*/ 1207852 h 1424254"/>
                  <a:gd name="connsiteX23" fmla="*/ 81326 w 1604593"/>
                  <a:gd name="connsiteY23" fmla="*/ 1205183 h 1424254"/>
                  <a:gd name="connsiteX24" fmla="*/ 42365 w 1604593"/>
                  <a:gd name="connsiteY24" fmla="*/ 1196341 h 1424254"/>
                  <a:gd name="connsiteX25" fmla="*/ 32187 w 1604593"/>
                  <a:gd name="connsiteY25" fmla="*/ 1203014 h 1424254"/>
                  <a:gd name="connsiteX26" fmla="*/ 6492 w 1604593"/>
                  <a:gd name="connsiteY26" fmla="*/ 1175068 h 1424254"/>
                  <a:gd name="connsiteX27" fmla="*/ 4239 w 1604593"/>
                  <a:gd name="connsiteY27" fmla="*/ 1139615 h 1424254"/>
                  <a:gd name="connsiteX28" fmla="*/ 7326 w 1604593"/>
                  <a:gd name="connsiteY28" fmla="*/ 1133442 h 1424254"/>
                  <a:gd name="connsiteX29" fmla="*/ 14417 w 1604593"/>
                  <a:gd name="connsiteY29" fmla="*/ 1114839 h 1424254"/>
                  <a:gd name="connsiteX30" fmla="*/ 13500 w 1604593"/>
                  <a:gd name="connsiteY30" fmla="*/ 1101575 h 1424254"/>
                  <a:gd name="connsiteX31" fmla="*/ 12582 w 1604593"/>
                  <a:gd name="connsiteY31" fmla="*/ 1093149 h 1424254"/>
                  <a:gd name="connsiteX32" fmla="*/ 20591 w 1604593"/>
                  <a:gd name="connsiteY32" fmla="*/ 1079385 h 1424254"/>
                  <a:gd name="connsiteX33" fmla="*/ 29017 w 1604593"/>
                  <a:gd name="connsiteY33" fmla="*/ 1074046 h 1424254"/>
                  <a:gd name="connsiteX34" fmla="*/ 33021 w 1604593"/>
                  <a:gd name="connsiteY34" fmla="*/ 1071794 h 1424254"/>
                  <a:gd name="connsiteX35" fmla="*/ 33021 w 1604593"/>
                  <a:gd name="connsiteY35" fmla="*/ 1071377 h 1424254"/>
                  <a:gd name="connsiteX36" fmla="*/ 37860 w 1604593"/>
                  <a:gd name="connsiteY36" fmla="*/ 1068290 h 1424254"/>
                  <a:gd name="connsiteX37" fmla="*/ 80408 w 1604593"/>
                  <a:gd name="connsiteY37" fmla="*/ 1031501 h 1424254"/>
                  <a:gd name="connsiteX38" fmla="*/ 89251 w 1604593"/>
                  <a:gd name="connsiteY38" fmla="*/ 1021742 h 1424254"/>
                  <a:gd name="connsiteX39" fmla="*/ 125542 w 1604593"/>
                  <a:gd name="connsiteY39" fmla="*/ 996465 h 1424254"/>
                  <a:gd name="connsiteX40" fmla="*/ 137472 w 1604593"/>
                  <a:gd name="connsiteY40" fmla="*/ 1013733 h 1424254"/>
                  <a:gd name="connsiteX41" fmla="*/ 141893 w 1604593"/>
                  <a:gd name="connsiteY41" fmla="*/ 1024327 h 1424254"/>
                  <a:gd name="connsiteX42" fmla="*/ 173763 w 1604593"/>
                  <a:gd name="connsiteY42" fmla="*/ 1054025 h 1424254"/>
                  <a:gd name="connsiteX43" fmla="*/ 175514 w 1604593"/>
                  <a:gd name="connsiteY43" fmla="*/ 1055360 h 1424254"/>
                  <a:gd name="connsiteX44" fmla="*/ 220732 w 1604593"/>
                  <a:gd name="connsiteY44" fmla="*/ 1076632 h 1424254"/>
                  <a:gd name="connsiteX45" fmla="*/ 270788 w 1604593"/>
                  <a:gd name="connsiteY45" fmla="*/ 1101908 h 1424254"/>
                  <a:gd name="connsiteX46" fmla="*/ 281883 w 1604593"/>
                  <a:gd name="connsiteY46" fmla="*/ 1112086 h 1424254"/>
                  <a:gd name="connsiteX47" fmla="*/ 314254 w 1604593"/>
                  <a:gd name="connsiteY47" fmla="*/ 1135527 h 1424254"/>
                  <a:gd name="connsiteX48" fmla="*/ 347958 w 1604593"/>
                  <a:gd name="connsiteY48" fmla="*/ 1137279 h 1424254"/>
                  <a:gd name="connsiteX49" fmla="*/ 362557 w 1604593"/>
                  <a:gd name="connsiteY49" fmla="*/ 1135527 h 1424254"/>
                  <a:gd name="connsiteX50" fmla="*/ 392258 w 1604593"/>
                  <a:gd name="connsiteY50" fmla="*/ 1153212 h 1424254"/>
                  <a:gd name="connsiteX51" fmla="*/ 400266 w 1604593"/>
                  <a:gd name="connsiteY51" fmla="*/ 1160720 h 1424254"/>
                  <a:gd name="connsiteX52" fmla="*/ 436557 w 1604593"/>
                  <a:gd name="connsiteY52" fmla="*/ 1183744 h 1424254"/>
                  <a:gd name="connsiteX53" fmla="*/ 458248 w 1604593"/>
                  <a:gd name="connsiteY53" fmla="*/ 1214777 h 1424254"/>
                  <a:gd name="connsiteX54" fmla="*/ 470679 w 1604593"/>
                  <a:gd name="connsiteY54" fmla="*/ 1238218 h 1424254"/>
                  <a:gd name="connsiteX55" fmla="*/ 494622 w 1604593"/>
                  <a:gd name="connsiteY55" fmla="*/ 1241721 h 1424254"/>
                  <a:gd name="connsiteX56" fmla="*/ 527409 w 1604593"/>
                  <a:gd name="connsiteY56" fmla="*/ 1259407 h 1424254"/>
                  <a:gd name="connsiteX57" fmla="*/ 543761 w 1604593"/>
                  <a:gd name="connsiteY57" fmla="*/ 1278009 h 1424254"/>
                  <a:gd name="connsiteX58" fmla="*/ 548182 w 1604593"/>
                  <a:gd name="connsiteY58" fmla="*/ 1278426 h 1424254"/>
                  <a:gd name="connsiteX59" fmla="*/ 574796 w 1604593"/>
                  <a:gd name="connsiteY59" fmla="*/ 1264245 h 1424254"/>
                  <a:gd name="connsiteX60" fmla="*/ 584557 w 1604593"/>
                  <a:gd name="connsiteY60" fmla="*/ 1256236 h 1424254"/>
                  <a:gd name="connsiteX61" fmla="*/ 595151 w 1604593"/>
                  <a:gd name="connsiteY61" fmla="*/ 1251398 h 1424254"/>
                  <a:gd name="connsiteX62" fmla="*/ 618595 w 1604593"/>
                  <a:gd name="connsiteY62" fmla="*/ 1231044 h 1424254"/>
                  <a:gd name="connsiteX63" fmla="*/ 619512 w 1604593"/>
                  <a:gd name="connsiteY63" fmla="*/ 1208437 h 1424254"/>
                  <a:gd name="connsiteX64" fmla="*/ 621765 w 1604593"/>
                  <a:gd name="connsiteY64" fmla="*/ 1188916 h 1424254"/>
                  <a:gd name="connsiteX65" fmla="*/ 642121 w 1604593"/>
                  <a:gd name="connsiteY65" fmla="*/ 1173400 h 1424254"/>
                  <a:gd name="connsiteX66" fmla="*/ 658055 w 1604593"/>
                  <a:gd name="connsiteY66" fmla="*/ 1163222 h 1424254"/>
                  <a:gd name="connsiteX67" fmla="*/ 691760 w 1604593"/>
                  <a:gd name="connsiteY67" fmla="*/ 1126434 h 1424254"/>
                  <a:gd name="connsiteX68" fmla="*/ 715203 w 1604593"/>
                  <a:gd name="connsiteY68" fmla="*/ 1074630 h 1424254"/>
                  <a:gd name="connsiteX69" fmla="*/ 739146 w 1604593"/>
                  <a:gd name="connsiteY69" fmla="*/ 1024161 h 1424254"/>
                  <a:gd name="connsiteX70" fmla="*/ 759085 w 1604593"/>
                  <a:gd name="connsiteY70" fmla="*/ 1003806 h 1424254"/>
                  <a:gd name="connsiteX71" fmla="*/ 777273 w 1604593"/>
                  <a:gd name="connsiteY71" fmla="*/ 986121 h 1424254"/>
                  <a:gd name="connsiteX72" fmla="*/ 801215 w 1604593"/>
                  <a:gd name="connsiteY72" fmla="*/ 956924 h 1424254"/>
                  <a:gd name="connsiteX73" fmla="*/ 813146 w 1604593"/>
                  <a:gd name="connsiteY73" fmla="*/ 942325 h 1424254"/>
                  <a:gd name="connsiteX74" fmla="*/ 851689 w 1604593"/>
                  <a:gd name="connsiteY74" fmla="*/ 899781 h 1424254"/>
                  <a:gd name="connsiteX75" fmla="*/ 854358 w 1604593"/>
                  <a:gd name="connsiteY75" fmla="*/ 897528 h 1424254"/>
                  <a:gd name="connsiteX76" fmla="*/ 884893 w 1604593"/>
                  <a:gd name="connsiteY76" fmla="*/ 857236 h 1424254"/>
                  <a:gd name="connsiteX77" fmla="*/ 891567 w 1604593"/>
                  <a:gd name="connsiteY77" fmla="*/ 815192 h 1424254"/>
                  <a:gd name="connsiteX78" fmla="*/ 893319 w 1604593"/>
                  <a:gd name="connsiteY78" fmla="*/ 795255 h 1424254"/>
                  <a:gd name="connsiteX79" fmla="*/ 903497 w 1604593"/>
                  <a:gd name="connsiteY79" fmla="*/ 735859 h 1424254"/>
                  <a:gd name="connsiteX80" fmla="*/ 905249 w 1604593"/>
                  <a:gd name="connsiteY80" fmla="*/ 726516 h 1424254"/>
                  <a:gd name="connsiteX81" fmla="*/ 915844 w 1604593"/>
                  <a:gd name="connsiteY81" fmla="*/ 681302 h 1424254"/>
                  <a:gd name="connsiteX82" fmla="*/ 918931 w 1604593"/>
                  <a:gd name="connsiteY82" fmla="*/ 673294 h 1424254"/>
                  <a:gd name="connsiteX83" fmla="*/ 924270 w 1604593"/>
                  <a:gd name="connsiteY83" fmla="*/ 637006 h 1424254"/>
                  <a:gd name="connsiteX84" fmla="*/ 901245 w 1604593"/>
                  <a:gd name="connsiteY84" fmla="*/ 619738 h 1424254"/>
                  <a:gd name="connsiteX85" fmla="*/ 889315 w 1604593"/>
                  <a:gd name="connsiteY85" fmla="*/ 614900 h 1424254"/>
                  <a:gd name="connsiteX86" fmla="*/ 878219 w 1604593"/>
                  <a:gd name="connsiteY86" fmla="*/ 588288 h 1424254"/>
                  <a:gd name="connsiteX87" fmla="*/ 875549 w 1604593"/>
                  <a:gd name="connsiteY87" fmla="*/ 561260 h 1424254"/>
                  <a:gd name="connsiteX88" fmla="*/ 863619 w 1604593"/>
                  <a:gd name="connsiteY88" fmla="*/ 507621 h 1424254"/>
                  <a:gd name="connsiteX89" fmla="*/ 861867 w 1604593"/>
                  <a:gd name="connsiteY89" fmla="*/ 504534 h 1424254"/>
                  <a:gd name="connsiteX90" fmla="*/ 849937 w 1604593"/>
                  <a:gd name="connsiteY90" fmla="*/ 465994 h 1424254"/>
                  <a:gd name="connsiteX91" fmla="*/ 850354 w 1604593"/>
                  <a:gd name="connsiteY91" fmla="*/ 448309 h 1424254"/>
                  <a:gd name="connsiteX92" fmla="*/ 852607 w 1604593"/>
                  <a:gd name="connsiteY92" fmla="*/ 419111 h 1424254"/>
                  <a:gd name="connsiteX93" fmla="*/ 860115 w 1604593"/>
                  <a:gd name="connsiteY93" fmla="*/ 412021 h 1424254"/>
                  <a:gd name="connsiteX94" fmla="*/ 873881 w 1604593"/>
                  <a:gd name="connsiteY94" fmla="*/ 386327 h 1424254"/>
                  <a:gd name="connsiteX95" fmla="*/ 853941 w 1604593"/>
                  <a:gd name="connsiteY95" fmla="*/ 371729 h 1424254"/>
                  <a:gd name="connsiteX96" fmla="*/ 849103 w 1604593"/>
                  <a:gd name="connsiteY96" fmla="*/ 369977 h 1424254"/>
                  <a:gd name="connsiteX97" fmla="*/ 846016 w 1604593"/>
                  <a:gd name="connsiteY97" fmla="*/ 365973 h 1424254"/>
                  <a:gd name="connsiteX98" fmla="*/ 840677 w 1604593"/>
                  <a:gd name="connsiteY98" fmla="*/ 359299 h 1424254"/>
                  <a:gd name="connsiteX99" fmla="*/ 824742 w 1604593"/>
                  <a:gd name="connsiteY99" fmla="*/ 349956 h 1424254"/>
                  <a:gd name="connsiteX100" fmla="*/ 811478 w 1604593"/>
                  <a:gd name="connsiteY100" fmla="*/ 341530 h 1424254"/>
                  <a:gd name="connsiteX101" fmla="*/ 814981 w 1604593"/>
                  <a:gd name="connsiteY101" fmla="*/ 311416 h 1424254"/>
                  <a:gd name="connsiteX102" fmla="*/ 847768 w 1604593"/>
                  <a:gd name="connsiteY102" fmla="*/ 283970 h 1424254"/>
                  <a:gd name="connsiteX103" fmla="*/ 859281 w 1604593"/>
                  <a:gd name="connsiteY103" fmla="*/ 279549 h 1424254"/>
                  <a:gd name="connsiteX104" fmla="*/ 882724 w 1604593"/>
                  <a:gd name="connsiteY104" fmla="*/ 267620 h 1424254"/>
                  <a:gd name="connsiteX105" fmla="*/ 894653 w 1604593"/>
                  <a:gd name="connsiteY105" fmla="*/ 236588 h 1424254"/>
                  <a:gd name="connsiteX106" fmla="*/ 914593 w 1604593"/>
                  <a:gd name="connsiteY106" fmla="*/ 218902 h 1424254"/>
                  <a:gd name="connsiteX107" fmla="*/ 937618 w 1604593"/>
                  <a:gd name="connsiteY107" fmla="*/ 222406 h 1424254"/>
                  <a:gd name="connsiteX108" fmla="*/ 1000940 w 1604593"/>
                  <a:gd name="connsiteY108" fmla="*/ 213563 h 1424254"/>
                  <a:gd name="connsiteX109" fmla="*/ 1008948 w 1604593"/>
                  <a:gd name="connsiteY109" fmla="*/ 190956 h 1424254"/>
                  <a:gd name="connsiteX110" fmla="*/ 1014288 w 1604593"/>
                  <a:gd name="connsiteY110" fmla="*/ 175023 h 1424254"/>
                  <a:gd name="connsiteX111" fmla="*/ 1044822 w 1604593"/>
                  <a:gd name="connsiteY111" fmla="*/ 171937 h 1424254"/>
                  <a:gd name="connsiteX112" fmla="*/ 1051496 w 1604593"/>
                  <a:gd name="connsiteY112" fmla="*/ 173689 h 1424254"/>
                  <a:gd name="connsiteX113" fmla="*/ 1091792 w 1604593"/>
                  <a:gd name="connsiteY113" fmla="*/ 171019 h 1424254"/>
                  <a:gd name="connsiteX114" fmla="*/ 1132087 w 1604593"/>
                  <a:gd name="connsiteY114" fmla="*/ 172354 h 1424254"/>
                  <a:gd name="connsiteX115" fmla="*/ 1134757 w 1604593"/>
                  <a:gd name="connsiteY115" fmla="*/ 174106 h 1424254"/>
                  <a:gd name="connsiteX116" fmla="*/ 1204334 w 1604593"/>
                  <a:gd name="connsiteY116" fmla="*/ 177192 h 1424254"/>
                  <a:gd name="connsiteX117" fmla="*/ 1223856 w 1604593"/>
                  <a:gd name="connsiteY117" fmla="*/ 175440 h 1424254"/>
                  <a:gd name="connsiteX118" fmla="*/ 1238456 w 1604593"/>
                  <a:gd name="connsiteY118" fmla="*/ 178944 h 1424254"/>
                  <a:gd name="connsiteX119" fmla="*/ 1265069 w 1604593"/>
                  <a:gd name="connsiteY119" fmla="*/ 163010 h 1424254"/>
                  <a:gd name="connsiteX120" fmla="*/ 1271243 w 1604593"/>
                  <a:gd name="connsiteY120" fmla="*/ 154168 h 1424254"/>
                  <a:gd name="connsiteX121" fmla="*/ 1287177 w 1604593"/>
                  <a:gd name="connsiteY121" fmla="*/ 145326 h 1424254"/>
                  <a:gd name="connsiteX122" fmla="*/ 1307116 w 1604593"/>
                  <a:gd name="connsiteY122" fmla="*/ 134230 h 1424254"/>
                  <a:gd name="connsiteX123" fmla="*/ 1322633 w 1604593"/>
                  <a:gd name="connsiteY123" fmla="*/ 94773 h 1424254"/>
                  <a:gd name="connsiteX124" fmla="*/ 1323050 w 1604593"/>
                  <a:gd name="connsiteY124" fmla="*/ 86764 h 1424254"/>
                  <a:gd name="connsiteX125" fmla="*/ 1333229 w 1604593"/>
                  <a:gd name="connsiteY125" fmla="*/ 57567 h 1424254"/>
                  <a:gd name="connsiteX126" fmla="*/ 1345158 w 1604593"/>
                  <a:gd name="connsiteY126" fmla="*/ 50476 h 1424254"/>
                  <a:gd name="connsiteX127" fmla="*/ 1367267 w 1604593"/>
                  <a:gd name="connsiteY127" fmla="*/ 33208 h 1424254"/>
                  <a:gd name="connsiteX128" fmla="*/ 1404893 w 1604593"/>
                  <a:gd name="connsiteY128" fmla="*/ 7 h 1424254"/>
                  <a:gd name="connsiteX129" fmla="*/ 1408397 w 1604593"/>
                  <a:gd name="connsiteY129" fmla="*/ 7098 h 1424254"/>
                  <a:gd name="connsiteX130" fmla="*/ 1396466 w 1604593"/>
                  <a:gd name="connsiteY130" fmla="*/ 25284 h 1424254"/>
                  <a:gd name="connsiteX131" fmla="*/ 1381866 w 1604593"/>
                  <a:gd name="connsiteY131" fmla="*/ 51895 h 1424254"/>
                  <a:gd name="connsiteX132" fmla="*/ 1371272 w 1604593"/>
                  <a:gd name="connsiteY132" fmla="*/ 63406 h 1424254"/>
                  <a:gd name="connsiteX133" fmla="*/ 1370353 w 1604593"/>
                  <a:gd name="connsiteY133" fmla="*/ 82009 h 1424254"/>
                  <a:gd name="connsiteX134" fmla="*/ 1371272 w 1604593"/>
                  <a:gd name="connsiteY134" fmla="*/ 85096 h 1424254"/>
                  <a:gd name="connsiteX135" fmla="*/ 1372606 w 1604593"/>
                  <a:gd name="connsiteY135" fmla="*/ 95690 h 1424254"/>
                  <a:gd name="connsiteX136" fmla="*/ 1374859 w 1604593"/>
                  <a:gd name="connsiteY136" fmla="*/ 108537 h 1424254"/>
                  <a:gd name="connsiteX137" fmla="*/ 1392546 w 1604593"/>
                  <a:gd name="connsiteY137" fmla="*/ 128057 h 1424254"/>
                  <a:gd name="connsiteX138" fmla="*/ 1402723 w 1604593"/>
                  <a:gd name="connsiteY138" fmla="*/ 134230 h 1424254"/>
                  <a:gd name="connsiteX139" fmla="*/ 1412901 w 1604593"/>
                  <a:gd name="connsiteY139" fmla="*/ 156837 h 1424254"/>
                  <a:gd name="connsiteX140" fmla="*/ 1423079 w 1604593"/>
                  <a:gd name="connsiteY140" fmla="*/ 181613 h 1424254"/>
                  <a:gd name="connsiteX141" fmla="*/ 1431505 w 1604593"/>
                  <a:gd name="connsiteY141" fmla="*/ 194460 h 1424254"/>
                  <a:gd name="connsiteX142" fmla="*/ 1455866 w 1604593"/>
                  <a:gd name="connsiteY142" fmla="*/ 233918 h 1424254"/>
                  <a:gd name="connsiteX143" fmla="*/ 1461206 w 1604593"/>
                  <a:gd name="connsiteY143" fmla="*/ 246765 h 1424254"/>
                  <a:gd name="connsiteX144" fmla="*/ 1482897 w 1604593"/>
                  <a:gd name="connsiteY144" fmla="*/ 282636 h 1424254"/>
                  <a:gd name="connsiteX145" fmla="*/ 1517852 w 1604593"/>
                  <a:gd name="connsiteY145" fmla="*/ 288809 h 1424254"/>
                  <a:gd name="connsiteX146" fmla="*/ 1534704 w 1604593"/>
                  <a:gd name="connsiteY146" fmla="*/ 288392 h 1424254"/>
                  <a:gd name="connsiteX147" fmla="*/ 1544465 w 1604593"/>
                  <a:gd name="connsiteY147" fmla="*/ 293731 h 1424254"/>
                  <a:gd name="connsiteX148" fmla="*/ 1551557 w 1604593"/>
                  <a:gd name="connsiteY148" fmla="*/ 299904 h 1424254"/>
                  <a:gd name="connsiteX149" fmla="*/ 1567491 w 1604593"/>
                  <a:gd name="connsiteY149" fmla="*/ 306994 h 1424254"/>
                  <a:gd name="connsiteX150" fmla="*/ 1575500 w 1604593"/>
                  <a:gd name="connsiteY150" fmla="*/ 309664 h 1424254"/>
                  <a:gd name="connsiteX151" fmla="*/ 1600779 w 1604593"/>
                  <a:gd name="connsiteY151" fmla="*/ 382740 h 1424254"/>
                  <a:gd name="connsiteX152" fmla="*/ 1565322 w 1604593"/>
                  <a:gd name="connsiteY152" fmla="*/ 410686 h 1424254"/>
                  <a:gd name="connsiteX153" fmla="*/ 1524526 w 1604593"/>
                  <a:gd name="connsiteY153" fmla="*/ 438632 h 1424254"/>
                  <a:gd name="connsiteX154" fmla="*/ 1513013 w 1604593"/>
                  <a:gd name="connsiteY154" fmla="*/ 459487 h 1424254"/>
                  <a:gd name="connsiteX155" fmla="*/ 1499749 w 1604593"/>
                  <a:gd name="connsiteY155" fmla="*/ 482511 h 1424254"/>
                  <a:gd name="connsiteX156" fmla="*/ 1485149 w 1604593"/>
                  <a:gd name="connsiteY156" fmla="*/ 512209 h 1424254"/>
                  <a:gd name="connsiteX157" fmla="*/ 1476306 w 1604593"/>
                  <a:gd name="connsiteY157" fmla="*/ 533481 h 1424254"/>
                  <a:gd name="connsiteX158" fmla="*/ 1455032 w 1604593"/>
                  <a:gd name="connsiteY158" fmla="*/ 559175 h 1424254"/>
                  <a:gd name="connsiteX159" fmla="*/ 1442602 w 1604593"/>
                  <a:gd name="connsiteY159" fmla="*/ 572939 h 1424254"/>
                  <a:gd name="connsiteX160" fmla="*/ 1428419 w 1604593"/>
                  <a:gd name="connsiteY160" fmla="*/ 585369 h 1424254"/>
                  <a:gd name="connsiteX161" fmla="*/ 1406311 w 1604593"/>
                  <a:gd name="connsiteY161" fmla="*/ 609310 h 1424254"/>
                  <a:gd name="connsiteX162" fmla="*/ 1414737 w 1604593"/>
                  <a:gd name="connsiteY162" fmla="*/ 667788 h 1424254"/>
                  <a:gd name="connsiteX163" fmla="*/ 1440849 w 1604593"/>
                  <a:gd name="connsiteY163" fmla="*/ 683721 h 1424254"/>
                  <a:gd name="connsiteX164" fmla="*/ 1458536 w 1604593"/>
                  <a:gd name="connsiteY164" fmla="*/ 692564 h 1424254"/>
                  <a:gd name="connsiteX165" fmla="*/ 1458953 w 1604593"/>
                  <a:gd name="connsiteY165" fmla="*/ 769645 h 1424254"/>
                  <a:gd name="connsiteX166" fmla="*/ 1451862 w 1604593"/>
                  <a:gd name="connsiteY166" fmla="*/ 781574 h 1424254"/>
                  <a:gd name="connsiteX167" fmla="*/ 1430588 w 1604593"/>
                  <a:gd name="connsiteY167" fmla="*/ 810354 h 1424254"/>
                  <a:gd name="connsiteX168" fmla="*/ 1412901 w 1604593"/>
                  <a:gd name="connsiteY168" fmla="*/ 820531 h 1424254"/>
                  <a:gd name="connsiteX169" fmla="*/ 1385454 w 1604593"/>
                  <a:gd name="connsiteY169" fmla="*/ 838717 h 1424254"/>
                  <a:gd name="connsiteX170" fmla="*/ 1365098 w 1604593"/>
                  <a:gd name="connsiteY170" fmla="*/ 854233 h 1424254"/>
                  <a:gd name="connsiteX171" fmla="*/ 1349164 w 1604593"/>
                  <a:gd name="connsiteY171" fmla="*/ 864827 h 1424254"/>
                  <a:gd name="connsiteX172" fmla="*/ 1342990 w 1604593"/>
                  <a:gd name="connsiteY172" fmla="*/ 870166 h 1424254"/>
                  <a:gd name="connsiteX173" fmla="*/ 1329724 w 1604593"/>
                  <a:gd name="connsiteY173" fmla="*/ 877257 h 1424254"/>
                  <a:gd name="connsiteX174" fmla="*/ 1323551 w 1604593"/>
                  <a:gd name="connsiteY174" fmla="*/ 878175 h 1424254"/>
                  <a:gd name="connsiteX175" fmla="*/ 1304029 w 1604593"/>
                  <a:gd name="connsiteY175" fmla="*/ 885266 h 1424254"/>
                  <a:gd name="connsiteX176" fmla="*/ 1285008 w 1604593"/>
                  <a:gd name="connsiteY176" fmla="*/ 922054 h 1424254"/>
                  <a:gd name="connsiteX177" fmla="*/ 1281921 w 1604593"/>
                  <a:gd name="connsiteY177" fmla="*/ 931814 h 1424254"/>
                  <a:gd name="connsiteX178" fmla="*/ 1250469 w 1604593"/>
                  <a:gd name="connsiteY178" fmla="*/ 971272 h 1424254"/>
                  <a:gd name="connsiteX179" fmla="*/ 1216348 w 1604593"/>
                  <a:gd name="connsiteY179" fmla="*/ 1018238 h 1424254"/>
                  <a:gd name="connsiteX180" fmla="*/ 1214095 w 1604593"/>
                  <a:gd name="connsiteY180" fmla="*/ 1023577 h 1424254"/>
                  <a:gd name="connsiteX181" fmla="*/ 1194573 w 1604593"/>
                  <a:gd name="connsiteY181" fmla="*/ 1049687 h 1424254"/>
                  <a:gd name="connsiteX182" fmla="*/ 1179056 w 1604593"/>
                  <a:gd name="connsiteY182" fmla="*/ 1046184 h 1424254"/>
                  <a:gd name="connsiteX183" fmla="*/ 1151608 w 1604593"/>
                  <a:gd name="connsiteY183" fmla="*/ 1042680 h 1424254"/>
                  <a:gd name="connsiteX184" fmla="*/ 1120574 w 1604593"/>
                  <a:gd name="connsiteY184" fmla="*/ 1068374 h 1424254"/>
                  <a:gd name="connsiteX185" fmla="*/ 1110813 w 1604593"/>
                  <a:gd name="connsiteY185" fmla="*/ 1079468 h 1424254"/>
                  <a:gd name="connsiteX186" fmla="*/ 1076274 w 1604593"/>
                  <a:gd name="connsiteY186" fmla="*/ 1098989 h 1424254"/>
                  <a:gd name="connsiteX187" fmla="*/ 1067848 w 1604593"/>
                  <a:gd name="connsiteY187" fmla="*/ 1095485 h 1424254"/>
                  <a:gd name="connsiteX188" fmla="*/ 1055417 w 1604593"/>
                  <a:gd name="connsiteY188" fmla="*/ 1090647 h 1424254"/>
                  <a:gd name="connsiteX189" fmla="*/ 1034560 w 1604593"/>
                  <a:gd name="connsiteY189" fmla="*/ 1097737 h 1424254"/>
                  <a:gd name="connsiteX190" fmla="*/ 1029222 w 1604593"/>
                  <a:gd name="connsiteY190" fmla="*/ 1101241 h 1424254"/>
                  <a:gd name="connsiteX191" fmla="*/ 1015456 w 1604593"/>
                  <a:gd name="connsiteY191" fmla="*/ 1105245 h 1424254"/>
                  <a:gd name="connsiteX192" fmla="*/ 991513 w 1604593"/>
                  <a:gd name="connsiteY192" fmla="*/ 1117175 h 1424254"/>
                  <a:gd name="connsiteX193" fmla="*/ 990594 w 1604593"/>
                  <a:gd name="connsiteY193" fmla="*/ 1138447 h 1424254"/>
                  <a:gd name="connsiteX194" fmla="*/ 1000355 w 1604593"/>
                  <a:gd name="connsiteY194" fmla="*/ 1155297 h 1424254"/>
                  <a:gd name="connsiteX195" fmla="*/ 1008782 w 1604593"/>
                  <a:gd name="connsiteY195" fmla="*/ 1173900 h 1424254"/>
                  <a:gd name="connsiteX196" fmla="*/ 1002608 w 1604593"/>
                  <a:gd name="connsiteY196" fmla="*/ 1179656 h 1424254"/>
                  <a:gd name="connsiteX197" fmla="*/ 995100 w 1604593"/>
                  <a:gd name="connsiteY197" fmla="*/ 1186330 h 1424254"/>
                  <a:gd name="connsiteX198" fmla="*/ 985339 w 1604593"/>
                  <a:gd name="connsiteY198" fmla="*/ 1209771 h 1424254"/>
                  <a:gd name="connsiteX199" fmla="*/ 982669 w 1604593"/>
                  <a:gd name="connsiteY199" fmla="*/ 1219531 h 1424254"/>
                  <a:gd name="connsiteX200" fmla="*/ 981334 w 1604593"/>
                  <a:gd name="connsiteY200" fmla="*/ 1248728 h 1424254"/>
                  <a:gd name="connsiteX201" fmla="*/ 1007030 w 1604593"/>
                  <a:gd name="connsiteY201" fmla="*/ 1259824 h 1424254"/>
                  <a:gd name="connsiteX202" fmla="*/ 1013704 w 1604593"/>
                  <a:gd name="connsiteY202" fmla="*/ 1260241 h 1424254"/>
                  <a:gd name="connsiteX203" fmla="*/ 1034978 w 1604593"/>
                  <a:gd name="connsiteY203" fmla="*/ 1264662 h 1424254"/>
                  <a:gd name="connsiteX204" fmla="*/ 1034978 w 1604593"/>
                  <a:gd name="connsiteY204" fmla="*/ 1270835 h 1424254"/>
                  <a:gd name="connsiteX205" fmla="*/ 1013704 w 1604593"/>
                  <a:gd name="connsiteY205" fmla="*/ 1289438 h 1424254"/>
                  <a:gd name="connsiteX206" fmla="*/ 1000188 w 1604593"/>
                  <a:gd name="connsiteY206" fmla="*/ 1299031 h 142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</a:cxnLst>
                <a:rect l="l" t="t" r="r" b="b"/>
                <a:pathLst>
                  <a:path w="1604593" h="1424254" extrusionOk="0">
                    <a:moveTo>
                      <a:pt x="1000188" y="1299031"/>
                    </a:moveTo>
                    <a:cubicBezTo>
                      <a:pt x="978497" y="1315382"/>
                      <a:pt x="971406" y="1340241"/>
                      <a:pt x="969154" y="1365934"/>
                    </a:cubicBezTo>
                    <a:cubicBezTo>
                      <a:pt x="965650" y="1366351"/>
                      <a:pt x="962063" y="1366852"/>
                      <a:pt x="958976" y="1367269"/>
                    </a:cubicBezTo>
                    <a:cubicBezTo>
                      <a:pt x="949215" y="1369021"/>
                      <a:pt x="939454" y="1370356"/>
                      <a:pt x="930611" y="1367686"/>
                    </a:cubicBezTo>
                    <a:cubicBezTo>
                      <a:pt x="922601" y="1365017"/>
                      <a:pt x="916846" y="1358844"/>
                      <a:pt x="910672" y="1353088"/>
                    </a:cubicBezTo>
                    <a:cubicBezTo>
                      <a:pt x="905333" y="1347749"/>
                      <a:pt x="900076" y="1341993"/>
                      <a:pt x="892485" y="1337988"/>
                    </a:cubicBezTo>
                    <a:cubicBezTo>
                      <a:pt x="876551" y="1328646"/>
                      <a:pt x="858780" y="1330898"/>
                      <a:pt x="843763" y="1333567"/>
                    </a:cubicBezTo>
                    <a:cubicBezTo>
                      <a:pt x="837590" y="1334902"/>
                      <a:pt x="831333" y="1336237"/>
                      <a:pt x="825159" y="1337988"/>
                    </a:cubicBezTo>
                    <a:cubicBezTo>
                      <a:pt x="813646" y="1340658"/>
                      <a:pt x="802551" y="1343328"/>
                      <a:pt x="791038" y="1343745"/>
                    </a:cubicBezTo>
                    <a:lnTo>
                      <a:pt x="773769" y="1343745"/>
                    </a:lnTo>
                    <a:cubicBezTo>
                      <a:pt x="762256" y="1343745"/>
                      <a:pt x="750325" y="1343745"/>
                      <a:pt x="738312" y="1345079"/>
                    </a:cubicBezTo>
                    <a:cubicBezTo>
                      <a:pt x="704190" y="1349084"/>
                      <a:pt x="674491" y="1362764"/>
                      <a:pt x="641287" y="1389376"/>
                    </a:cubicBezTo>
                    <a:cubicBezTo>
                      <a:pt x="612087" y="1412817"/>
                      <a:pt x="588561" y="1428834"/>
                      <a:pt x="552687" y="1423077"/>
                    </a:cubicBezTo>
                    <a:cubicBezTo>
                      <a:pt x="542926" y="1421326"/>
                      <a:pt x="532331" y="1420408"/>
                      <a:pt x="521652" y="1419073"/>
                    </a:cubicBezTo>
                    <a:cubicBezTo>
                      <a:pt x="493287" y="1415987"/>
                      <a:pt x="464088" y="1412400"/>
                      <a:pt x="442814" y="1400471"/>
                    </a:cubicBezTo>
                    <a:cubicBezTo>
                      <a:pt x="418453" y="1386289"/>
                      <a:pt x="410945" y="1361013"/>
                      <a:pt x="406523" y="1334902"/>
                    </a:cubicBezTo>
                    <a:cubicBezTo>
                      <a:pt x="401685" y="1308791"/>
                      <a:pt x="394594" y="1268499"/>
                      <a:pt x="353797" y="1258739"/>
                    </a:cubicBezTo>
                    <a:cubicBezTo>
                      <a:pt x="340533" y="1255653"/>
                      <a:pt x="327685" y="1257405"/>
                      <a:pt x="315254" y="1258322"/>
                    </a:cubicBezTo>
                    <a:cubicBezTo>
                      <a:pt x="308163" y="1259240"/>
                      <a:pt x="300654" y="1259657"/>
                      <a:pt x="294397" y="1259657"/>
                    </a:cubicBezTo>
                    <a:cubicBezTo>
                      <a:pt x="278463" y="1259657"/>
                      <a:pt x="265615" y="1254318"/>
                      <a:pt x="251015" y="1246810"/>
                    </a:cubicBezTo>
                    <a:cubicBezTo>
                      <a:pt x="229324" y="1236215"/>
                      <a:pt x="206716" y="1235298"/>
                      <a:pt x="185025" y="1233963"/>
                    </a:cubicBezTo>
                    <a:cubicBezTo>
                      <a:pt x="168173" y="1233046"/>
                      <a:pt x="152239" y="1232628"/>
                      <a:pt x="136721" y="1227790"/>
                    </a:cubicBezTo>
                    <a:cubicBezTo>
                      <a:pt x="119869" y="1222952"/>
                      <a:pt x="103017" y="1215861"/>
                      <a:pt x="86665" y="1207852"/>
                    </a:cubicBezTo>
                    <a:cubicBezTo>
                      <a:pt x="84913" y="1206935"/>
                      <a:pt x="83161" y="1206101"/>
                      <a:pt x="81326" y="1205183"/>
                    </a:cubicBezTo>
                    <a:cubicBezTo>
                      <a:pt x="70730" y="1199427"/>
                      <a:pt x="55630" y="1191419"/>
                      <a:pt x="42365" y="1196341"/>
                    </a:cubicBezTo>
                    <a:cubicBezTo>
                      <a:pt x="37944" y="1197675"/>
                      <a:pt x="34357" y="1200345"/>
                      <a:pt x="32187" y="1203014"/>
                    </a:cubicBezTo>
                    <a:cubicBezTo>
                      <a:pt x="22009" y="1194589"/>
                      <a:pt x="13166" y="1185746"/>
                      <a:pt x="6492" y="1175068"/>
                    </a:cubicBezTo>
                    <a:cubicBezTo>
                      <a:pt x="-1517" y="1162639"/>
                      <a:pt x="-1934" y="1153796"/>
                      <a:pt x="4239" y="1139615"/>
                    </a:cubicBezTo>
                    <a:cubicBezTo>
                      <a:pt x="5157" y="1137362"/>
                      <a:pt x="6492" y="1135193"/>
                      <a:pt x="7326" y="1133442"/>
                    </a:cubicBezTo>
                    <a:cubicBezTo>
                      <a:pt x="10413" y="1128103"/>
                      <a:pt x="13500" y="1121929"/>
                      <a:pt x="14417" y="1114839"/>
                    </a:cubicBezTo>
                    <a:cubicBezTo>
                      <a:pt x="14834" y="1110000"/>
                      <a:pt x="14000" y="1105496"/>
                      <a:pt x="13500" y="1101575"/>
                    </a:cubicBezTo>
                    <a:cubicBezTo>
                      <a:pt x="13083" y="1098488"/>
                      <a:pt x="12582" y="1095819"/>
                      <a:pt x="12582" y="1093149"/>
                    </a:cubicBezTo>
                    <a:cubicBezTo>
                      <a:pt x="12999" y="1086976"/>
                      <a:pt x="15669" y="1082972"/>
                      <a:pt x="20591" y="1079385"/>
                    </a:cubicBezTo>
                    <a:cubicBezTo>
                      <a:pt x="22843" y="1077633"/>
                      <a:pt x="25430" y="1076298"/>
                      <a:pt x="29017" y="1074046"/>
                    </a:cubicBezTo>
                    <a:cubicBezTo>
                      <a:pt x="30351" y="1073128"/>
                      <a:pt x="31687" y="1072294"/>
                      <a:pt x="33021" y="1071794"/>
                    </a:cubicBezTo>
                    <a:lnTo>
                      <a:pt x="33021" y="1071377"/>
                    </a:lnTo>
                    <a:cubicBezTo>
                      <a:pt x="34357" y="1070459"/>
                      <a:pt x="36108" y="1069124"/>
                      <a:pt x="37860" y="1068290"/>
                    </a:cubicBezTo>
                    <a:cubicBezTo>
                      <a:pt x="50708" y="1058947"/>
                      <a:pt x="64891" y="1047018"/>
                      <a:pt x="80408" y="1031501"/>
                    </a:cubicBezTo>
                    <a:cubicBezTo>
                      <a:pt x="83077" y="1028832"/>
                      <a:pt x="86164" y="1025328"/>
                      <a:pt x="89251" y="1021742"/>
                    </a:cubicBezTo>
                    <a:cubicBezTo>
                      <a:pt x="99847" y="1009812"/>
                      <a:pt x="114029" y="993796"/>
                      <a:pt x="125542" y="996465"/>
                    </a:cubicBezTo>
                    <a:cubicBezTo>
                      <a:pt x="130881" y="998217"/>
                      <a:pt x="133968" y="1004473"/>
                      <a:pt x="137472" y="1013733"/>
                    </a:cubicBezTo>
                    <a:cubicBezTo>
                      <a:pt x="138806" y="1017237"/>
                      <a:pt x="140142" y="1021241"/>
                      <a:pt x="141893" y="1024327"/>
                    </a:cubicBezTo>
                    <a:cubicBezTo>
                      <a:pt x="149903" y="1038509"/>
                      <a:pt x="161833" y="1046434"/>
                      <a:pt x="173763" y="1054025"/>
                    </a:cubicBezTo>
                    <a:lnTo>
                      <a:pt x="175514" y="1055360"/>
                    </a:lnTo>
                    <a:cubicBezTo>
                      <a:pt x="190114" y="1064703"/>
                      <a:pt x="205632" y="1070876"/>
                      <a:pt x="220732" y="1076632"/>
                    </a:cubicBezTo>
                    <a:cubicBezTo>
                      <a:pt x="238919" y="1083723"/>
                      <a:pt x="255688" y="1090396"/>
                      <a:pt x="270788" y="1101908"/>
                    </a:cubicBezTo>
                    <a:cubicBezTo>
                      <a:pt x="274292" y="1104995"/>
                      <a:pt x="278296" y="1108582"/>
                      <a:pt x="281883" y="1112086"/>
                    </a:cubicBezTo>
                    <a:cubicBezTo>
                      <a:pt x="291644" y="1120928"/>
                      <a:pt x="301823" y="1130271"/>
                      <a:pt x="314254" y="1135527"/>
                    </a:cubicBezTo>
                    <a:cubicBezTo>
                      <a:pt x="327101" y="1140866"/>
                      <a:pt x="337696" y="1138613"/>
                      <a:pt x="347958" y="1137279"/>
                    </a:cubicBezTo>
                    <a:cubicBezTo>
                      <a:pt x="352796" y="1136361"/>
                      <a:pt x="357302" y="1135527"/>
                      <a:pt x="362557" y="1135527"/>
                    </a:cubicBezTo>
                    <a:cubicBezTo>
                      <a:pt x="375405" y="1135944"/>
                      <a:pt x="382914" y="1143035"/>
                      <a:pt x="392258" y="1153212"/>
                    </a:cubicBezTo>
                    <a:cubicBezTo>
                      <a:pt x="394927" y="1155882"/>
                      <a:pt x="397096" y="1158051"/>
                      <a:pt x="400266" y="1160720"/>
                    </a:cubicBezTo>
                    <a:cubicBezTo>
                      <a:pt x="411779" y="1171815"/>
                      <a:pt x="423709" y="1177571"/>
                      <a:pt x="436557" y="1183744"/>
                    </a:cubicBezTo>
                    <a:cubicBezTo>
                      <a:pt x="453827" y="1191752"/>
                      <a:pt x="455161" y="1196591"/>
                      <a:pt x="458248" y="1214777"/>
                    </a:cubicBezTo>
                    <a:cubicBezTo>
                      <a:pt x="460501" y="1226288"/>
                      <a:pt x="464422" y="1233379"/>
                      <a:pt x="470679" y="1238218"/>
                    </a:cubicBezTo>
                    <a:cubicBezTo>
                      <a:pt x="476852" y="1242639"/>
                      <a:pt x="484862" y="1243557"/>
                      <a:pt x="494622" y="1241721"/>
                    </a:cubicBezTo>
                    <a:cubicBezTo>
                      <a:pt x="518983" y="1237300"/>
                      <a:pt x="518983" y="1237717"/>
                      <a:pt x="527409" y="1259407"/>
                    </a:cubicBezTo>
                    <a:cubicBezTo>
                      <a:pt x="531414" y="1270001"/>
                      <a:pt x="537170" y="1276257"/>
                      <a:pt x="543761" y="1278009"/>
                    </a:cubicBezTo>
                    <a:cubicBezTo>
                      <a:pt x="545095" y="1278426"/>
                      <a:pt x="546848" y="1278426"/>
                      <a:pt x="548182" y="1278426"/>
                    </a:cubicBezTo>
                    <a:cubicBezTo>
                      <a:pt x="557943" y="1278426"/>
                      <a:pt x="566786" y="1270918"/>
                      <a:pt x="574796" y="1264245"/>
                    </a:cubicBezTo>
                    <a:cubicBezTo>
                      <a:pt x="577882" y="1261576"/>
                      <a:pt x="581470" y="1258489"/>
                      <a:pt x="584557" y="1256236"/>
                    </a:cubicBezTo>
                    <a:cubicBezTo>
                      <a:pt x="587643" y="1253984"/>
                      <a:pt x="591231" y="1252733"/>
                      <a:pt x="595151" y="1251398"/>
                    </a:cubicBezTo>
                    <a:cubicBezTo>
                      <a:pt x="603578" y="1247894"/>
                      <a:pt x="614173" y="1243390"/>
                      <a:pt x="618595" y="1231044"/>
                    </a:cubicBezTo>
                    <a:cubicBezTo>
                      <a:pt x="621264" y="1222618"/>
                      <a:pt x="620346" y="1215110"/>
                      <a:pt x="619512" y="1208437"/>
                    </a:cubicBezTo>
                    <a:cubicBezTo>
                      <a:pt x="618595" y="1200011"/>
                      <a:pt x="617760" y="1194255"/>
                      <a:pt x="621765" y="1188916"/>
                    </a:cubicBezTo>
                    <a:cubicBezTo>
                      <a:pt x="626186" y="1182743"/>
                      <a:pt x="634196" y="1178322"/>
                      <a:pt x="642121" y="1173400"/>
                    </a:cubicBezTo>
                    <a:cubicBezTo>
                      <a:pt x="647460" y="1170313"/>
                      <a:pt x="653217" y="1167227"/>
                      <a:pt x="658055" y="1163222"/>
                    </a:cubicBezTo>
                    <a:cubicBezTo>
                      <a:pt x="670903" y="1153045"/>
                      <a:pt x="681999" y="1140616"/>
                      <a:pt x="691760" y="1126434"/>
                    </a:cubicBezTo>
                    <a:cubicBezTo>
                      <a:pt x="702355" y="1110501"/>
                      <a:pt x="709029" y="1092315"/>
                      <a:pt x="715203" y="1074630"/>
                    </a:cubicBezTo>
                    <a:cubicBezTo>
                      <a:pt x="721877" y="1056027"/>
                      <a:pt x="728051" y="1038342"/>
                      <a:pt x="739146" y="1024161"/>
                    </a:cubicBezTo>
                    <a:cubicBezTo>
                      <a:pt x="744485" y="1017070"/>
                      <a:pt x="751576" y="1010396"/>
                      <a:pt x="759085" y="1003806"/>
                    </a:cubicBezTo>
                    <a:cubicBezTo>
                      <a:pt x="765259" y="998467"/>
                      <a:pt x="771933" y="992711"/>
                      <a:pt x="777273" y="986121"/>
                    </a:cubicBezTo>
                    <a:cubicBezTo>
                      <a:pt x="785698" y="976360"/>
                      <a:pt x="793207" y="966600"/>
                      <a:pt x="801215" y="956924"/>
                    </a:cubicBezTo>
                    <a:cubicBezTo>
                      <a:pt x="804720" y="952085"/>
                      <a:pt x="809225" y="947163"/>
                      <a:pt x="813146" y="942325"/>
                    </a:cubicBezTo>
                    <a:cubicBezTo>
                      <a:pt x="823741" y="929061"/>
                      <a:pt x="836589" y="913545"/>
                      <a:pt x="851689" y="899781"/>
                    </a:cubicBezTo>
                    <a:lnTo>
                      <a:pt x="854358" y="897528"/>
                    </a:lnTo>
                    <a:cubicBezTo>
                      <a:pt x="866789" y="886433"/>
                      <a:pt x="879136" y="874921"/>
                      <a:pt x="884893" y="857236"/>
                    </a:cubicBezTo>
                    <a:cubicBezTo>
                      <a:pt x="889315" y="843472"/>
                      <a:pt x="890232" y="829290"/>
                      <a:pt x="891567" y="815192"/>
                    </a:cubicBezTo>
                    <a:cubicBezTo>
                      <a:pt x="891984" y="808519"/>
                      <a:pt x="892485" y="801428"/>
                      <a:pt x="893319" y="795255"/>
                    </a:cubicBezTo>
                    <a:cubicBezTo>
                      <a:pt x="895989" y="777069"/>
                      <a:pt x="899076" y="757632"/>
                      <a:pt x="903497" y="735859"/>
                    </a:cubicBezTo>
                    <a:lnTo>
                      <a:pt x="905249" y="726516"/>
                    </a:lnTo>
                    <a:cubicBezTo>
                      <a:pt x="907919" y="711417"/>
                      <a:pt x="911006" y="695484"/>
                      <a:pt x="915844" y="681302"/>
                    </a:cubicBezTo>
                    <a:cubicBezTo>
                      <a:pt x="916762" y="679050"/>
                      <a:pt x="917596" y="676464"/>
                      <a:pt x="918931" y="673294"/>
                    </a:cubicBezTo>
                    <a:cubicBezTo>
                      <a:pt x="923353" y="662699"/>
                      <a:pt x="928692" y="649352"/>
                      <a:pt x="924270" y="637006"/>
                    </a:cubicBezTo>
                    <a:cubicBezTo>
                      <a:pt x="919849" y="624576"/>
                      <a:pt x="909670" y="621907"/>
                      <a:pt x="901245" y="619738"/>
                    </a:cubicBezTo>
                    <a:cubicBezTo>
                      <a:pt x="896406" y="618403"/>
                      <a:pt x="892402" y="617069"/>
                      <a:pt x="889315" y="614900"/>
                    </a:cubicBezTo>
                    <a:cubicBezTo>
                      <a:pt x="882641" y="609561"/>
                      <a:pt x="879971" y="598966"/>
                      <a:pt x="878219" y="588288"/>
                    </a:cubicBezTo>
                    <a:cubicBezTo>
                      <a:pt x="876467" y="579446"/>
                      <a:pt x="875966" y="570103"/>
                      <a:pt x="875549" y="561260"/>
                    </a:cubicBezTo>
                    <a:cubicBezTo>
                      <a:pt x="874631" y="543575"/>
                      <a:pt x="873797" y="524972"/>
                      <a:pt x="863619" y="507621"/>
                    </a:cubicBezTo>
                    <a:lnTo>
                      <a:pt x="861867" y="504534"/>
                    </a:lnTo>
                    <a:cubicBezTo>
                      <a:pt x="853441" y="490353"/>
                      <a:pt x="849020" y="482344"/>
                      <a:pt x="849937" y="465994"/>
                    </a:cubicBezTo>
                    <a:cubicBezTo>
                      <a:pt x="850354" y="460655"/>
                      <a:pt x="850354" y="454065"/>
                      <a:pt x="850354" y="448309"/>
                    </a:cubicBezTo>
                    <a:cubicBezTo>
                      <a:pt x="850354" y="438132"/>
                      <a:pt x="849937" y="427453"/>
                      <a:pt x="852607" y="419111"/>
                    </a:cubicBezTo>
                    <a:cubicBezTo>
                      <a:pt x="853024" y="417777"/>
                      <a:pt x="857445" y="414273"/>
                      <a:pt x="860115" y="412021"/>
                    </a:cubicBezTo>
                    <a:cubicBezTo>
                      <a:pt x="867207" y="405848"/>
                      <a:pt x="877385" y="397839"/>
                      <a:pt x="873881" y="386327"/>
                    </a:cubicBezTo>
                    <a:cubicBezTo>
                      <a:pt x="870794" y="376984"/>
                      <a:pt x="860616" y="373898"/>
                      <a:pt x="853941" y="371729"/>
                    </a:cubicBezTo>
                    <a:cubicBezTo>
                      <a:pt x="852190" y="370811"/>
                      <a:pt x="849520" y="370394"/>
                      <a:pt x="849103" y="369977"/>
                    </a:cubicBezTo>
                    <a:cubicBezTo>
                      <a:pt x="848185" y="369059"/>
                      <a:pt x="846850" y="367308"/>
                      <a:pt x="846016" y="365973"/>
                    </a:cubicBezTo>
                    <a:cubicBezTo>
                      <a:pt x="844681" y="363720"/>
                      <a:pt x="842929" y="361551"/>
                      <a:pt x="840677" y="359299"/>
                    </a:cubicBezTo>
                    <a:cubicBezTo>
                      <a:pt x="835838" y="354878"/>
                      <a:pt x="830082" y="352208"/>
                      <a:pt x="824742" y="349956"/>
                    </a:cubicBezTo>
                    <a:cubicBezTo>
                      <a:pt x="819403" y="347287"/>
                      <a:pt x="814147" y="345118"/>
                      <a:pt x="811478" y="341530"/>
                    </a:cubicBezTo>
                    <a:cubicBezTo>
                      <a:pt x="805304" y="332688"/>
                      <a:pt x="809725" y="319841"/>
                      <a:pt x="814981" y="311416"/>
                    </a:cubicBezTo>
                    <a:cubicBezTo>
                      <a:pt x="823407" y="298152"/>
                      <a:pt x="837590" y="289309"/>
                      <a:pt x="847768" y="283970"/>
                    </a:cubicBezTo>
                    <a:cubicBezTo>
                      <a:pt x="851272" y="282219"/>
                      <a:pt x="855277" y="280884"/>
                      <a:pt x="859281" y="279549"/>
                    </a:cubicBezTo>
                    <a:cubicBezTo>
                      <a:pt x="867290" y="276879"/>
                      <a:pt x="876551" y="274210"/>
                      <a:pt x="882724" y="267620"/>
                    </a:cubicBezTo>
                    <a:cubicBezTo>
                      <a:pt x="892902" y="257860"/>
                      <a:pt x="893819" y="246348"/>
                      <a:pt x="894653" y="236588"/>
                    </a:cubicBezTo>
                    <a:cubicBezTo>
                      <a:pt x="895572" y="223741"/>
                      <a:pt x="895989" y="218902"/>
                      <a:pt x="914593" y="218902"/>
                    </a:cubicBezTo>
                    <a:cubicBezTo>
                      <a:pt x="920767" y="218902"/>
                      <a:pt x="928775" y="220654"/>
                      <a:pt x="937618" y="222406"/>
                    </a:cubicBezTo>
                    <a:cubicBezTo>
                      <a:pt x="958892" y="226827"/>
                      <a:pt x="985423" y="232584"/>
                      <a:pt x="1000940" y="213563"/>
                    </a:cubicBezTo>
                    <a:cubicBezTo>
                      <a:pt x="1006279" y="206473"/>
                      <a:pt x="1007614" y="198047"/>
                      <a:pt x="1008948" y="190956"/>
                    </a:cubicBezTo>
                    <a:cubicBezTo>
                      <a:pt x="1009866" y="184283"/>
                      <a:pt x="1011201" y="179027"/>
                      <a:pt x="1014288" y="175023"/>
                    </a:cubicBezTo>
                    <a:cubicBezTo>
                      <a:pt x="1020962" y="166598"/>
                      <a:pt x="1030222" y="168350"/>
                      <a:pt x="1044822" y="171937"/>
                    </a:cubicBezTo>
                    <a:cubicBezTo>
                      <a:pt x="1047074" y="172854"/>
                      <a:pt x="1049244" y="173271"/>
                      <a:pt x="1051496" y="173689"/>
                    </a:cubicBezTo>
                    <a:cubicBezTo>
                      <a:pt x="1066096" y="176775"/>
                      <a:pt x="1078944" y="174106"/>
                      <a:pt x="1091792" y="171019"/>
                    </a:cubicBezTo>
                    <a:cubicBezTo>
                      <a:pt x="1106391" y="167933"/>
                      <a:pt x="1119239" y="165263"/>
                      <a:pt x="1132087" y="172354"/>
                    </a:cubicBezTo>
                    <a:lnTo>
                      <a:pt x="1134757" y="174106"/>
                    </a:lnTo>
                    <a:cubicBezTo>
                      <a:pt x="1160452" y="188704"/>
                      <a:pt x="1173299" y="196212"/>
                      <a:pt x="1204334" y="177192"/>
                    </a:cubicBezTo>
                    <a:cubicBezTo>
                      <a:pt x="1213178" y="171853"/>
                      <a:pt x="1216264" y="172771"/>
                      <a:pt x="1223856" y="175440"/>
                    </a:cubicBezTo>
                    <a:cubicBezTo>
                      <a:pt x="1227861" y="176775"/>
                      <a:pt x="1232699" y="178110"/>
                      <a:pt x="1238456" y="178944"/>
                    </a:cubicBezTo>
                    <a:cubicBezTo>
                      <a:pt x="1254807" y="180279"/>
                      <a:pt x="1260564" y="170518"/>
                      <a:pt x="1265069" y="163010"/>
                    </a:cubicBezTo>
                    <a:cubicBezTo>
                      <a:pt x="1266821" y="159924"/>
                      <a:pt x="1268573" y="156837"/>
                      <a:pt x="1271243" y="154168"/>
                    </a:cubicBezTo>
                    <a:cubicBezTo>
                      <a:pt x="1275247" y="149747"/>
                      <a:pt x="1281004" y="147495"/>
                      <a:pt x="1287177" y="145326"/>
                    </a:cubicBezTo>
                    <a:cubicBezTo>
                      <a:pt x="1294268" y="142239"/>
                      <a:pt x="1301359" y="139570"/>
                      <a:pt x="1307116" y="134230"/>
                    </a:cubicBezTo>
                    <a:cubicBezTo>
                      <a:pt x="1319547" y="123136"/>
                      <a:pt x="1321716" y="108120"/>
                      <a:pt x="1322633" y="94773"/>
                    </a:cubicBezTo>
                    <a:cubicBezTo>
                      <a:pt x="1323050" y="92103"/>
                      <a:pt x="1323050" y="89434"/>
                      <a:pt x="1323050" y="86764"/>
                    </a:cubicBezTo>
                    <a:cubicBezTo>
                      <a:pt x="1323467" y="73000"/>
                      <a:pt x="1324386" y="64157"/>
                      <a:pt x="1333229" y="57567"/>
                    </a:cubicBezTo>
                    <a:cubicBezTo>
                      <a:pt x="1337233" y="54481"/>
                      <a:pt x="1341238" y="52729"/>
                      <a:pt x="1345158" y="50476"/>
                    </a:cubicBezTo>
                    <a:cubicBezTo>
                      <a:pt x="1352250" y="46973"/>
                      <a:pt x="1359758" y="42468"/>
                      <a:pt x="1367267" y="33208"/>
                    </a:cubicBezTo>
                    <a:cubicBezTo>
                      <a:pt x="1394714" y="-1328"/>
                      <a:pt x="1404058" y="7"/>
                      <a:pt x="1404893" y="7"/>
                    </a:cubicBezTo>
                    <a:cubicBezTo>
                      <a:pt x="1405810" y="424"/>
                      <a:pt x="1407562" y="2676"/>
                      <a:pt x="1408397" y="7098"/>
                    </a:cubicBezTo>
                    <a:cubicBezTo>
                      <a:pt x="1409314" y="11102"/>
                      <a:pt x="1401722" y="19527"/>
                      <a:pt x="1396466" y="25284"/>
                    </a:cubicBezTo>
                    <a:cubicBezTo>
                      <a:pt x="1388958" y="33709"/>
                      <a:pt x="1380949" y="42551"/>
                      <a:pt x="1381866" y="51895"/>
                    </a:cubicBezTo>
                    <a:cubicBezTo>
                      <a:pt x="1377445" y="54564"/>
                      <a:pt x="1373440" y="58568"/>
                      <a:pt x="1371272" y="63406"/>
                    </a:cubicBezTo>
                    <a:cubicBezTo>
                      <a:pt x="1367768" y="70914"/>
                      <a:pt x="1369019" y="77171"/>
                      <a:pt x="1370353" y="82009"/>
                    </a:cubicBezTo>
                    <a:lnTo>
                      <a:pt x="1371272" y="85096"/>
                    </a:lnTo>
                    <a:cubicBezTo>
                      <a:pt x="1372189" y="88183"/>
                      <a:pt x="1372189" y="92187"/>
                      <a:pt x="1372606" y="95690"/>
                    </a:cubicBezTo>
                    <a:cubicBezTo>
                      <a:pt x="1373023" y="100111"/>
                      <a:pt x="1373524" y="104533"/>
                      <a:pt x="1374859" y="108537"/>
                    </a:cubicBezTo>
                    <a:cubicBezTo>
                      <a:pt x="1377946" y="121384"/>
                      <a:pt x="1385954" y="124888"/>
                      <a:pt x="1392546" y="128057"/>
                    </a:cubicBezTo>
                    <a:cubicBezTo>
                      <a:pt x="1396550" y="129392"/>
                      <a:pt x="1399637" y="131144"/>
                      <a:pt x="1402723" y="134230"/>
                    </a:cubicBezTo>
                    <a:cubicBezTo>
                      <a:pt x="1407145" y="139069"/>
                      <a:pt x="1409814" y="147995"/>
                      <a:pt x="1412901" y="156837"/>
                    </a:cubicBezTo>
                    <a:cubicBezTo>
                      <a:pt x="1415571" y="165263"/>
                      <a:pt x="1418241" y="174106"/>
                      <a:pt x="1423079" y="181613"/>
                    </a:cubicBezTo>
                    <a:cubicBezTo>
                      <a:pt x="1426166" y="186035"/>
                      <a:pt x="1428836" y="190039"/>
                      <a:pt x="1431505" y="194460"/>
                    </a:cubicBezTo>
                    <a:cubicBezTo>
                      <a:pt x="1440349" y="207307"/>
                      <a:pt x="1449192" y="220154"/>
                      <a:pt x="1455866" y="233918"/>
                    </a:cubicBezTo>
                    <a:cubicBezTo>
                      <a:pt x="1457618" y="237422"/>
                      <a:pt x="1459370" y="242343"/>
                      <a:pt x="1461206" y="246765"/>
                    </a:cubicBezTo>
                    <a:cubicBezTo>
                      <a:pt x="1466044" y="259195"/>
                      <a:pt x="1471801" y="273793"/>
                      <a:pt x="1482897" y="282636"/>
                    </a:cubicBezTo>
                    <a:cubicBezTo>
                      <a:pt x="1494826" y="291979"/>
                      <a:pt x="1506840" y="290644"/>
                      <a:pt x="1517852" y="288809"/>
                    </a:cubicBezTo>
                    <a:cubicBezTo>
                      <a:pt x="1523609" y="287891"/>
                      <a:pt x="1529366" y="287474"/>
                      <a:pt x="1534704" y="288392"/>
                    </a:cubicBezTo>
                    <a:cubicBezTo>
                      <a:pt x="1539543" y="289309"/>
                      <a:pt x="1540878" y="290644"/>
                      <a:pt x="1544465" y="293731"/>
                    </a:cubicBezTo>
                    <a:cubicBezTo>
                      <a:pt x="1546718" y="295983"/>
                      <a:pt x="1548470" y="297735"/>
                      <a:pt x="1551557" y="299904"/>
                    </a:cubicBezTo>
                    <a:cubicBezTo>
                      <a:pt x="1556896" y="303908"/>
                      <a:pt x="1562152" y="305242"/>
                      <a:pt x="1567491" y="306994"/>
                    </a:cubicBezTo>
                    <a:cubicBezTo>
                      <a:pt x="1570161" y="307912"/>
                      <a:pt x="1572330" y="308329"/>
                      <a:pt x="1575500" y="309664"/>
                    </a:cubicBezTo>
                    <a:cubicBezTo>
                      <a:pt x="1601613" y="320759"/>
                      <a:pt x="1610456" y="357964"/>
                      <a:pt x="1600779" y="382740"/>
                    </a:cubicBezTo>
                    <a:cubicBezTo>
                      <a:pt x="1594605" y="398256"/>
                      <a:pt x="1580839" y="404013"/>
                      <a:pt x="1565322" y="410686"/>
                    </a:cubicBezTo>
                    <a:cubicBezTo>
                      <a:pt x="1551140" y="416859"/>
                      <a:pt x="1534788" y="423533"/>
                      <a:pt x="1524526" y="438632"/>
                    </a:cubicBezTo>
                    <a:cubicBezTo>
                      <a:pt x="1519688" y="445306"/>
                      <a:pt x="1516100" y="452814"/>
                      <a:pt x="1513013" y="459487"/>
                    </a:cubicBezTo>
                    <a:cubicBezTo>
                      <a:pt x="1509009" y="467912"/>
                      <a:pt x="1505005" y="475420"/>
                      <a:pt x="1499749" y="482511"/>
                    </a:cubicBezTo>
                    <a:cubicBezTo>
                      <a:pt x="1491740" y="492271"/>
                      <a:pt x="1488653" y="502449"/>
                      <a:pt x="1485149" y="512209"/>
                    </a:cubicBezTo>
                    <a:cubicBezTo>
                      <a:pt x="1482479" y="519717"/>
                      <a:pt x="1480310" y="526807"/>
                      <a:pt x="1476306" y="533481"/>
                    </a:cubicBezTo>
                    <a:cubicBezTo>
                      <a:pt x="1470967" y="541907"/>
                      <a:pt x="1463041" y="550749"/>
                      <a:pt x="1455032" y="559175"/>
                    </a:cubicBezTo>
                    <a:cubicBezTo>
                      <a:pt x="1450610" y="563596"/>
                      <a:pt x="1446189" y="568518"/>
                      <a:pt x="1442602" y="572939"/>
                    </a:cubicBezTo>
                    <a:cubicBezTo>
                      <a:pt x="1439098" y="577360"/>
                      <a:pt x="1433758" y="581364"/>
                      <a:pt x="1428419" y="585369"/>
                    </a:cubicBezTo>
                    <a:cubicBezTo>
                      <a:pt x="1419992" y="592042"/>
                      <a:pt x="1411150" y="598633"/>
                      <a:pt x="1406311" y="609310"/>
                    </a:cubicBezTo>
                    <a:cubicBezTo>
                      <a:pt x="1398301" y="626161"/>
                      <a:pt x="1401889" y="652272"/>
                      <a:pt x="1414737" y="667788"/>
                    </a:cubicBezTo>
                    <a:cubicBezTo>
                      <a:pt x="1421828" y="676631"/>
                      <a:pt x="1432006" y="680218"/>
                      <a:pt x="1440849" y="683721"/>
                    </a:cubicBezTo>
                    <a:cubicBezTo>
                      <a:pt x="1447523" y="686391"/>
                      <a:pt x="1453697" y="688560"/>
                      <a:pt x="1458536" y="692564"/>
                    </a:cubicBezTo>
                    <a:cubicBezTo>
                      <a:pt x="1481978" y="712919"/>
                      <a:pt x="1471384" y="749707"/>
                      <a:pt x="1458953" y="769645"/>
                    </a:cubicBezTo>
                    <a:cubicBezTo>
                      <a:pt x="1456283" y="773148"/>
                      <a:pt x="1454114" y="777653"/>
                      <a:pt x="1451862" y="781574"/>
                    </a:cubicBezTo>
                    <a:cubicBezTo>
                      <a:pt x="1445688" y="792669"/>
                      <a:pt x="1439431" y="804181"/>
                      <a:pt x="1430588" y="810354"/>
                    </a:cubicBezTo>
                    <a:cubicBezTo>
                      <a:pt x="1424831" y="814775"/>
                      <a:pt x="1419075" y="817444"/>
                      <a:pt x="1412901" y="820531"/>
                    </a:cubicBezTo>
                    <a:cubicBezTo>
                      <a:pt x="1404058" y="824952"/>
                      <a:pt x="1394714" y="829874"/>
                      <a:pt x="1385454" y="838717"/>
                    </a:cubicBezTo>
                    <a:cubicBezTo>
                      <a:pt x="1379280" y="844890"/>
                      <a:pt x="1372606" y="849311"/>
                      <a:pt x="1365098" y="854233"/>
                    </a:cubicBezTo>
                    <a:cubicBezTo>
                      <a:pt x="1359758" y="857320"/>
                      <a:pt x="1354502" y="860907"/>
                      <a:pt x="1349164" y="864827"/>
                    </a:cubicBezTo>
                    <a:cubicBezTo>
                      <a:pt x="1346911" y="867080"/>
                      <a:pt x="1344741" y="868331"/>
                      <a:pt x="1342990" y="870166"/>
                    </a:cubicBezTo>
                    <a:cubicBezTo>
                      <a:pt x="1338568" y="874170"/>
                      <a:pt x="1336316" y="876339"/>
                      <a:pt x="1329724" y="877257"/>
                    </a:cubicBezTo>
                    <a:cubicBezTo>
                      <a:pt x="1327473" y="877674"/>
                      <a:pt x="1325303" y="878175"/>
                      <a:pt x="1323551" y="878175"/>
                    </a:cubicBezTo>
                    <a:cubicBezTo>
                      <a:pt x="1317795" y="878592"/>
                      <a:pt x="1311120" y="879510"/>
                      <a:pt x="1304029" y="885266"/>
                    </a:cubicBezTo>
                    <a:cubicBezTo>
                      <a:pt x="1292099" y="895025"/>
                      <a:pt x="1288512" y="909207"/>
                      <a:pt x="1285008" y="922054"/>
                    </a:cubicBezTo>
                    <a:cubicBezTo>
                      <a:pt x="1284091" y="925140"/>
                      <a:pt x="1282755" y="928728"/>
                      <a:pt x="1281921" y="931814"/>
                    </a:cubicBezTo>
                    <a:cubicBezTo>
                      <a:pt x="1275748" y="950000"/>
                      <a:pt x="1265570" y="958842"/>
                      <a:pt x="1250469" y="971272"/>
                    </a:cubicBezTo>
                    <a:cubicBezTo>
                      <a:pt x="1234118" y="985037"/>
                      <a:pt x="1224774" y="997883"/>
                      <a:pt x="1216348" y="1018238"/>
                    </a:cubicBezTo>
                    <a:lnTo>
                      <a:pt x="1214095" y="1023577"/>
                    </a:lnTo>
                    <a:cubicBezTo>
                      <a:pt x="1209674" y="1034672"/>
                      <a:pt x="1204334" y="1048353"/>
                      <a:pt x="1194573" y="1049687"/>
                    </a:cubicBezTo>
                    <a:cubicBezTo>
                      <a:pt x="1189734" y="1050105"/>
                      <a:pt x="1184813" y="1048353"/>
                      <a:pt x="1179056" y="1046184"/>
                    </a:cubicBezTo>
                    <a:cubicBezTo>
                      <a:pt x="1171047" y="1043097"/>
                      <a:pt x="1162204" y="1039510"/>
                      <a:pt x="1151608" y="1042680"/>
                    </a:cubicBezTo>
                    <a:cubicBezTo>
                      <a:pt x="1137843" y="1046684"/>
                      <a:pt x="1128583" y="1058196"/>
                      <a:pt x="1120574" y="1068374"/>
                    </a:cubicBezTo>
                    <a:cubicBezTo>
                      <a:pt x="1117487" y="1072378"/>
                      <a:pt x="1113900" y="1076382"/>
                      <a:pt x="1110813" y="1079468"/>
                    </a:cubicBezTo>
                    <a:cubicBezTo>
                      <a:pt x="1098382" y="1091898"/>
                      <a:pt x="1085535" y="1098989"/>
                      <a:pt x="1076274" y="1098989"/>
                    </a:cubicBezTo>
                    <a:cubicBezTo>
                      <a:pt x="1073187" y="1098572"/>
                      <a:pt x="1071435" y="1097654"/>
                      <a:pt x="1067848" y="1095485"/>
                    </a:cubicBezTo>
                    <a:cubicBezTo>
                      <a:pt x="1064761" y="1093233"/>
                      <a:pt x="1060757" y="1091064"/>
                      <a:pt x="1055417" y="1090647"/>
                    </a:cubicBezTo>
                    <a:cubicBezTo>
                      <a:pt x="1045239" y="1089312"/>
                      <a:pt x="1039483" y="1093733"/>
                      <a:pt x="1034560" y="1097737"/>
                    </a:cubicBezTo>
                    <a:cubicBezTo>
                      <a:pt x="1032809" y="1099072"/>
                      <a:pt x="1031056" y="1100407"/>
                      <a:pt x="1029222" y="1101241"/>
                    </a:cubicBezTo>
                    <a:cubicBezTo>
                      <a:pt x="1025718" y="1103494"/>
                      <a:pt x="1020378" y="1104328"/>
                      <a:pt x="1015456" y="1105245"/>
                    </a:cubicBezTo>
                    <a:cubicBezTo>
                      <a:pt x="1006612" y="1106997"/>
                      <a:pt x="996851" y="1108749"/>
                      <a:pt x="991513" y="1117175"/>
                    </a:cubicBezTo>
                    <a:cubicBezTo>
                      <a:pt x="988426" y="1122513"/>
                      <a:pt x="988008" y="1129604"/>
                      <a:pt x="990594" y="1138447"/>
                    </a:cubicBezTo>
                    <a:cubicBezTo>
                      <a:pt x="992347" y="1144620"/>
                      <a:pt x="996351" y="1149959"/>
                      <a:pt x="1000355" y="1155297"/>
                    </a:cubicBezTo>
                    <a:cubicBezTo>
                      <a:pt x="1006529" y="1163723"/>
                      <a:pt x="1010534" y="1169062"/>
                      <a:pt x="1008782" y="1173900"/>
                    </a:cubicBezTo>
                    <a:cubicBezTo>
                      <a:pt x="1007864" y="1175652"/>
                      <a:pt x="1005278" y="1177905"/>
                      <a:pt x="1002608" y="1179656"/>
                    </a:cubicBezTo>
                    <a:cubicBezTo>
                      <a:pt x="999938" y="1181909"/>
                      <a:pt x="997268" y="1184078"/>
                      <a:pt x="995100" y="1186330"/>
                    </a:cubicBezTo>
                    <a:cubicBezTo>
                      <a:pt x="989343" y="1193838"/>
                      <a:pt x="987091" y="1201846"/>
                      <a:pt x="985339" y="1209771"/>
                    </a:cubicBezTo>
                    <a:cubicBezTo>
                      <a:pt x="984421" y="1212858"/>
                      <a:pt x="984004" y="1216445"/>
                      <a:pt x="982669" y="1219531"/>
                    </a:cubicBezTo>
                    <a:cubicBezTo>
                      <a:pt x="979166" y="1229709"/>
                      <a:pt x="975995" y="1240386"/>
                      <a:pt x="981334" y="1248728"/>
                    </a:cubicBezTo>
                    <a:cubicBezTo>
                      <a:pt x="986674" y="1256737"/>
                      <a:pt x="997686" y="1258906"/>
                      <a:pt x="1007030" y="1259824"/>
                    </a:cubicBezTo>
                    <a:cubicBezTo>
                      <a:pt x="1009282" y="1260241"/>
                      <a:pt x="1011451" y="1260241"/>
                      <a:pt x="1013704" y="1260241"/>
                    </a:cubicBezTo>
                    <a:cubicBezTo>
                      <a:pt x="1020795" y="1260658"/>
                      <a:pt x="1031891" y="1261158"/>
                      <a:pt x="1034978" y="1264662"/>
                    </a:cubicBezTo>
                    <a:cubicBezTo>
                      <a:pt x="1035896" y="1265997"/>
                      <a:pt x="1035896" y="1267749"/>
                      <a:pt x="1034978" y="1270835"/>
                    </a:cubicBezTo>
                    <a:cubicBezTo>
                      <a:pt x="1033226" y="1277926"/>
                      <a:pt x="1022547" y="1284599"/>
                      <a:pt x="1013704" y="1289438"/>
                    </a:cubicBezTo>
                    <a:cubicBezTo>
                      <a:pt x="1006779" y="1294610"/>
                      <a:pt x="1002775" y="1296862"/>
                      <a:pt x="1000188" y="129903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78734188" name="Полилиния 412"/>
              <p:cNvSpPr/>
              <p:nvPr/>
            </p:nvSpPr>
            <p:spPr bwMode="auto">
              <a:xfrm>
                <a:off x="7684112" y="4726868"/>
                <a:ext cx="1022562" cy="1494776"/>
              </a:xfrm>
              <a:custGeom>
                <a:avLst/>
                <a:gdLst>
                  <a:gd name="connsiteX0" fmla="*/ 1107658 w 1148370"/>
                  <a:gd name="connsiteY0" fmla="*/ 1005467 h 1678683"/>
                  <a:gd name="connsiteX1" fmla="*/ 1111162 w 1148370"/>
                  <a:gd name="connsiteY1" fmla="*/ 935895 h 1678683"/>
                  <a:gd name="connsiteX2" fmla="*/ 1122675 w 1148370"/>
                  <a:gd name="connsiteY2" fmla="*/ 892933 h 1678683"/>
                  <a:gd name="connsiteX3" fmla="*/ 1129766 w 1148370"/>
                  <a:gd name="connsiteY3" fmla="*/ 826530 h 1678683"/>
                  <a:gd name="connsiteX4" fmla="*/ 1104488 w 1148370"/>
                  <a:gd name="connsiteY4" fmla="*/ 783986 h 1678683"/>
                  <a:gd name="connsiteX5" fmla="*/ 1075706 w 1148370"/>
                  <a:gd name="connsiteY5" fmla="*/ 777813 h 1678683"/>
                  <a:gd name="connsiteX6" fmla="*/ 1071285 w 1148370"/>
                  <a:gd name="connsiteY6" fmla="*/ 778230 h 1678683"/>
                  <a:gd name="connsiteX7" fmla="*/ 1039415 w 1148370"/>
                  <a:gd name="connsiteY7" fmla="*/ 764465 h 1678683"/>
                  <a:gd name="connsiteX8" fmla="*/ 1091223 w 1148370"/>
                  <a:gd name="connsiteY8" fmla="*/ 640419 h 1678683"/>
                  <a:gd name="connsiteX9" fmla="*/ 1148370 w 1148370"/>
                  <a:gd name="connsiteY9" fmla="*/ 584194 h 1678683"/>
                  <a:gd name="connsiteX10" fmla="*/ 1139528 w 1148370"/>
                  <a:gd name="connsiteY10" fmla="*/ 570012 h 1678683"/>
                  <a:gd name="connsiteX11" fmla="*/ 1136023 w 1148370"/>
                  <a:gd name="connsiteY11" fmla="*/ 563839 h 1678683"/>
                  <a:gd name="connsiteX12" fmla="*/ 1101484 w 1148370"/>
                  <a:gd name="connsiteY12" fmla="*/ 525299 h 1678683"/>
                  <a:gd name="connsiteX13" fmla="*/ 1097063 w 1148370"/>
                  <a:gd name="connsiteY13" fmla="*/ 523047 h 1678683"/>
                  <a:gd name="connsiteX14" fmla="*/ 1078459 w 1148370"/>
                  <a:gd name="connsiteY14" fmla="*/ 507113 h 1678683"/>
                  <a:gd name="connsiteX15" fmla="*/ 1076206 w 1148370"/>
                  <a:gd name="connsiteY15" fmla="*/ 493349 h 1678683"/>
                  <a:gd name="connsiteX16" fmla="*/ 1075289 w 1148370"/>
                  <a:gd name="connsiteY16" fmla="*/ 485340 h 1678683"/>
                  <a:gd name="connsiteX17" fmla="*/ 1071785 w 1148370"/>
                  <a:gd name="connsiteY17" fmla="*/ 480502 h 1678683"/>
                  <a:gd name="connsiteX18" fmla="*/ 1063776 w 1148370"/>
                  <a:gd name="connsiteY18" fmla="*/ 466321 h 1678683"/>
                  <a:gd name="connsiteX19" fmla="*/ 1075706 w 1148370"/>
                  <a:gd name="connsiteY19" fmla="*/ 445966 h 1678683"/>
                  <a:gd name="connsiteX20" fmla="*/ 1080545 w 1148370"/>
                  <a:gd name="connsiteY20" fmla="*/ 441962 h 1678683"/>
                  <a:gd name="connsiteX21" fmla="*/ 1084049 w 1148370"/>
                  <a:gd name="connsiteY21" fmla="*/ 434871 h 1678683"/>
                  <a:gd name="connsiteX22" fmla="*/ 1065445 w 1148370"/>
                  <a:gd name="connsiteY22" fmla="*/ 417603 h 1678683"/>
                  <a:gd name="connsiteX23" fmla="*/ 1034410 w 1148370"/>
                  <a:gd name="connsiteY23" fmla="*/ 377728 h 1678683"/>
                  <a:gd name="connsiteX24" fmla="*/ 1036662 w 1148370"/>
                  <a:gd name="connsiteY24" fmla="*/ 367134 h 1678683"/>
                  <a:gd name="connsiteX25" fmla="*/ 1036245 w 1148370"/>
                  <a:gd name="connsiteY25" fmla="*/ 355204 h 1678683"/>
                  <a:gd name="connsiteX26" fmla="*/ 1029154 w 1148370"/>
                  <a:gd name="connsiteY26" fmla="*/ 345862 h 1678683"/>
                  <a:gd name="connsiteX27" fmla="*/ 1018976 w 1148370"/>
                  <a:gd name="connsiteY27" fmla="*/ 331680 h 1678683"/>
                  <a:gd name="connsiteX28" fmla="*/ 1015472 w 1148370"/>
                  <a:gd name="connsiteY28" fmla="*/ 323672 h 1678683"/>
                  <a:gd name="connsiteX29" fmla="*/ 988441 w 1148370"/>
                  <a:gd name="connsiteY29" fmla="*/ 302399 h 1678683"/>
                  <a:gd name="connsiteX30" fmla="*/ 980432 w 1148370"/>
                  <a:gd name="connsiteY30" fmla="*/ 305903 h 1678683"/>
                  <a:gd name="connsiteX31" fmla="*/ 941472 w 1148370"/>
                  <a:gd name="connsiteY31" fmla="*/ 299730 h 1678683"/>
                  <a:gd name="connsiteX32" fmla="*/ 931294 w 1148370"/>
                  <a:gd name="connsiteY32" fmla="*/ 277123 h 1678683"/>
                  <a:gd name="connsiteX33" fmla="*/ 917111 w 1148370"/>
                  <a:gd name="connsiteY33" fmla="*/ 253181 h 1678683"/>
                  <a:gd name="connsiteX34" fmla="*/ 874563 w 1148370"/>
                  <a:gd name="connsiteY34" fmla="*/ 274453 h 1678683"/>
                  <a:gd name="connsiteX35" fmla="*/ 835604 w 1148370"/>
                  <a:gd name="connsiteY35" fmla="*/ 304151 h 1678683"/>
                  <a:gd name="connsiteX36" fmla="*/ 834685 w 1148370"/>
                  <a:gd name="connsiteY36" fmla="*/ 304151 h 1678683"/>
                  <a:gd name="connsiteX37" fmla="*/ 808990 w 1148370"/>
                  <a:gd name="connsiteY37" fmla="*/ 283797 h 1678683"/>
                  <a:gd name="connsiteX38" fmla="*/ 817416 w 1148370"/>
                  <a:gd name="connsiteY38" fmla="*/ 248843 h 1678683"/>
                  <a:gd name="connsiteX39" fmla="*/ 823590 w 1148370"/>
                  <a:gd name="connsiteY39" fmla="*/ 244422 h 1678683"/>
                  <a:gd name="connsiteX40" fmla="*/ 831599 w 1148370"/>
                  <a:gd name="connsiteY40" fmla="*/ 237748 h 1678683"/>
                  <a:gd name="connsiteX41" fmla="*/ 828512 w 1148370"/>
                  <a:gd name="connsiteY41" fmla="*/ 232910 h 1678683"/>
                  <a:gd name="connsiteX42" fmla="*/ 795308 w 1148370"/>
                  <a:gd name="connsiteY42" fmla="*/ 223150 h 1678683"/>
                  <a:gd name="connsiteX43" fmla="*/ 752760 w 1148370"/>
                  <a:gd name="connsiteY43" fmla="*/ 209886 h 1678683"/>
                  <a:gd name="connsiteX44" fmla="*/ 733239 w 1148370"/>
                  <a:gd name="connsiteY44" fmla="*/ 182441 h 1678683"/>
                  <a:gd name="connsiteX45" fmla="*/ 731903 w 1148370"/>
                  <a:gd name="connsiteY45" fmla="*/ 179771 h 1678683"/>
                  <a:gd name="connsiteX46" fmla="*/ 727065 w 1148370"/>
                  <a:gd name="connsiteY46" fmla="*/ 169177 h 1678683"/>
                  <a:gd name="connsiteX47" fmla="*/ 724812 w 1148370"/>
                  <a:gd name="connsiteY47" fmla="*/ 164756 h 1678683"/>
                  <a:gd name="connsiteX48" fmla="*/ 705291 w 1148370"/>
                  <a:gd name="connsiteY48" fmla="*/ 141314 h 1678683"/>
                  <a:gd name="connsiteX49" fmla="*/ 687604 w 1148370"/>
                  <a:gd name="connsiteY49" fmla="*/ 121377 h 1678683"/>
                  <a:gd name="connsiteX50" fmla="*/ 653065 w 1148370"/>
                  <a:gd name="connsiteY50" fmla="*/ 91679 h 1678683"/>
                  <a:gd name="connsiteX51" fmla="*/ 606513 w 1148370"/>
                  <a:gd name="connsiteY51" fmla="*/ 54056 h 1678683"/>
                  <a:gd name="connsiteX52" fmla="*/ 598504 w 1148370"/>
                  <a:gd name="connsiteY52" fmla="*/ 32367 h 1678683"/>
                  <a:gd name="connsiteX53" fmla="*/ 586575 w 1148370"/>
                  <a:gd name="connsiteY53" fmla="*/ 0 h 1678683"/>
                  <a:gd name="connsiteX54" fmla="*/ 532513 w 1148370"/>
                  <a:gd name="connsiteY54" fmla="*/ 14181 h 1678683"/>
                  <a:gd name="connsiteX55" fmla="*/ 519249 w 1148370"/>
                  <a:gd name="connsiteY55" fmla="*/ 11512 h 1678683"/>
                  <a:gd name="connsiteX56" fmla="*/ 487380 w 1148370"/>
                  <a:gd name="connsiteY56" fmla="*/ 11929 h 1678683"/>
                  <a:gd name="connsiteX57" fmla="*/ 470110 w 1148370"/>
                  <a:gd name="connsiteY57" fmla="*/ 39875 h 1678683"/>
                  <a:gd name="connsiteX58" fmla="*/ 472363 w 1148370"/>
                  <a:gd name="connsiteY58" fmla="*/ 46548 h 1678683"/>
                  <a:gd name="connsiteX59" fmla="*/ 475033 w 1148370"/>
                  <a:gd name="connsiteY59" fmla="*/ 59396 h 1678683"/>
                  <a:gd name="connsiteX60" fmla="*/ 472363 w 1148370"/>
                  <a:gd name="connsiteY60" fmla="*/ 71325 h 1678683"/>
                  <a:gd name="connsiteX61" fmla="*/ 471028 w 1148370"/>
                  <a:gd name="connsiteY61" fmla="*/ 77998 h 1678683"/>
                  <a:gd name="connsiteX62" fmla="*/ 472363 w 1148370"/>
                  <a:gd name="connsiteY62" fmla="*/ 86841 h 1678683"/>
                  <a:gd name="connsiteX63" fmla="*/ 474616 w 1148370"/>
                  <a:gd name="connsiteY63" fmla="*/ 97435 h 1678683"/>
                  <a:gd name="connsiteX64" fmla="*/ 471946 w 1148370"/>
                  <a:gd name="connsiteY64" fmla="*/ 112534 h 1678683"/>
                  <a:gd name="connsiteX65" fmla="*/ 470194 w 1148370"/>
                  <a:gd name="connsiteY65" fmla="*/ 119625 h 1678683"/>
                  <a:gd name="connsiteX66" fmla="*/ 511407 w 1148370"/>
                  <a:gd name="connsiteY66" fmla="*/ 173682 h 1678683"/>
                  <a:gd name="connsiteX67" fmla="*/ 521168 w 1148370"/>
                  <a:gd name="connsiteY67" fmla="*/ 174599 h 1678683"/>
                  <a:gd name="connsiteX68" fmla="*/ 545528 w 1148370"/>
                  <a:gd name="connsiteY68" fmla="*/ 183025 h 1678683"/>
                  <a:gd name="connsiteX69" fmla="*/ 549033 w 1148370"/>
                  <a:gd name="connsiteY69" fmla="*/ 199375 h 1678683"/>
                  <a:gd name="connsiteX70" fmla="*/ 549033 w 1148370"/>
                  <a:gd name="connsiteY70" fmla="*/ 204714 h 1678683"/>
                  <a:gd name="connsiteX71" fmla="*/ 553037 w 1148370"/>
                  <a:gd name="connsiteY71" fmla="*/ 212222 h 1678683"/>
                  <a:gd name="connsiteX72" fmla="*/ 557875 w 1148370"/>
                  <a:gd name="connsiteY72" fmla="*/ 220230 h 1678683"/>
                  <a:gd name="connsiteX73" fmla="*/ 545946 w 1148370"/>
                  <a:gd name="connsiteY73" fmla="*/ 257853 h 1678683"/>
                  <a:gd name="connsiteX74" fmla="*/ 530845 w 1148370"/>
                  <a:gd name="connsiteY74" fmla="*/ 275121 h 1678683"/>
                  <a:gd name="connsiteX75" fmla="*/ 516245 w 1148370"/>
                  <a:gd name="connsiteY75" fmla="*/ 292389 h 1678683"/>
                  <a:gd name="connsiteX76" fmla="*/ 470194 w 1148370"/>
                  <a:gd name="connsiteY76" fmla="*/ 306987 h 1678683"/>
                  <a:gd name="connsiteX77" fmla="*/ 462686 w 1148370"/>
                  <a:gd name="connsiteY77" fmla="*/ 307405 h 1678683"/>
                  <a:gd name="connsiteX78" fmla="*/ 448503 w 1148370"/>
                  <a:gd name="connsiteY78" fmla="*/ 309657 h 1678683"/>
                  <a:gd name="connsiteX79" fmla="*/ 413047 w 1148370"/>
                  <a:gd name="connsiteY79" fmla="*/ 310992 h 1678683"/>
                  <a:gd name="connsiteX80" fmla="*/ 402451 w 1148370"/>
                  <a:gd name="connsiteY80" fmla="*/ 305653 h 1678683"/>
                  <a:gd name="connsiteX81" fmla="*/ 397613 w 1148370"/>
                  <a:gd name="connsiteY81" fmla="*/ 310992 h 1678683"/>
                  <a:gd name="connsiteX82" fmla="*/ 398030 w 1148370"/>
                  <a:gd name="connsiteY82" fmla="*/ 319834 h 1678683"/>
                  <a:gd name="connsiteX83" fmla="*/ 398947 w 1148370"/>
                  <a:gd name="connsiteY83" fmla="*/ 323338 h 1678683"/>
                  <a:gd name="connsiteX84" fmla="*/ 400699 w 1148370"/>
                  <a:gd name="connsiteY84" fmla="*/ 335768 h 1678683"/>
                  <a:gd name="connsiteX85" fmla="*/ 402451 w 1148370"/>
                  <a:gd name="connsiteY85" fmla="*/ 346862 h 1678683"/>
                  <a:gd name="connsiteX86" fmla="*/ 412212 w 1148370"/>
                  <a:gd name="connsiteY86" fmla="*/ 356206 h 1678683"/>
                  <a:gd name="connsiteX87" fmla="*/ 427730 w 1148370"/>
                  <a:gd name="connsiteY87" fmla="*/ 366383 h 1678683"/>
                  <a:gd name="connsiteX88" fmla="*/ 440578 w 1148370"/>
                  <a:gd name="connsiteY88" fmla="*/ 394329 h 1678683"/>
                  <a:gd name="connsiteX89" fmla="*/ 449421 w 1148370"/>
                  <a:gd name="connsiteY89" fmla="*/ 415601 h 1678683"/>
                  <a:gd name="connsiteX90" fmla="*/ 457846 w 1148370"/>
                  <a:gd name="connsiteY90" fmla="*/ 428031 h 1678683"/>
                  <a:gd name="connsiteX91" fmla="*/ 483125 w 1148370"/>
                  <a:gd name="connsiteY91" fmla="*/ 469240 h 1678683"/>
                  <a:gd name="connsiteX92" fmla="*/ 488881 w 1148370"/>
                  <a:gd name="connsiteY92" fmla="*/ 483422 h 1678683"/>
                  <a:gd name="connsiteX93" fmla="*/ 506151 w 1148370"/>
                  <a:gd name="connsiteY93" fmla="*/ 513120 h 1678683"/>
                  <a:gd name="connsiteX94" fmla="*/ 530512 w 1148370"/>
                  <a:gd name="connsiteY94" fmla="*/ 516623 h 1678683"/>
                  <a:gd name="connsiteX95" fmla="*/ 551785 w 1148370"/>
                  <a:gd name="connsiteY95" fmla="*/ 516206 h 1678683"/>
                  <a:gd name="connsiteX96" fmla="*/ 568137 w 1148370"/>
                  <a:gd name="connsiteY96" fmla="*/ 525549 h 1678683"/>
                  <a:gd name="connsiteX97" fmla="*/ 573476 w 1148370"/>
                  <a:gd name="connsiteY97" fmla="*/ 529970 h 1678683"/>
                  <a:gd name="connsiteX98" fmla="*/ 585907 w 1148370"/>
                  <a:gd name="connsiteY98" fmla="*/ 535310 h 1678683"/>
                  <a:gd name="connsiteX99" fmla="*/ 594750 w 1148370"/>
                  <a:gd name="connsiteY99" fmla="*/ 538396 h 1678683"/>
                  <a:gd name="connsiteX100" fmla="*/ 627537 w 1148370"/>
                  <a:gd name="connsiteY100" fmla="*/ 630075 h 1678683"/>
                  <a:gd name="connsiteX101" fmla="*/ 584155 w 1148370"/>
                  <a:gd name="connsiteY101" fmla="*/ 665946 h 1678683"/>
                  <a:gd name="connsiteX102" fmla="*/ 549616 w 1148370"/>
                  <a:gd name="connsiteY102" fmla="*/ 688970 h 1678683"/>
                  <a:gd name="connsiteX103" fmla="*/ 539021 w 1148370"/>
                  <a:gd name="connsiteY103" fmla="*/ 707990 h 1678683"/>
                  <a:gd name="connsiteX104" fmla="*/ 523921 w 1148370"/>
                  <a:gd name="connsiteY104" fmla="*/ 733683 h 1678683"/>
                  <a:gd name="connsiteX105" fmla="*/ 511991 w 1148370"/>
                  <a:gd name="connsiteY105" fmla="*/ 758960 h 1678683"/>
                  <a:gd name="connsiteX106" fmla="*/ 501395 w 1148370"/>
                  <a:gd name="connsiteY106" fmla="*/ 783319 h 1678683"/>
                  <a:gd name="connsiteX107" fmla="*/ 478370 w 1148370"/>
                  <a:gd name="connsiteY107" fmla="*/ 810764 h 1678683"/>
                  <a:gd name="connsiteX108" fmla="*/ 466440 w 1148370"/>
                  <a:gd name="connsiteY108" fmla="*/ 824028 h 1678683"/>
                  <a:gd name="connsiteX109" fmla="*/ 450088 w 1148370"/>
                  <a:gd name="connsiteY109" fmla="*/ 838626 h 1678683"/>
                  <a:gd name="connsiteX110" fmla="*/ 431901 w 1148370"/>
                  <a:gd name="connsiteY110" fmla="*/ 857229 h 1678683"/>
                  <a:gd name="connsiteX111" fmla="*/ 438575 w 1148370"/>
                  <a:gd name="connsiteY111" fmla="*/ 900608 h 1678683"/>
                  <a:gd name="connsiteX112" fmla="*/ 458514 w 1148370"/>
                  <a:gd name="connsiteY112" fmla="*/ 912120 h 1678683"/>
                  <a:gd name="connsiteX113" fmla="*/ 480622 w 1148370"/>
                  <a:gd name="connsiteY113" fmla="*/ 923632 h 1678683"/>
                  <a:gd name="connsiteX114" fmla="*/ 483709 w 1148370"/>
                  <a:gd name="connsiteY114" fmla="*/ 1018898 h 1678683"/>
                  <a:gd name="connsiteX115" fmla="*/ 477034 w 1148370"/>
                  <a:gd name="connsiteY115" fmla="*/ 1029993 h 1678683"/>
                  <a:gd name="connsiteX116" fmla="*/ 451756 w 1148370"/>
                  <a:gd name="connsiteY116" fmla="*/ 1063194 h 1678683"/>
                  <a:gd name="connsiteX117" fmla="*/ 431818 w 1148370"/>
                  <a:gd name="connsiteY117" fmla="*/ 1074706 h 1678683"/>
                  <a:gd name="connsiteX118" fmla="*/ 408374 w 1148370"/>
                  <a:gd name="connsiteY118" fmla="*/ 1090223 h 1678683"/>
                  <a:gd name="connsiteX119" fmla="*/ 385349 w 1148370"/>
                  <a:gd name="connsiteY119" fmla="*/ 1107491 h 1678683"/>
                  <a:gd name="connsiteX120" fmla="*/ 370749 w 1148370"/>
                  <a:gd name="connsiteY120" fmla="*/ 1117251 h 1678683"/>
                  <a:gd name="connsiteX121" fmla="*/ 365410 w 1148370"/>
                  <a:gd name="connsiteY121" fmla="*/ 1122089 h 1678683"/>
                  <a:gd name="connsiteX122" fmla="*/ 345471 w 1148370"/>
                  <a:gd name="connsiteY122" fmla="*/ 1132684 h 1678683"/>
                  <a:gd name="connsiteX123" fmla="*/ 337963 w 1148370"/>
                  <a:gd name="connsiteY123" fmla="*/ 1133601 h 1678683"/>
                  <a:gd name="connsiteX124" fmla="*/ 326032 w 1148370"/>
                  <a:gd name="connsiteY124" fmla="*/ 1137606 h 1678683"/>
                  <a:gd name="connsiteX125" fmla="*/ 311432 w 1148370"/>
                  <a:gd name="connsiteY125" fmla="*/ 1167303 h 1678683"/>
                  <a:gd name="connsiteX126" fmla="*/ 308346 w 1148370"/>
                  <a:gd name="connsiteY126" fmla="*/ 1177898 h 1678683"/>
                  <a:gd name="connsiteX127" fmla="*/ 272473 w 1148370"/>
                  <a:gd name="connsiteY127" fmla="*/ 1223529 h 1678683"/>
                  <a:gd name="connsiteX128" fmla="*/ 242355 w 1148370"/>
                  <a:gd name="connsiteY128" fmla="*/ 1265156 h 1678683"/>
                  <a:gd name="connsiteX129" fmla="*/ 240102 w 1148370"/>
                  <a:gd name="connsiteY129" fmla="*/ 1269994 h 1678683"/>
                  <a:gd name="connsiteX130" fmla="*/ 209068 w 1148370"/>
                  <a:gd name="connsiteY130" fmla="*/ 1305448 h 1678683"/>
                  <a:gd name="connsiteX131" fmla="*/ 186459 w 1148370"/>
                  <a:gd name="connsiteY131" fmla="*/ 1301026 h 1678683"/>
                  <a:gd name="connsiteX132" fmla="*/ 168272 w 1148370"/>
                  <a:gd name="connsiteY132" fmla="*/ 1297940 h 1678683"/>
                  <a:gd name="connsiteX133" fmla="*/ 144829 w 1148370"/>
                  <a:gd name="connsiteY133" fmla="*/ 1318795 h 1678683"/>
                  <a:gd name="connsiteX134" fmla="*/ 134234 w 1148370"/>
                  <a:gd name="connsiteY134" fmla="*/ 1331224 h 1678683"/>
                  <a:gd name="connsiteX135" fmla="*/ 89017 w 1148370"/>
                  <a:gd name="connsiteY135" fmla="*/ 1354249 h 1678683"/>
                  <a:gd name="connsiteX136" fmla="*/ 73500 w 1148370"/>
                  <a:gd name="connsiteY136" fmla="*/ 1348910 h 1678683"/>
                  <a:gd name="connsiteX137" fmla="*/ 66825 w 1148370"/>
                  <a:gd name="connsiteY137" fmla="*/ 1345823 h 1678683"/>
                  <a:gd name="connsiteX138" fmla="*/ 56647 w 1148370"/>
                  <a:gd name="connsiteY138" fmla="*/ 1350244 h 1678683"/>
                  <a:gd name="connsiteX139" fmla="*/ 49139 w 1148370"/>
                  <a:gd name="connsiteY139" fmla="*/ 1355083 h 1678683"/>
                  <a:gd name="connsiteX140" fmla="*/ 31452 w 1148370"/>
                  <a:gd name="connsiteY140" fmla="*/ 1360422 h 1678683"/>
                  <a:gd name="connsiteX141" fmla="*/ 17270 w 1148370"/>
                  <a:gd name="connsiteY141" fmla="*/ 1365761 h 1678683"/>
                  <a:gd name="connsiteX142" fmla="*/ 17687 w 1148370"/>
                  <a:gd name="connsiteY142" fmla="*/ 1375938 h 1678683"/>
                  <a:gd name="connsiteX143" fmla="*/ 25195 w 1148370"/>
                  <a:gd name="connsiteY143" fmla="*/ 1387867 h 1678683"/>
                  <a:gd name="connsiteX144" fmla="*/ 35373 w 1148370"/>
                  <a:gd name="connsiteY144" fmla="*/ 1419734 h 1678683"/>
                  <a:gd name="connsiteX145" fmla="*/ 24778 w 1148370"/>
                  <a:gd name="connsiteY145" fmla="*/ 1432163 h 1678683"/>
                  <a:gd name="connsiteX146" fmla="*/ 19939 w 1148370"/>
                  <a:gd name="connsiteY146" fmla="*/ 1436168 h 1678683"/>
                  <a:gd name="connsiteX147" fmla="*/ 12848 w 1148370"/>
                  <a:gd name="connsiteY147" fmla="*/ 1453853 h 1678683"/>
                  <a:gd name="connsiteX148" fmla="*/ 9761 w 1148370"/>
                  <a:gd name="connsiteY148" fmla="*/ 1464948 h 1678683"/>
                  <a:gd name="connsiteX149" fmla="*/ 7091 w 1148370"/>
                  <a:gd name="connsiteY149" fmla="*/ 1481798 h 1678683"/>
                  <a:gd name="connsiteX150" fmla="*/ 22192 w 1148370"/>
                  <a:gd name="connsiteY150" fmla="*/ 1486637 h 1678683"/>
                  <a:gd name="connsiteX151" fmla="*/ 28365 w 1148370"/>
                  <a:gd name="connsiteY151" fmla="*/ 1487054 h 1678683"/>
                  <a:gd name="connsiteX152" fmla="*/ 60234 w 1148370"/>
                  <a:gd name="connsiteY152" fmla="*/ 1497648 h 1678683"/>
                  <a:gd name="connsiteX153" fmla="*/ 62487 w 1148370"/>
                  <a:gd name="connsiteY153" fmla="*/ 1515834 h 1678683"/>
                  <a:gd name="connsiteX154" fmla="*/ 35039 w 1148370"/>
                  <a:gd name="connsiteY154" fmla="*/ 1543279 h 1678683"/>
                  <a:gd name="connsiteX155" fmla="*/ 25278 w 1148370"/>
                  <a:gd name="connsiteY155" fmla="*/ 1549453 h 1678683"/>
                  <a:gd name="connsiteX156" fmla="*/ 0 w 1148370"/>
                  <a:gd name="connsiteY156" fmla="*/ 1604844 h 1678683"/>
                  <a:gd name="connsiteX157" fmla="*/ 39461 w 1148370"/>
                  <a:gd name="connsiteY157" fmla="*/ 1629620 h 1678683"/>
                  <a:gd name="connsiteX158" fmla="*/ 128060 w 1148370"/>
                  <a:gd name="connsiteY158" fmla="*/ 1678337 h 1678683"/>
                  <a:gd name="connsiteX159" fmla="*/ 182538 w 1148370"/>
                  <a:gd name="connsiteY159" fmla="*/ 1671246 h 1678683"/>
                  <a:gd name="connsiteX160" fmla="*/ 244107 w 1148370"/>
                  <a:gd name="connsiteY160" fmla="*/ 1663238 h 1678683"/>
                  <a:gd name="connsiteX161" fmla="*/ 349558 w 1148370"/>
                  <a:gd name="connsiteY161" fmla="*/ 1630871 h 1678683"/>
                  <a:gd name="connsiteX162" fmla="*/ 373502 w 1148370"/>
                  <a:gd name="connsiteY162" fmla="*/ 1612685 h 1678683"/>
                  <a:gd name="connsiteX163" fmla="*/ 393024 w 1148370"/>
                  <a:gd name="connsiteY163" fmla="*/ 1597169 h 1678683"/>
                  <a:gd name="connsiteX164" fmla="*/ 424476 w 1148370"/>
                  <a:gd name="connsiteY164" fmla="*/ 1580318 h 1678683"/>
                  <a:gd name="connsiteX165" fmla="*/ 442663 w 1148370"/>
                  <a:gd name="connsiteY165" fmla="*/ 1571475 h 1678683"/>
                  <a:gd name="connsiteX166" fmla="*/ 478120 w 1148370"/>
                  <a:gd name="connsiteY166" fmla="*/ 1549369 h 1678683"/>
                  <a:gd name="connsiteX167" fmla="*/ 524171 w 1148370"/>
                  <a:gd name="connsiteY167" fmla="*/ 1521423 h 1678683"/>
                  <a:gd name="connsiteX168" fmla="*/ 563632 w 1148370"/>
                  <a:gd name="connsiteY168" fmla="*/ 1467784 h 1678683"/>
                  <a:gd name="connsiteX169" fmla="*/ 567637 w 1148370"/>
                  <a:gd name="connsiteY169" fmla="*/ 1455855 h 1678683"/>
                  <a:gd name="connsiteX170" fmla="*/ 632292 w 1148370"/>
                  <a:gd name="connsiteY170" fmla="*/ 1369014 h 1678683"/>
                  <a:gd name="connsiteX171" fmla="*/ 739079 w 1148370"/>
                  <a:gd name="connsiteY171" fmla="*/ 1352664 h 1678683"/>
                  <a:gd name="connsiteX172" fmla="*/ 829013 w 1148370"/>
                  <a:gd name="connsiteY172" fmla="*/ 1338482 h 1678683"/>
                  <a:gd name="connsiteX173" fmla="*/ 875064 w 1148370"/>
                  <a:gd name="connsiteY173" fmla="*/ 1320297 h 1678683"/>
                  <a:gd name="connsiteX174" fmla="*/ 904764 w 1148370"/>
                  <a:gd name="connsiteY174" fmla="*/ 1328305 h 1678683"/>
                  <a:gd name="connsiteX175" fmla="*/ 911438 w 1148370"/>
                  <a:gd name="connsiteY175" fmla="*/ 1331808 h 1678683"/>
                  <a:gd name="connsiteX176" fmla="*/ 918947 w 1148370"/>
                  <a:gd name="connsiteY176" fmla="*/ 1335312 h 1678683"/>
                  <a:gd name="connsiteX177" fmla="*/ 923785 w 1148370"/>
                  <a:gd name="connsiteY177" fmla="*/ 1337564 h 1678683"/>
                  <a:gd name="connsiteX178" fmla="*/ 1027485 w 1148370"/>
                  <a:gd name="connsiteY178" fmla="*/ 1327804 h 1678683"/>
                  <a:gd name="connsiteX179" fmla="*/ 1062441 w 1148370"/>
                  <a:gd name="connsiteY179" fmla="*/ 1284843 h 1678683"/>
                  <a:gd name="connsiteX180" fmla="*/ 1079710 w 1148370"/>
                  <a:gd name="connsiteY180" fmla="*/ 1251641 h 1678683"/>
                  <a:gd name="connsiteX181" fmla="*/ 1102736 w 1148370"/>
                  <a:gd name="connsiteY181" fmla="*/ 1228200 h 1678683"/>
                  <a:gd name="connsiteX182" fmla="*/ 1130184 w 1148370"/>
                  <a:gd name="connsiteY182" fmla="*/ 1174561 h 1678683"/>
                  <a:gd name="connsiteX183" fmla="*/ 1120840 w 1148370"/>
                  <a:gd name="connsiteY183" fmla="*/ 1153706 h 1678683"/>
                  <a:gd name="connsiteX184" fmla="*/ 1110661 w 1148370"/>
                  <a:gd name="connsiteY184" fmla="*/ 1131099 h 1678683"/>
                  <a:gd name="connsiteX185" fmla="*/ 1107575 w 1148370"/>
                  <a:gd name="connsiteY185" fmla="*/ 1059774 h 1678683"/>
                  <a:gd name="connsiteX186" fmla="*/ 1107658 w 1148370"/>
                  <a:gd name="connsiteY186" fmla="*/ 1005467 h 1678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148370" h="1678683" extrusionOk="0">
                    <a:moveTo>
                      <a:pt x="1107658" y="1005467"/>
                    </a:moveTo>
                    <a:cubicBezTo>
                      <a:pt x="1108075" y="982444"/>
                      <a:pt x="1108576" y="958919"/>
                      <a:pt x="1111162" y="935895"/>
                    </a:cubicBezTo>
                    <a:cubicBezTo>
                      <a:pt x="1112914" y="920795"/>
                      <a:pt x="1117837" y="906697"/>
                      <a:pt x="1122675" y="892933"/>
                    </a:cubicBezTo>
                    <a:cubicBezTo>
                      <a:pt x="1130684" y="870326"/>
                      <a:pt x="1138192" y="849054"/>
                      <a:pt x="1129766" y="826530"/>
                    </a:cubicBezTo>
                    <a:cubicBezTo>
                      <a:pt x="1123092" y="808345"/>
                      <a:pt x="1113832" y="792828"/>
                      <a:pt x="1104488" y="783986"/>
                    </a:cubicBezTo>
                    <a:cubicBezTo>
                      <a:pt x="1096062" y="775978"/>
                      <a:pt x="1088136" y="776895"/>
                      <a:pt x="1075706" y="777813"/>
                    </a:cubicBezTo>
                    <a:lnTo>
                      <a:pt x="1071285" y="778230"/>
                    </a:lnTo>
                    <a:cubicBezTo>
                      <a:pt x="1051345" y="779982"/>
                      <a:pt x="1042502" y="771556"/>
                      <a:pt x="1039415" y="764465"/>
                    </a:cubicBezTo>
                    <a:cubicBezTo>
                      <a:pt x="1021228" y="729012"/>
                      <a:pt x="1090806" y="641337"/>
                      <a:pt x="1091223" y="640419"/>
                    </a:cubicBezTo>
                    <a:cubicBezTo>
                      <a:pt x="1107158" y="620899"/>
                      <a:pt x="1126679" y="601879"/>
                      <a:pt x="1148370" y="584194"/>
                    </a:cubicBezTo>
                    <a:cubicBezTo>
                      <a:pt x="1145283" y="579773"/>
                      <a:pt x="1142197" y="574851"/>
                      <a:pt x="1139528" y="570012"/>
                    </a:cubicBezTo>
                    <a:lnTo>
                      <a:pt x="1136023" y="563839"/>
                    </a:lnTo>
                    <a:cubicBezTo>
                      <a:pt x="1126262" y="547906"/>
                      <a:pt x="1117837" y="533724"/>
                      <a:pt x="1101484" y="525299"/>
                    </a:cubicBezTo>
                    <a:cubicBezTo>
                      <a:pt x="1100150" y="524381"/>
                      <a:pt x="1098398" y="523964"/>
                      <a:pt x="1097063" y="523047"/>
                    </a:cubicBezTo>
                    <a:cubicBezTo>
                      <a:pt x="1089972" y="519960"/>
                      <a:pt x="1082463" y="516874"/>
                      <a:pt x="1078459" y="507113"/>
                    </a:cubicBezTo>
                    <a:cubicBezTo>
                      <a:pt x="1076206" y="502275"/>
                      <a:pt x="1076206" y="497353"/>
                      <a:pt x="1076206" y="493349"/>
                    </a:cubicBezTo>
                    <a:cubicBezTo>
                      <a:pt x="1076206" y="490263"/>
                      <a:pt x="1076206" y="487176"/>
                      <a:pt x="1075289" y="485340"/>
                    </a:cubicBezTo>
                    <a:cubicBezTo>
                      <a:pt x="1074872" y="484006"/>
                      <a:pt x="1073036" y="482254"/>
                      <a:pt x="1071785" y="480502"/>
                    </a:cubicBezTo>
                    <a:cubicBezTo>
                      <a:pt x="1068698" y="476998"/>
                      <a:pt x="1064693" y="472494"/>
                      <a:pt x="1063776" y="466321"/>
                    </a:cubicBezTo>
                    <a:cubicBezTo>
                      <a:pt x="1062858" y="454809"/>
                      <a:pt x="1070450" y="449970"/>
                      <a:pt x="1075706" y="445966"/>
                    </a:cubicBezTo>
                    <a:cubicBezTo>
                      <a:pt x="1077458" y="444631"/>
                      <a:pt x="1079210" y="443714"/>
                      <a:pt x="1080545" y="441962"/>
                    </a:cubicBezTo>
                    <a:cubicBezTo>
                      <a:pt x="1082797" y="439710"/>
                      <a:pt x="1084549" y="437123"/>
                      <a:pt x="1084049" y="434871"/>
                    </a:cubicBezTo>
                    <a:cubicBezTo>
                      <a:pt x="1083632" y="430033"/>
                      <a:pt x="1073870" y="423776"/>
                      <a:pt x="1065445" y="417603"/>
                    </a:cubicBezTo>
                    <a:cubicBezTo>
                      <a:pt x="1051262" y="408260"/>
                      <a:pt x="1033575" y="396331"/>
                      <a:pt x="1034410" y="377728"/>
                    </a:cubicBezTo>
                    <a:cubicBezTo>
                      <a:pt x="1034827" y="373307"/>
                      <a:pt x="1035744" y="369720"/>
                      <a:pt x="1036662" y="367134"/>
                    </a:cubicBezTo>
                    <a:cubicBezTo>
                      <a:pt x="1037997" y="361795"/>
                      <a:pt x="1038914" y="359125"/>
                      <a:pt x="1036245" y="355204"/>
                    </a:cubicBezTo>
                    <a:cubicBezTo>
                      <a:pt x="1034493" y="352118"/>
                      <a:pt x="1031823" y="349031"/>
                      <a:pt x="1029154" y="345862"/>
                    </a:cubicBezTo>
                    <a:cubicBezTo>
                      <a:pt x="1025650" y="341857"/>
                      <a:pt x="1022063" y="337436"/>
                      <a:pt x="1018976" y="331680"/>
                    </a:cubicBezTo>
                    <a:cubicBezTo>
                      <a:pt x="1017640" y="329010"/>
                      <a:pt x="1016723" y="326341"/>
                      <a:pt x="1015472" y="323672"/>
                    </a:cubicBezTo>
                    <a:cubicBezTo>
                      <a:pt x="1006629" y="303734"/>
                      <a:pt x="1001706" y="296643"/>
                      <a:pt x="988441" y="302399"/>
                    </a:cubicBezTo>
                    <a:cubicBezTo>
                      <a:pt x="985772" y="303317"/>
                      <a:pt x="983102" y="304652"/>
                      <a:pt x="980432" y="305903"/>
                    </a:cubicBezTo>
                    <a:cubicBezTo>
                      <a:pt x="969337" y="311242"/>
                      <a:pt x="955154" y="318333"/>
                      <a:pt x="941472" y="299730"/>
                    </a:cubicBezTo>
                    <a:cubicBezTo>
                      <a:pt x="936133" y="292639"/>
                      <a:pt x="933963" y="284631"/>
                      <a:pt x="931294" y="277123"/>
                    </a:cubicBezTo>
                    <a:cubicBezTo>
                      <a:pt x="928207" y="266946"/>
                      <a:pt x="925538" y="258103"/>
                      <a:pt x="917111" y="253181"/>
                    </a:cubicBezTo>
                    <a:cubicBezTo>
                      <a:pt x="900760" y="243004"/>
                      <a:pt x="891833" y="251846"/>
                      <a:pt x="874563" y="274453"/>
                    </a:cubicBezTo>
                    <a:cubicBezTo>
                      <a:pt x="863468" y="289052"/>
                      <a:pt x="852455" y="304151"/>
                      <a:pt x="835604" y="304151"/>
                    </a:cubicBezTo>
                    <a:lnTo>
                      <a:pt x="834685" y="304151"/>
                    </a:lnTo>
                    <a:cubicBezTo>
                      <a:pt x="822756" y="303734"/>
                      <a:pt x="813412" y="295726"/>
                      <a:pt x="808990" y="283797"/>
                    </a:cubicBezTo>
                    <a:cubicBezTo>
                      <a:pt x="804569" y="270032"/>
                      <a:pt x="808073" y="255851"/>
                      <a:pt x="817416" y="248843"/>
                    </a:cubicBezTo>
                    <a:cubicBezTo>
                      <a:pt x="819168" y="247509"/>
                      <a:pt x="821421" y="245757"/>
                      <a:pt x="823590" y="244422"/>
                    </a:cubicBezTo>
                    <a:cubicBezTo>
                      <a:pt x="826260" y="242670"/>
                      <a:pt x="831599" y="239083"/>
                      <a:pt x="831599" y="237748"/>
                    </a:cubicBezTo>
                    <a:cubicBezTo>
                      <a:pt x="831599" y="237331"/>
                      <a:pt x="831181" y="235496"/>
                      <a:pt x="828512" y="232910"/>
                    </a:cubicBezTo>
                    <a:cubicBezTo>
                      <a:pt x="820503" y="224902"/>
                      <a:pt x="808990" y="224068"/>
                      <a:pt x="795308" y="223150"/>
                    </a:cubicBezTo>
                    <a:cubicBezTo>
                      <a:pt x="781125" y="222232"/>
                      <a:pt x="765191" y="220897"/>
                      <a:pt x="752760" y="209886"/>
                    </a:cubicBezTo>
                    <a:cubicBezTo>
                      <a:pt x="742166" y="201043"/>
                      <a:pt x="737660" y="191700"/>
                      <a:pt x="733239" y="182441"/>
                    </a:cubicBezTo>
                    <a:cubicBezTo>
                      <a:pt x="732822" y="181523"/>
                      <a:pt x="732321" y="180689"/>
                      <a:pt x="731903" y="179771"/>
                    </a:cubicBezTo>
                    <a:cubicBezTo>
                      <a:pt x="730569" y="176684"/>
                      <a:pt x="728817" y="173098"/>
                      <a:pt x="727065" y="169177"/>
                    </a:cubicBezTo>
                    <a:cubicBezTo>
                      <a:pt x="726648" y="167842"/>
                      <a:pt x="725730" y="166507"/>
                      <a:pt x="724812" y="164756"/>
                    </a:cubicBezTo>
                    <a:cubicBezTo>
                      <a:pt x="720391" y="156747"/>
                      <a:pt x="712882" y="149239"/>
                      <a:pt x="705291" y="141314"/>
                    </a:cubicBezTo>
                    <a:cubicBezTo>
                      <a:pt x="699117" y="135141"/>
                      <a:pt x="692860" y="128468"/>
                      <a:pt x="687604" y="121377"/>
                    </a:cubicBezTo>
                    <a:cubicBezTo>
                      <a:pt x="677426" y="107195"/>
                      <a:pt x="669000" y="96601"/>
                      <a:pt x="653065" y="91679"/>
                    </a:cubicBezTo>
                    <a:cubicBezTo>
                      <a:pt x="630457" y="84588"/>
                      <a:pt x="616274" y="79249"/>
                      <a:pt x="606513" y="54056"/>
                    </a:cubicBezTo>
                    <a:cubicBezTo>
                      <a:pt x="603843" y="47383"/>
                      <a:pt x="601174" y="39875"/>
                      <a:pt x="598504" y="32367"/>
                    </a:cubicBezTo>
                    <a:cubicBezTo>
                      <a:pt x="595000" y="21773"/>
                      <a:pt x="590996" y="10678"/>
                      <a:pt x="586575" y="0"/>
                    </a:cubicBezTo>
                    <a:cubicBezTo>
                      <a:pt x="571474" y="9760"/>
                      <a:pt x="555123" y="17685"/>
                      <a:pt x="532513" y="14181"/>
                    </a:cubicBezTo>
                    <a:cubicBezTo>
                      <a:pt x="527675" y="13264"/>
                      <a:pt x="523670" y="12430"/>
                      <a:pt x="519249" y="11512"/>
                    </a:cubicBezTo>
                    <a:cubicBezTo>
                      <a:pt x="507319" y="8843"/>
                      <a:pt x="497975" y="6674"/>
                      <a:pt x="487380" y="11929"/>
                    </a:cubicBezTo>
                    <a:cubicBezTo>
                      <a:pt x="474949" y="18102"/>
                      <a:pt x="468776" y="27862"/>
                      <a:pt x="470110" y="39875"/>
                    </a:cubicBezTo>
                    <a:cubicBezTo>
                      <a:pt x="470527" y="42544"/>
                      <a:pt x="471446" y="44713"/>
                      <a:pt x="472363" y="46548"/>
                    </a:cubicBezTo>
                    <a:cubicBezTo>
                      <a:pt x="473280" y="50052"/>
                      <a:pt x="475033" y="54557"/>
                      <a:pt x="475033" y="59396"/>
                    </a:cubicBezTo>
                    <a:cubicBezTo>
                      <a:pt x="475033" y="63817"/>
                      <a:pt x="473697" y="67821"/>
                      <a:pt x="472363" y="71325"/>
                    </a:cubicBezTo>
                    <a:cubicBezTo>
                      <a:pt x="471446" y="73577"/>
                      <a:pt x="471028" y="75746"/>
                      <a:pt x="471028" y="77998"/>
                    </a:cubicBezTo>
                    <a:cubicBezTo>
                      <a:pt x="470611" y="80668"/>
                      <a:pt x="471446" y="83337"/>
                      <a:pt x="472363" y="86841"/>
                    </a:cubicBezTo>
                    <a:cubicBezTo>
                      <a:pt x="473280" y="89927"/>
                      <a:pt x="474616" y="93514"/>
                      <a:pt x="474616" y="97435"/>
                    </a:cubicBezTo>
                    <a:cubicBezTo>
                      <a:pt x="475033" y="103608"/>
                      <a:pt x="473697" y="108530"/>
                      <a:pt x="471946" y="112534"/>
                    </a:cubicBezTo>
                    <a:cubicBezTo>
                      <a:pt x="471028" y="114787"/>
                      <a:pt x="470611" y="116956"/>
                      <a:pt x="470194" y="119625"/>
                    </a:cubicBezTo>
                    <a:cubicBezTo>
                      <a:pt x="467941" y="135141"/>
                      <a:pt x="495889" y="168342"/>
                      <a:pt x="511407" y="173682"/>
                    </a:cubicBezTo>
                    <a:cubicBezTo>
                      <a:pt x="514076" y="174599"/>
                      <a:pt x="517580" y="174599"/>
                      <a:pt x="521168" y="174599"/>
                    </a:cubicBezTo>
                    <a:cubicBezTo>
                      <a:pt x="529176" y="174599"/>
                      <a:pt x="538854" y="175016"/>
                      <a:pt x="545528" y="183025"/>
                    </a:cubicBezTo>
                    <a:cubicBezTo>
                      <a:pt x="549950" y="188780"/>
                      <a:pt x="549033" y="194954"/>
                      <a:pt x="549033" y="199375"/>
                    </a:cubicBezTo>
                    <a:cubicBezTo>
                      <a:pt x="548615" y="201628"/>
                      <a:pt x="548615" y="203379"/>
                      <a:pt x="549033" y="204714"/>
                    </a:cubicBezTo>
                    <a:cubicBezTo>
                      <a:pt x="549950" y="207383"/>
                      <a:pt x="551284" y="209552"/>
                      <a:pt x="553037" y="212222"/>
                    </a:cubicBezTo>
                    <a:cubicBezTo>
                      <a:pt x="554788" y="214891"/>
                      <a:pt x="556541" y="217060"/>
                      <a:pt x="557875" y="220230"/>
                    </a:cubicBezTo>
                    <a:cubicBezTo>
                      <a:pt x="566301" y="238833"/>
                      <a:pt x="555206" y="249010"/>
                      <a:pt x="545946" y="257853"/>
                    </a:cubicBezTo>
                    <a:cubicBezTo>
                      <a:pt x="539772" y="263609"/>
                      <a:pt x="535350" y="268948"/>
                      <a:pt x="530845" y="275121"/>
                    </a:cubicBezTo>
                    <a:cubicBezTo>
                      <a:pt x="526423" y="280877"/>
                      <a:pt x="522002" y="287050"/>
                      <a:pt x="516245" y="292389"/>
                    </a:cubicBezTo>
                    <a:cubicBezTo>
                      <a:pt x="502981" y="305236"/>
                      <a:pt x="485211" y="306153"/>
                      <a:pt x="470194" y="306987"/>
                    </a:cubicBezTo>
                    <a:lnTo>
                      <a:pt x="462686" y="307405"/>
                    </a:lnTo>
                    <a:cubicBezTo>
                      <a:pt x="458263" y="307822"/>
                      <a:pt x="453342" y="308739"/>
                      <a:pt x="448503" y="309657"/>
                    </a:cubicBezTo>
                    <a:cubicBezTo>
                      <a:pt x="436990" y="312326"/>
                      <a:pt x="424142" y="314996"/>
                      <a:pt x="413047" y="310992"/>
                    </a:cubicBezTo>
                    <a:cubicBezTo>
                      <a:pt x="408624" y="309657"/>
                      <a:pt x="405037" y="307488"/>
                      <a:pt x="402451" y="305653"/>
                    </a:cubicBezTo>
                    <a:cubicBezTo>
                      <a:pt x="400199" y="306987"/>
                      <a:pt x="398447" y="308739"/>
                      <a:pt x="397613" y="310992"/>
                    </a:cubicBezTo>
                    <a:cubicBezTo>
                      <a:pt x="396277" y="313661"/>
                      <a:pt x="396695" y="315413"/>
                      <a:pt x="398030" y="319834"/>
                    </a:cubicBezTo>
                    <a:lnTo>
                      <a:pt x="398947" y="323338"/>
                    </a:lnTo>
                    <a:cubicBezTo>
                      <a:pt x="399865" y="327342"/>
                      <a:pt x="400282" y="331346"/>
                      <a:pt x="400699" y="335768"/>
                    </a:cubicBezTo>
                    <a:cubicBezTo>
                      <a:pt x="401116" y="339271"/>
                      <a:pt x="401617" y="343275"/>
                      <a:pt x="402451" y="346862"/>
                    </a:cubicBezTo>
                    <a:cubicBezTo>
                      <a:pt x="403786" y="353036"/>
                      <a:pt x="406456" y="353953"/>
                      <a:pt x="412212" y="356206"/>
                    </a:cubicBezTo>
                    <a:cubicBezTo>
                      <a:pt x="417051" y="358458"/>
                      <a:pt x="422390" y="360627"/>
                      <a:pt x="427730" y="366383"/>
                    </a:cubicBezTo>
                    <a:cubicBezTo>
                      <a:pt x="434404" y="373891"/>
                      <a:pt x="437491" y="384068"/>
                      <a:pt x="440578" y="394329"/>
                    </a:cubicBezTo>
                    <a:cubicBezTo>
                      <a:pt x="443247" y="401837"/>
                      <a:pt x="445416" y="409845"/>
                      <a:pt x="449421" y="415601"/>
                    </a:cubicBezTo>
                    <a:cubicBezTo>
                      <a:pt x="452090" y="420022"/>
                      <a:pt x="454760" y="424026"/>
                      <a:pt x="457846" y="428031"/>
                    </a:cubicBezTo>
                    <a:cubicBezTo>
                      <a:pt x="466690" y="440877"/>
                      <a:pt x="476034" y="454141"/>
                      <a:pt x="483125" y="469240"/>
                    </a:cubicBezTo>
                    <a:cubicBezTo>
                      <a:pt x="485377" y="473661"/>
                      <a:pt x="486629" y="478083"/>
                      <a:pt x="488881" y="483422"/>
                    </a:cubicBezTo>
                    <a:cubicBezTo>
                      <a:pt x="493303" y="494934"/>
                      <a:pt x="498225" y="506863"/>
                      <a:pt x="506151" y="513120"/>
                    </a:cubicBezTo>
                    <a:cubicBezTo>
                      <a:pt x="513242" y="518876"/>
                      <a:pt x="520750" y="517958"/>
                      <a:pt x="530512" y="516623"/>
                    </a:cubicBezTo>
                    <a:cubicBezTo>
                      <a:pt x="536685" y="515706"/>
                      <a:pt x="544277" y="514872"/>
                      <a:pt x="551785" y="516206"/>
                    </a:cubicBezTo>
                    <a:cubicBezTo>
                      <a:pt x="560628" y="517958"/>
                      <a:pt x="564633" y="521962"/>
                      <a:pt x="568137" y="525549"/>
                    </a:cubicBezTo>
                    <a:cubicBezTo>
                      <a:pt x="569472" y="526884"/>
                      <a:pt x="571224" y="528636"/>
                      <a:pt x="573476" y="529970"/>
                    </a:cubicBezTo>
                    <a:cubicBezTo>
                      <a:pt x="576980" y="532640"/>
                      <a:pt x="581485" y="533474"/>
                      <a:pt x="585907" y="535310"/>
                    </a:cubicBezTo>
                    <a:cubicBezTo>
                      <a:pt x="588993" y="536227"/>
                      <a:pt x="592080" y="537061"/>
                      <a:pt x="594750" y="538396"/>
                    </a:cubicBezTo>
                    <a:cubicBezTo>
                      <a:pt x="628454" y="552995"/>
                      <a:pt x="639968" y="598626"/>
                      <a:pt x="627537" y="630075"/>
                    </a:cubicBezTo>
                    <a:cubicBezTo>
                      <a:pt x="619111" y="650930"/>
                      <a:pt x="601424" y="658438"/>
                      <a:pt x="584155" y="665946"/>
                    </a:cubicBezTo>
                    <a:cubicBezTo>
                      <a:pt x="570389" y="671702"/>
                      <a:pt x="558042" y="677041"/>
                      <a:pt x="549616" y="688970"/>
                    </a:cubicBezTo>
                    <a:cubicBezTo>
                      <a:pt x="545194" y="695143"/>
                      <a:pt x="542525" y="701400"/>
                      <a:pt x="539021" y="707990"/>
                    </a:cubicBezTo>
                    <a:cubicBezTo>
                      <a:pt x="535016" y="716415"/>
                      <a:pt x="530595" y="725258"/>
                      <a:pt x="523921" y="733683"/>
                    </a:cubicBezTo>
                    <a:cubicBezTo>
                      <a:pt x="517747" y="741191"/>
                      <a:pt x="515078" y="749617"/>
                      <a:pt x="511991" y="758960"/>
                    </a:cubicBezTo>
                    <a:cubicBezTo>
                      <a:pt x="509321" y="766968"/>
                      <a:pt x="506651" y="775310"/>
                      <a:pt x="501395" y="783319"/>
                    </a:cubicBezTo>
                    <a:cubicBezTo>
                      <a:pt x="495222" y="793079"/>
                      <a:pt x="486796" y="801921"/>
                      <a:pt x="478370" y="810764"/>
                    </a:cubicBezTo>
                    <a:cubicBezTo>
                      <a:pt x="474365" y="815185"/>
                      <a:pt x="469943" y="819607"/>
                      <a:pt x="466440" y="824028"/>
                    </a:cubicBezTo>
                    <a:cubicBezTo>
                      <a:pt x="461601" y="829784"/>
                      <a:pt x="455845" y="834205"/>
                      <a:pt x="450088" y="838626"/>
                    </a:cubicBezTo>
                    <a:cubicBezTo>
                      <a:pt x="442579" y="844383"/>
                      <a:pt x="435488" y="849721"/>
                      <a:pt x="431901" y="857229"/>
                    </a:cubicBezTo>
                    <a:cubicBezTo>
                      <a:pt x="426144" y="869158"/>
                      <a:pt x="429231" y="889096"/>
                      <a:pt x="438575" y="900608"/>
                    </a:cubicBezTo>
                    <a:cubicBezTo>
                      <a:pt x="443414" y="906781"/>
                      <a:pt x="450505" y="909033"/>
                      <a:pt x="458514" y="912120"/>
                    </a:cubicBezTo>
                    <a:cubicBezTo>
                      <a:pt x="466023" y="914789"/>
                      <a:pt x="474031" y="917459"/>
                      <a:pt x="480622" y="923632"/>
                    </a:cubicBezTo>
                    <a:cubicBezTo>
                      <a:pt x="508570" y="947991"/>
                      <a:pt x="501896" y="990034"/>
                      <a:pt x="483709" y="1018898"/>
                    </a:cubicBezTo>
                    <a:cubicBezTo>
                      <a:pt x="481457" y="1022402"/>
                      <a:pt x="479287" y="1025989"/>
                      <a:pt x="477034" y="1029993"/>
                    </a:cubicBezTo>
                    <a:cubicBezTo>
                      <a:pt x="470360" y="1041922"/>
                      <a:pt x="462852" y="1055269"/>
                      <a:pt x="451756" y="1063194"/>
                    </a:cubicBezTo>
                    <a:cubicBezTo>
                      <a:pt x="445082" y="1068033"/>
                      <a:pt x="437991" y="1071620"/>
                      <a:pt x="431818" y="1074706"/>
                    </a:cubicBezTo>
                    <a:cubicBezTo>
                      <a:pt x="423391" y="1078711"/>
                      <a:pt x="415466" y="1082715"/>
                      <a:pt x="408374" y="1090223"/>
                    </a:cubicBezTo>
                    <a:cubicBezTo>
                      <a:pt x="401283" y="1097730"/>
                      <a:pt x="392857" y="1102652"/>
                      <a:pt x="385349" y="1107491"/>
                    </a:cubicBezTo>
                    <a:cubicBezTo>
                      <a:pt x="380510" y="1110577"/>
                      <a:pt x="375588" y="1113664"/>
                      <a:pt x="370749" y="1117251"/>
                    </a:cubicBezTo>
                    <a:cubicBezTo>
                      <a:pt x="368497" y="1118586"/>
                      <a:pt x="367245" y="1120337"/>
                      <a:pt x="365410" y="1122089"/>
                    </a:cubicBezTo>
                    <a:cubicBezTo>
                      <a:pt x="360571" y="1126511"/>
                      <a:pt x="355648" y="1130932"/>
                      <a:pt x="345471" y="1132684"/>
                    </a:cubicBezTo>
                    <a:cubicBezTo>
                      <a:pt x="342801" y="1133101"/>
                      <a:pt x="340632" y="1133601"/>
                      <a:pt x="337963" y="1133601"/>
                    </a:cubicBezTo>
                    <a:cubicBezTo>
                      <a:pt x="332623" y="1134018"/>
                      <a:pt x="329536" y="1134519"/>
                      <a:pt x="326032" y="1137606"/>
                    </a:cubicBezTo>
                    <a:cubicBezTo>
                      <a:pt x="317606" y="1144279"/>
                      <a:pt x="314936" y="1155791"/>
                      <a:pt x="311432" y="1167303"/>
                    </a:cubicBezTo>
                    <a:cubicBezTo>
                      <a:pt x="310515" y="1170807"/>
                      <a:pt x="309180" y="1174394"/>
                      <a:pt x="308346" y="1177898"/>
                    </a:cubicBezTo>
                    <a:cubicBezTo>
                      <a:pt x="301255" y="1199587"/>
                      <a:pt x="287990" y="1210682"/>
                      <a:pt x="272473" y="1223529"/>
                    </a:cubicBezTo>
                    <a:cubicBezTo>
                      <a:pt x="257873" y="1235458"/>
                      <a:pt x="249863" y="1246970"/>
                      <a:pt x="242355" y="1265156"/>
                    </a:cubicBezTo>
                    <a:lnTo>
                      <a:pt x="240102" y="1269994"/>
                    </a:lnTo>
                    <a:cubicBezTo>
                      <a:pt x="235264" y="1283258"/>
                      <a:pt x="227255" y="1302778"/>
                      <a:pt x="209068" y="1305448"/>
                    </a:cubicBezTo>
                    <a:cubicBezTo>
                      <a:pt x="200642" y="1306365"/>
                      <a:pt x="193133" y="1303696"/>
                      <a:pt x="186459" y="1301026"/>
                    </a:cubicBezTo>
                    <a:cubicBezTo>
                      <a:pt x="179785" y="1298357"/>
                      <a:pt x="174529" y="1296188"/>
                      <a:pt x="168272" y="1297940"/>
                    </a:cubicBezTo>
                    <a:cubicBezTo>
                      <a:pt x="158928" y="1300609"/>
                      <a:pt x="151921" y="1309869"/>
                      <a:pt x="144829" y="1318795"/>
                    </a:cubicBezTo>
                    <a:cubicBezTo>
                      <a:pt x="141325" y="1323216"/>
                      <a:pt x="137738" y="1327637"/>
                      <a:pt x="134234" y="1331224"/>
                    </a:cubicBezTo>
                    <a:cubicBezTo>
                      <a:pt x="125390" y="1340067"/>
                      <a:pt x="107203" y="1354666"/>
                      <a:pt x="89017" y="1354249"/>
                    </a:cubicBezTo>
                    <a:cubicBezTo>
                      <a:pt x="82342" y="1354249"/>
                      <a:pt x="77504" y="1351162"/>
                      <a:pt x="73500" y="1348910"/>
                    </a:cubicBezTo>
                    <a:cubicBezTo>
                      <a:pt x="70830" y="1347575"/>
                      <a:pt x="68660" y="1346240"/>
                      <a:pt x="66825" y="1345823"/>
                    </a:cubicBezTo>
                    <a:cubicBezTo>
                      <a:pt x="62820" y="1345406"/>
                      <a:pt x="60651" y="1346741"/>
                      <a:pt x="56647" y="1350244"/>
                    </a:cubicBezTo>
                    <a:cubicBezTo>
                      <a:pt x="54394" y="1351996"/>
                      <a:pt x="51809" y="1353748"/>
                      <a:pt x="49139" y="1355083"/>
                    </a:cubicBezTo>
                    <a:cubicBezTo>
                      <a:pt x="43799" y="1358169"/>
                      <a:pt x="37209" y="1359504"/>
                      <a:pt x="31452" y="1360422"/>
                    </a:cubicBezTo>
                    <a:cubicBezTo>
                      <a:pt x="25278" y="1361339"/>
                      <a:pt x="18604" y="1363091"/>
                      <a:pt x="17270" y="1365761"/>
                    </a:cubicBezTo>
                    <a:cubicBezTo>
                      <a:pt x="15935" y="1367512"/>
                      <a:pt x="16352" y="1371100"/>
                      <a:pt x="17687" y="1375938"/>
                    </a:cubicBezTo>
                    <a:cubicBezTo>
                      <a:pt x="18604" y="1379442"/>
                      <a:pt x="22108" y="1383946"/>
                      <a:pt x="25195" y="1387867"/>
                    </a:cubicBezTo>
                    <a:cubicBezTo>
                      <a:pt x="31869" y="1396709"/>
                      <a:pt x="39795" y="1407388"/>
                      <a:pt x="35373" y="1419734"/>
                    </a:cubicBezTo>
                    <a:cubicBezTo>
                      <a:pt x="33121" y="1425072"/>
                      <a:pt x="28699" y="1428576"/>
                      <a:pt x="24778" y="1432163"/>
                    </a:cubicBezTo>
                    <a:cubicBezTo>
                      <a:pt x="22525" y="1433498"/>
                      <a:pt x="20774" y="1434833"/>
                      <a:pt x="19939" y="1436168"/>
                    </a:cubicBezTo>
                    <a:cubicBezTo>
                      <a:pt x="15935" y="1441006"/>
                      <a:pt x="14600" y="1447262"/>
                      <a:pt x="12848" y="1453853"/>
                    </a:cubicBezTo>
                    <a:cubicBezTo>
                      <a:pt x="11930" y="1457356"/>
                      <a:pt x="11096" y="1461360"/>
                      <a:pt x="9761" y="1464948"/>
                    </a:cubicBezTo>
                    <a:cubicBezTo>
                      <a:pt x="8427" y="1468952"/>
                      <a:pt x="4923" y="1478712"/>
                      <a:pt x="7091" y="1481798"/>
                    </a:cubicBezTo>
                    <a:cubicBezTo>
                      <a:pt x="8009" y="1483133"/>
                      <a:pt x="10595" y="1485302"/>
                      <a:pt x="22192" y="1486637"/>
                    </a:cubicBezTo>
                    <a:cubicBezTo>
                      <a:pt x="23944" y="1487054"/>
                      <a:pt x="25695" y="1487054"/>
                      <a:pt x="28365" y="1487054"/>
                    </a:cubicBezTo>
                    <a:cubicBezTo>
                      <a:pt x="39461" y="1487972"/>
                      <a:pt x="53643" y="1488389"/>
                      <a:pt x="60234" y="1497648"/>
                    </a:cubicBezTo>
                    <a:cubicBezTo>
                      <a:pt x="63738" y="1502487"/>
                      <a:pt x="64656" y="1508243"/>
                      <a:pt x="62487" y="1515834"/>
                    </a:cubicBezTo>
                    <a:cubicBezTo>
                      <a:pt x="59400" y="1528264"/>
                      <a:pt x="45635" y="1536189"/>
                      <a:pt x="35039" y="1543279"/>
                    </a:cubicBezTo>
                    <a:cubicBezTo>
                      <a:pt x="31535" y="1545532"/>
                      <a:pt x="27948" y="1547283"/>
                      <a:pt x="25278" y="1549453"/>
                    </a:cubicBezTo>
                    <a:cubicBezTo>
                      <a:pt x="8009" y="1562299"/>
                      <a:pt x="1836" y="1582654"/>
                      <a:pt x="0" y="1604844"/>
                    </a:cubicBezTo>
                    <a:cubicBezTo>
                      <a:pt x="19522" y="1606596"/>
                      <a:pt x="29199" y="1616773"/>
                      <a:pt x="39461" y="1629620"/>
                    </a:cubicBezTo>
                    <a:cubicBezTo>
                      <a:pt x="62487" y="1657065"/>
                      <a:pt x="88599" y="1681925"/>
                      <a:pt x="128060" y="1678337"/>
                    </a:cubicBezTo>
                    <a:cubicBezTo>
                      <a:pt x="146247" y="1677002"/>
                      <a:pt x="164852" y="1673916"/>
                      <a:pt x="182538" y="1671246"/>
                    </a:cubicBezTo>
                    <a:cubicBezTo>
                      <a:pt x="202477" y="1668160"/>
                      <a:pt x="223334" y="1664573"/>
                      <a:pt x="244107" y="1663238"/>
                    </a:cubicBezTo>
                    <a:cubicBezTo>
                      <a:pt x="287990" y="1659735"/>
                      <a:pt x="321610" y="1649474"/>
                      <a:pt x="349558" y="1630871"/>
                    </a:cubicBezTo>
                    <a:cubicBezTo>
                      <a:pt x="357985" y="1625532"/>
                      <a:pt x="365493" y="1619359"/>
                      <a:pt x="373502" y="1612685"/>
                    </a:cubicBezTo>
                    <a:cubicBezTo>
                      <a:pt x="379676" y="1607346"/>
                      <a:pt x="385933" y="1602091"/>
                      <a:pt x="393024" y="1597169"/>
                    </a:cubicBezTo>
                    <a:cubicBezTo>
                      <a:pt x="403202" y="1590078"/>
                      <a:pt x="413881" y="1585240"/>
                      <a:pt x="424476" y="1580318"/>
                    </a:cubicBezTo>
                    <a:cubicBezTo>
                      <a:pt x="430649" y="1577232"/>
                      <a:pt x="436907" y="1574562"/>
                      <a:pt x="442663" y="1571475"/>
                    </a:cubicBezTo>
                    <a:cubicBezTo>
                      <a:pt x="455093" y="1564802"/>
                      <a:pt x="466606" y="1556877"/>
                      <a:pt x="478120" y="1549369"/>
                    </a:cubicBezTo>
                    <a:cubicBezTo>
                      <a:pt x="492302" y="1539609"/>
                      <a:pt x="507319" y="1529432"/>
                      <a:pt x="524171" y="1521423"/>
                    </a:cubicBezTo>
                    <a:cubicBezTo>
                      <a:pt x="549867" y="1508994"/>
                      <a:pt x="555206" y="1492643"/>
                      <a:pt x="563632" y="1467784"/>
                    </a:cubicBezTo>
                    <a:cubicBezTo>
                      <a:pt x="564967" y="1464280"/>
                      <a:pt x="566301" y="1459775"/>
                      <a:pt x="567637" y="1455855"/>
                    </a:cubicBezTo>
                    <a:cubicBezTo>
                      <a:pt x="579566" y="1421319"/>
                      <a:pt x="601340" y="1392038"/>
                      <a:pt x="632292" y="1369014"/>
                    </a:cubicBezTo>
                    <a:cubicBezTo>
                      <a:pt x="664162" y="1344655"/>
                      <a:pt x="695196" y="1339817"/>
                      <a:pt x="739079" y="1352664"/>
                    </a:cubicBezTo>
                    <a:cubicBezTo>
                      <a:pt x="775369" y="1363258"/>
                      <a:pt x="795809" y="1360171"/>
                      <a:pt x="829013" y="1338482"/>
                    </a:cubicBezTo>
                    <a:cubicBezTo>
                      <a:pt x="841444" y="1330474"/>
                      <a:pt x="856460" y="1320297"/>
                      <a:pt x="875064" y="1320297"/>
                    </a:cubicBezTo>
                    <a:cubicBezTo>
                      <a:pt x="886994" y="1319880"/>
                      <a:pt x="896338" y="1323800"/>
                      <a:pt x="904764" y="1328305"/>
                    </a:cubicBezTo>
                    <a:cubicBezTo>
                      <a:pt x="907017" y="1329639"/>
                      <a:pt x="909185" y="1330557"/>
                      <a:pt x="911438" y="1331808"/>
                    </a:cubicBezTo>
                    <a:cubicBezTo>
                      <a:pt x="914108" y="1333143"/>
                      <a:pt x="916277" y="1334478"/>
                      <a:pt x="918947" y="1335312"/>
                    </a:cubicBezTo>
                    <a:cubicBezTo>
                      <a:pt x="920282" y="1336230"/>
                      <a:pt x="922034" y="1336647"/>
                      <a:pt x="923785" y="1337564"/>
                    </a:cubicBezTo>
                    <a:cubicBezTo>
                      <a:pt x="950816" y="1348660"/>
                      <a:pt x="995115" y="1340234"/>
                      <a:pt x="1027485" y="1327804"/>
                    </a:cubicBezTo>
                    <a:cubicBezTo>
                      <a:pt x="1048342" y="1319796"/>
                      <a:pt x="1054932" y="1303446"/>
                      <a:pt x="1062441" y="1284843"/>
                    </a:cubicBezTo>
                    <a:cubicBezTo>
                      <a:pt x="1066862" y="1273748"/>
                      <a:pt x="1071285" y="1261819"/>
                      <a:pt x="1079710" y="1251641"/>
                    </a:cubicBezTo>
                    <a:cubicBezTo>
                      <a:pt x="1085884" y="1243216"/>
                      <a:pt x="1094310" y="1235708"/>
                      <a:pt x="1102736" y="1228200"/>
                    </a:cubicBezTo>
                    <a:cubicBezTo>
                      <a:pt x="1120923" y="1212267"/>
                      <a:pt x="1136441" y="1198503"/>
                      <a:pt x="1130184" y="1174561"/>
                    </a:cubicBezTo>
                    <a:cubicBezTo>
                      <a:pt x="1127931" y="1167470"/>
                      <a:pt x="1124844" y="1160796"/>
                      <a:pt x="1120840" y="1153706"/>
                    </a:cubicBezTo>
                    <a:cubicBezTo>
                      <a:pt x="1116835" y="1146615"/>
                      <a:pt x="1113331" y="1139524"/>
                      <a:pt x="1110661" y="1131099"/>
                    </a:cubicBezTo>
                    <a:cubicBezTo>
                      <a:pt x="1103987" y="1108992"/>
                      <a:pt x="1105323" y="1084550"/>
                      <a:pt x="1107575" y="1059774"/>
                    </a:cubicBezTo>
                    <a:cubicBezTo>
                      <a:pt x="1106741" y="1042673"/>
                      <a:pt x="1107241" y="1024070"/>
                      <a:pt x="1107658" y="100546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2680792" name="Полилиния 413"/>
              <p:cNvSpPr/>
              <p:nvPr/>
            </p:nvSpPr>
            <p:spPr bwMode="auto">
              <a:xfrm>
                <a:off x="8347792" y="4530567"/>
                <a:ext cx="1406020" cy="940556"/>
              </a:xfrm>
              <a:custGeom>
                <a:avLst/>
                <a:gdLst>
                  <a:gd name="connsiteX0" fmla="*/ 1575266 w 1579008"/>
                  <a:gd name="connsiteY0" fmla="*/ 942874 h 1056276"/>
                  <a:gd name="connsiteX1" fmla="*/ 1569926 w 1579008"/>
                  <a:gd name="connsiteY1" fmla="*/ 973907 h 1056276"/>
                  <a:gd name="connsiteX2" fmla="*/ 1565087 w 1579008"/>
                  <a:gd name="connsiteY2" fmla="*/ 993427 h 1056276"/>
                  <a:gd name="connsiteX3" fmla="*/ 1562418 w 1579008"/>
                  <a:gd name="connsiteY3" fmla="*/ 1001853 h 1056276"/>
                  <a:gd name="connsiteX4" fmla="*/ 1546901 w 1579008"/>
                  <a:gd name="connsiteY4" fmla="*/ 1002770 h 1056276"/>
                  <a:gd name="connsiteX5" fmla="*/ 1528296 w 1579008"/>
                  <a:gd name="connsiteY5" fmla="*/ 1016952 h 1056276"/>
                  <a:gd name="connsiteX6" fmla="*/ 1512779 w 1579008"/>
                  <a:gd name="connsiteY6" fmla="*/ 1028464 h 1056276"/>
                  <a:gd name="connsiteX7" fmla="*/ 1469397 w 1579008"/>
                  <a:gd name="connsiteY7" fmla="*/ 1019621 h 1056276"/>
                  <a:gd name="connsiteX8" fmla="*/ 1464975 w 1579008"/>
                  <a:gd name="connsiteY8" fmla="*/ 1017869 h 1056276"/>
                  <a:gd name="connsiteX9" fmla="*/ 1406493 w 1579008"/>
                  <a:gd name="connsiteY9" fmla="*/ 1010362 h 1056276"/>
                  <a:gd name="connsiteX10" fmla="*/ 1386971 w 1579008"/>
                  <a:gd name="connsiteY10" fmla="*/ 1017452 h 1056276"/>
                  <a:gd name="connsiteX11" fmla="*/ 1357271 w 1579008"/>
                  <a:gd name="connsiteY11" fmla="*/ 1026295 h 1056276"/>
                  <a:gd name="connsiteX12" fmla="*/ 1347093 w 1579008"/>
                  <a:gd name="connsiteY12" fmla="*/ 1027213 h 1056276"/>
                  <a:gd name="connsiteX13" fmla="*/ 1296119 w 1579008"/>
                  <a:gd name="connsiteY13" fmla="*/ 1038307 h 1056276"/>
                  <a:gd name="connsiteX14" fmla="*/ 1285524 w 1579008"/>
                  <a:gd name="connsiteY14" fmla="*/ 1043146 h 1056276"/>
                  <a:gd name="connsiteX15" fmla="*/ 1251403 w 1579008"/>
                  <a:gd name="connsiteY15" fmla="*/ 1055576 h 1056276"/>
                  <a:gd name="connsiteX16" fmla="*/ 1179655 w 1579008"/>
                  <a:gd name="connsiteY16" fmla="*/ 1010862 h 1056276"/>
                  <a:gd name="connsiteX17" fmla="*/ 1157046 w 1579008"/>
                  <a:gd name="connsiteY17" fmla="*/ 987838 h 1056276"/>
                  <a:gd name="connsiteX18" fmla="*/ 1139778 w 1579008"/>
                  <a:gd name="connsiteY18" fmla="*/ 971905 h 1056276"/>
                  <a:gd name="connsiteX19" fmla="*/ 1131768 w 1579008"/>
                  <a:gd name="connsiteY19" fmla="*/ 961728 h 1056276"/>
                  <a:gd name="connsiteX20" fmla="*/ 1103820 w 1579008"/>
                  <a:gd name="connsiteY20" fmla="*/ 934699 h 1056276"/>
                  <a:gd name="connsiteX21" fmla="*/ 1079877 w 1579008"/>
                  <a:gd name="connsiteY21" fmla="*/ 924105 h 1056276"/>
                  <a:gd name="connsiteX22" fmla="*/ 1061690 w 1579008"/>
                  <a:gd name="connsiteY22" fmla="*/ 916096 h 1056276"/>
                  <a:gd name="connsiteX23" fmla="*/ 1019643 w 1579008"/>
                  <a:gd name="connsiteY23" fmla="*/ 882895 h 1056276"/>
                  <a:gd name="connsiteX24" fmla="*/ 985521 w 1579008"/>
                  <a:gd name="connsiteY24" fmla="*/ 848359 h 1056276"/>
                  <a:gd name="connsiteX25" fmla="*/ 935882 w 1579008"/>
                  <a:gd name="connsiteY25" fmla="*/ 799224 h 1056276"/>
                  <a:gd name="connsiteX26" fmla="*/ 750257 w 1579008"/>
                  <a:gd name="connsiteY26" fmla="*/ 690694 h 1056276"/>
                  <a:gd name="connsiteX27" fmla="*/ 690857 w 1579008"/>
                  <a:gd name="connsiteY27" fmla="*/ 702623 h 1056276"/>
                  <a:gd name="connsiteX28" fmla="*/ 643471 w 1579008"/>
                  <a:gd name="connsiteY28" fmla="*/ 714552 h 1056276"/>
                  <a:gd name="connsiteX29" fmla="*/ 619527 w 1579008"/>
                  <a:gd name="connsiteY29" fmla="*/ 714552 h 1056276"/>
                  <a:gd name="connsiteX30" fmla="*/ 529176 w 1579008"/>
                  <a:gd name="connsiteY30" fmla="*/ 727399 h 1056276"/>
                  <a:gd name="connsiteX31" fmla="*/ 414464 w 1579008"/>
                  <a:gd name="connsiteY31" fmla="*/ 795137 h 1056276"/>
                  <a:gd name="connsiteX32" fmla="*/ 406039 w 1579008"/>
                  <a:gd name="connsiteY32" fmla="*/ 782707 h 1056276"/>
                  <a:gd name="connsiteX33" fmla="*/ 402534 w 1579008"/>
                  <a:gd name="connsiteY33" fmla="*/ 776534 h 1056276"/>
                  <a:gd name="connsiteX34" fmla="*/ 362239 w 1579008"/>
                  <a:gd name="connsiteY34" fmla="*/ 732655 h 1056276"/>
                  <a:gd name="connsiteX35" fmla="*/ 356900 w 1579008"/>
                  <a:gd name="connsiteY35" fmla="*/ 729985 h 1056276"/>
                  <a:gd name="connsiteX36" fmla="*/ 345387 w 1579008"/>
                  <a:gd name="connsiteY36" fmla="*/ 721143 h 1056276"/>
                  <a:gd name="connsiteX37" fmla="*/ 344469 w 1579008"/>
                  <a:gd name="connsiteY37" fmla="*/ 713134 h 1056276"/>
                  <a:gd name="connsiteX38" fmla="*/ 342717 w 1579008"/>
                  <a:gd name="connsiteY38" fmla="*/ 699370 h 1056276"/>
                  <a:gd name="connsiteX39" fmla="*/ 336043 w 1579008"/>
                  <a:gd name="connsiteY39" fmla="*/ 690527 h 1056276"/>
                  <a:gd name="connsiteX40" fmla="*/ 332039 w 1579008"/>
                  <a:gd name="connsiteY40" fmla="*/ 685189 h 1056276"/>
                  <a:gd name="connsiteX41" fmla="*/ 337795 w 1579008"/>
                  <a:gd name="connsiteY41" fmla="*/ 677681 h 1056276"/>
                  <a:gd name="connsiteX42" fmla="*/ 344886 w 1579008"/>
                  <a:gd name="connsiteY42" fmla="*/ 671508 h 1056276"/>
                  <a:gd name="connsiteX43" fmla="*/ 352896 w 1579008"/>
                  <a:gd name="connsiteY43" fmla="*/ 653322 h 1056276"/>
                  <a:gd name="connsiteX44" fmla="*/ 327617 w 1579008"/>
                  <a:gd name="connsiteY44" fmla="*/ 625876 h 1056276"/>
                  <a:gd name="connsiteX45" fmla="*/ 303257 w 1579008"/>
                  <a:gd name="connsiteY45" fmla="*/ 598848 h 1056276"/>
                  <a:gd name="connsiteX46" fmla="*/ 305008 w 1579008"/>
                  <a:gd name="connsiteY46" fmla="*/ 590840 h 1056276"/>
                  <a:gd name="connsiteX47" fmla="*/ 303674 w 1579008"/>
                  <a:gd name="connsiteY47" fmla="*/ 567816 h 1056276"/>
                  <a:gd name="connsiteX48" fmla="*/ 294830 w 1579008"/>
                  <a:gd name="connsiteY48" fmla="*/ 556304 h 1056276"/>
                  <a:gd name="connsiteX49" fmla="*/ 286404 w 1579008"/>
                  <a:gd name="connsiteY49" fmla="*/ 545209 h 1056276"/>
                  <a:gd name="connsiteX50" fmla="*/ 283317 w 1579008"/>
                  <a:gd name="connsiteY50" fmla="*/ 538118 h 1056276"/>
                  <a:gd name="connsiteX51" fmla="*/ 237683 w 1579008"/>
                  <a:gd name="connsiteY51" fmla="*/ 509338 h 1056276"/>
                  <a:gd name="connsiteX52" fmla="*/ 229257 w 1579008"/>
                  <a:gd name="connsiteY52" fmla="*/ 513342 h 1056276"/>
                  <a:gd name="connsiteX53" fmla="*/ 207983 w 1579008"/>
                  <a:gd name="connsiteY53" fmla="*/ 511590 h 1056276"/>
                  <a:gd name="connsiteX54" fmla="*/ 199974 w 1579008"/>
                  <a:gd name="connsiteY54" fmla="*/ 493405 h 1056276"/>
                  <a:gd name="connsiteX55" fmla="*/ 180035 w 1579008"/>
                  <a:gd name="connsiteY55" fmla="*/ 461538 h 1056276"/>
                  <a:gd name="connsiteX56" fmla="*/ 118883 w 1579008"/>
                  <a:gd name="connsiteY56" fmla="*/ 486814 h 1056276"/>
                  <a:gd name="connsiteX57" fmla="*/ 90935 w 1579008"/>
                  <a:gd name="connsiteY57" fmla="*/ 510756 h 1056276"/>
                  <a:gd name="connsiteX58" fmla="*/ 90518 w 1579008"/>
                  <a:gd name="connsiteY58" fmla="*/ 510756 h 1056276"/>
                  <a:gd name="connsiteX59" fmla="*/ 78087 w 1579008"/>
                  <a:gd name="connsiteY59" fmla="*/ 500162 h 1056276"/>
                  <a:gd name="connsiteX60" fmla="*/ 81591 w 1579008"/>
                  <a:gd name="connsiteY60" fmla="*/ 480641 h 1056276"/>
                  <a:gd name="connsiteX61" fmla="*/ 86931 w 1579008"/>
                  <a:gd name="connsiteY61" fmla="*/ 477138 h 1056276"/>
                  <a:gd name="connsiteX62" fmla="*/ 101531 w 1579008"/>
                  <a:gd name="connsiteY62" fmla="*/ 459870 h 1056276"/>
                  <a:gd name="connsiteX63" fmla="*/ 94439 w 1579008"/>
                  <a:gd name="connsiteY63" fmla="*/ 443519 h 1056276"/>
                  <a:gd name="connsiteX64" fmla="*/ 51892 w 1579008"/>
                  <a:gd name="connsiteY64" fmla="*/ 429338 h 1056276"/>
                  <a:gd name="connsiteX65" fmla="*/ 18187 w 1579008"/>
                  <a:gd name="connsiteY65" fmla="*/ 419578 h 1056276"/>
                  <a:gd name="connsiteX66" fmla="*/ 917 w 1579008"/>
                  <a:gd name="connsiteY66" fmla="*/ 393884 h 1056276"/>
                  <a:gd name="connsiteX67" fmla="*/ 0 w 1579008"/>
                  <a:gd name="connsiteY67" fmla="*/ 392549 h 1056276"/>
                  <a:gd name="connsiteX68" fmla="*/ 18604 w 1579008"/>
                  <a:gd name="connsiteY68" fmla="*/ 374364 h 1056276"/>
                  <a:gd name="connsiteX69" fmla="*/ 94773 w 1579008"/>
                  <a:gd name="connsiteY69" fmla="*/ 323894 h 1056276"/>
                  <a:gd name="connsiteX70" fmla="*/ 130229 w 1579008"/>
                  <a:gd name="connsiteY70" fmla="*/ 330067 h 1056276"/>
                  <a:gd name="connsiteX71" fmla="*/ 180702 w 1579008"/>
                  <a:gd name="connsiteY71" fmla="*/ 333571 h 1056276"/>
                  <a:gd name="connsiteX72" fmla="*/ 218328 w 1579008"/>
                  <a:gd name="connsiteY72" fmla="*/ 335823 h 1056276"/>
                  <a:gd name="connsiteX73" fmla="*/ 269302 w 1579008"/>
                  <a:gd name="connsiteY73" fmla="*/ 334489 h 1056276"/>
                  <a:gd name="connsiteX74" fmla="*/ 307428 w 1579008"/>
                  <a:gd name="connsiteY74" fmla="*/ 322559 h 1056276"/>
                  <a:gd name="connsiteX75" fmla="*/ 337128 w 1579008"/>
                  <a:gd name="connsiteY75" fmla="*/ 316386 h 1056276"/>
                  <a:gd name="connsiteX76" fmla="*/ 354814 w 1579008"/>
                  <a:gd name="connsiteY76" fmla="*/ 311548 h 1056276"/>
                  <a:gd name="connsiteX77" fmla="*/ 400032 w 1579008"/>
                  <a:gd name="connsiteY77" fmla="*/ 329233 h 1056276"/>
                  <a:gd name="connsiteX78" fmla="*/ 435488 w 1579008"/>
                  <a:gd name="connsiteY78" fmla="*/ 348753 h 1056276"/>
                  <a:gd name="connsiteX79" fmla="*/ 485544 w 1579008"/>
                  <a:gd name="connsiteY79" fmla="*/ 339911 h 1056276"/>
                  <a:gd name="connsiteX80" fmla="*/ 498391 w 1579008"/>
                  <a:gd name="connsiteY80" fmla="*/ 329734 h 1056276"/>
                  <a:gd name="connsiteX81" fmla="*/ 510322 w 1579008"/>
                  <a:gd name="connsiteY81" fmla="*/ 321308 h 1056276"/>
                  <a:gd name="connsiteX82" fmla="*/ 517413 w 1579008"/>
                  <a:gd name="connsiteY82" fmla="*/ 323561 h 1056276"/>
                  <a:gd name="connsiteX83" fmla="*/ 530678 w 1579008"/>
                  <a:gd name="connsiteY83" fmla="*/ 326647 h 1056276"/>
                  <a:gd name="connsiteX84" fmla="*/ 548364 w 1579008"/>
                  <a:gd name="connsiteY84" fmla="*/ 321308 h 1056276"/>
                  <a:gd name="connsiteX85" fmla="*/ 556790 w 1579008"/>
                  <a:gd name="connsiteY85" fmla="*/ 315969 h 1056276"/>
                  <a:gd name="connsiteX86" fmla="*/ 574477 w 1579008"/>
                  <a:gd name="connsiteY86" fmla="*/ 310213 h 1056276"/>
                  <a:gd name="connsiteX87" fmla="*/ 581568 w 1579008"/>
                  <a:gd name="connsiteY87" fmla="*/ 315052 h 1056276"/>
                  <a:gd name="connsiteX88" fmla="*/ 597920 w 1579008"/>
                  <a:gd name="connsiteY88" fmla="*/ 323894 h 1056276"/>
                  <a:gd name="connsiteX89" fmla="*/ 631124 w 1579008"/>
                  <a:gd name="connsiteY89" fmla="*/ 307544 h 1056276"/>
                  <a:gd name="connsiteX90" fmla="*/ 635963 w 1579008"/>
                  <a:gd name="connsiteY90" fmla="*/ 302706 h 1056276"/>
                  <a:gd name="connsiteX91" fmla="*/ 651897 w 1579008"/>
                  <a:gd name="connsiteY91" fmla="*/ 291610 h 1056276"/>
                  <a:gd name="connsiteX92" fmla="*/ 671836 w 1579008"/>
                  <a:gd name="connsiteY92" fmla="*/ 277012 h 1056276"/>
                  <a:gd name="connsiteX93" fmla="*/ 676258 w 1579008"/>
                  <a:gd name="connsiteY93" fmla="*/ 271673 h 1056276"/>
                  <a:gd name="connsiteX94" fmla="*/ 684267 w 1579008"/>
                  <a:gd name="connsiteY94" fmla="*/ 264999 h 1056276"/>
                  <a:gd name="connsiteX95" fmla="*/ 691775 w 1579008"/>
                  <a:gd name="connsiteY95" fmla="*/ 263664 h 1056276"/>
                  <a:gd name="connsiteX96" fmla="*/ 702370 w 1579008"/>
                  <a:gd name="connsiteY96" fmla="*/ 261412 h 1056276"/>
                  <a:gd name="connsiteX97" fmla="*/ 716970 w 1579008"/>
                  <a:gd name="connsiteY97" fmla="*/ 249900 h 1056276"/>
                  <a:gd name="connsiteX98" fmla="*/ 721809 w 1579008"/>
                  <a:gd name="connsiteY98" fmla="*/ 244561 h 1056276"/>
                  <a:gd name="connsiteX99" fmla="*/ 731152 w 1579008"/>
                  <a:gd name="connsiteY99" fmla="*/ 240140 h 1056276"/>
                  <a:gd name="connsiteX100" fmla="*/ 739579 w 1579008"/>
                  <a:gd name="connsiteY100" fmla="*/ 237471 h 1056276"/>
                  <a:gd name="connsiteX101" fmla="*/ 753344 w 1579008"/>
                  <a:gd name="connsiteY101" fmla="*/ 229462 h 1056276"/>
                  <a:gd name="connsiteX102" fmla="*/ 771531 w 1579008"/>
                  <a:gd name="connsiteY102" fmla="*/ 221037 h 1056276"/>
                  <a:gd name="connsiteX103" fmla="*/ 787465 w 1579008"/>
                  <a:gd name="connsiteY103" fmla="*/ 219702 h 1056276"/>
                  <a:gd name="connsiteX104" fmla="*/ 843278 w 1579008"/>
                  <a:gd name="connsiteY104" fmla="*/ 178492 h 1056276"/>
                  <a:gd name="connsiteX105" fmla="*/ 881405 w 1579008"/>
                  <a:gd name="connsiteY105" fmla="*/ 135114 h 1056276"/>
                  <a:gd name="connsiteX106" fmla="*/ 929708 w 1579008"/>
                  <a:gd name="connsiteY106" fmla="*/ 106751 h 1056276"/>
                  <a:gd name="connsiteX107" fmla="*/ 957656 w 1579008"/>
                  <a:gd name="connsiteY107" fmla="*/ 88148 h 1056276"/>
                  <a:gd name="connsiteX108" fmla="*/ 962496 w 1579008"/>
                  <a:gd name="connsiteY108" fmla="*/ 85479 h 1056276"/>
                  <a:gd name="connsiteX109" fmla="*/ 976261 w 1579008"/>
                  <a:gd name="connsiteY109" fmla="*/ 81057 h 1056276"/>
                  <a:gd name="connsiteX110" fmla="*/ 982017 w 1579008"/>
                  <a:gd name="connsiteY110" fmla="*/ 79722 h 1056276"/>
                  <a:gd name="connsiteX111" fmla="*/ 1000204 w 1579008"/>
                  <a:gd name="connsiteY111" fmla="*/ 74383 h 1056276"/>
                  <a:gd name="connsiteX112" fmla="*/ 1019726 w 1579008"/>
                  <a:gd name="connsiteY112" fmla="*/ 60202 h 1056276"/>
                  <a:gd name="connsiteX113" fmla="*/ 1030321 w 1579008"/>
                  <a:gd name="connsiteY113" fmla="*/ 51359 h 1056276"/>
                  <a:gd name="connsiteX114" fmla="*/ 1040917 w 1579008"/>
                  <a:gd name="connsiteY114" fmla="*/ 45603 h 1056276"/>
                  <a:gd name="connsiteX115" fmla="*/ 1067947 w 1579008"/>
                  <a:gd name="connsiteY115" fmla="*/ 22579 h 1056276"/>
                  <a:gd name="connsiteX116" fmla="*/ 1069282 w 1579008"/>
                  <a:gd name="connsiteY116" fmla="*/ 20327 h 1056276"/>
                  <a:gd name="connsiteX117" fmla="*/ 1090973 w 1579008"/>
                  <a:gd name="connsiteY117" fmla="*/ 390 h 1056276"/>
                  <a:gd name="connsiteX118" fmla="*/ 1128598 w 1579008"/>
                  <a:gd name="connsiteY118" fmla="*/ 20744 h 1056276"/>
                  <a:gd name="connsiteX119" fmla="*/ 1129515 w 1579008"/>
                  <a:gd name="connsiteY119" fmla="*/ 48690 h 1056276"/>
                  <a:gd name="connsiteX120" fmla="*/ 1127264 w 1579008"/>
                  <a:gd name="connsiteY120" fmla="*/ 57116 h 1056276"/>
                  <a:gd name="connsiteX121" fmla="*/ 1126345 w 1579008"/>
                  <a:gd name="connsiteY121" fmla="*/ 74383 h 1056276"/>
                  <a:gd name="connsiteX122" fmla="*/ 1125011 w 1579008"/>
                  <a:gd name="connsiteY122" fmla="*/ 88148 h 1056276"/>
                  <a:gd name="connsiteX123" fmla="*/ 1120589 w 1579008"/>
                  <a:gd name="connsiteY123" fmla="*/ 93487 h 1056276"/>
                  <a:gd name="connsiteX124" fmla="*/ 1112163 w 1579008"/>
                  <a:gd name="connsiteY124" fmla="*/ 106334 h 1056276"/>
                  <a:gd name="connsiteX125" fmla="*/ 1113498 w 1579008"/>
                  <a:gd name="connsiteY125" fmla="*/ 120932 h 1056276"/>
                  <a:gd name="connsiteX126" fmla="*/ 1114833 w 1579008"/>
                  <a:gd name="connsiteY126" fmla="*/ 127105 h 1056276"/>
                  <a:gd name="connsiteX127" fmla="*/ 1101067 w 1579008"/>
                  <a:gd name="connsiteY127" fmla="*/ 158972 h 1056276"/>
                  <a:gd name="connsiteX128" fmla="*/ 1085967 w 1579008"/>
                  <a:gd name="connsiteY128" fmla="*/ 205938 h 1056276"/>
                  <a:gd name="connsiteX129" fmla="*/ 1092140 w 1579008"/>
                  <a:gd name="connsiteY129" fmla="*/ 223206 h 1056276"/>
                  <a:gd name="connsiteX130" fmla="*/ 1096979 w 1579008"/>
                  <a:gd name="connsiteY130" fmla="*/ 246230 h 1056276"/>
                  <a:gd name="connsiteX131" fmla="*/ 1086802 w 1579008"/>
                  <a:gd name="connsiteY131" fmla="*/ 263498 h 1056276"/>
                  <a:gd name="connsiteX132" fmla="*/ 1075288 w 1579008"/>
                  <a:gd name="connsiteY132" fmla="*/ 280766 h 1056276"/>
                  <a:gd name="connsiteX133" fmla="*/ 1077541 w 1579008"/>
                  <a:gd name="connsiteY133" fmla="*/ 324144 h 1056276"/>
                  <a:gd name="connsiteX134" fmla="*/ 1110744 w 1579008"/>
                  <a:gd name="connsiteY134" fmla="*/ 344499 h 1056276"/>
                  <a:gd name="connsiteX135" fmla="*/ 1152792 w 1579008"/>
                  <a:gd name="connsiteY135" fmla="*/ 336491 h 1056276"/>
                  <a:gd name="connsiteX136" fmla="*/ 1160801 w 1579008"/>
                  <a:gd name="connsiteY136" fmla="*/ 330735 h 1056276"/>
                  <a:gd name="connsiteX137" fmla="*/ 1179405 w 1579008"/>
                  <a:gd name="connsiteY137" fmla="*/ 322726 h 1056276"/>
                  <a:gd name="connsiteX138" fmla="*/ 1203765 w 1579008"/>
                  <a:gd name="connsiteY138" fmla="*/ 347502 h 1056276"/>
                  <a:gd name="connsiteX139" fmla="*/ 1228126 w 1579008"/>
                  <a:gd name="connsiteY139" fmla="*/ 377200 h 1056276"/>
                  <a:gd name="connsiteX140" fmla="*/ 1280435 w 1579008"/>
                  <a:gd name="connsiteY140" fmla="*/ 370109 h 1056276"/>
                  <a:gd name="connsiteX141" fmla="*/ 1299957 w 1579008"/>
                  <a:gd name="connsiteY141" fmla="*/ 351089 h 1056276"/>
                  <a:gd name="connsiteX142" fmla="*/ 1306631 w 1579008"/>
                  <a:gd name="connsiteY142" fmla="*/ 342247 h 1056276"/>
                  <a:gd name="connsiteX143" fmla="*/ 1330991 w 1579008"/>
                  <a:gd name="connsiteY143" fmla="*/ 323227 h 1056276"/>
                  <a:gd name="connsiteX144" fmla="*/ 1369117 w 1579008"/>
                  <a:gd name="connsiteY144" fmla="*/ 268753 h 1056276"/>
                  <a:gd name="connsiteX145" fmla="*/ 1369117 w 1579008"/>
                  <a:gd name="connsiteY145" fmla="*/ 262580 h 1056276"/>
                  <a:gd name="connsiteX146" fmla="*/ 1379296 w 1579008"/>
                  <a:gd name="connsiteY146" fmla="*/ 232882 h 1056276"/>
                  <a:gd name="connsiteX147" fmla="*/ 1393895 w 1579008"/>
                  <a:gd name="connsiteY147" fmla="*/ 229379 h 1056276"/>
                  <a:gd name="connsiteX148" fmla="*/ 1420008 w 1579008"/>
                  <a:gd name="connsiteY148" fmla="*/ 220036 h 1056276"/>
                  <a:gd name="connsiteX149" fmla="*/ 1439029 w 1579008"/>
                  <a:gd name="connsiteY149" fmla="*/ 192090 h 1056276"/>
                  <a:gd name="connsiteX150" fmla="*/ 1471399 w 1579008"/>
                  <a:gd name="connsiteY150" fmla="*/ 165062 h 1056276"/>
                  <a:gd name="connsiteX151" fmla="*/ 1517450 w 1579008"/>
                  <a:gd name="connsiteY151" fmla="*/ 234134 h 1056276"/>
                  <a:gd name="connsiteX152" fmla="*/ 1541811 w 1579008"/>
                  <a:gd name="connsiteY152" fmla="*/ 273592 h 1056276"/>
                  <a:gd name="connsiteX153" fmla="*/ 1552406 w 1579008"/>
                  <a:gd name="connsiteY153" fmla="*/ 303289 h 1056276"/>
                  <a:gd name="connsiteX154" fmla="*/ 1522707 w 1579008"/>
                  <a:gd name="connsiteY154" fmla="*/ 321892 h 1056276"/>
                  <a:gd name="connsiteX155" fmla="*/ 1516533 w 1579008"/>
                  <a:gd name="connsiteY155" fmla="*/ 323644 h 1056276"/>
                  <a:gd name="connsiteX156" fmla="*/ 1497011 w 1579008"/>
                  <a:gd name="connsiteY156" fmla="*/ 330735 h 1056276"/>
                  <a:gd name="connsiteX157" fmla="*/ 1474903 w 1579008"/>
                  <a:gd name="connsiteY157" fmla="*/ 338243 h 1056276"/>
                  <a:gd name="connsiteX158" fmla="*/ 1466060 w 1579008"/>
                  <a:gd name="connsiteY158" fmla="*/ 339160 h 1056276"/>
                  <a:gd name="connsiteX159" fmla="*/ 1435025 w 1579008"/>
                  <a:gd name="connsiteY159" fmla="*/ 353759 h 1056276"/>
                  <a:gd name="connsiteX160" fmla="*/ 1454964 w 1579008"/>
                  <a:gd name="connsiteY160" fmla="*/ 386543 h 1056276"/>
                  <a:gd name="connsiteX161" fmla="*/ 1457634 w 1579008"/>
                  <a:gd name="connsiteY161" fmla="*/ 388295 h 1056276"/>
                  <a:gd name="connsiteX162" fmla="*/ 1471816 w 1579008"/>
                  <a:gd name="connsiteY162" fmla="*/ 404645 h 1056276"/>
                  <a:gd name="connsiteX163" fmla="*/ 1459886 w 1579008"/>
                  <a:gd name="connsiteY163" fmla="*/ 429004 h 1056276"/>
                  <a:gd name="connsiteX164" fmla="*/ 1452794 w 1579008"/>
                  <a:gd name="connsiteY164" fmla="*/ 436095 h 1056276"/>
                  <a:gd name="connsiteX165" fmla="*/ 1435109 w 1579008"/>
                  <a:gd name="connsiteY165" fmla="*/ 457784 h 1056276"/>
                  <a:gd name="connsiteX166" fmla="*/ 1430269 w 1579008"/>
                  <a:gd name="connsiteY166" fmla="*/ 492737 h 1056276"/>
                  <a:gd name="connsiteX167" fmla="*/ 1429852 w 1579008"/>
                  <a:gd name="connsiteY167" fmla="*/ 508671 h 1056276"/>
                  <a:gd name="connsiteX168" fmla="*/ 1405492 w 1579008"/>
                  <a:gd name="connsiteY168" fmla="*/ 551215 h 1056276"/>
                  <a:gd name="connsiteX169" fmla="*/ 1382049 w 1579008"/>
                  <a:gd name="connsiteY169" fmla="*/ 584917 h 1056276"/>
                  <a:gd name="connsiteX170" fmla="*/ 1383384 w 1579008"/>
                  <a:gd name="connsiteY170" fmla="*/ 615950 h 1056276"/>
                  <a:gd name="connsiteX171" fmla="*/ 1387805 w 1579008"/>
                  <a:gd name="connsiteY171" fmla="*/ 628796 h 1056276"/>
                  <a:gd name="connsiteX172" fmla="*/ 1382466 w 1579008"/>
                  <a:gd name="connsiteY172" fmla="*/ 650068 h 1056276"/>
                  <a:gd name="connsiteX173" fmla="*/ 1375375 w 1579008"/>
                  <a:gd name="connsiteY173" fmla="*/ 667337 h 1056276"/>
                  <a:gd name="connsiteX174" fmla="*/ 1375792 w 1579008"/>
                  <a:gd name="connsiteY174" fmla="*/ 716471 h 1056276"/>
                  <a:gd name="connsiteX175" fmla="*/ 1377127 w 1579008"/>
                  <a:gd name="connsiteY175" fmla="*/ 730653 h 1056276"/>
                  <a:gd name="connsiteX176" fmla="*/ 1377544 w 1579008"/>
                  <a:gd name="connsiteY176" fmla="*/ 762102 h 1056276"/>
                  <a:gd name="connsiteX177" fmla="*/ 1381047 w 1579008"/>
                  <a:gd name="connsiteY177" fmla="*/ 782040 h 1056276"/>
                  <a:gd name="connsiteX178" fmla="*/ 1400570 w 1579008"/>
                  <a:gd name="connsiteY178" fmla="*/ 789548 h 1056276"/>
                  <a:gd name="connsiteX179" fmla="*/ 1426265 w 1579008"/>
                  <a:gd name="connsiteY179" fmla="*/ 793969 h 1056276"/>
                  <a:gd name="connsiteX180" fmla="*/ 1440865 w 1579008"/>
                  <a:gd name="connsiteY180" fmla="*/ 796638 h 1056276"/>
                  <a:gd name="connsiteX181" fmla="*/ 1463891 w 1579008"/>
                  <a:gd name="connsiteY181" fmla="*/ 796638 h 1056276"/>
                  <a:gd name="connsiteX182" fmla="*/ 1484748 w 1579008"/>
                  <a:gd name="connsiteY182" fmla="*/ 796638 h 1056276"/>
                  <a:gd name="connsiteX183" fmla="*/ 1502016 w 1579008"/>
                  <a:gd name="connsiteY183" fmla="*/ 812154 h 1056276"/>
                  <a:gd name="connsiteX184" fmla="*/ 1508690 w 1579008"/>
                  <a:gd name="connsiteY184" fmla="*/ 820997 h 1056276"/>
                  <a:gd name="connsiteX185" fmla="*/ 1521121 w 1579008"/>
                  <a:gd name="connsiteY185" fmla="*/ 833844 h 1056276"/>
                  <a:gd name="connsiteX186" fmla="*/ 1537473 w 1579008"/>
                  <a:gd name="connsiteY186" fmla="*/ 852447 h 1056276"/>
                  <a:gd name="connsiteX187" fmla="*/ 1562752 w 1579008"/>
                  <a:gd name="connsiteY187" fmla="*/ 882562 h 1056276"/>
                  <a:gd name="connsiteX188" fmla="*/ 1578269 w 1579008"/>
                  <a:gd name="connsiteY188" fmla="*/ 918849 h 1056276"/>
                  <a:gd name="connsiteX189" fmla="*/ 1577351 w 1579008"/>
                  <a:gd name="connsiteY189" fmla="*/ 922854 h 1056276"/>
                  <a:gd name="connsiteX190" fmla="*/ 1573847 w 1579008"/>
                  <a:gd name="connsiteY190" fmla="*/ 940122 h 1056276"/>
                  <a:gd name="connsiteX191" fmla="*/ 1575266 w 1579008"/>
                  <a:gd name="connsiteY191" fmla="*/ 942874 h 1056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</a:cxnLst>
                <a:rect l="l" t="t" r="r" b="b"/>
                <a:pathLst>
                  <a:path w="1579008" h="1056276" extrusionOk="0">
                    <a:moveTo>
                      <a:pt x="1575266" y="942874"/>
                    </a:moveTo>
                    <a:cubicBezTo>
                      <a:pt x="1573013" y="952635"/>
                      <a:pt x="1570843" y="962812"/>
                      <a:pt x="1569926" y="973907"/>
                    </a:cubicBezTo>
                    <a:cubicBezTo>
                      <a:pt x="1569009" y="980581"/>
                      <a:pt x="1567256" y="986754"/>
                      <a:pt x="1565087" y="993427"/>
                    </a:cubicBezTo>
                    <a:cubicBezTo>
                      <a:pt x="1564169" y="996097"/>
                      <a:pt x="1563335" y="998766"/>
                      <a:pt x="1562418" y="1001853"/>
                    </a:cubicBezTo>
                    <a:cubicBezTo>
                      <a:pt x="1557996" y="1000101"/>
                      <a:pt x="1552657" y="1000518"/>
                      <a:pt x="1546901" y="1002770"/>
                    </a:cubicBezTo>
                    <a:cubicBezTo>
                      <a:pt x="1538474" y="1005857"/>
                      <a:pt x="1533135" y="1011613"/>
                      <a:pt x="1528296" y="1016952"/>
                    </a:cubicBezTo>
                    <a:cubicBezTo>
                      <a:pt x="1523457" y="1022291"/>
                      <a:pt x="1518953" y="1026712"/>
                      <a:pt x="1512779" y="1028464"/>
                    </a:cubicBezTo>
                    <a:cubicBezTo>
                      <a:pt x="1499013" y="1031967"/>
                      <a:pt x="1483579" y="1025377"/>
                      <a:pt x="1469397" y="1019621"/>
                    </a:cubicBezTo>
                    <a:lnTo>
                      <a:pt x="1464975" y="1017869"/>
                    </a:lnTo>
                    <a:cubicBezTo>
                      <a:pt x="1446371" y="1010362"/>
                      <a:pt x="1428184" y="1004105"/>
                      <a:pt x="1406493" y="1010362"/>
                    </a:cubicBezTo>
                    <a:cubicBezTo>
                      <a:pt x="1399818" y="1012614"/>
                      <a:pt x="1393645" y="1015200"/>
                      <a:pt x="1386971" y="1017452"/>
                    </a:cubicBezTo>
                    <a:cubicBezTo>
                      <a:pt x="1376793" y="1021457"/>
                      <a:pt x="1367449" y="1025461"/>
                      <a:pt x="1357271" y="1026295"/>
                    </a:cubicBezTo>
                    <a:lnTo>
                      <a:pt x="1347093" y="1027213"/>
                    </a:lnTo>
                    <a:cubicBezTo>
                      <a:pt x="1329824" y="1029465"/>
                      <a:pt x="1313389" y="1030716"/>
                      <a:pt x="1296119" y="1038307"/>
                    </a:cubicBezTo>
                    <a:cubicBezTo>
                      <a:pt x="1292615" y="1040059"/>
                      <a:pt x="1289028" y="1041811"/>
                      <a:pt x="1285524" y="1043146"/>
                    </a:cubicBezTo>
                    <a:cubicBezTo>
                      <a:pt x="1274011" y="1048485"/>
                      <a:pt x="1263416" y="1053740"/>
                      <a:pt x="1251403" y="1055576"/>
                    </a:cubicBezTo>
                    <a:cubicBezTo>
                      <a:pt x="1215112" y="1060414"/>
                      <a:pt x="1200011" y="1039642"/>
                      <a:pt x="1179655" y="1010862"/>
                    </a:cubicBezTo>
                    <a:cubicBezTo>
                      <a:pt x="1172981" y="1002019"/>
                      <a:pt x="1165056" y="994929"/>
                      <a:pt x="1157046" y="987838"/>
                    </a:cubicBezTo>
                    <a:cubicBezTo>
                      <a:pt x="1150873" y="982499"/>
                      <a:pt x="1145116" y="977661"/>
                      <a:pt x="1139778" y="971905"/>
                    </a:cubicBezTo>
                    <a:cubicBezTo>
                      <a:pt x="1136691" y="968818"/>
                      <a:pt x="1134438" y="965231"/>
                      <a:pt x="1131768" y="961728"/>
                    </a:cubicBezTo>
                    <a:cubicBezTo>
                      <a:pt x="1124677" y="951967"/>
                      <a:pt x="1116668" y="942207"/>
                      <a:pt x="1103820" y="934699"/>
                    </a:cubicBezTo>
                    <a:cubicBezTo>
                      <a:pt x="1095812" y="930278"/>
                      <a:pt x="1087886" y="927609"/>
                      <a:pt x="1079877" y="924105"/>
                    </a:cubicBezTo>
                    <a:cubicBezTo>
                      <a:pt x="1073703" y="921852"/>
                      <a:pt x="1067446" y="919267"/>
                      <a:pt x="1061690" y="916096"/>
                    </a:cubicBezTo>
                    <a:cubicBezTo>
                      <a:pt x="1045755" y="908088"/>
                      <a:pt x="1032490" y="895241"/>
                      <a:pt x="1019643" y="882895"/>
                    </a:cubicBezTo>
                    <a:cubicBezTo>
                      <a:pt x="1008129" y="871800"/>
                      <a:pt x="996617" y="859871"/>
                      <a:pt x="985521" y="848359"/>
                    </a:cubicBezTo>
                    <a:cubicBezTo>
                      <a:pt x="969587" y="832009"/>
                      <a:pt x="952734" y="815158"/>
                      <a:pt x="935882" y="799224"/>
                    </a:cubicBezTo>
                    <a:cubicBezTo>
                      <a:pt x="889330" y="755845"/>
                      <a:pt x="825175" y="696450"/>
                      <a:pt x="750257" y="690694"/>
                    </a:cubicBezTo>
                    <a:cubicBezTo>
                      <a:pt x="728984" y="688942"/>
                      <a:pt x="709461" y="696033"/>
                      <a:pt x="690857" y="702623"/>
                    </a:cubicBezTo>
                    <a:cubicBezTo>
                      <a:pt x="674923" y="708379"/>
                      <a:pt x="659822" y="713718"/>
                      <a:pt x="643471" y="714552"/>
                    </a:cubicBezTo>
                    <a:lnTo>
                      <a:pt x="619527" y="714552"/>
                    </a:lnTo>
                    <a:cubicBezTo>
                      <a:pt x="589828" y="714552"/>
                      <a:pt x="558876" y="714552"/>
                      <a:pt x="529176" y="727399"/>
                    </a:cubicBezTo>
                    <a:cubicBezTo>
                      <a:pt x="488881" y="744667"/>
                      <a:pt x="449421" y="768192"/>
                      <a:pt x="414464" y="795137"/>
                    </a:cubicBezTo>
                    <a:cubicBezTo>
                      <a:pt x="411377" y="790716"/>
                      <a:pt x="408708" y="786711"/>
                      <a:pt x="406039" y="782707"/>
                    </a:cubicBezTo>
                    <a:lnTo>
                      <a:pt x="402534" y="776534"/>
                    </a:lnTo>
                    <a:cubicBezTo>
                      <a:pt x="391939" y="759266"/>
                      <a:pt x="382178" y="742832"/>
                      <a:pt x="362239" y="732655"/>
                    </a:cubicBezTo>
                    <a:cubicBezTo>
                      <a:pt x="360487" y="731737"/>
                      <a:pt x="358735" y="730903"/>
                      <a:pt x="356900" y="729985"/>
                    </a:cubicBezTo>
                    <a:cubicBezTo>
                      <a:pt x="350726" y="727316"/>
                      <a:pt x="347139" y="725564"/>
                      <a:pt x="345387" y="721143"/>
                    </a:cubicBezTo>
                    <a:cubicBezTo>
                      <a:pt x="344469" y="718890"/>
                      <a:pt x="344469" y="716304"/>
                      <a:pt x="344469" y="713134"/>
                    </a:cubicBezTo>
                    <a:cubicBezTo>
                      <a:pt x="344469" y="709130"/>
                      <a:pt x="344886" y="704292"/>
                      <a:pt x="342717" y="699370"/>
                    </a:cubicBezTo>
                    <a:cubicBezTo>
                      <a:pt x="341383" y="695866"/>
                      <a:pt x="338713" y="693197"/>
                      <a:pt x="336043" y="690527"/>
                    </a:cubicBezTo>
                    <a:cubicBezTo>
                      <a:pt x="334709" y="689193"/>
                      <a:pt x="332039" y="686106"/>
                      <a:pt x="332039" y="685189"/>
                    </a:cubicBezTo>
                    <a:cubicBezTo>
                      <a:pt x="331622" y="682102"/>
                      <a:pt x="332956" y="681184"/>
                      <a:pt x="337795" y="677681"/>
                    </a:cubicBezTo>
                    <a:cubicBezTo>
                      <a:pt x="340465" y="675929"/>
                      <a:pt x="342634" y="674177"/>
                      <a:pt x="344886" y="671508"/>
                    </a:cubicBezTo>
                    <a:cubicBezTo>
                      <a:pt x="350643" y="665334"/>
                      <a:pt x="353313" y="659578"/>
                      <a:pt x="352896" y="653322"/>
                    </a:cubicBezTo>
                    <a:cubicBezTo>
                      <a:pt x="351560" y="641810"/>
                      <a:pt x="340047" y="633801"/>
                      <a:pt x="327617" y="625876"/>
                    </a:cubicBezTo>
                    <a:cubicBezTo>
                      <a:pt x="315186" y="617868"/>
                      <a:pt x="302338" y="609526"/>
                      <a:pt x="303257" y="598848"/>
                    </a:cubicBezTo>
                    <a:cubicBezTo>
                      <a:pt x="303674" y="596179"/>
                      <a:pt x="304174" y="593510"/>
                      <a:pt x="305008" y="590840"/>
                    </a:cubicBezTo>
                    <a:cubicBezTo>
                      <a:pt x="306344" y="584667"/>
                      <a:pt x="308512" y="577576"/>
                      <a:pt x="303674" y="567816"/>
                    </a:cubicBezTo>
                    <a:cubicBezTo>
                      <a:pt x="301004" y="563395"/>
                      <a:pt x="297917" y="559807"/>
                      <a:pt x="294830" y="556304"/>
                    </a:cubicBezTo>
                    <a:cubicBezTo>
                      <a:pt x="291744" y="552800"/>
                      <a:pt x="288657" y="549213"/>
                      <a:pt x="286404" y="545209"/>
                    </a:cubicBezTo>
                    <a:cubicBezTo>
                      <a:pt x="285487" y="542957"/>
                      <a:pt x="284151" y="540370"/>
                      <a:pt x="283317" y="538118"/>
                    </a:cubicBezTo>
                    <a:cubicBezTo>
                      <a:pt x="276226" y="522185"/>
                      <a:pt x="265631" y="497826"/>
                      <a:pt x="237683" y="509338"/>
                    </a:cubicBezTo>
                    <a:cubicBezTo>
                      <a:pt x="234596" y="510673"/>
                      <a:pt x="231927" y="512007"/>
                      <a:pt x="229257" y="513342"/>
                    </a:cubicBezTo>
                    <a:cubicBezTo>
                      <a:pt x="217327" y="519515"/>
                      <a:pt x="214657" y="520433"/>
                      <a:pt x="207983" y="511590"/>
                    </a:cubicBezTo>
                    <a:cubicBezTo>
                      <a:pt x="204479" y="506752"/>
                      <a:pt x="202643" y="500079"/>
                      <a:pt x="199974" y="493405"/>
                    </a:cubicBezTo>
                    <a:cubicBezTo>
                      <a:pt x="196470" y="482310"/>
                      <a:pt x="192883" y="469463"/>
                      <a:pt x="180035" y="461538"/>
                    </a:cubicBezTo>
                    <a:cubicBezTo>
                      <a:pt x="150836" y="443853"/>
                      <a:pt x="132232" y="468629"/>
                      <a:pt x="118883" y="486814"/>
                    </a:cubicBezTo>
                    <a:cubicBezTo>
                      <a:pt x="109539" y="499244"/>
                      <a:pt x="100696" y="510756"/>
                      <a:pt x="90935" y="510756"/>
                    </a:cubicBezTo>
                    <a:cubicBezTo>
                      <a:pt x="90518" y="510756"/>
                      <a:pt x="90518" y="510756"/>
                      <a:pt x="90518" y="510756"/>
                    </a:cubicBezTo>
                    <a:cubicBezTo>
                      <a:pt x="82509" y="510756"/>
                      <a:pt x="79423" y="503248"/>
                      <a:pt x="78087" y="500162"/>
                    </a:cubicBezTo>
                    <a:cubicBezTo>
                      <a:pt x="75417" y="492654"/>
                      <a:pt x="77170" y="484229"/>
                      <a:pt x="81591" y="480641"/>
                    </a:cubicBezTo>
                    <a:cubicBezTo>
                      <a:pt x="83343" y="479306"/>
                      <a:pt x="85095" y="477972"/>
                      <a:pt x="86931" y="477138"/>
                    </a:cubicBezTo>
                    <a:cubicBezTo>
                      <a:pt x="93104" y="473133"/>
                      <a:pt x="100696" y="468295"/>
                      <a:pt x="101531" y="459870"/>
                    </a:cubicBezTo>
                    <a:cubicBezTo>
                      <a:pt x="101948" y="454531"/>
                      <a:pt x="99278" y="449275"/>
                      <a:pt x="94439" y="443519"/>
                    </a:cubicBezTo>
                    <a:cubicBezTo>
                      <a:pt x="82509" y="431590"/>
                      <a:pt x="66992" y="430672"/>
                      <a:pt x="51892" y="429338"/>
                    </a:cubicBezTo>
                    <a:cubicBezTo>
                      <a:pt x="39044" y="428420"/>
                      <a:pt x="26613" y="428003"/>
                      <a:pt x="18187" y="419578"/>
                    </a:cubicBezTo>
                    <a:cubicBezTo>
                      <a:pt x="8843" y="411152"/>
                      <a:pt x="5339" y="403227"/>
                      <a:pt x="917" y="393884"/>
                    </a:cubicBezTo>
                    <a:cubicBezTo>
                      <a:pt x="500" y="393467"/>
                      <a:pt x="500" y="392966"/>
                      <a:pt x="0" y="392549"/>
                    </a:cubicBezTo>
                    <a:cubicBezTo>
                      <a:pt x="6674" y="387210"/>
                      <a:pt x="12847" y="381454"/>
                      <a:pt x="18604" y="374364"/>
                    </a:cubicBezTo>
                    <a:cubicBezTo>
                      <a:pt x="38126" y="351340"/>
                      <a:pt x="60651" y="329650"/>
                      <a:pt x="94773" y="323894"/>
                    </a:cubicBezTo>
                    <a:cubicBezTo>
                      <a:pt x="108538" y="321225"/>
                      <a:pt x="116881" y="322977"/>
                      <a:pt x="130229" y="330067"/>
                    </a:cubicBezTo>
                    <a:cubicBezTo>
                      <a:pt x="151503" y="341580"/>
                      <a:pt x="161681" y="339411"/>
                      <a:pt x="180702" y="333571"/>
                    </a:cubicBezTo>
                    <a:cubicBezTo>
                      <a:pt x="193133" y="330067"/>
                      <a:pt x="205063" y="332653"/>
                      <a:pt x="218328" y="335823"/>
                    </a:cubicBezTo>
                    <a:cubicBezTo>
                      <a:pt x="234680" y="339828"/>
                      <a:pt x="251532" y="343832"/>
                      <a:pt x="269302" y="334489"/>
                    </a:cubicBezTo>
                    <a:cubicBezTo>
                      <a:pt x="283901" y="326480"/>
                      <a:pt x="290993" y="322977"/>
                      <a:pt x="307428" y="322559"/>
                    </a:cubicBezTo>
                    <a:cubicBezTo>
                      <a:pt x="319358" y="322142"/>
                      <a:pt x="328285" y="319473"/>
                      <a:pt x="337128" y="316386"/>
                    </a:cubicBezTo>
                    <a:cubicBezTo>
                      <a:pt x="342884" y="314634"/>
                      <a:pt x="348223" y="312883"/>
                      <a:pt x="354814" y="311548"/>
                    </a:cubicBezTo>
                    <a:cubicBezTo>
                      <a:pt x="371667" y="308461"/>
                      <a:pt x="385849" y="318639"/>
                      <a:pt x="400032" y="329233"/>
                    </a:cubicBezTo>
                    <a:cubicBezTo>
                      <a:pt x="411127" y="337242"/>
                      <a:pt x="422140" y="345166"/>
                      <a:pt x="435488" y="348753"/>
                    </a:cubicBezTo>
                    <a:cubicBezTo>
                      <a:pt x="454092" y="353592"/>
                      <a:pt x="473113" y="346084"/>
                      <a:pt x="485544" y="339911"/>
                    </a:cubicBezTo>
                    <a:cubicBezTo>
                      <a:pt x="489966" y="337659"/>
                      <a:pt x="494387" y="333738"/>
                      <a:pt x="498391" y="329734"/>
                    </a:cubicBezTo>
                    <a:cubicBezTo>
                      <a:pt x="502397" y="326230"/>
                      <a:pt x="507235" y="321725"/>
                      <a:pt x="510322" y="321308"/>
                    </a:cubicBezTo>
                    <a:cubicBezTo>
                      <a:pt x="512074" y="320891"/>
                      <a:pt x="514744" y="322226"/>
                      <a:pt x="517413" y="323561"/>
                    </a:cubicBezTo>
                    <a:cubicBezTo>
                      <a:pt x="520917" y="324895"/>
                      <a:pt x="525839" y="326647"/>
                      <a:pt x="530678" y="326647"/>
                    </a:cubicBezTo>
                    <a:cubicBezTo>
                      <a:pt x="537769" y="326230"/>
                      <a:pt x="543109" y="323561"/>
                      <a:pt x="548364" y="321308"/>
                    </a:cubicBezTo>
                    <a:cubicBezTo>
                      <a:pt x="551451" y="319973"/>
                      <a:pt x="554121" y="317805"/>
                      <a:pt x="556790" y="315969"/>
                    </a:cubicBezTo>
                    <a:cubicBezTo>
                      <a:pt x="563882" y="311131"/>
                      <a:pt x="568721" y="308461"/>
                      <a:pt x="574477" y="310213"/>
                    </a:cubicBezTo>
                    <a:cubicBezTo>
                      <a:pt x="577147" y="311131"/>
                      <a:pt x="579315" y="312883"/>
                      <a:pt x="581568" y="315052"/>
                    </a:cubicBezTo>
                    <a:cubicBezTo>
                      <a:pt x="585990" y="318555"/>
                      <a:pt x="590412" y="323060"/>
                      <a:pt x="597920" y="323894"/>
                    </a:cubicBezTo>
                    <a:cubicBezTo>
                      <a:pt x="612520" y="326147"/>
                      <a:pt x="622697" y="315469"/>
                      <a:pt x="631124" y="307544"/>
                    </a:cubicBezTo>
                    <a:cubicBezTo>
                      <a:pt x="632876" y="305792"/>
                      <a:pt x="634628" y="304040"/>
                      <a:pt x="635963" y="302706"/>
                    </a:cubicBezTo>
                    <a:cubicBezTo>
                      <a:pt x="640801" y="298284"/>
                      <a:pt x="646141" y="294697"/>
                      <a:pt x="651897" y="291610"/>
                    </a:cubicBezTo>
                    <a:cubicBezTo>
                      <a:pt x="658571" y="287189"/>
                      <a:pt x="665662" y="283185"/>
                      <a:pt x="671836" y="277012"/>
                    </a:cubicBezTo>
                    <a:cubicBezTo>
                      <a:pt x="673588" y="275260"/>
                      <a:pt x="674923" y="273508"/>
                      <a:pt x="676258" y="271673"/>
                    </a:cubicBezTo>
                    <a:cubicBezTo>
                      <a:pt x="678927" y="268587"/>
                      <a:pt x="680679" y="266334"/>
                      <a:pt x="684267" y="264999"/>
                    </a:cubicBezTo>
                    <a:cubicBezTo>
                      <a:pt x="686519" y="264082"/>
                      <a:pt x="688689" y="263664"/>
                      <a:pt x="691775" y="263664"/>
                    </a:cubicBezTo>
                    <a:cubicBezTo>
                      <a:pt x="694862" y="263247"/>
                      <a:pt x="698867" y="262747"/>
                      <a:pt x="702370" y="261412"/>
                    </a:cubicBezTo>
                    <a:cubicBezTo>
                      <a:pt x="710380" y="258743"/>
                      <a:pt x="713884" y="253404"/>
                      <a:pt x="716970" y="249900"/>
                    </a:cubicBezTo>
                    <a:cubicBezTo>
                      <a:pt x="718305" y="247648"/>
                      <a:pt x="720057" y="245896"/>
                      <a:pt x="721809" y="244561"/>
                    </a:cubicBezTo>
                    <a:cubicBezTo>
                      <a:pt x="724478" y="242309"/>
                      <a:pt x="727148" y="241475"/>
                      <a:pt x="731152" y="240140"/>
                    </a:cubicBezTo>
                    <a:cubicBezTo>
                      <a:pt x="733822" y="239222"/>
                      <a:pt x="736492" y="238805"/>
                      <a:pt x="739579" y="237471"/>
                    </a:cubicBezTo>
                    <a:cubicBezTo>
                      <a:pt x="744918" y="235218"/>
                      <a:pt x="749340" y="232132"/>
                      <a:pt x="753344" y="229462"/>
                    </a:cubicBezTo>
                    <a:cubicBezTo>
                      <a:pt x="759517" y="225458"/>
                      <a:pt x="764440" y="221954"/>
                      <a:pt x="771531" y="221037"/>
                    </a:cubicBezTo>
                    <a:cubicBezTo>
                      <a:pt x="776370" y="220119"/>
                      <a:pt x="782127" y="220119"/>
                      <a:pt x="787465" y="219702"/>
                    </a:cubicBezTo>
                    <a:cubicBezTo>
                      <a:pt x="810909" y="218367"/>
                      <a:pt x="840191" y="217032"/>
                      <a:pt x="843278" y="178492"/>
                    </a:cubicBezTo>
                    <a:cubicBezTo>
                      <a:pt x="845030" y="152799"/>
                      <a:pt x="854374" y="145291"/>
                      <a:pt x="881405" y="135114"/>
                    </a:cubicBezTo>
                    <a:cubicBezTo>
                      <a:pt x="900426" y="128023"/>
                      <a:pt x="915526" y="117428"/>
                      <a:pt x="929708" y="106751"/>
                    </a:cubicBezTo>
                    <a:cubicBezTo>
                      <a:pt x="938552" y="100077"/>
                      <a:pt x="947896" y="93904"/>
                      <a:pt x="957656" y="88148"/>
                    </a:cubicBezTo>
                    <a:cubicBezTo>
                      <a:pt x="959409" y="87230"/>
                      <a:pt x="960743" y="86396"/>
                      <a:pt x="962496" y="85479"/>
                    </a:cubicBezTo>
                    <a:cubicBezTo>
                      <a:pt x="966917" y="83226"/>
                      <a:pt x="971338" y="81975"/>
                      <a:pt x="976261" y="81057"/>
                    </a:cubicBezTo>
                    <a:cubicBezTo>
                      <a:pt x="978013" y="80640"/>
                      <a:pt x="979764" y="80139"/>
                      <a:pt x="982017" y="79722"/>
                    </a:cubicBezTo>
                    <a:cubicBezTo>
                      <a:pt x="988191" y="78388"/>
                      <a:pt x="993947" y="76636"/>
                      <a:pt x="1000204" y="74383"/>
                    </a:cubicBezTo>
                    <a:cubicBezTo>
                      <a:pt x="1008630" y="71297"/>
                      <a:pt x="1014386" y="65541"/>
                      <a:pt x="1019726" y="60202"/>
                    </a:cubicBezTo>
                    <a:cubicBezTo>
                      <a:pt x="1023230" y="57116"/>
                      <a:pt x="1026400" y="53528"/>
                      <a:pt x="1030321" y="51359"/>
                    </a:cubicBezTo>
                    <a:cubicBezTo>
                      <a:pt x="1033826" y="48690"/>
                      <a:pt x="1037413" y="46938"/>
                      <a:pt x="1040917" y="45603"/>
                    </a:cubicBezTo>
                    <a:cubicBezTo>
                      <a:pt x="1050677" y="40765"/>
                      <a:pt x="1059521" y="36260"/>
                      <a:pt x="1067947" y="22579"/>
                    </a:cubicBezTo>
                    <a:lnTo>
                      <a:pt x="1069282" y="20327"/>
                    </a:lnTo>
                    <a:cubicBezTo>
                      <a:pt x="1076373" y="8398"/>
                      <a:pt x="1080378" y="2141"/>
                      <a:pt x="1090973" y="390"/>
                    </a:cubicBezTo>
                    <a:cubicBezTo>
                      <a:pt x="1106907" y="-2280"/>
                      <a:pt x="1121507" y="9232"/>
                      <a:pt x="1128598" y="20744"/>
                    </a:cubicBezTo>
                    <a:cubicBezTo>
                      <a:pt x="1134772" y="30921"/>
                      <a:pt x="1133020" y="37095"/>
                      <a:pt x="1129515" y="48690"/>
                    </a:cubicBezTo>
                    <a:cubicBezTo>
                      <a:pt x="1128598" y="51359"/>
                      <a:pt x="1128181" y="54029"/>
                      <a:pt x="1127264" y="57116"/>
                    </a:cubicBezTo>
                    <a:cubicBezTo>
                      <a:pt x="1125511" y="63289"/>
                      <a:pt x="1125928" y="69045"/>
                      <a:pt x="1126345" y="74383"/>
                    </a:cubicBezTo>
                    <a:cubicBezTo>
                      <a:pt x="1126763" y="79722"/>
                      <a:pt x="1126763" y="84144"/>
                      <a:pt x="1125011" y="88148"/>
                    </a:cubicBezTo>
                    <a:cubicBezTo>
                      <a:pt x="1124093" y="89900"/>
                      <a:pt x="1122341" y="91652"/>
                      <a:pt x="1120589" y="93487"/>
                    </a:cubicBezTo>
                    <a:cubicBezTo>
                      <a:pt x="1117502" y="96573"/>
                      <a:pt x="1113498" y="100577"/>
                      <a:pt x="1112163" y="106334"/>
                    </a:cubicBezTo>
                    <a:cubicBezTo>
                      <a:pt x="1110828" y="111673"/>
                      <a:pt x="1112580" y="116928"/>
                      <a:pt x="1113498" y="120932"/>
                    </a:cubicBezTo>
                    <a:cubicBezTo>
                      <a:pt x="1114416" y="123184"/>
                      <a:pt x="1114833" y="125353"/>
                      <a:pt x="1114833" y="127105"/>
                    </a:cubicBezTo>
                    <a:cubicBezTo>
                      <a:pt x="1114416" y="137699"/>
                      <a:pt x="1108159" y="148378"/>
                      <a:pt x="1101067" y="158972"/>
                    </a:cubicBezTo>
                    <a:cubicBezTo>
                      <a:pt x="1092224" y="173153"/>
                      <a:pt x="1082463" y="188169"/>
                      <a:pt x="1085967" y="205938"/>
                    </a:cubicBezTo>
                    <a:cubicBezTo>
                      <a:pt x="1087302" y="212111"/>
                      <a:pt x="1089471" y="217867"/>
                      <a:pt x="1092140" y="223206"/>
                    </a:cubicBezTo>
                    <a:cubicBezTo>
                      <a:pt x="1095644" y="231631"/>
                      <a:pt x="1098815" y="238722"/>
                      <a:pt x="1096979" y="246230"/>
                    </a:cubicBezTo>
                    <a:cubicBezTo>
                      <a:pt x="1095644" y="252403"/>
                      <a:pt x="1091223" y="257742"/>
                      <a:pt x="1086802" y="263498"/>
                    </a:cubicBezTo>
                    <a:cubicBezTo>
                      <a:pt x="1082379" y="268837"/>
                      <a:pt x="1077958" y="274092"/>
                      <a:pt x="1075288" y="280766"/>
                    </a:cubicBezTo>
                    <a:cubicBezTo>
                      <a:pt x="1069115" y="295865"/>
                      <a:pt x="1069949" y="311798"/>
                      <a:pt x="1077541" y="324144"/>
                    </a:cubicBezTo>
                    <a:cubicBezTo>
                      <a:pt x="1084632" y="336074"/>
                      <a:pt x="1096145" y="342747"/>
                      <a:pt x="1110744" y="344499"/>
                    </a:cubicBezTo>
                    <a:cubicBezTo>
                      <a:pt x="1123592" y="345834"/>
                      <a:pt x="1138692" y="345834"/>
                      <a:pt x="1152792" y="336491"/>
                    </a:cubicBezTo>
                    <a:cubicBezTo>
                      <a:pt x="1155462" y="334739"/>
                      <a:pt x="1158132" y="332987"/>
                      <a:pt x="1160801" y="330735"/>
                    </a:cubicBezTo>
                    <a:cubicBezTo>
                      <a:pt x="1167475" y="325396"/>
                      <a:pt x="1171396" y="322309"/>
                      <a:pt x="1179405" y="322726"/>
                    </a:cubicBezTo>
                    <a:cubicBezTo>
                      <a:pt x="1192670" y="324061"/>
                      <a:pt x="1197091" y="332903"/>
                      <a:pt x="1203765" y="347502"/>
                    </a:cubicBezTo>
                    <a:cubicBezTo>
                      <a:pt x="1209105" y="358597"/>
                      <a:pt x="1214862" y="371861"/>
                      <a:pt x="1228126" y="377200"/>
                    </a:cubicBezTo>
                    <a:cubicBezTo>
                      <a:pt x="1238722" y="381621"/>
                      <a:pt x="1273344" y="373696"/>
                      <a:pt x="1280435" y="370109"/>
                    </a:cubicBezTo>
                    <a:cubicBezTo>
                      <a:pt x="1289278" y="365688"/>
                      <a:pt x="1294617" y="358180"/>
                      <a:pt x="1299957" y="351089"/>
                    </a:cubicBezTo>
                    <a:cubicBezTo>
                      <a:pt x="1302209" y="348003"/>
                      <a:pt x="1304379" y="344916"/>
                      <a:pt x="1306631" y="342247"/>
                    </a:cubicBezTo>
                    <a:cubicBezTo>
                      <a:pt x="1313723" y="334238"/>
                      <a:pt x="1322565" y="328983"/>
                      <a:pt x="1330991" y="323227"/>
                    </a:cubicBezTo>
                    <a:cubicBezTo>
                      <a:pt x="1349179" y="311298"/>
                      <a:pt x="1368200" y="298868"/>
                      <a:pt x="1369117" y="268753"/>
                    </a:cubicBezTo>
                    <a:lnTo>
                      <a:pt x="1369117" y="262580"/>
                    </a:lnTo>
                    <a:cubicBezTo>
                      <a:pt x="1369117" y="247481"/>
                      <a:pt x="1370036" y="237304"/>
                      <a:pt x="1379296" y="232882"/>
                    </a:cubicBezTo>
                    <a:cubicBezTo>
                      <a:pt x="1384134" y="230630"/>
                      <a:pt x="1389057" y="230213"/>
                      <a:pt x="1393895" y="229379"/>
                    </a:cubicBezTo>
                    <a:cubicBezTo>
                      <a:pt x="1402321" y="228461"/>
                      <a:pt x="1411582" y="227627"/>
                      <a:pt x="1420008" y="220036"/>
                    </a:cubicBezTo>
                    <a:cubicBezTo>
                      <a:pt x="1428434" y="212945"/>
                      <a:pt x="1433773" y="202350"/>
                      <a:pt x="1439029" y="192090"/>
                    </a:cubicBezTo>
                    <a:cubicBezTo>
                      <a:pt x="1449207" y="173070"/>
                      <a:pt x="1456299" y="161558"/>
                      <a:pt x="1471399" y="165062"/>
                    </a:cubicBezTo>
                    <a:cubicBezTo>
                      <a:pt x="1495759" y="170818"/>
                      <a:pt x="1510860" y="193425"/>
                      <a:pt x="1517450" y="234134"/>
                    </a:cubicBezTo>
                    <a:cubicBezTo>
                      <a:pt x="1520954" y="255406"/>
                      <a:pt x="1527628" y="261579"/>
                      <a:pt x="1541811" y="273592"/>
                    </a:cubicBezTo>
                    <a:cubicBezTo>
                      <a:pt x="1545315" y="276678"/>
                      <a:pt x="1557746" y="288190"/>
                      <a:pt x="1552406" y="303289"/>
                    </a:cubicBezTo>
                    <a:cubicBezTo>
                      <a:pt x="1548402" y="314801"/>
                      <a:pt x="1536055" y="318388"/>
                      <a:pt x="1522707" y="321892"/>
                    </a:cubicBezTo>
                    <a:lnTo>
                      <a:pt x="1516533" y="323644"/>
                    </a:lnTo>
                    <a:cubicBezTo>
                      <a:pt x="1509859" y="325896"/>
                      <a:pt x="1503685" y="328065"/>
                      <a:pt x="1497011" y="330735"/>
                    </a:cubicBezTo>
                    <a:cubicBezTo>
                      <a:pt x="1489002" y="333404"/>
                      <a:pt x="1482411" y="336491"/>
                      <a:pt x="1474903" y="338243"/>
                    </a:cubicBezTo>
                    <a:cubicBezTo>
                      <a:pt x="1472234" y="338660"/>
                      <a:pt x="1469564" y="339160"/>
                      <a:pt x="1466060" y="339160"/>
                    </a:cubicBezTo>
                    <a:cubicBezTo>
                      <a:pt x="1454964" y="340078"/>
                      <a:pt x="1439947" y="341413"/>
                      <a:pt x="1435025" y="353759"/>
                    </a:cubicBezTo>
                    <a:cubicBezTo>
                      <a:pt x="1427933" y="371444"/>
                      <a:pt x="1446120" y="381704"/>
                      <a:pt x="1454964" y="386543"/>
                    </a:cubicBezTo>
                    <a:lnTo>
                      <a:pt x="1457634" y="388295"/>
                    </a:lnTo>
                    <a:cubicBezTo>
                      <a:pt x="1466060" y="393133"/>
                      <a:pt x="1470898" y="398889"/>
                      <a:pt x="1471816" y="404645"/>
                    </a:cubicBezTo>
                    <a:cubicBezTo>
                      <a:pt x="1472734" y="411319"/>
                      <a:pt x="1468729" y="419244"/>
                      <a:pt x="1459886" y="429004"/>
                    </a:cubicBezTo>
                    <a:cubicBezTo>
                      <a:pt x="1457634" y="431674"/>
                      <a:pt x="1455464" y="433842"/>
                      <a:pt x="1452794" y="436095"/>
                    </a:cubicBezTo>
                    <a:cubicBezTo>
                      <a:pt x="1446120" y="442768"/>
                      <a:pt x="1439530" y="448942"/>
                      <a:pt x="1435109" y="457784"/>
                    </a:cubicBezTo>
                    <a:cubicBezTo>
                      <a:pt x="1429352" y="469296"/>
                      <a:pt x="1429769" y="481225"/>
                      <a:pt x="1430269" y="492737"/>
                    </a:cubicBezTo>
                    <a:cubicBezTo>
                      <a:pt x="1430686" y="498076"/>
                      <a:pt x="1430686" y="503332"/>
                      <a:pt x="1429852" y="508671"/>
                    </a:cubicBezTo>
                    <a:cubicBezTo>
                      <a:pt x="1428518" y="524187"/>
                      <a:pt x="1417422" y="537451"/>
                      <a:pt x="1405492" y="551215"/>
                    </a:cubicBezTo>
                    <a:cubicBezTo>
                      <a:pt x="1396648" y="561393"/>
                      <a:pt x="1387805" y="572487"/>
                      <a:pt x="1382049" y="584917"/>
                    </a:cubicBezTo>
                    <a:cubicBezTo>
                      <a:pt x="1375876" y="599098"/>
                      <a:pt x="1379379" y="607524"/>
                      <a:pt x="1383384" y="615950"/>
                    </a:cubicBezTo>
                    <a:cubicBezTo>
                      <a:pt x="1384718" y="619453"/>
                      <a:pt x="1386470" y="623958"/>
                      <a:pt x="1387805" y="628796"/>
                    </a:cubicBezTo>
                    <a:cubicBezTo>
                      <a:pt x="1389140" y="636805"/>
                      <a:pt x="1386470" y="642561"/>
                      <a:pt x="1382466" y="650068"/>
                    </a:cubicBezTo>
                    <a:cubicBezTo>
                      <a:pt x="1379796" y="654907"/>
                      <a:pt x="1376710" y="660663"/>
                      <a:pt x="1375375" y="667337"/>
                    </a:cubicBezTo>
                    <a:cubicBezTo>
                      <a:pt x="1372288" y="681101"/>
                      <a:pt x="1374040" y="700538"/>
                      <a:pt x="1375792" y="716471"/>
                    </a:cubicBezTo>
                    <a:lnTo>
                      <a:pt x="1377127" y="730653"/>
                    </a:lnTo>
                    <a:cubicBezTo>
                      <a:pt x="1378044" y="741748"/>
                      <a:pt x="1378879" y="750590"/>
                      <a:pt x="1377544" y="762102"/>
                    </a:cubicBezTo>
                    <a:cubicBezTo>
                      <a:pt x="1376626" y="768776"/>
                      <a:pt x="1376626" y="776701"/>
                      <a:pt x="1381047" y="782040"/>
                    </a:cubicBezTo>
                    <a:cubicBezTo>
                      <a:pt x="1385470" y="787379"/>
                      <a:pt x="1391643" y="788713"/>
                      <a:pt x="1400570" y="789548"/>
                    </a:cubicBezTo>
                    <a:cubicBezTo>
                      <a:pt x="1409412" y="790465"/>
                      <a:pt x="1417839" y="792217"/>
                      <a:pt x="1426265" y="793969"/>
                    </a:cubicBezTo>
                    <a:cubicBezTo>
                      <a:pt x="1431103" y="794887"/>
                      <a:pt x="1436026" y="796221"/>
                      <a:pt x="1440865" y="796638"/>
                    </a:cubicBezTo>
                    <a:cubicBezTo>
                      <a:pt x="1448874" y="797973"/>
                      <a:pt x="1456382" y="797056"/>
                      <a:pt x="1463891" y="796638"/>
                    </a:cubicBezTo>
                    <a:cubicBezTo>
                      <a:pt x="1471399" y="795721"/>
                      <a:pt x="1478491" y="795304"/>
                      <a:pt x="1484748" y="796638"/>
                    </a:cubicBezTo>
                    <a:cubicBezTo>
                      <a:pt x="1492756" y="798891"/>
                      <a:pt x="1496677" y="804646"/>
                      <a:pt x="1502016" y="812154"/>
                    </a:cubicBezTo>
                    <a:cubicBezTo>
                      <a:pt x="1504269" y="815241"/>
                      <a:pt x="1506021" y="818328"/>
                      <a:pt x="1508690" y="820997"/>
                    </a:cubicBezTo>
                    <a:cubicBezTo>
                      <a:pt x="1512696" y="825836"/>
                      <a:pt x="1517117" y="829840"/>
                      <a:pt x="1521121" y="833844"/>
                    </a:cubicBezTo>
                    <a:cubicBezTo>
                      <a:pt x="1527295" y="839600"/>
                      <a:pt x="1533552" y="844939"/>
                      <a:pt x="1537473" y="852447"/>
                    </a:cubicBezTo>
                    <a:cubicBezTo>
                      <a:pt x="1544564" y="866211"/>
                      <a:pt x="1549904" y="873302"/>
                      <a:pt x="1562752" y="882562"/>
                    </a:cubicBezTo>
                    <a:cubicBezTo>
                      <a:pt x="1576517" y="892322"/>
                      <a:pt x="1580939" y="902499"/>
                      <a:pt x="1578269" y="918849"/>
                    </a:cubicBezTo>
                    <a:cubicBezTo>
                      <a:pt x="1577852" y="920184"/>
                      <a:pt x="1577852" y="921519"/>
                      <a:pt x="1577351" y="922854"/>
                    </a:cubicBezTo>
                    <a:cubicBezTo>
                      <a:pt x="1576016" y="928609"/>
                      <a:pt x="1574682" y="933948"/>
                      <a:pt x="1573847" y="940122"/>
                    </a:cubicBezTo>
                    <a:cubicBezTo>
                      <a:pt x="1575266" y="941540"/>
                      <a:pt x="1575266" y="942374"/>
                      <a:pt x="1575266" y="9428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76374358" name="Полилиния 414"/>
              <p:cNvSpPr/>
              <p:nvPr/>
            </p:nvSpPr>
            <p:spPr bwMode="auto">
              <a:xfrm>
                <a:off x="9749739" y="5246932"/>
                <a:ext cx="361553" cy="293904"/>
              </a:xfrm>
              <a:custGeom>
                <a:avLst/>
                <a:gdLst>
                  <a:gd name="connsiteX0" fmla="*/ 394192 w 406037"/>
                  <a:gd name="connsiteY0" fmla="*/ 35099 h 330064"/>
                  <a:gd name="connsiteX1" fmla="*/ 343719 w 406037"/>
                  <a:gd name="connsiteY1" fmla="*/ 67883 h 330064"/>
                  <a:gd name="connsiteX2" fmla="*/ 321610 w 406037"/>
                  <a:gd name="connsiteY2" fmla="*/ 105506 h 330064"/>
                  <a:gd name="connsiteX3" fmla="*/ 287489 w 406037"/>
                  <a:gd name="connsiteY3" fmla="*/ 156893 h 330064"/>
                  <a:gd name="connsiteX4" fmla="*/ 260458 w 406037"/>
                  <a:gd name="connsiteY4" fmla="*/ 203859 h 330064"/>
                  <a:gd name="connsiteX5" fmla="*/ 259123 w 406037"/>
                  <a:gd name="connsiteY5" fmla="*/ 219792 h 330064"/>
                  <a:gd name="connsiteX6" fmla="*/ 253784 w 406037"/>
                  <a:gd name="connsiteY6" fmla="*/ 248989 h 330064"/>
                  <a:gd name="connsiteX7" fmla="*/ 193133 w 406037"/>
                  <a:gd name="connsiteY7" fmla="*/ 296789 h 330064"/>
                  <a:gd name="connsiteX8" fmla="*/ 171859 w 406037"/>
                  <a:gd name="connsiteY8" fmla="*/ 308301 h 330064"/>
                  <a:gd name="connsiteX9" fmla="*/ 83677 w 406037"/>
                  <a:gd name="connsiteY9" fmla="*/ 320230 h 330064"/>
                  <a:gd name="connsiteX10" fmla="*/ 68159 w 406037"/>
                  <a:gd name="connsiteY10" fmla="*/ 294120 h 330064"/>
                  <a:gd name="connsiteX11" fmla="*/ 61068 w 406037"/>
                  <a:gd name="connsiteY11" fmla="*/ 277769 h 330064"/>
                  <a:gd name="connsiteX12" fmla="*/ 30534 w 406037"/>
                  <a:gd name="connsiteY12" fmla="*/ 249824 h 330064"/>
                  <a:gd name="connsiteX13" fmla="*/ 26112 w 406037"/>
                  <a:gd name="connsiteY13" fmla="*/ 247154 h 330064"/>
                  <a:gd name="connsiteX14" fmla="*/ 4421 w 406037"/>
                  <a:gd name="connsiteY14" fmla="*/ 218374 h 330064"/>
                  <a:gd name="connsiteX15" fmla="*/ 0 w 406037"/>
                  <a:gd name="connsiteY15" fmla="*/ 208197 h 330064"/>
                  <a:gd name="connsiteX16" fmla="*/ 4004 w 406037"/>
                  <a:gd name="connsiteY16" fmla="*/ 194015 h 330064"/>
                  <a:gd name="connsiteX17" fmla="*/ 9343 w 406037"/>
                  <a:gd name="connsiteY17" fmla="*/ 171909 h 330064"/>
                  <a:gd name="connsiteX18" fmla="*/ 15100 w 406037"/>
                  <a:gd name="connsiteY18" fmla="*/ 140459 h 330064"/>
                  <a:gd name="connsiteX19" fmla="*/ 17770 w 406037"/>
                  <a:gd name="connsiteY19" fmla="*/ 129364 h 330064"/>
                  <a:gd name="connsiteX20" fmla="*/ 31034 w 406037"/>
                  <a:gd name="connsiteY20" fmla="*/ 120021 h 330064"/>
                  <a:gd name="connsiteX21" fmla="*/ 60234 w 406037"/>
                  <a:gd name="connsiteY21" fmla="*/ 85485 h 330064"/>
                  <a:gd name="connsiteX22" fmla="*/ 63320 w 406037"/>
                  <a:gd name="connsiteY22" fmla="*/ 77477 h 330064"/>
                  <a:gd name="connsiteX23" fmla="*/ 78838 w 406037"/>
                  <a:gd name="connsiteY23" fmla="*/ 62878 h 330064"/>
                  <a:gd name="connsiteX24" fmla="*/ 99194 w 406037"/>
                  <a:gd name="connsiteY24" fmla="*/ 61543 h 330064"/>
                  <a:gd name="connsiteX25" fmla="*/ 128393 w 406037"/>
                  <a:gd name="connsiteY25" fmla="*/ 58457 h 330064"/>
                  <a:gd name="connsiteX26" fmla="*/ 147916 w 406037"/>
                  <a:gd name="connsiteY26" fmla="*/ 49614 h 330064"/>
                  <a:gd name="connsiteX27" fmla="*/ 171358 w 406037"/>
                  <a:gd name="connsiteY27" fmla="*/ 39854 h 330064"/>
                  <a:gd name="connsiteX28" fmla="*/ 198806 w 406037"/>
                  <a:gd name="connsiteY28" fmla="*/ 50949 h 330064"/>
                  <a:gd name="connsiteX29" fmla="*/ 214740 w 406037"/>
                  <a:gd name="connsiteY29" fmla="*/ 65131 h 330064"/>
                  <a:gd name="connsiteX30" fmla="*/ 301087 w 406037"/>
                  <a:gd name="connsiteY30" fmla="*/ 56705 h 330064"/>
                  <a:gd name="connsiteX31" fmla="*/ 315687 w 406037"/>
                  <a:gd name="connsiteY31" fmla="*/ 39437 h 330064"/>
                  <a:gd name="connsiteX32" fmla="*/ 328535 w 406037"/>
                  <a:gd name="connsiteY32" fmla="*/ 25255 h 330064"/>
                  <a:gd name="connsiteX33" fmla="*/ 342717 w 406037"/>
                  <a:gd name="connsiteY33" fmla="*/ 24838 h 330064"/>
                  <a:gd name="connsiteX34" fmla="*/ 365326 w 406037"/>
                  <a:gd name="connsiteY34" fmla="*/ 22586 h 330064"/>
                  <a:gd name="connsiteX35" fmla="*/ 377757 w 406037"/>
                  <a:gd name="connsiteY35" fmla="*/ 9322 h 330064"/>
                  <a:gd name="connsiteX36" fmla="*/ 384848 w 406037"/>
                  <a:gd name="connsiteY36" fmla="*/ 897 h 330064"/>
                  <a:gd name="connsiteX37" fmla="*/ 391021 w 406037"/>
                  <a:gd name="connsiteY37" fmla="*/ 480 h 330064"/>
                  <a:gd name="connsiteX38" fmla="*/ 401199 w 406037"/>
                  <a:gd name="connsiteY38" fmla="*/ 13326 h 330064"/>
                  <a:gd name="connsiteX39" fmla="*/ 406038 w 406037"/>
                  <a:gd name="connsiteY39" fmla="*/ 39937 h 330064"/>
                  <a:gd name="connsiteX40" fmla="*/ 394192 w 406037"/>
                  <a:gd name="connsiteY40" fmla="*/ 35099 h 330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6037" h="330064" extrusionOk="0">
                    <a:moveTo>
                      <a:pt x="394192" y="35099"/>
                    </a:moveTo>
                    <a:cubicBezTo>
                      <a:pt x="376004" y="33764"/>
                      <a:pt x="355231" y="51950"/>
                      <a:pt x="343719" y="67883"/>
                    </a:cubicBezTo>
                    <a:cubicBezTo>
                      <a:pt x="334875" y="80313"/>
                      <a:pt x="328201" y="93160"/>
                      <a:pt x="321610" y="105506"/>
                    </a:cubicBezTo>
                    <a:cubicBezTo>
                      <a:pt x="311849" y="124109"/>
                      <a:pt x="303006" y="141794"/>
                      <a:pt x="287489" y="156893"/>
                    </a:cubicBezTo>
                    <a:cubicBezTo>
                      <a:pt x="272889" y="171075"/>
                      <a:pt x="263545" y="183504"/>
                      <a:pt x="260458" y="203859"/>
                    </a:cubicBezTo>
                    <a:cubicBezTo>
                      <a:pt x="259541" y="209198"/>
                      <a:pt x="259123" y="214453"/>
                      <a:pt x="259123" y="219792"/>
                    </a:cubicBezTo>
                    <a:cubicBezTo>
                      <a:pt x="258206" y="230386"/>
                      <a:pt x="257789" y="240147"/>
                      <a:pt x="253784" y="248989"/>
                    </a:cubicBezTo>
                    <a:cubicBezTo>
                      <a:pt x="243606" y="270679"/>
                      <a:pt x="216576" y="284443"/>
                      <a:pt x="193133" y="296789"/>
                    </a:cubicBezTo>
                    <a:cubicBezTo>
                      <a:pt x="185625" y="300794"/>
                      <a:pt x="178533" y="304798"/>
                      <a:pt x="171859" y="308301"/>
                    </a:cubicBezTo>
                    <a:cubicBezTo>
                      <a:pt x="142660" y="325569"/>
                      <a:pt x="108955" y="340668"/>
                      <a:pt x="83677" y="320230"/>
                    </a:cubicBezTo>
                    <a:cubicBezTo>
                      <a:pt x="75250" y="313557"/>
                      <a:pt x="71747" y="304297"/>
                      <a:pt x="68159" y="294120"/>
                    </a:cubicBezTo>
                    <a:cubicBezTo>
                      <a:pt x="65907" y="288781"/>
                      <a:pt x="64155" y="283025"/>
                      <a:pt x="61068" y="277769"/>
                    </a:cubicBezTo>
                    <a:cubicBezTo>
                      <a:pt x="53559" y="263171"/>
                      <a:pt x="42464" y="256497"/>
                      <a:pt x="30534" y="249824"/>
                    </a:cubicBezTo>
                    <a:lnTo>
                      <a:pt x="26112" y="247154"/>
                    </a:lnTo>
                    <a:cubicBezTo>
                      <a:pt x="13682" y="239646"/>
                      <a:pt x="10177" y="233890"/>
                      <a:pt x="4421" y="218374"/>
                    </a:cubicBezTo>
                    <a:cubicBezTo>
                      <a:pt x="3503" y="214870"/>
                      <a:pt x="1752" y="211700"/>
                      <a:pt x="0" y="208197"/>
                    </a:cubicBezTo>
                    <a:cubicBezTo>
                      <a:pt x="917" y="203358"/>
                      <a:pt x="2669" y="198436"/>
                      <a:pt x="4004" y="194015"/>
                    </a:cubicBezTo>
                    <a:cubicBezTo>
                      <a:pt x="6257" y="186925"/>
                      <a:pt x="8843" y="179834"/>
                      <a:pt x="9343" y="171909"/>
                    </a:cubicBezTo>
                    <a:cubicBezTo>
                      <a:pt x="10261" y="160814"/>
                      <a:pt x="12847" y="151054"/>
                      <a:pt x="15100" y="140459"/>
                    </a:cubicBezTo>
                    <a:cubicBezTo>
                      <a:pt x="16017" y="136955"/>
                      <a:pt x="16852" y="132951"/>
                      <a:pt x="17770" y="129364"/>
                    </a:cubicBezTo>
                    <a:cubicBezTo>
                      <a:pt x="22191" y="126695"/>
                      <a:pt x="26613" y="123191"/>
                      <a:pt x="31034" y="120021"/>
                    </a:cubicBezTo>
                    <a:cubicBezTo>
                      <a:pt x="44299" y="109844"/>
                      <a:pt x="53142" y="98749"/>
                      <a:pt x="60234" y="85485"/>
                    </a:cubicBezTo>
                    <a:cubicBezTo>
                      <a:pt x="61569" y="82816"/>
                      <a:pt x="62486" y="80146"/>
                      <a:pt x="63320" y="77477"/>
                    </a:cubicBezTo>
                    <a:cubicBezTo>
                      <a:pt x="67325" y="68634"/>
                      <a:pt x="68660" y="65047"/>
                      <a:pt x="78838" y="62878"/>
                    </a:cubicBezTo>
                    <a:cubicBezTo>
                      <a:pt x="85513" y="61126"/>
                      <a:pt x="92103" y="61543"/>
                      <a:pt x="99194" y="61543"/>
                    </a:cubicBezTo>
                    <a:cubicBezTo>
                      <a:pt x="108538" y="61960"/>
                      <a:pt x="117798" y="61960"/>
                      <a:pt x="128393" y="58457"/>
                    </a:cubicBezTo>
                    <a:cubicBezTo>
                      <a:pt x="135485" y="56204"/>
                      <a:pt x="141659" y="53118"/>
                      <a:pt x="147916" y="49614"/>
                    </a:cubicBezTo>
                    <a:cubicBezTo>
                      <a:pt x="155924" y="45193"/>
                      <a:pt x="163433" y="41606"/>
                      <a:pt x="171358" y="39854"/>
                    </a:cubicBezTo>
                    <a:cubicBezTo>
                      <a:pt x="185124" y="36768"/>
                      <a:pt x="190379" y="42106"/>
                      <a:pt x="198806" y="50949"/>
                    </a:cubicBezTo>
                    <a:cubicBezTo>
                      <a:pt x="203227" y="55787"/>
                      <a:pt x="207649" y="60709"/>
                      <a:pt x="214740" y="65131"/>
                    </a:cubicBezTo>
                    <a:cubicBezTo>
                      <a:pt x="237766" y="80229"/>
                      <a:pt x="278562" y="73139"/>
                      <a:pt x="301087" y="56705"/>
                    </a:cubicBezTo>
                    <a:cubicBezTo>
                      <a:pt x="307761" y="51866"/>
                      <a:pt x="311682" y="45610"/>
                      <a:pt x="315687" y="39437"/>
                    </a:cubicBezTo>
                    <a:cubicBezTo>
                      <a:pt x="319191" y="33264"/>
                      <a:pt x="323195" y="27508"/>
                      <a:pt x="328535" y="25255"/>
                    </a:cubicBezTo>
                    <a:cubicBezTo>
                      <a:pt x="332039" y="23503"/>
                      <a:pt x="336961" y="23921"/>
                      <a:pt x="342717" y="24838"/>
                    </a:cubicBezTo>
                    <a:cubicBezTo>
                      <a:pt x="349391" y="25756"/>
                      <a:pt x="357317" y="26590"/>
                      <a:pt x="365326" y="22586"/>
                    </a:cubicBezTo>
                    <a:cubicBezTo>
                      <a:pt x="372000" y="19499"/>
                      <a:pt x="375087" y="13744"/>
                      <a:pt x="377757" y="9322"/>
                    </a:cubicBezTo>
                    <a:cubicBezTo>
                      <a:pt x="380426" y="4901"/>
                      <a:pt x="382178" y="2231"/>
                      <a:pt x="384848" y="897"/>
                    </a:cubicBezTo>
                    <a:cubicBezTo>
                      <a:pt x="387935" y="-438"/>
                      <a:pt x="389686" y="-21"/>
                      <a:pt x="391021" y="480"/>
                    </a:cubicBezTo>
                    <a:cubicBezTo>
                      <a:pt x="394525" y="1814"/>
                      <a:pt x="398112" y="6653"/>
                      <a:pt x="401199" y="13326"/>
                    </a:cubicBezTo>
                    <a:cubicBezTo>
                      <a:pt x="404286" y="21335"/>
                      <a:pt x="406038" y="30594"/>
                      <a:pt x="406038" y="39937"/>
                    </a:cubicBezTo>
                    <a:cubicBezTo>
                      <a:pt x="402200" y="36017"/>
                      <a:pt x="397695" y="35099"/>
                      <a:pt x="394192" y="3509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796178" name="Полилиния 415"/>
              <p:cNvSpPr/>
              <p:nvPr/>
            </p:nvSpPr>
            <p:spPr bwMode="auto">
              <a:xfrm>
                <a:off x="9058794" y="3178800"/>
                <a:ext cx="1465980" cy="2338497"/>
              </a:xfrm>
              <a:custGeom>
                <a:avLst/>
                <a:gdLst>
                  <a:gd name="connsiteX0" fmla="*/ 1646346 w 1646345"/>
                  <a:gd name="connsiteY0" fmla="*/ 2188919 h 2626209"/>
                  <a:gd name="connsiteX1" fmla="*/ 1645427 w 1646345"/>
                  <a:gd name="connsiteY1" fmla="*/ 2198679 h 2626209"/>
                  <a:gd name="connsiteX2" fmla="*/ 1645427 w 1646345"/>
                  <a:gd name="connsiteY2" fmla="*/ 2199096 h 2626209"/>
                  <a:gd name="connsiteX3" fmla="*/ 1599794 w 1646345"/>
                  <a:gd name="connsiteY3" fmla="*/ 2196010 h 2626209"/>
                  <a:gd name="connsiteX4" fmla="*/ 1590950 w 1646345"/>
                  <a:gd name="connsiteY4" fmla="*/ 2171651 h 2626209"/>
                  <a:gd name="connsiteX5" fmla="*/ 1577184 w 1646345"/>
                  <a:gd name="connsiteY5" fmla="*/ 2139784 h 2626209"/>
                  <a:gd name="connsiteX6" fmla="*/ 1561667 w 1646345"/>
                  <a:gd name="connsiteY6" fmla="*/ 2134446 h 2626209"/>
                  <a:gd name="connsiteX7" fmla="*/ 1552323 w 1646345"/>
                  <a:gd name="connsiteY7" fmla="*/ 2131776 h 2626209"/>
                  <a:gd name="connsiteX8" fmla="*/ 1539892 w 1646345"/>
                  <a:gd name="connsiteY8" fmla="*/ 2122933 h 2626209"/>
                  <a:gd name="connsiteX9" fmla="*/ 1535054 w 1646345"/>
                  <a:gd name="connsiteY9" fmla="*/ 2118929 h 2626209"/>
                  <a:gd name="connsiteX10" fmla="*/ 1493841 w 1646345"/>
                  <a:gd name="connsiteY10" fmla="*/ 2101661 h 2626209"/>
                  <a:gd name="connsiteX11" fmla="*/ 1472985 w 1646345"/>
                  <a:gd name="connsiteY11" fmla="*/ 2115425 h 2626209"/>
                  <a:gd name="connsiteX12" fmla="*/ 1460137 w 1646345"/>
                  <a:gd name="connsiteY12" fmla="*/ 2143371 h 2626209"/>
                  <a:gd name="connsiteX13" fmla="*/ 1453045 w 1646345"/>
                  <a:gd name="connsiteY13" fmla="*/ 2161557 h 2626209"/>
                  <a:gd name="connsiteX14" fmla="*/ 1440614 w 1646345"/>
                  <a:gd name="connsiteY14" fmla="*/ 2174404 h 2626209"/>
                  <a:gd name="connsiteX15" fmla="*/ 1421093 w 1646345"/>
                  <a:gd name="connsiteY15" fmla="*/ 2218283 h 2626209"/>
                  <a:gd name="connsiteX16" fmla="*/ 1448540 w 1646345"/>
                  <a:gd name="connsiteY16" fmla="*/ 2231130 h 2626209"/>
                  <a:gd name="connsiteX17" fmla="*/ 1461388 w 1646345"/>
                  <a:gd name="connsiteY17" fmla="*/ 2233800 h 2626209"/>
                  <a:gd name="connsiteX18" fmla="*/ 1471566 w 1646345"/>
                  <a:gd name="connsiteY18" fmla="*/ 2242642 h 2626209"/>
                  <a:gd name="connsiteX19" fmla="*/ 1507440 w 1646345"/>
                  <a:gd name="connsiteY19" fmla="*/ 2246146 h 2626209"/>
                  <a:gd name="connsiteX20" fmla="*/ 1516784 w 1646345"/>
                  <a:gd name="connsiteY20" fmla="*/ 2239472 h 2626209"/>
                  <a:gd name="connsiteX21" fmla="*/ 1538058 w 1646345"/>
                  <a:gd name="connsiteY21" fmla="*/ 2236385 h 2626209"/>
                  <a:gd name="connsiteX22" fmla="*/ 1541561 w 1646345"/>
                  <a:gd name="connsiteY22" fmla="*/ 2276678 h 2626209"/>
                  <a:gd name="connsiteX23" fmla="*/ 1518118 w 1646345"/>
                  <a:gd name="connsiteY23" fmla="*/ 2323226 h 2626209"/>
                  <a:gd name="connsiteX24" fmla="*/ 1505270 w 1646345"/>
                  <a:gd name="connsiteY24" fmla="*/ 2327230 h 2626209"/>
                  <a:gd name="connsiteX25" fmla="*/ 1477823 w 1646345"/>
                  <a:gd name="connsiteY25" fmla="*/ 2346250 h 2626209"/>
                  <a:gd name="connsiteX26" fmla="*/ 1484497 w 1646345"/>
                  <a:gd name="connsiteY26" fmla="*/ 2367522 h 2626209"/>
                  <a:gd name="connsiteX27" fmla="*/ 1488502 w 1646345"/>
                  <a:gd name="connsiteY27" fmla="*/ 2373695 h 2626209"/>
                  <a:gd name="connsiteX28" fmla="*/ 1492506 w 1646345"/>
                  <a:gd name="connsiteY28" fmla="*/ 2395385 h 2626209"/>
                  <a:gd name="connsiteX29" fmla="*/ 1493424 w 1646345"/>
                  <a:gd name="connsiteY29" fmla="*/ 2405562 h 2626209"/>
                  <a:gd name="connsiteX30" fmla="*/ 1483663 w 1646345"/>
                  <a:gd name="connsiteY30" fmla="*/ 2448524 h 2626209"/>
                  <a:gd name="connsiteX31" fmla="*/ 1429603 w 1646345"/>
                  <a:gd name="connsiteY31" fmla="*/ 2480390 h 2626209"/>
                  <a:gd name="connsiteX32" fmla="*/ 1415420 w 1646345"/>
                  <a:gd name="connsiteY32" fmla="*/ 2479973 h 2626209"/>
                  <a:gd name="connsiteX33" fmla="*/ 1396815 w 1646345"/>
                  <a:gd name="connsiteY33" fmla="*/ 2479556 h 2626209"/>
                  <a:gd name="connsiteX34" fmla="*/ 1383968 w 1646345"/>
                  <a:gd name="connsiteY34" fmla="*/ 2484895 h 2626209"/>
                  <a:gd name="connsiteX35" fmla="*/ 1370703 w 1646345"/>
                  <a:gd name="connsiteY35" fmla="*/ 2488399 h 2626209"/>
                  <a:gd name="connsiteX36" fmla="*/ 1358773 w 1646345"/>
                  <a:gd name="connsiteY36" fmla="*/ 2485729 h 2626209"/>
                  <a:gd name="connsiteX37" fmla="*/ 1332160 w 1646345"/>
                  <a:gd name="connsiteY37" fmla="*/ 2484395 h 2626209"/>
                  <a:gd name="connsiteX38" fmla="*/ 1302960 w 1646345"/>
                  <a:gd name="connsiteY38" fmla="*/ 2507419 h 2626209"/>
                  <a:gd name="connsiteX39" fmla="*/ 1284773 w 1646345"/>
                  <a:gd name="connsiteY39" fmla="*/ 2575657 h 2626209"/>
                  <a:gd name="connsiteX40" fmla="*/ 1289612 w 1646345"/>
                  <a:gd name="connsiteY40" fmla="*/ 2586751 h 2626209"/>
                  <a:gd name="connsiteX41" fmla="*/ 1288277 w 1646345"/>
                  <a:gd name="connsiteY41" fmla="*/ 2620454 h 2626209"/>
                  <a:gd name="connsiteX42" fmla="*/ 1281603 w 1646345"/>
                  <a:gd name="connsiteY42" fmla="*/ 2626209 h 2626209"/>
                  <a:gd name="connsiteX43" fmla="*/ 1245730 w 1646345"/>
                  <a:gd name="connsiteY43" fmla="*/ 2540286 h 2626209"/>
                  <a:gd name="connsiteX44" fmla="*/ 1242226 w 1646345"/>
                  <a:gd name="connsiteY44" fmla="*/ 2492903 h 2626209"/>
                  <a:gd name="connsiteX45" fmla="*/ 1243978 w 1646345"/>
                  <a:gd name="connsiteY45" fmla="*/ 2487564 h 2626209"/>
                  <a:gd name="connsiteX46" fmla="*/ 1246230 w 1646345"/>
                  <a:gd name="connsiteY46" fmla="*/ 2444186 h 2626209"/>
                  <a:gd name="connsiteX47" fmla="*/ 1221870 w 1646345"/>
                  <a:gd name="connsiteY47" fmla="*/ 2419410 h 2626209"/>
                  <a:gd name="connsiteX48" fmla="*/ 1207270 w 1646345"/>
                  <a:gd name="connsiteY48" fmla="*/ 2408315 h 2626209"/>
                  <a:gd name="connsiteX49" fmla="*/ 1199261 w 1646345"/>
                  <a:gd name="connsiteY49" fmla="*/ 2391047 h 2626209"/>
                  <a:gd name="connsiteX50" fmla="*/ 1194839 w 1646345"/>
                  <a:gd name="connsiteY50" fmla="*/ 2379952 h 2626209"/>
                  <a:gd name="connsiteX51" fmla="*/ 1194839 w 1646345"/>
                  <a:gd name="connsiteY51" fmla="*/ 2379535 h 2626209"/>
                  <a:gd name="connsiteX52" fmla="*/ 1190001 w 1646345"/>
                  <a:gd name="connsiteY52" fmla="*/ 2330817 h 2626209"/>
                  <a:gd name="connsiteX53" fmla="*/ 1171814 w 1646345"/>
                  <a:gd name="connsiteY53" fmla="*/ 2309962 h 2626209"/>
                  <a:gd name="connsiteX54" fmla="*/ 1154544 w 1646345"/>
                  <a:gd name="connsiteY54" fmla="*/ 2310880 h 2626209"/>
                  <a:gd name="connsiteX55" fmla="*/ 1140779 w 1646345"/>
                  <a:gd name="connsiteY55" fmla="*/ 2324644 h 2626209"/>
                  <a:gd name="connsiteX56" fmla="*/ 1134105 w 1646345"/>
                  <a:gd name="connsiteY56" fmla="*/ 2332653 h 2626209"/>
                  <a:gd name="connsiteX57" fmla="*/ 1119505 w 1646345"/>
                  <a:gd name="connsiteY57" fmla="*/ 2333570 h 2626209"/>
                  <a:gd name="connsiteX58" fmla="*/ 1097397 w 1646345"/>
                  <a:gd name="connsiteY58" fmla="*/ 2335322 h 2626209"/>
                  <a:gd name="connsiteX59" fmla="*/ 1078793 w 1646345"/>
                  <a:gd name="connsiteY59" fmla="*/ 2354842 h 2626209"/>
                  <a:gd name="connsiteX60" fmla="*/ 1068198 w 1646345"/>
                  <a:gd name="connsiteY60" fmla="*/ 2368607 h 2626209"/>
                  <a:gd name="connsiteX61" fmla="*/ 997285 w 1646345"/>
                  <a:gd name="connsiteY61" fmla="*/ 2376615 h 2626209"/>
                  <a:gd name="connsiteX62" fmla="*/ 984020 w 1646345"/>
                  <a:gd name="connsiteY62" fmla="*/ 2364686 h 2626209"/>
                  <a:gd name="connsiteX63" fmla="*/ 943224 w 1646345"/>
                  <a:gd name="connsiteY63" fmla="*/ 2349170 h 2626209"/>
                  <a:gd name="connsiteX64" fmla="*/ 916194 w 1646345"/>
                  <a:gd name="connsiteY64" fmla="*/ 2360265 h 2626209"/>
                  <a:gd name="connsiteX65" fmla="*/ 898507 w 1646345"/>
                  <a:gd name="connsiteY65" fmla="*/ 2368690 h 2626209"/>
                  <a:gd name="connsiteX66" fmla="*/ 874563 w 1646345"/>
                  <a:gd name="connsiteY66" fmla="*/ 2370943 h 2626209"/>
                  <a:gd name="connsiteX67" fmla="*/ 850203 w 1646345"/>
                  <a:gd name="connsiteY67" fmla="*/ 2372695 h 2626209"/>
                  <a:gd name="connsiteX68" fmla="*/ 825425 w 1646345"/>
                  <a:gd name="connsiteY68" fmla="*/ 2395718 h 2626209"/>
                  <a:gd name="connsiteX69" fmla="*/ 822338 w 1646345"/>
                  <a:gd name="connsiteY69" fmla="*/ 2402809 h 2626209"/>
                  <a:gd name="connsiteX70" fmla="*/ 797060 w 1646345"/>
                  <a:gd name="connsiteY70" fmla="*/ 2432507 h 2626209"/>
                  <a:gd name="connsiteX71" fmla="*/ 795725 w 1646345"/>
                  <a:gd name="connsiteY71" fmla="*/ 2433425 h 2626209"/>
                  <a:gd name="connsiteX72" fmla="*/ 773534 w 1646345"/>
                  <a:gd name="connsiteY72" fmla="*/ 2392215 h 2626209"/>
                  <a:gd name="connsiteX73" fmla="*/ 752260 w 1646345"/>
                  <a:gd name="connsiteY73" fmla="*/ 2366938 h 2626209"/>
                  <a:gd name="connsiteX74" fmla="*/ 733239 w 1646345"/>
                  <a:gd name="connsiteY74" fmla="*/ 2344332 h 2626209"/>
                  <a:gd name="connsiteX75" fmla="*/ 722143 w 1646345"/>
                  <a:gd name="connsiteY75" fmla="*/ 2333237 h 2626209"/>
                  <a:gd name="connsiteX76" fmla="*/ 715969 w 1646345"/>
                  <a:gd name="connsiteY76" fmla="*/ 2325228 h 2626209"/>
                  <a:gd name="connsiteX77" fmla="*/ 690274 w 1646345"/>
                  <a:gd name="connsiteY77" fmla="*/ 2304373 h 2626209"/>
                  <a:gd name="connsiteX78" fmla="*/ 664996 w 1646345"/>
                  <a:gd name="connsiteY78" fmla="*/ 2303956 h 2626209"/>
                  <a:gd name="connsiteX79" fmla="*/ 645474 w 1646345"/>
                  <a:gd name="connsiteY79" fmla="*/ 2304373 h 2626209"/>
                  <a:gd name="connsiteX80" fmla="*/ 631291 w 1646345"/>
                  <a:gd name="connsiteY80" fmla="*/ 2301704 h 2626209"/>
                  <a:gd name="connsiteX81" fmla="*/ 603843 w 1646345"/>
                  <a:gd name="connsiteY81" fmla="*/ 2297282 h 2626209"/>
                  <a:gd name="connsiteX82" fmla="*/ 594083 w 1646345"/>
                  <a:gd name="connsiteY82" fmla="*/ 2294613 h 2626209"/>
                  <a:gd name="connsiteX83" fmla="*/ 593666 w 1646345"/>
                  <a:gd name="connsiteY83" fmla="*/ 2285270 h 2626209"/>
                  <a:gd name="connsiteX84" fmla="*/ 593249 w 1646345"/>
                  <a:gd name="connsiteY84" fmla="*/ 2250734 h 2626209"/>
                  <a:gd name="connsiteX85" fmla="*/ 591913 w 1646345"/>
                  <a:gd name="connsiteY85" fmla="*/ 2236552 h 2626209"/>
                  <a:gd name="connsiteX86" fmla="*/ 590996 w 1646345"/>
                  <a:gd name="connsiteY86" fmla="*/ 2191839 h 2626209"/>
                  <a:gd name="connsiteX87" fmla="*/ 597169 w 1646345"/>
                  <a:gd name="connsiteY87" fmla="*/ 2177657 h 2626209"/>
                  <a:gd name="connsiteX88" fmla="*/ 604260 w 1646345"/>
                  <a:gd name="connsiteY88" fmla="*/ 2147125 h 2626209"/>
                  <a:gd name="connsiteX89" fmla="*/ 598922 w 1646345"/>
                  <a:gd name="connsiteY89" fmla="*/ 2131192 h 2626209"/>
                  <a:gd name="connsiteX90" fmla="*/ 597586 w 1646345"/>
                  <a:gd name="connsiteY90" fmla="*/ 2111672 h 2626209"/>
                  <a:gd name="connsiteX91" fmla="*/ 618860 w 1646345"/>
                  <a:gd name="connsiteY91" fmla="*/ 2081140 h 2626209"/>
                  <a:gd name="connsiteX92" fmla="*/ 646308 w 1646345"/>
                  <a:gd name="connsiteY92" fmla="*/ 2031088 h 2626209"/>
                  <a:gd name="connsiteX93" fmla="*/ 646725 w 1646345"/>
                  <a:gd name="connsiteY93" fmla="*/ 2013402 h 2626209"/>
                  <a:gd name="connsiteX94" fmla="*/ 650229 w 1646345"/>
                  <a:gd name="connsiteY94" fmla="*/ 1984622 h 2626209"/>
                  <a:gd name="connsiteX95" fmla="*/ 664829 w 1646345"/>
                  <a:gd name="connsiteY95" fmla="*/ 1966437 h 2626209"/>
                  <a:gd name="connsiteX96" fmla="*/ 672337 w 1646345"/>
                  <a:gd name="connsiteY96" fmla="*/ 1958428 h 2626209"/>
                  <a:gd name="connsiteX97" fmla="*/ 687854 w 1646345"/>
                  <a:gd name="connsiteY97" fmla="*/ 1922140 h 2626209"/>
                  <a:gd name="connsiteX98" fmla="*/ 666998 w 1646345"/>
                  <a:gd name="connsiteY98" fmla="*/ 1896029 h 2626209"/>
                  <a:gd name="connsiteX99" fmla="*/ 663911 w 1646345"/>
                  <a:gd name="connsiteY99" fmla="*/ 1894278 h 2626209"/>
                  <a:gd name="connsiteX100" fmla="*/ 650145 w 1646345"/>
                  <a:gd name="connsiteY100" fmla="*/ 1878762 h 2626209"/>
                  <a:gd name="connsiteX101" fmla="*/ 668750 w 1646345"/>
                  <a:gd name="connsiteY101" fmla="*/ 1873423 h 2626209"/>
                  <a:gd name="connsiteX102" fmla="*/ 679846 w 1646345"/>
                  <a:gd name="connsiteY102" fmla="*/ 1872088 h 2626209"/>
                  <a:gd name="connsiteX103" fmla="*/ 704206 w 1646345"/>
                  <a:gd name="connsiteY103" fmla="*/ 1863662 h 2626209"/>
                  <a:gd name="connsiteX104" fmla="*/ 722393 w 1646345"/>
                  <a:gd name="connsiteY104" fmla="*/ 1856989 h 2626209"/>
                  <a:gd name="connsiteX105" fmla="*/ 728149 w 1646345"/>
                  <a:gd name="connsiteY105" fmla="*/ 1855654 h 2626209"/>
                  <a:gd name="connsiteX106" fmla="*/ 767611 w 1646345"/>
                  <a:gd name="connsiteY106" fmla="*/ 1828209 h 2626209"/>
                  <a:gd name="connsiteX107" fmla="*/ 753011 w 1646345"/>
                  <a:gd name="connsiteY107" fmla="*/ 1782578 h 2626209"/>
                  <a:gd name="connsiteX108" fmla="*/ 733489 w 1646345"/>
                  <a:gd name="connsiteY108" fmla="*/ 1751545 h 2626209"/>
                  <a:gd name="connsiteX109" fmla="*/ 676342 w 1646345"/>
                  <a:gd name="connsiteY109" fmla="*/ 1670961 h 2626209"/>
                  <a:gd name="connsiteX110" fmla="*/ 628037 w 1646345"/>
                  <a:gd name="connsiteY110" fmla="*/ 1705080 h 2626209"/>
                  <a:gd name="connsiteX111" fmla="*/ 612103 w 1646345"/>
                  <a:gd name="connsiteY111" fmla="*/ 1728521 h 2626209"/>
                  <a:gd name="connsiteX112" fmla="*/ 593916 w 1646345"/>
                  <a:gd name="connsiteY112" fmla="*/ 1734694 h 2626209"/>
                  <a:gd name="connsiteX113" fmla="*/ 573977 w 1646345"/>
                  <a:gd name="connsiteY113" fmla="*/ 1739533 h 2626209"/>
                  <a:gd name="connsiteX114" fmla="*/ 555790 w 1646345"/>
                  <a:gd name="connsiteY114" fmla="*/ 1782077 h 2626209"/>
                  <a:gd name="connsiteX115" fmla="*/ 555790 w 1646345"/>
                  <a:gd name="connsiteY115" fmla="*/ 1788250 h 2626209"/>
                  <a:gd name="connsiteX116" fmla="*/ 524338 w 1646345"/>
                  <a:gd name="connsiteY116" fmla="*/ 1831212 h 2626209"/>
                  <a:gd name="connsiteX117" fmla="*/ 497308 w 1646345"/>
                  <a:gd name="connsiteY117" fmla="*/ 1852484 h 2626209"/>
                  <a:gd name="connsiteX118" fmla="*/ 488881 w 1646345"/>
                  <a:gd name="connsiteY118" fmla="*/ 1862661 h 2626209"/>
                  <a:gd name="connsiteX119" fmla="*/ 475116 w 1646345"/>
                  <a:gd name="connsiteY119" fmla="*/ 1877260 h 2626209"/>
                  <a:gd name="connsiteX120" fmla="*/ 434321 w 1646345"/>
                  <a:gd name="connsiteY120" fmla="*/ 1883934 h 2626209"/>
                  <a:gd name="connsiteX121" fmla="*/ 417468 w 1646345"/>
                  <a:gd name="connsiteY121" fmla="*/ 1861827 h 2626209"/>
                  <a:gd name="connsiteX122" fmla="*/ 381178 w 1646345"/>
                  <a:gd name="connsiteY122" fmla="*/ 1828626 h 2626209"/>
                  <a:gd name="connsiteX123" fmla="*/ 351978 w 1646345"/>
                  <a:gd name="connsiteY123" fmla="*/ 1839721 h 2626209"/>
                  <a:gd name="connsiteX124" fmla="*/ 345304 w 1646345"/>
                  <a:gd name="connsiteY124" fmla="*/ 1844559 h 2626209"/>
                  <a:gd name="connsiteX125" fmla="*/ 312100 w 1646345"/>
                  <a:gd name="connsiteY125" fmla="*/ 1850315 h 2626209"/>
                  <a:gd name="connsiteX126" fmla="*/ 289992 w 1646345"/>
                  <a:gd name="connsiteY126" fmla="*/ 1836551 h 2626209"/>
                  <a:gd name="connsiteX127" fmla="*/ 289074 w 1646345"/>
                  <a:gd name="connsiteY127" fmla="*/ 1806019 h 2626209"/>
                  <a:gd name="connsiteX128" fmla="*/ 298418 w 1646345"/>
                  <a:gd name="connsiteY128" fmla="*/ 1792254 h 2626209"/>
                  <a:gd name="connsiteX129" fmla="*/ 311683 w 1646345"/>
                  <a:gd name="connsiteY129" fmla="*/ 1769230 h 2626209"/>
                  <a:gd name="connsiteX130" fmla="*/ 305926 w 1646345"/>
                  <a:gd name="connsiteY130" fmla="*/ 1737781 h 2626209"/>
                  <a:gd name="connsiteX131" fmla="*/ 301088 w 1646345"/>
                  <a:gd name="connsiteY131" fmla="*/ 1723600 h 2626209"/>
                  <a:gd name="connsiteX132" fmla="*/ 313935 w 1646345"/>
                  <a:gd name="connsiteY132" fmla="*/ 1686811 h 2626209"/>
                  <a:gd name="connsiteX133" fmla="*/ 329870 w 1646345"/>
                  <a:gd name="connsiteY133" fmla="*/ 1648271 h 2626209"/>
                  <a:gd name="connsiteX134" fmla="*/ 327617 w 1646345"/>
                  <a:gd name="connsiteY134" fmla="*/ 1637176 h 2626209"/>
                  <a:gd name="connsiteX135" fmla="*/ 326283 w 1646345"/>
                  <a:gd name="connsiteY135" fmla="*/ 1630502 h 2626209"/>
                  <a:gd name="connsiteX136" fmla="*/ 331121 w 1646345"/>
                  <a:gd name="connsiteY136" fmla="*/ 1624329 h 2626209"/>
                  <a:gd name="connsiteX137" fmla="*/ 338213 w 1646345"/>
                  <a:gd name="connsiteY137" fmla="*/ 1614569 h 2626209"/>
                  <a:gd name="connsiteX138" fmla="*/ 340465 w 1646345"/>
                  <a:gd name="connsiteY138" fmla="*/ 1593714 h 2626209"/>
                  <a:gd name="connsiteX139" fmla="*/ 340883 w 1646345"/>
                  <a:gd name="connsiteY139" fmla="*/ 1581284 h 2626209"/>
                  <a:gd name="connsiteX140" fmla="*/ 343134 w 1646345"/>
                  <a:gd name="connsiteY140" fmla="*/ 1573276 h 2626209"/>
                  <a:gd name="connsiteX141" fmla="*/ 340883 w 1646345"/>
                  <a:gd name="connsiteY141" fmla="*/ 1534318 h 2626209"/>
                  <a:gd name="connsiteX142" fmla="*/ 288574 w 1646345"/>
                  <a:gd name="connsiteY142" fmla="*/ 1506873 h 2626209"/>
                  <a:gd name="connsiteX143" fmla="*/ 256705 w 1646345"/>
                  <a:gd name="connsiteY143" fmla="*/ 1533484 h 2626209"/>
                  <a:gd name="connsiteX144" fmla="*/ 255370 w 1646345"/>
                  <a:gd name="connsiteY144" fmla="*/ 1535736 h 2626209"/>
                  <a:gd name="connsiteX145" fmla="*/ 234513 w 1646345"/>
                  <a:gd name="connsiteY145" fmla="*/ 1553422 h 2626209"/>
                  <a:gd name="connsiteX146" fmla="*/ 223000 w 1646345"/>
                  <a:gd name="connsiteY146" fmla="*/ 1559595 h 2626209"/>
                  <a:gd name="connsiteX147" fmla="*/ 209735 w 1646345"/>
                  <a:gd name="connsiteY147" fmla="*/ 1570689 h 2626209"/>
                  <a:gd name="connsiteX148" fmla="*/ 195136 w 1646345"/>
                  <a:gd name="connsiteY148" fmla="*/ 1581284 h 2626209"/>
                  <a:gd name="connsiteX149" fmla="*/ 178784 w 1646345"/>
                  <a:gd name="connsiteY149" fmla="*/ 1586122 h 2626209"/>
                  <a:gd name="connsiteX150" fmla="*/ 170358 w 1646345"/>
                  <a:gd name="connsiteY150" fmla="*/ 1588375 h 2626209"/>
                  <a:gd name="connsiteX151" fmla="*/ 161515 w 1646345"/>
                  <a:gd name="connsiteY151" fmla="*/ 1572441 h 2626209"/>
                  <a:gd name="connsiteX152" fmla="*/ 143828 w 1646345"/>
                  <a:gd name="connsiteY152" fmla="*/ 1534819 h 2626209"/>
                  <a:gd name="connsiteX153" fmla="*/ 138990 w 1646345"/>
                  <a:gd name="connsiteY153" fmla="*/ 1521972 h 2626209"/>
                  <a:gd name="connsiteX154" fmla="*/ 130563 w 1646345"/>
                  <a:gd name="connsiteY154" fmla="*/ 1474589 h 2626209"/>
                  <a:gd name="connsiteX155" fmla="*/ 141659 w 1646345"/>
                  <a:gd name="connsiteY155" fmla="*/ 1460408 h 2626209"/>
                  <a:gd name="connsiteX156" fmla="*/ 150502 w 1646345"/>
                  <a:gd name="connsiteY156" fmla="*/ 1418364 h 2626209"/>
                  <a:gd name="connsiteX157" fmla="*/ 98694 w 1646345"/>
                  <a:gd name="connsiteY157" fmla="*/ 1380741 h 2626209"/>
                  <a:gd name="connsiteX158" fmla="*/ 94272 w 1646345"/>
                  <a:gd name="connsiteY158" fmla="*/ 1379824 h 2626209"/>
                  <a:gd name="connsiteX159" fmla="*/ 61903 w 1646345"/>
                  <a:gd name="connsiteY159" fmla="*/ 1363890 h 2626209"/>
                  <a:gd name="connsiteX160" fmla="*/ 66324 w 1646345"/>
                  <a:gd name="connsiteY160" fmla="*/ 1357717 h 2626209"/>
                  <a:gd name="connsiteX161" fmla="*/ 77420 w 1646345"/>
                  <a:gd name="connsiteY161" fmla="*/ 1343536 h 2626209"/>
                  <a:gd name="connsiteX162" fmla="*/ 72581 w 1646345"/>
                  <a:gd name="connsiteY162" fmla="*/ 1321846 h 2626209"/>
                  <a:gd name="connsiteX163" fmla="*/ 69077 w 1646345"/>
                  <a:gd name="connsiteY163" fmla="*/ 1313421 h 2626209"/>
                  <a:gd name="connsiteX164" fmla="*/ 73500 w 1646345"/>
                  <a:gd name="connsiteY164" fmla="*/ 1296570 h 2626209"/>
                  <a:gd name="connsiteX165" fmla="*/ 77504 w 1646345"/>
                  <a:gd name="connsiteY165" fmla="*/ 1269541 h 2626209"/>
                  <a:gd name="connsiteX166" fmla="*/ 65574 w 1646345"/>
                  <a:gd name="connsiteY166" fmla="*/ 1258947 h 2626209"/>
                  <a:gd name="connsiteX167" fmla="*/ 38126 w 1646345"/>
                  <a:gd name="connsiteY167" fmla="*/ 1253608 h 2626209"/>
                  <a:gd name="connsiteX168" fmla="*/ 31035 w 1646345"/>
                  <a:gd name="connsiteY168" fmla="*/ 1247435 h 2626209"/>
                  <a:gd name="connsiteX169" fmla="*/ 17270 w 1646345"/>
                  <a:gd name="connsiteY169" fmla="*/ 1236340 h 2626209"/>
                  <a:gd name="connsiteX170" fmla="*/ 10178 w 1646345"/>
                  <a:gd name="connsiteY170" fmla="*/ 1233671 h 2626209"/>
                  <a:gd name="connsiteX171" fmla="*/ 0 w 1646345"/>
                  <a:gd name="connsiteY171" fmla="*/ 1228832 h 2626209"/>
                  <a:gd name="connsiteX172" fmla="*/ 0 w 1646345"/>
                  <a:gd name="connsiteY172" fmla="*/ 1227915 h 2626209"/>
                  <a:gd name="connsiteX173" fmla="*/ 8844 w 1646345"/>
                  <a:gd name="connsiteY173" fmla="*/ 1226163 h 2626209"/>
                  <a:gd name="connsiteX174" fmla="*/ 21691 w 1646345"/>
                  <a:gd name="connsiteY174" fmla="*/ 1166351 h 2626209"/>
                  <a:gd name="connsiteX175" fmla="*/ 22609 w 1646345"/>
                  <a:gd name="connsiteY175" fmla="*/ 1138405 h 2626209"/>
                  <a:gd name="connsiteX176" fmla="*/ 24861 w 1646345"/>
                  <a:gd name="connsiteY176" fmla="*/ 1109625 h 2626209"/>
                  <a:gd name="connsiteX177" fmla="*/ 17770 w 1646345"/>
                  <a:gd name="connsiteY177" fmla="*/ 1095026 h 2626209"/>
                  <a:gd name="connsiteX178" fmla="*/ 12431 w 1646345"/>
                  <a:gd name="connsiteY178" fmla="*/ 1083931 h 2626209"/>
                  <a:gd name="connsiteX179" fmla="*/ 15935 w 1646345"/>
                  <a:gd name="connsiteY179" fmla="*/ 1076840 h 2626209"/>
                  <a:gd name="connsiteX180" fmla="*/ 22108 w 1646345"/>
                  <a:gd name="connsiteY180" fmla="*/ 1057320 h 2626209"/>
                  <a:gd name="connsiteX181" fmla="*/ 15935 w 1646345"/>
                  <a:gd name="connsiteY181" fmla="*/ 1035630 h 2626209"/>
                  <a:gd name="connsiteX182" fmla="*/ 15518 w 1646345"/>
                  <a:gd name="connsiteY182" fmla="*/ 1012606 h 2626209"/>
                  <a:gd name="connsiteX183" fmla="*/ 17770 w 1646345"/>
                  <a:gd name="connsiteY183" fmla="*/ 1007768 h 2626209"/>
                  <a:gd name="connsiteX184" fmla="*/ 29700 w 1646345"/>
                  <a:gd name="connsiteY184" fmla="*/ 990500 h 2626209"/>
                  <a:gd name="connsiteX185" fmla="*/ 37709 w 1646345"/>
                  <a:gd name="connsiteY185" fmla="*/ 987831 h 2626209"/>
                  <a:gd name="connsiteX186" fmla="*/ 51892 w 1646345"/>
                  <a:gd name="connsiteY186" fmla="*/ 982075 h 2626209"/>
                  <a:gd name="connsiteX187" fmla="*/ 60735 w 1646345"/>
                  <a:gd name="connsiteY187" fmla="*/ 973232 h 2626209"/>
                  <a:gd name="connsiteX188" fmla="*/ 70079 w 1646345"/>
                  <a:gd name="connsiteY188" fmla="*/ 965224 h 2626209"/>
                  <a:gd name="connsiteX189" fmla="*/ 79840 w 1646345"/>
                  <a:gd name="connsiteY189" fmla="*/ 964806 h 2626209"/>
                  <a:gd name="connsiteX190" fmla="*/ 98444 w 1646345"/>
                  <a:gd name="connsiteY190" fmla="*/ 961720 h 2626209"/>
                  <a:gd name="connsiteX191" fmla="*/ 109956 w 1646345"/>
                  <a:gd name="connsiteY191" fmla="*/ 949791 h 2626209"/>
                  <a:gd name="connsiteX192" fmla="*/ 120135 w 1646345"/>
                  <a:gd name="connsiteY192" fmla="*/ 940948 h 2626209"/>
                  <a:gd name="connsiteX193" fmla="*/ 128561 w 1646345"/>
                  <a:gd name="connsiteY193" fmla="*/ 939613 h 2626209"/>
                  <a:gd name="connsiteX194" fmla="*/ 149835 w 1646345"/>
                  <a:gd name="connsiteY194" fmla="*/ 930771 h 2626209"/>
                  <a:gd name="connsiteX195" fmla="*/ 158261 w 1646345"/>
                  <a:gd name="connsiteY195" fmla="*/ 889144 h 2626209"/>
                  <a:gd name="connsiteX196" fmla="*/ 155591 w 1646345"/>
                  <a:gd name="connsiteY196" fmla="*/ 873211 h 2626209"/>
                  <a:gd name="connsiteX197" fmla="*/ 186626 w 1646345"/>
                  <a:gd name="connsiteY197" fmla="*/ 840426 h 2626209"/>
                  <a:gd name="connsiteX198" fmla="*/ 239352 w 1646345"/>
                  <a:gd name="connsiteY198" fmla="*/ 812481 h 2626209"/>
                  <a:gd name="connsiteX199" fmla="*/ 263713 w 1646345"/>
                  <a:gd name="connsiteY199" fmla="*/ 745160 h 2626209"/>
                  <a:gd name="connsiteX200" fmla="*/ 264130 w 1646345"/>
                  <a:gd name="connsiteY200" fmla="*/ 737152 h 2626209"/>
                  <a:gd name="connsiteX201" fmla="*/ 267216 w 1646345"/>
                  <a:gd name="connsiteY201" fmla="*/ 713210 h 2626209"/>
                  <a:gd name="connsiteX202" fmla="*/ 274724 w 1646345"/>
                  <a:gd name="connsiteY202" fmla="*/ 707871 h 2626209"/>
                  <a:gd name="connsiteX203" fmla="*/ 284486 w 1646345"/>
                  <a:gd name="connsiteY203" fmla="*/ 702532 h 2626209"/>
                  <a:gd name="connsiteX204" fmla="*/ 295081 w 1646345"/>
                  <a:gd name="connsiteY204" fmla="*/ 683012 h 2626209"/>
                  <a:gd name="connsiteX205" fmla="*/ 268050 w 1646345"/>
                  <a:gd name="connsiteY205" fmla="*/ 641802 h 2626209"/>
                  <a:gd name="connsiteX206" fmla="*/ 251699 w 1646345"/>
                  <a:gd name="connsiteY206" fmla="*/ 614357 h 2626209"/>
                  <a:gd name="connsiteX207" fmla="*/ 244191 w 1646345"/>
                  <a:gd name="connsiteY207" fmla="*/ 596672 h 2626209"/>
                  <a:gd name="connsiteX208" fmla="*/ 238851 w 1646345"/>
                  <a:gd name="connsiteY208" fmla="*/ 586494 h 2626209"/>
                  <a:gd name="connsiteX209" fmla="*/ 230008 w 1646345"/>
                  <a:gd name="connsiteY209" fmla="*/ 568809 h 2626209"/>
                  <a:gd name="connsiteX210" fmla="*/ 213657 w 1646345"/>
                  <a:gd name="connsiteY210" fmla="*/ 548455 h 2626209"/>
                  <a:gd name="connsiteX211" fmla="*/ 195469 w 1646345"/>
                  <a:gd name="connsiteY211" fmla="*/ 540947 h 2626209"/>
                  <a:gd name="connsiteX212" fmla="*/ 173361 w 1646345"/>
                  <a:gd name="connsiteY212" fmla="*/ 527683 h 2626209"/>
                  <a:gd name="connsiteX213" fmla="*/ 172944 w 1646345"/>
                  <a:gd name="connsiteY213" fmla="*/ 500238 h 2626209"/>
                  <a:gd name="connsiteX214" fmla="*/ 173361 w 1646345"/>
                  <a:gd name="connsiteY214" fmla="*/ 497568 h 2626209"/>
                  <a:gd name="connsiteX215" fmla="*/ 173361 w 1646345"/>
                  <a:gd name="connsiteY215" fmla="*/ 474127 h 2626209"/>
                  <a:gd name="connsiteX216" fmla="*/ 172443 w 1646345"/>
                  <a:gd name="connsiteY216" fmla="*/ 471458 h 2626209"/>
                  <a:gd name="connsiteX217" fmla="*/ 181286 w 1646345"/>
                  <a:gd name="connsiteY217" fmla="*/ 430248 h 2626209"/>
                  <a:gd name="connsiteX218" fmla="*/ 189296 w 1646345"/>
                  <a:gd name="connsiteY218" fmla="*/ 410727 h 2626209"/>
                  <a:gd name="connsiteX219" fmla="*/ 192383 w 1646345"/>
                  <a:gd name="connsiteY219" fmla="*/ 403637 h 2626209"/>
                  <a:gd name="connsiteX220" fmla="*/ 198139 w 1646345"/>
                  <a:gd name="connsiteY220" fmla="*/ 374439 h 2626209"/>
                  <a:gd name="connsiteX221" fmla="*/ 193717 w 1646345"/>
                  <a:gd name="connsiteY221" fmla="*/ 361593 h 2626209"/>
                  <a:gd name="connsiteX222" fmla="*/ 190630 w 1646345"/>
                  <a:gd name="connsiteY222" fmla="*/ 352750 h 2626209"/>
                  <a:gd name="connsiteX223" fmla="*/ 190213 w 1646345"/>
                  <a:gd name="connsiteY223" fmla="*/ 343908 h 2626209"/>
                  <a:gd name="connsiteX224" fmla="*/ 185792 w 1646345"/>
                  <a:gd name="connsiteY224" fmla="*/ 323553 h 2626209"/>
                  <a:gd name="connsiteX225" fmla="*/ 180035 w 1646345"/>
                  <a:gd name="connsiteY225" fmla="*/ 315545 h 2626209"/>
                  <a:gd name="connsiteX226" fmla="*/ 175196 w 1646345"/>
                  <a:gd name="connsiteY226" fmla="*/ 306702 h 2626209"/>
                  <a:gd name="connsiteX227" fmla="*/ 176115 w 1646345"/>
                  <a:gd name="connsiteY227" fmla="*/ 295190 h 2626209"/>
                  <a:gd name="connsiteX228" fmla="*/ 175196 w 1646345"/>
                  <a:gd name="connsiteY228" fmla="*/ 273083 h 2626209"/>
                  <a:gd name="connsiteX229" fmla="*/ 162766 w 1646345"/>
                  <a:gd name="connsiteY229" fmla="*/ 255399 h 2626209"/>
                  <a:gd name="connsiteX230" fmla="*/ 154757 w 1646345"/>
                  <a:gd name="connsiteY230" fmla="*/ 245221 h 2626209"/>
                  <a:gd name="connsiteX231" fmla="*/ 151253 w 1646345"/>
                  <a:gd name="connsiteY231" fmla="*/ 221780 h 2626209"/>
                  <a:gd name="connsiteX232" fmla="*/ 171609 w 1646345"/>
                  <a:gd name="connsiteY232" fmla="*/ 207181 h 2626209"/>
                  <a:gd name="connsiteX233" fmla="*/ 217661 w 1646345"/>
                  <a:gd name="connsiteY233" fmla="*/ 208516 h 2626209"/>
                  <a:gd name="connsiteX234" fmla="*/ 240269 w 1646345"/>
                  <a:gd name="connsiteY234" fmla="*/ 211603 h 2626209"/>
                  <a:gd name="connsiteX235" fmla="*/ 248696 w 1646345"/>
                  <a:gd name="connsiteY235" fmla="*/ 212937 h 2626209"/>
                  <a:gd name="connsiteX236" fmla="*/ 273056 w 1646345"/>
                  <a:gd name="connsiteY236" fmla="*/ 213354 h 2626209"/>
                  <a:gd name="connsiteX237" fmla="*/ 285904 w 1646345"/>
                  <a:gd name="connsiteY237" fmla="*/ 203594 h 2626209"/>
                  <a:gd name="connsiteX238" fmla="*/ 291244 w 1646345"/>
                  <a:gd name="connsiteY238" fmla="*/ 198255 h 2626209"/>
                  <a:gd name="connsiteX239" fmla="*/ 308929 w 1646345"/>
                  <a:gd name="connsiteY239" fmla="*/ 192916 h 2626209"/>
                  <a:gd name="connsiteX240" fmla="*/ 342134 w 1646345"/>
                  <a:gd name="connsiteY240" fmla="*/ 174731 h 2626209"/>
                  <a:gd name="connsiteX241" fmla="*/ 352311 w 1646345"/>
                  <a:gd name="connsiteY241" fmla="*/ 150372 h 2626209"/>
                  <a:gd name="connsiteX242" fmla="*/ 354981 w 1646345"/>
                  <a:gd name="connsiteY242" fmla="*/ 141530 h 2626209"/>
                  <a:gd name="connsiteX243" fmla="*/ 358068 w 1646345"/>
                  <a:gd name="connsiteY243" fmla="*/ 134856 h 2626209"/>
                  <a:gd name="connsiteX244" fmla="*/ 362490 w 1646345"/>
                  <a:gd name="connsiteY244" fmla="*/ 134439 h 2626209"/>
                  <a:gd name="connsiteX245" fmla="*/ 370499 w 1646345"/>
                  <a:gd name="connsiteY245" fmla="*/ 133521 h 2626209"/>
                  <a:gd name="connsiteX246" fmla="*/ 386850 w 1646345"/>
                  <a:gd name="connsiteY246" fmla="*/ 126847 h 2626209"/>
                  <a:gd name="connsiteX247" fmla="*/ 399281 w 1646345"/>
                  <a:gd name="connsiteY247" fmla="*/ 122009 h 2626209"/>
                  <a:gd name="connsiteX248" fmla="*/ 399698 w 1646345"/>
                  <a:gd name="connsiteY248" fmla="*/ 122009 h 2626209"/>
                  <a:gd name="connsiteX249" fmla="*/ 405872 w 1646345"/>
                  <a:gd name="connsiteY249" fmla="*/ 125513 h 2626209"/>
                  <a:gd name="connsiteX250" fmla="*/ 421807 w 1646345"/>
                  <a:gd name="connsiteY250" fmla="*/ 132603 h 2626209"/>
                  <a:gd name="connsiteX251" fmla="*/ 439075 w 1646345"/>
                  <a:gd name="connsiteY251" fmla="*/ 124595 h 2626209"/>
                  <a:gd name="connsiteX252" fmla="*/ 446167 w 1646345"/>
                  <a:gd name="connsiteY252" fmla="*/ 91394 h 2626209"/>
                  <a:gd name="connsiteX253" fmla="*/ 441745 w 1646345"/>
                  <a:gd name="connsiteY253" fmla="*/ 45346 h 2626209"/>
                  <a:gd name="connsiteX254" fmla="*/ 468776 w 1646345"/>
                  <a:gd name="connsiteY254" fmla="*/ 37838 h 2626209"/>
                  <a:gd name="connsiteX255" fmla="*/ 486462 w 1646345"/>
                  <a:gd name="connsiteY255" fmla="*/ 23656 h 2626209"/>
                  <a:gd name="connsiteX256" fmla="*/ 491801 w 1646345"/>
                  <a:gd name="connsiteY256" fmla="*/ 16566 h 2626209"/>
                  <a:gd name="connsiteX257" fmla="*/ 500645 w 1646345"/>
                  <a:gd name="connsiteY257" fmla="*/ 5971 h 2626209"/>
                  <a:gd name="connsiteX258" fmla="*/ 532096 w 1646345"/>
                  <a:gd name="connsiteY258" fmla="*/ 215 h 2626209"/>
                  <a:gd name="connsiteX259" fmla="*/ 573727 w 1646345"/>
                  <a:gd name="connsiteY259" fmla="*/ 6388 h 2626209"/>
                  <a:gd name="connsiteX260" fmla="*/ 599839 w 1646345"/>
                  <a:gd name="connsiteY260" fmla="*/ 19652 h 2626209"/>
                  <a:gd name="connsiteX261" fmla="*/ 653482 w 1646345"/>
                  <a:gd name="connsiteY261" fmla="*/ 58609 h 2626209"/>
                  <a:gd name="connsiteX262" fmla="*/ 660574 w 1646345"/>
                  <a:gd name="connsiteY262" fmla="*/ 69204 h 2626209"/>
                  <a:gd name="connsiteX263" fmla="*/ 659656 w 1646345"/>
                  <a:gd name="connsiteY263" fmla="*/ 72291 h 2626209"/>
                  <a:gd name="connsiteX264" fmla="*/ 658322 w 1646345"/>
                  <a:gd name="connsiteY264" fmla="*/ 78464 h 2626209"/>
                  <a:gd name="connsiteX265" fmla="*/ 668499 w 1646345"/>
                  <a:gd name="connsiteY265" fmla="*/ 99319 h 2626209"/>
                  <a:gd name="connsiteX266" fmla="*/ 675173 w 1646345"/>
                  <a:gd name="connsiteY266" fmla="*/ 109496 h 2626209"/>
                  <a:gd name="connsiteX267" fmla="*/ 666747 w 1646345"/>
                  <a:gd name="connsiteY267" fmla="*/ 125012 h 2626209"/>
                  <a:gd name="connsiteX268" fmla="*/ 664996 w 1646345"/>
                  <a:gd name="connsiteY268" fmla="*/ 127265 h 2626209"/>
                  <a:gd name="connsiteX269" fmla="*/ 651731 w 1646345"/>
                  <a:gd name="connsiteY269" fmla="*/ 188829 h 2626209"/>
                  <a:gd name="connsiteX270" fmla="*/ 678761 w 1646345"/>
                  <a:gd name="connsiteY270" fmla="*/ 214522 h 2626209"/>
                  <a:gd name="connsiteX271" fmla="*/ 709295 w 1646345"/>
                  <a:gd name="connsiteY271" fmla="*/ 212771 h 2626209"/>
                  <a:gd name="connsiteX272" fmla="*/ 726982 w 1646345"/>
                  <a:gd name="connsiteY272" fmla="*/ 196420 h 2626209"/>
                  <a:gd name="connsiteX273" fmla="*/ 739829 w 1646345"/>
                  <a:gd name="connsiteY273" fmla="*/ 183990 h 2626209"/>
                  <a:gd name="connsiteX274" fmla="*/ 761103 w 1646345"/>
                  <a:gd name="connsiteY274" fmla="*/ 182239 h 2626209"/>
                  <a:gd name="connsiteX275" fmla="*/ 767277 w 1646345"/>
                  <a:gd name="connsiteY275" fmla="*/ 185325 h 2626209"/>
                  <a:gd name="connsiteX276" fmla="*/ 788551 w 1646345"/>
                  <a:gd name="connsiteY276" fmla="*/ 191081 h 2626209"/>
                  <a:gd name="connsiteX277" fmla="*/ 802733 w 1646345"/>
                  <a:gd name="connsiteY277" fmla="*/ 183990 h 2626209"/>
                  <a:gd name="connsiteX278" fmla="*/ 808073 w 1646345"/>
                  <a:gd name="connsiteY278" fmla="*/ 180487 h 2626209"/>
                  <a:gd name="connsiteX279" fmla="*/ 828930 w 1646345"/>
                  <a:gd name="connsiteY279" fmla="*/ 182739 h 2626209"/>
                  <a:gd name="connsiteX280" fmla="*/ 847116 w 1646345"/>
                  <a:gd name="connsiteY280" fmla="*/ 201342 h 2626209"/>
                  <a:gd name="connsiteX281" fmla="*/ 862633 w 1646345"/>
                  <a:gd name="connsiteY281" fmla="*/ 223949 h 2626209"/>
                  <a:gd name="connsiteX282" fmla="*/ 850203 w 1646345"/>
                  <a:gd name="connsiteY282" fmla="*/ 231040 h 2626209"/>
                  <a:gd name="connsiteX283" fmla="*/ 828095 w 1646345"/>
                  <a:gd name="connsiteY283" fmla="*/ 238130 h 2626209"/>
                  <a:gd name="connsiteX284" fmla="*/ 843195 w 1646345"/>
                  <a:gd name="connsiteY284" fmla="*/ 282844 h 2626209"/>
                  <a:gd name="connsiteX285" fmla="*/ 821087 w 1646345"/>
                  <a:gd name="connsiteY285" fmla="*/ 299695 h 2626209"/>
                  <a:gd name="connsiteX286" fmla="*/ 798979 w 1646345"/>
                  <a:gd name="connsiteY286" fmla="*/ 290352 h 2626209"/>
                  <a:gd name="connsiteX287" fmla="*/ 761771 w 1646345"/>
                  <a:gd name="connsiteY287" fmla="*/ 319549 h 2626209"/>
                  <a:gd name="connsiteX288" fmla="*/ 706375 w 1646345"/>
                  <a:gd name="connsiteY288" fmla="*/ 375774 h 2626209"/>
                  <a:gd name="connsiteX289" fmla="*/ 673589 w 1646345"/>
                  <a:gd name="connsiteY289" fmla="*/ 408559 h 2626209"/>
                  <a:gd name="connsiteX290" fmla="*/ 658071 w 1646345"/>
                  <a:gd name="connsiteY290" fmla="*/ 432917 h 2626209"/>
                  <a:gd name="connsiteX291" fmla="*/ 633294 w 1646345"/>
                  <a:gd name="connsiteY291" fmla="*/ 457276 h 2626209"/>
                  <a:gd name="connsiteX292" fmla="*/ 624867 w 1646345"/>
                  <a:gd name="connsiteY292" fmla="*/ 486473 h 2626209"/>
                  <a:gd name="connsiteX293" fmla="*/ 610684 w 1646345"/>
                  <a:gd name="connsiteY293" fmla="*/ 556463 h 2626209"/>
                  <a:gd name="connsiteX294" fmla="*/ 626619 w 1646345"/>
                  <a:gd name="connsiteY294" fmla="*/ 630874 h 2626209"/>
                  <a:gd name="connsiteX295" fmla="*/ 608933 w 1646345"/>
                  <a:gd name="connsiteY295" fmla="*/ 693773 h 2626209"/>
                  <a:gd name="connsiteX296" fmla="*/ 614272 w 1646345"/>
                  <a:gd name="connsiteY296" fmla="*/ 724305 h 2626209"/>
                  <a:gd name="connsiteX297" fmla="*/ 620446 w 1646345"/>
                  <a:gd name="connsiteY297" fmla="*/ 732730 h 2626209"/>
                  <a:gd name="connsiteX298" fmla="*/ 623115 w 1646345"/>
                  <a:gd name="connsiteY298" fmla="*/ 748664 h 2626209"/>
                  <a:gd name="connsiteX299" fmla="*/ 641302 w 1646345"/>
                  <a:gd name="connsiteY299" fmla="*/ 783200 h 2626209"/>
                  <a:gd name="connsiteX300" fmla="*/ 632459 w 1646345"/>
                  <a:gd name="connsiteY300" fmla="*/ 812397 h 2626209"/>
                  <a:gd name="connsiteX301" fmla="*/ 628454 w 1646345"/>
                  <a:gd name="connsiteY301" fmla="*/ 834503 h 2626209"/>
                  <a:gd name="connsiteX302" fmla="*/ 623616 w 1646345"/>
                  <a:gd name="connsiteY302" fmla="*/ 868623 h 2626209"/>
                  <a:gd name="connsiteX303" fmla="*/ 626703 w 1646345"/>
                  <a:gd name="connsiteY303" fmla="*/ 900990 h 2626209"/>
                  <a:gd name="connsiteX304" fmla="*/ 617860 w 1646345"/>
                  <a:gd name="connsiteY304" fmla="*/ 926266 h 2626209"/>
                  <a:gd name="connsiteX305" fmla="*/ 610768 w 1646345"/>
                  <a:gd name="connsiteY305" fmla="*/ 1002429 h 2626209"/>
                  <a:gd name="connsiteX306" fmla="*/ 625368 w 1646345"/>
                  <a:gd name="connsiteY306" fmla="*/ 1157007 h 2626209"/>
                  <a:gd name="connsiteX307" fmla="*/ 611603 w 1646345"/>
                  <a:gd name="connsiteY307" fmla="*/ 1238092 h 2626209"/>
                  <a:gd name="connsiteX308" fmla="*/ 602759 w 1646345"/>
                  <a:gd name="connsiteY308" fmla="*/ 1273045 h 2626209"/>
                  <a:gd name="connsiteX309" fmla="*/ 593415 w 1646345"/>
                  <a:gd name="connsiteY309" fmla="*/ 1306747 h 2626209"/>
                  <a:gd name="connsiteX310" fmla="*/ 596502 w 1646345"/>
                  <a:gd name="connsiteY310" fmla="*/ 1347957 h 2626209"/>
                  <a:gd name="connsiteX311" fmla="*/ 584072 w 1646345"/>
                  <a:gd name="connsiteY311" fmla="*/ 1374068 h 2626209"/>
                  <a:gd name="connsiteX312" fmla="*/ 581819 w 1646345"/>
                  <a:gd name="connsiteY312" fmla="*/ 1389167 h 2626209"/>
                  <a:gd name="connsiteX313" fmla="*/ 572975 w 1646345"/>
                  <a:gd name="connsiteY313" fmla="*/ 1400262 h 2626209"/>
                  <a:gd name="connsiteX314" fmla="*/ 566802 w 1646345"/>
                  <a:gd name="connsiteY314" fmla="*/ 1432128 h 2626209"/>
                  <a:gd name="connsiteX315" fmla="*/ 587158 w 1646345"/>
                  <a:gd name="connsiteY315" fmla="*/ 1473755 h 2626209"/>
                  <a:gd name="connsiteX316" fmla="*/ 614606 w 1646345"/>
                  <a:gd name="connsiteY316" fmla="*/ 1467999 h 2626209"/>
                  <a:gd name="connsiteX317" fmla="*/ 646058 w 1646345"/>
                  <a:gd name="connsiteY317" fmla="*/ 1462660 h 2626209"/>
                  <a:gd name="connsiteX318" fmla="*/ 694361 w 1646345"/>
                  <a:gd name="connsiteY318" fmla="*/ 1415694 h 2626209"/>
                  <a:gd name="connsiteX319" fmla="*/ 734657 w 1646345"/>
                  <a:gd name="connsiteY319" fmla="*/ 1413442 h 2626209"/>
                  <a:gd name="connsiteX320" fmla="*/ 759935 w 1646345"/>
                  <a:gd name="connsiteY320" fmla="*/ 1452399 h 2626209"/>
                  <a:gd name="connsiteX321" fmla="*/ 772365 w 1646345"/>
                  <a:gd name="connsiteY321" fmla="*/ 1471419 h 2626209"/>
                  <a:gd name="connsiteX322" fmla="*/ 794474 w 1646345"/>
                  <a:gd name="connsiteY322" fmla="*/ 1505121 h 2626209"/>
                  <a:gd name="connsiteX323" fmla="*/ 818417 w 1646345"/>
                  <a:gd name="connsiteY323" fmla="*/ 1475924 h 2626209"/>
                  <a:gd name="connsiteX324" fmla="*/ 819753 w 1646345"/>
                  <a:gd name="connsiteY324" fmla="*/ 1446226 h 2626209"/>
                  <a:gd name="connsiteX325" fmla="*/ 856961 w 1646345"/>
                  <a:gd name="connsiteY325" fmla="*/ 1428541 h 2626209"/>
                  <a:gd name="connsiteX326" fmla="*/ 856543 w 1646345"/>
                  <a:gd name="connsiteY326" fmla="*/ 1508708 h 2626209"/>
                  <a:gd name="connsiteX327" fmla="*/ 912774 w 1646345"/>
                  <a:gd name="connsiteY327" fmla="*/ 1436967 h 2626209"/>
                  <a:gd name="connsiteX328" fmla="*/ 928291 w 1646345"/>
                  <a:gd name="connsiteY328" fmla="*/ 1418364 h 2626209"/>
                  <a:gd name="connsiteX329" fmla="*/ 941139 w 1646345"/>
                  <a:gd name="connsiteY329" fmla="*/ 1445392 h 2626209"/>
                  <a:gd name="connsiteX330" fmla="*/ 945560 w 1646345"/>
                  <a:gd name="connsiteY330" fmla="*/ 1408604 h 2626209"/>
                  <a:gd name="connsiteX331" fmla="*/ 915025 w 1646345"/>
                  <a:gd name="connsiteY331" fmla="*/ 1351878 h 2626209"/>
                  <a:gd name="connsiteX332" fmla="*/ 917278 w 1646345"/>
                  <a:gd name="connsiteY332" fmla="*/ 1315590 h 2626209"/>
                  <a:gd name="connsiteX333" fmla="*/ 945643 w 1646345"/>
                  <a:gd name="connsiteY333" fmla="*/ 1298739 h 2626209"/>
                  <a:gd name="connsiteX334" fmla="*/ 964247 w 1646345"/>
                  <a:gd name="connsiteY334" fmla="*/ 1278384 h 2626209"/>
                  <a:gd name="connsiteX335" fmla="*/ 1029821 w 1646345"/>
                  <a:gd name="connsiteY335" fmla="*/ 1265955 h 2626209"/>
                  <a:gd name="connsiteX336" fmla="*/ 1079460 w 1646345"/>
                  <a:gd name="connsiteY336" fmla="*/ 1291231 h 2626209"/>
                  <a:gd name="connsiteX337" fmla="*/ 1145450 w 1646345"/>
                  <a:gd name="connsiteY337" fmla="*/ 1288979 h 2626209"/>
                  <a:gd name="connsiteX338" fmla="*/ 1176903 w 1646345"/>
                  <a:gd name="connsiteY338" fmla="*/ 1289396 h 2626209"/>
                  <a:gd name="connsiteX339" fmla="*/ 1193254 w 1646345"/>
                  <a:gd name="connsiteY339" fmla="*/ 1278801 h 2626209"/>
                  <a:gd name="connsiteX340" fmla="*/ 1212276 w 1646345"/>
                  <a:gd name="connsiteY340" fmla="*/ 1302743 h 2626209"/>
                  <a:gd name="connsiteX341" fmla="*/ 1206519 w 1646345"/>
                  <a:gd name="connsiteY341" fmla="*/ 1328854 h 2626209"/>
                  <a:gd name="connsiteX342" fmla="*/ 1245980 w 1646345"/>
                  <a:gd name="connsiteY342" fmla="*/ 1357634 h 2626209"/>
                  <a:gd name="connsiteX343" fmla="*/ 1277432 w 1646345"/>
                  <a:gd name="connsiteY343" fmla="*/ 1402848 h 2626209"/>
                  <a:gd name="connsiteX344" fmla="*/ 1322148 w 1646345"/>
                  <a:gd name="connsiteY344" fmla="*/ 1417947 h 2626209"/>
                  <a:gd name="connsiteX345" fmla="*/ 1324818 w 1646345"/>
                  <a:gd name="connsiteY345" fmla="*/ 1437884 h 2626209"/>
                  <a:gd name="connsiteX346" fmla="*/ 1333662 w 1646345"/>
                  <a:gd name="connsiteY346" fmla="*/ 1453401 h 2626209"/>
                  <a:gd name="connsiteX347" fmla="*/ 1341671 w 1646345"/>
                  <a:gd name="connsiteY347" fmla="*/ 1487937 h 2626209"/>
                  <a:gd name="connsiteX348" fmla="*/ 1354519 w 1646345"/>
                  <a:gd name="connsiteY348" fmla="*/ 1554840 h 2626209"/>
                  <a:gd name="connsiteX349" fmla="*/ 1384635 w 1646345"/>
                  <a:gd name="connsiteY349" fmla="*/ 1620825 h 2626209"/>
                  <a:gd name="connsiteX350" fmla="*/ 1416087 w 1646345"/>
                  <a:gd name="connsiteY350" fmla="*/ 1679720 h 2626209"/>
                  <a:gd name="connsiteX351" fmla="*/ 1514447 w 1646345"/>
                  <a:gd name="connsiteY351" fmla="*/ 1767896 h 2626209"/>
                  <a:gd name="connsiteX352" fmla="*/ 1549904 w 1646345"/>
                  <a:gd name="connsiteY352" fmla="*/ 1838303 h 2626209"/>
                  <a:gd name="connsiteX353" fmla="*/ 1583108 w 1646345"/>
                  <a:gd name="connsiteY353" fmla="*/ 1890607 h 2626209"/>
                  <a:gd name="connsiteX354" fmla="*/ 1619399 w 1646345"/>
                  <a:gd name="connsiteY354" fmla="*/ 1947333 h 2626209"/>
                  <a:gd name="connsiteX355" fmla="*/ 1633164 w 1646345"/>
                  <a:gd name="connsiteY355" fmla="*/ 2001807 h 2626209"/>
                  <a:gd name="connsiteX356" fmla="*/ 1634082 w 1646345"/>
                  <a:gd name="connsiteY356" fmla="*/ 2147959 h 2626209"/>
                  <a:gd name="connsiteX357" fmla="*/ 1646346 w 1646345"/>
                  <a:gd name="connsiteY357" fmla="*/ 2188919 h 2626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</a:cxnLst>
                <a:rect l="l" t="t" r="r" b="b"/>
                <a:pathLst>
                  <a:path w="1646345" h="2626209" extrusionOk="0">
                    <a:moveTo>
                      <a:pt x="1646346" y="2188919"/>
                    </a:moveTo>
                    <a:cubicBezTo>
                      <a:pt x="1646346" y="2192006"/>
                      <a:pt x="1645928" y="2195092"/>
                      <a:pt x="1645427" y="2198679"/>
                    </a:cubicBezTo>
                    <a:lnTo>
                      <a:pt x="1645427" y="2199096"/>
                    </a:lnTo>
                    <a:cubicBezTo>
                      <a:pt x="1628159" y="2203518"/>
                      <a:pt x="1612224" y="2204852"/>
                      <a:pt x="1599794" y="2196010"/>
                    </a:cubicBezTo>
                    <a:cubicBezTo>
                      <a:pt x="1591367" y="2189837"/>
                      <a:pt x="1590950" y="2182746"/>
                      <a:pt x="1590950" y="2171651"/>
                    </a:cubicBezTo>
                    <a:cubicBezTo>
                      <a:pt x="1590533" y="2161057"/>
                      <a:pt x="1590533" y="2147709"/>
                      <a:pt x="1577184" y="2139784"/>
                    </a:cubicBezTo>
                    <a:cubicBezTo>
                      <a:pt x="1572346" y="2136698"/>
                      <a:pt x="1566589" y="2135363"/>
                      <a:pt x="1561667" y="2134446"/>
                    </a:cubicBezTo>
                    <a:cubicBezTo>
                      <a:pt x="1558580" y="2133528"/>
                      <a:pt x="1554993" y="2133111"/>
                      <a:pt x="1552323" y="2131776"/>
                    </a:cubicBezTo>
                    <a:cubicBezTo>
                      <a:pt x="1547902" y="2129524"/>
                      <a:pt x="1543898" y="2126437"/>
                      <a:pt x="1539892" y="2122933"/>
                    </a:cubicBezTo>
                    <a:cubicBezTo>
                      <a:pt x="1538558" y="2121599"/>
                      <a:pt x="1536806" y="2120264"/>
                      <a:pt x="1535054" y="2118929"/>
                    </a:cubicBezTo>
                    <a:cubicBezTo>
                      <a:pt x="1519120" y="2105666"/>
                      <a:pt x="1505854" y="2100327"/>
                      <a:pt x="1493841" y="2101661"/>
                    </a:cubicBezTo>
                    <a:cubicBezTo>
                      <a:pt x="1485415" y="2102579"/>
                      <a:pt x="1478324" y="2107417"/>
                      <a:pt x="1472985" y="2115425"/>
                    </a:cubicBezTo>
                    <a:cubicBezTo>
                      <a:pt x="1466811" y="2123851"/>
                      <a:pt x="1463224" y="2133611"/>
                      <a:pt x="1460137" y="2143371"/>
                    </a:cubicBezTo>
                    <a:cubicBezTo>
                      <a:pt x="1457884" y="2150045"/>
                      <a:pt x="1455715" y="2155801"/>
                      <a:pt x="1453045" y="2161557"/>
                    </a:cubicBezTo>
                    <a:cubicBezTo>
                      <a:pt x="1451294" y="2164644"/>
                      <a:pt x="1445954" y="2169983"/>
                      <a:pt x="1440614" y="2174404"/>
                    </a:cubicBezTo>
                    <a:cubicBezTo>
                      <a:pt x="1428685" y="2185499"/>
                      <a:pt x="1411832" y="2201015"/>
                      <a:pt x="1421093" y="2218283"/>
                    </a:cubicBezTo>
                    <a:cubicBezTo>
                      <a:pt x="1426849" y="2228460"/>
                      <a:pt x="1438780" y="2230212"/>
                      <a:pt x="1448540" y="2231130"/>
                    </a:cubicBezTo>
                    <a:cubicBezTo>
                      <a:pt x="1453379" y="2231547"/>
                      <a:pt x="1458718" y="2232465"/>
                      <a:pt x="1461388" y="2233800"/>
                    </a:cubicBezTo>
                    <a:cubicBezTo>
                      <a:pt x="1465810" y="2236469"/>
                      <a:pt x="1468896" y="2239555"/>
                      <a:pt x="1471566" y="2242642"/>
                    </a:cubicBezTo>
                    <a:cubicBezTo>
                      <a:pt x="1479992" y="2251484"/>
                      <a:pt x="1487918" y="2258158"/>
                      <a:pt x="1507440" y="2246146"/>
                    </a:cubicBezTo>
                    <a:cubicBezTo>
                      <a:pt x="1510527" y="2243893"/>
                      <a:pt x="1513613" y="2241724"/>
                      <a:pt x="1516784" y="2239472"/>
                    </a:cubicBezTo>
                    <a:cubicBezTo>
                      <a:pt x="1528714" y="2230629"/>
                      <a:pt x="1531884" y="2229294"/>
                      <a:pt x="1538058" y="2236385"/>
                    </a:cubicBezTo>
                    <a:cubicBezTo>
                      <a:pt x="1545149" y="2245228"/>
                      <a:pt x="1545566" y="2264331"/>
                      <a:pt x="1541561" y="2276678"/>
                    </a:cubicBezTo>
                    <a:cubicBezTo>
                      <a:pt x="1536722" y="2292194"/>
                      <a:pt x="1525627" y="2317470"/>
                      <a:pt x="1518118" y="2323226"/>
                    </a:cubicBezTo>
                    <a:cubicBezTo>
                      <a:pt x="1515031" y="2325479"/>
                      <a:pt x="1510110" y="2326313"/>
                      <a:pt x="1505270" y="2327230"/>
                    </a:cubicBezTo>
                    <a:cubicBezTo>
                      <a:pt x="1495093" y="2328982"/>
                      <a:pt x="1481327" y="2331652"/>
                      <a:pt x="1477823" y="2346250"/>
                    </a:cubicBezTo>
                    <a:cubicBezTo>
                      <a:pt x="1475571" y="2355593"/>
                      <a:pt x="1480910" y="2362601"/>
                      <a:pt x="1484497" y="2367522"/>
                    </a:cubicBezTo>
                    <a:cubicBezTo>
                      <a:pt x="1485832" y="2369775"/>
                      <a:pt x="1487584" y="2371944"/>
                      <a:pt x="1488502" y="2373695"/>
                    </a:cubicBezTo>
                    <a:cubicBezTo>
                      <a:pt x="1491172" y="2380369"/>
                      <a:pt x="1491589" y="2387877"/>
                      <a:pt x="1492506" y="2395385"/>
                    </a:cubicBezTo>
                    <a:lnTo>
                      <a:pt x="1493424" y="2405562"/>
                    </a:lnTo>
                    <a:cubicBezTo>
                      <a:pt x="1495176" y="2423247"/>
                      <a:pt x="1496510" y="2438346"/>
                      <a:pt x="1483663" y="2448524"/>
                    </a:cubicBezTo>
                    <a:cubicBezTo>
                      <a:pt x="1467728" y="2461370"/>
                      <a:pt x="1445120" y="2476470"/>
                      <a:pt x="1429603" y="2480390"/>
                    </a:cubicBezTo>
                    <a:cubicBezTo>
                      <a:pt x="1425180" y="2481308"/>
                      <a:pt x="1420759" y="2480807"/>
                      <a:pt x="1415420" y="2479973"/>
                    </a:cubicBezTo>
                    <a:cubicBezTo>
                      <a:pt x="1410081" y="2479056"/>
                      <a:pt x="1403490" y="2477721"/>
                      <a:pt x="1396815" y="2479556"/>
                    </a:cubicBezTo>
                    <a:cubicBezTo>
                      <a:pt x="1391477" y="2480891"/>
                      <a:pt x="1387055" y="2483060"/>
                      <a:pt x="1383968" y="2484895"/>
                    </a:cubicBezTo>
                    <a:cubicBezTo>
                      <a:pt x="1379547" y="2487564"/>
                      <a:pt x="1375959" y="2489316"/>
                      <a:pt x="1370703" y="2488399"/>
                    </a:cubicBezTo>
                    <a:cubicBezTo>
                      <a:pt x="1367199" y="2487982"/>
                      <a:pt x="1362694" y="2487064"/>
                      <a:pt x="1358773" y="2485729"/>
                    </a:cubicBezTo>
                    <a:cubicBezTo>
                      <a:pt x="1351265" y="2483477"/>
                      <a:pt x="1342839" y="2480891"/>
                      <a:pt x="1332160" y="2484395"/>
                    </a:cubicBezTo>
                    <a:cubicBezTo>
                      <a:pt x="1320230" y="2487898"/>
                      <a:pt x="1311804" y="2497658"/>
                      <a:pt x="1302960" y="2507419"/>
                    </a:cubicBezTo>
                    <a:cubicBezTo>
                      <a:pt x="1288360" y="2523769"/>
                      <a:pt x="1272843" y="2546376"/>
                      <a:pt x="1284773" y="2575657"/>
                    </a:cubicBezTo>
                    <a:cubicBezTo>
                      <a:pt x="1286109" y="2579661"/>
                      <a:pt x="1287860" y="2583164"/>
                      <a:pt x="1289612" y="2586751"/>
                    </a:cubicBezTo>
                    <a:cubicBezTo>
                      <a:pt x="1296703" y="2601350"/>
                      <a:pt x="1299790" y="2608024"/>
                      <a:pt x="1288277" y="2620454"/>
                    </a:cubicBezTo>
                    <a:cubicBezTo>
                      <a:pt x="1286025" y="2622706"/>
                      <a:pt x="1283856" y="2624875"/>
                      <a:pt x="1281603" y="2626209"/>
                    </a:cubicBezTo>
                    <a:cubicBezTo>
                      <a:pt x="1271008" y="2597012"/>
                      <a:pt x="1259495" y="2567732"/>
                      <a:pt x="1245730" y="2540286"/>
                    </a:cubicBezTo>
                    <a:cubicBezTo>
                      <a:pt x="1237304" y="2524353"/>
                      <a:pt x="1236386" y="2512340"/>
                      <a:pt x="1242226" y="2492903"/>
                    </a:cubicBezTo>
                    <a:lnTo>
                      <a:pt x="1243978" y="2487564"/>
                    </a:lnTo>
                    <a:cubicBezTo>
                      <a:pt x="1247982" y="2474718"/>
                      <a:pt x="1252821" y="2459619"/>
                      <a:pt x="1246230" y="2444186"/>
                    </a:cubicBezTo>
                    <a:cubicBezTo>
                      <a:pt x="1240891" y="2431756"/>
                      <a:pt x="1230713" y="2425166"/>
                      <a:pt x="1221870" y="2419410"/>
                    </a:cubicBezTo>
                    <a:cubicBezTo>
                      <a:pt x="1216530" y="2415906"/>
                      <a:pt x="1211275" y="2412736"/>
                      <a:pt x="1207270" y="2408315"/>
                    </a:cubicBezTo>
                    <a:cubicBezTo>
                      <a:pt x="1202848" y="2403477"/>
                      <a:pt x="1201096" y="2397721"/>
                      <a:pt x="1199261" y="2391047"/>
                    </a:cubicBezTo>
                    <a:cubicBezTo>
                      <a:pt x="1197926" y="2387543"/>
                      <a:pt x="1196591" y="2383956"/>
                      <a:pt x="1194839" y="2379952"/>
                    </a:cubicBezTo>
                    <a:lnTo>
                      <a:pt x="1194839" y="2379535"/>
                    </a:lnTo>
                    <a:cubicBezTo>
                      <a:pt x="1197092" y="2362267"/>
                      <a:pt x="1195757" y="2345416"/>
                      <a:pt x="1190001" y="2330817"/>
                    </a:cubicBezTo>
                    <a:cubicBezTo>
                      <a:pt x="1186914" y="2323727"/>
                      <a:pt x="1181157" y="2313549"/>
                      <a:pt x="1171814" y="2309962"/>
                    </a:cubicBezTo>
                    <a:cubicBezTo>
                      <a:pt x="1166474" y="2307710"/>
                      <a:pt x="1160717" y="2307710"/>
                      <a:pt x="1154544" y="2310880"/>
                    </a:cubicBezTo>
                    <a:cubicBezTo>
                      <a:pt x="1147453" y="2313966"/>
                      <a:pt x="1143949" y="2319723"/>
                      <a:pt x="1140779" y="2324644"/>
                    </a:cubicBezTo>
                    <a:cubicBezTo>
                      <a:pt x="1138526" y="2328148"/>
                      <a:pt x="1137275" y="2331318"/>
                      <a:pt x="1134105" y="2332653"/>
                    </a:cubicBezTo>
                    <a:cubicBezTo>
                      <a:pt x="1130100" y="2334905"/>
                      <a:pt x="1125261" y="2333987"/>
                      <a:pt x="1119505" y="2333570"/>
                    </a:cubicBezTo>
                    <a:cubicBezTo>
                      <a:pt x="1112831" y="2332653"/>
                      <a:pt x="1105323" y="2331819"/>
                      <a:pt x="1097397" y="2335322"/>
                    </a:cubicBezTo>
                    <a:cubicBezTo>
                      <a:pt x="1088553" y="2339744"/>
                      <a:pt x="1083214" y="2347752"/>
                      <a:pt x="1078793" y="2354842"/>
                    </a:cubicBezTo>
                    <a:cubicBezTo>
                      <a:pt x="1075706" y="2360182"/>
                      <a:pt x="1072119" y="2365437"/>
                      <a:pt x="1068198" y="2368607"/>
                    </a:cubicBezTo>
                    <a:cubicBezTo>
                      <a:pt x="1049594" y="2381454"/>
                      <a:pt x="1014554" y="2388127"/>
                      <a:pt x="997285" y="2376615"/>
                    </a:cubicBezTo>
                    <a:cubicBezTo>
                      <a:pt x="991945" y="2373112"/>
                      <a:pt x="987524" y="2368607"/>
                      <a:pt x="984020" y="2364686"/>
                    </a:cubicBezTo>
                    <a:cubicBezTo>
                      <a:pt x="975177" y="2354926"/>
                      <a:pt x="964998" y="2344332"/>
                      <a:pt x="943224" y="2349170"/>
                    </a:cubicBezTo>
                    <a:cubicBezTo>
                      <a:pt x="933463" y="2351422"/>
                      <a:pt x="924619" y="2355844"/>
                      <a:pt x="916194" y="2360265"/>
                    </a:cubicBezTo>
                    <a:cubicBezTo>
                      <a:pt x="910020" y="2363351"/>
                      <a:pt x="904264" y="2366438"/>
                      <a:pt x="898507" y="2368690"/>
                    </a:cubicBezTo>
                    <a:cubicBezTo>
                      <a:pt x="890999" y="2371360"/>
                      <a:pt x="882990" y="2371360"/>
                      <a:pt x="874563" y="2370943"/>
                    </a:cubicBezTo>
                    <a:cubicBezTo>
                      <a:pt x="866555" y="2370526"/>
                      <a:pt x="858629" y="2370526"/>
                      <a:pt x="850203" y="2372695"/>
                    </a:cubicBezTo>
                    <a:cubicBezTo>
                      <a:pt x="833851" y="2376699"/>
                      <a:pt x="829847" y="2385958"/>
                      <a:pt x="825425" y="2395718"/>
                    </a:cubicBezTo>
                    <a:cubicBezTo>
                      <a:pt x="824507" y="2397971"/>
                      <a:pt x="823673" y="2400140"/>
                      <a:pt x="822338" y="2402809"/>
                    </a:cubicBezTo>
                    <a:cubicBezTo>
                      <a:pt x="816582" y="2414321"/>
                      <a:pt x="808573" y="2423664"/>
                      <a:pt x="797060" y="2432507"/>
                    </a:cubicBezTo>
                    <a:cubicBezTo>
                      <a:pt x="796643" y="2432924"/>
                      <a:pt x="796142" y="2433425"/>
                      <a:pt x="795725" y="2433425"/>
                    </a:cubicBezTo>
                    <a:cubicBezTo>
                      <a:pt x="796142" y="2416156"/>
                      <a:pt x="789051" y="2403727"/>
                      <a:pt x="773534" y="2392215"/>
                    </a:cubicBezTo>
                    <a:cubicBezTo>
                      <a:pt x="762938" y="2384707"/>
                      <a:pt x="759351" y="2379368"/>
                      <a:pt x="752260" y="2366938"/>
                    </a:cubicBezTo>
                    <a:cubicBezTo>
                      <a:pt x="746920" y="2357178"/>
                      <a:pt x="739829" y="2350588"/>
                      <a:pt x="733239" y="2344332"/>
                    </a:cubicBezTo>
                    <a:cubicBezTo>
                      <a:pt x="729735" y="2340828"/>
                      <a:pt x="725229" y="2337241"/>
                      <a:pt x="722143" y="2333237"/>
                    </a:cubicBezTo>
                    <a:cubicBezTo>
                      <a:pt x="719891" y="2330567"/>
                      <a:pt x="718138" y="2327898"/>
                      <a:pt x="715969" y="2325228"/>
                    </a:cubicBezTo>
                    <a:cubicBezTo>
                      <a:pt x="710212" y="2316803"/>
                      <a:pt x="703538" y="2307543"/>
                      <a:pt x="690274" y="2304373"/>
                    </a:cubicBezTo>
                    <a:cubicBezTo>
                      <a:pt x="681847" y="2302121"/>
                      <a:pt x="673004" y="2303039"/>
                      <a:pt x="664996" y="2303956"/>
                    </a:cubicBezTo>
                    <a:cubicBezTo>
                      <a:pt x="657905" y="2304874"/>
                      <a:pt x="651731" y="2305291"/>
                      <a:pt x="645474" y="2304373"/>
                    </a:cubicBezTo>
                    <a:cubicBezTo>
                      <a:pt x="640635" y="2303456"/>
                      <a:pt x="635712" y="2302621"/>
                      <a:pt x="631291" y="2301704"/>
                    </a:cubicBezTo>
                    <a:cubicBezTo>
                      <a:pt x="622448" y="2299952"/>
                      <a:pt x="613604" y="2298200"/>
                      <a:pt x="603843" y="2297282"/>
                    </a:cubicBezTo>
                    <a:cubicBezTo>
                      <a:pt x="596752" y="2296365"/>
                      <a:pt x="595000" y="2295531"/>
                      <a:pt x="594083" y="2294613"/>
                    </a:cubicBezTo>
                    <a:cubicBezTo>
                      <a:pt x="593666" y="2294196"/>
                      <a:pt x="592748" y="2292360"/>
                      <a:pt x="593666" y="2285270"/>
                    </a:cubicBezTo>
                    <a:cubicBezTo>
                      <a:pt x="595000" y="2272423"/>
                      <a:pt x="594083" y="2262246"/>
                      <a:pt x="593249" y="2250734"/>
                    </a:cubicBezTo>
                    <a:lnTo>
                      <a:pt x="591913" y="2236552"/>
                    </a:lnTo>
                    <a:cubicBezTo>
                      <a:pt x="590579" y="2222371"/>
                      <a:pt x="588826" y="2203351"/>
                      <a:pt x="590996" y="2191839"/>
                    </a:cubicBezTo>
                    <a:cubicBezTo>
                      <a:pt x="592331" y="2187001"/>
                      <a:pt x="594500" y="2182496"/>
                      <a:pt x="597169" y="2177657"/>
                    </a:cubicBezTo>
                    <a:cubicBezTo>
                      <a:pt x="601591" y="2169232"/>
                      <a:pt x="606513" y="2159972"/>
                      <a:pt x="604260" y="2147125"/>
                    </a:cubicBezTo>
                    <a:cubicBezTo>
                      <a:pt x="602926" y="2140452"/>
                      <a:pt x="600757" y="2136031"/>
                      <a:pt x="598922" y="2131192"/>
                    </a:cubicBezTo>
                    <a:cubicBezTo>
                      <a:pt x="595835" y="2124102"/>
                      <a:pt x="594083" y="2120097"/>
                      <a:pt x="597586" y="2111672"/>
                    </a:cubicBezTo>
                    <a:cubicBezTo>
                      <a:pt x="602426" y="2101077"/>
                      <a:pt x="610434" y="2091734"/>
                      <a:pt x="618860" y="2081140"/>
                    </a:cubicBezTo>
                    <a:cubicBezTo>
                      <a:pt x="631291" y="2066541"/>
                      <a:pt x="644556" y="2051025"/>
                      <a:pt x="646308" y="2031088"/>
                    </a:cubicBezTo>
                    <a:cubicBezTo>
                      <a:pt x="646725" y="2025331"/>
                      <a:pt x="646725" y="2019158"/>
                      <a:pt x="646725" y="2013402"/>
                    </a:cubicBezTo>
                    <a:cubicBezTo>
                      <a:pt x="646308" y="2002808"/>
                      <a:pt x="645808" y="1993465"/>
                      <a:pt x="650229" y="1984622"/>
                    </a:cubicBezTo>
                    <a:cubicBezTo>
                      <a:pt x="653316" y="1977949"/>
                      <a:pt x="659072" y="1972693"/>
                      <a:pt x="664829" y="1966437"/>
                    </a:cubicBezTo>
                    <a:cubicBezTo>
                      <a:pt x="667499" y="1963767"/>
                      <a:pt x="670168" y="1961598"/>
                      <a:pt x="672337" y="1958428"/>
                    </a:cubicBezTo>
                    <a:cubicBezTo>
                      <a:pt x="684267" y="1945582"/>
                      <a:pt x="689607" y="1933152"/>
                      <a:pt x="687854" y="1922140"/>
                    </a:cubicBezTo>
                    <a:cubicBezTo>
                      <a:pt x="686520" y="1911963"/>
                      <a:pt x="679428" y="1903537"/>
                      <a:pt x="666998" y="1896029"/>
                    </a:cubicBezTo>
                    <a:lnTo>
                      <a:pt x="663911" y="1894278"/>
                    </a:lnTo>
                    <a:cubicBezTo>
                      <a:pt x="653316" y="1888105"/>
                      <a:pt x="647976" y="1884101"/>
                      <a:pt x="650145" y="1878762"/>
                    </a:cubicBezTo>
                    <a:cubicBezTo>
                      <a:pt x="651480" y="1874340"/>
                      <a:pt x="661659" y="1873923"/>
                      <a:pt x="668750" y="1873423"/>
                    </a:cubicBezTo>
                    <a:cubicBezTo>
                      <a:pt x="673171" y="1873006"/>
                      <a:pt x="676759" y="1872505"/>
                      <a:pt x="679846" y="1872088"/>
                    </a:cubicBezTo>
                    <a:cubicBezTo>
                      <a:pt x="688271" y="1869836"/>
                      <a:pt x="696197" y="1866749"/>
                      <a:pt x="704206" y="1863662"/>
                    </a:cubicBezTo>
                    <a:cubicBezTo>
                      <a:pt x="709962" y="1861410"/>
                      <a:pt x="716136" y="1859241"/>
                      <a:pt x="722393" y="1856989"/>
                    </a:cubicBezTo>
                    <a:lnTo>
                      <a:pt x="728149" y="1855654"/>
                    </a:lnTo>
                    <a:cubicBezTo>
                      <a:pt x="742749" y="1851650"/>
                      <a:pt x="761354" y="1846811"/>
                      <a:pt x="767611" y="1828209"/>
                    </a:cubicBezTo>
                    <a:cubicBezTo>
                      <a:pt x="773367" y="1812275"/>
                      <a:pt x="767611" y="1794507"/>
                      <a:pt x="753011" y="1782578"/>
                    </a:cubicBezTo>
                    <a:cubicBezTo>
                      <a:pt x="739246" y="1771483"/>
                      <a:pt x="736159" y="1768396"/>
                      <a:pt x="733489" y="1751545"/>
                    </a:cubicBezTo>
                    <a:cubicBezTo>
                      <a:pt x="725480" y="1704997"/>
                      <a:pt x="706458" y="1678052"/>
                      <a:pt x="676342" y="1670961"/>
                    </a:cubicBezTo>
                    <a:cubicBezTo>
                      <a:pt x="649311" y="1664788"/>
                      <a:pt x="637798" y="1686895"/>
                      <a:pt x="628037" y="1705080"/>
                    </a:cubicBezTo>
                    <a:cubicBezTo>
                      <a:pt x="623198" y="1713923"/>
                      <a:pt x="618277" y="1723266"/>
                      <a:pt x="612103" y="1728521"/>
                    </a:cubicBezTo>
                    <a:cubicBezTo>
                      <a:pt x="606763" y="1733359"/>
                      <a:pt x="601007" y="1733860"/>
                      <a:pt x="593916" y="1734694"/>
                    </a:cubicBezTo>
                    <a:cubicBezTo>
                      <a:pt x="587742" y="1735111"/>
                      <a:pt x="581068" y="1736029"/>
                      <a:pt x="573977" y="1739533"/>
                    </a:cubicBezTo>
                    <a:cubicBezTo>
                      <a:pt x="555790" y="1748375"/>
                      <a:pt x="555790" y="1767896"/>
                      <a:pt x="555790" y="1782077"/>
                    </a:cubicBezTo>
                    <a:lnTo>
                      <a:pt x="555790" y="1788250"/>
                    </a:lnTo>
                    <a:cubicBezTo>
                      <a:pt x="554872" y="1811275"/>
                      <a:pt x="541607" y="1820117"/>
                      <a:pt x="524338" y="1831212"/>
                    </a:cubicBezTo>
                    <a:cubicBezTo>
                      <a:pt x="514994" y="1837385"/>
                      <a:pt x="505734" y="1843642"/>
                      <a:pt x="497308" y="1852484"/>
                    </a:cubicBezTo>
                    <a:cubicBezTo>
                      <a:pt x="494221" y="1855571"/>
                      <a:pt x="491968" y="1859158"/>
                      <a:pt x="488881" y="1862661"/>
                    </a:cubicBezTo>
                    <a:cubicBezTo>
                      <a:pt x="484460" y="1868835"/>
                      <a:pt x="480455" y="1874591"/>
                      <a:pt x="475116" y="1877260"/>
                    </a:cubicBezTo>
                    <a:cubicBezTo>
                      <a:pt x="468025" y="1880764"/>
                      <a:pt x="439659" y="1886103"/>
                      <a:pt x="434321" y="1883934"/>
                    </a:cubicBezTo>
                    <a:cubicBezTo>
                      <a:pt x="425894" y="1880430"/>
                      <a:pt x="421890" y="1871504"/>
                      <a:pt x="417468" y="1861827"/>
                    </a:cubicBezTo>
                    <a:cubicBezTo>
                      <a:pt x="411294" y="1847646"/>
                      <a:pt x="403703" y="1830378"/>
                      <a:pt x="381178" y="1828626"/>
                    </a:cubicBezTo>
                    <a:cubicBezTo>
                      <a:pt x="367412" y="1827291"/>
                      <a:pt x="359487" y="1833965"/>
                      <a:pt x="351978" y="1839721"/>
                    </a:cubicBezTo>
                    <a:cubicBezTo>
                      <a:pt x="349725" y="1841055"/>
                      <a:pt x="347557" y="1843224"/>
                      <a:pt x="345304" y="1844559"/>
                    </a:cubicBezTo>
                    <a:cubicBezTo>
                      <a:pt x="336877" y="1850315"/>
                      <a:pt x="327117" y="1851650"/>
                      <a:pt x="312100" y="1850315"/>
                    </a:cubicBezTo>
                    <a:cubicBezTo>
                      <a:pt x="302339" y="1849397"/>
                      <a:pt x="294414" y="1844559"/>
                      <a:pt x="289992" y="1836551"/>
                    </a:cubicBezTo>
                    <a:cubicBezTo>
                      <a:pt x="284653" y="1828125"/>
                      <a:pt x="284653" y="1816613"/>
                      <a:pt x="289074" y="1806019"/>
                    </a:cubicBezTo>
                    <a:cubicBezTo>
                      <a:pt x="291327" y="1801181"/>
                      <a:pt x="294414" y="1797176"/>
                      <a:pt x="298418" y="1792254"/>
                    </a:cubicBezTo>
                    <a:cubicBezTo>
                      <a:pt x="303758" y="1785581"/>
                      <a:pt x="309514" y="1778490"/>
                      <a:pt x="311683" y="1769230"/>
                    </a:cubicBezTo>
                    <a:cubicBezTo>
                      <a:pt x="314352" y="1756801"/>
                      <a:pt x="309931" y="1746624"/>
                      <a:pt x="305926" y="1737781"/>
                    </a:cubicBezTo>
                    <a:cubicBezTo>
                      <a:pt x="303674" y="1732942"/>
                      <a:pt x="301505" y="1728021"/>
                      <a:pt x="301088" y="1723600"/>
                    </a:cubicBezTo>
                    <a:cubicBezTo>
                      <a:pt x="298418" y="1711170"/>
                      <a:pt x="305926" y="1699658"/>
                      <a:pt x="313935" y="1686811"/>
                    </a:cubicBezTo>
                    <a:cubicBezTo>
                      <a:pt x="321443" y="1674882"/>
                      <a:pt x="329453" y="1662869"/>
                      <a:pt x="329870" y="1648271"/>
                    </a:cubicBezTo>
                    <a:cubicBezTo>
                      <a:pt x="330287" y="1643849"/>
                      <a:pt x="328952" y="1640263"/>
                      <a:pt x="327617" y="1637176"/>
                    </a:cubicBezTo>
                    <a:cubicBezTo>
                      <a:pt x="326700" y="1634506"/>
                      <a:pt x="325866" y="1632338"/>
                      <a:pt x="326283" y="1630502"/>
                    </a:cubicBezTo>
                    <a:cubicBezTo>
                      <a:pt x="326700" y="1628250"/>
                      <a:pt x="328952" y="1626498"/>
                      <a:pt x="331121" y="1624329"/>
                    </a:cubicBezTo>
                    <a:cubicBezTo>
                      <a:pt x="333791" y="1621660"/>
                      <a:pt x="336460" y="1618990"/>
                      <a:pt x="338213" y="1614569"/>
                    </a:cubicBezTo>
                    <a:cubicBezTo>
                      <a:pt x="341300" y="1607478"/>
                      <a:pt x="340883" y="1599970"/>
                      <a:pt x="340465" y="1593714"/>
                    </a:cubicBezTo>
                    <a:cubicBezTo>
                      <a:pt x="340048" y="1589293"/>
                      <a:pt x="340048" y="1584871"/>
                      <a:pt x="340883" y="1581284"/>
                    </a:cubicBezTo>
                    <a:cubicBezTo>
                      <a:pt x="341300" y="1578614"/>
                      <a:pt x="342217" y="1575945"/>
                      <a:pt x="343134" y="1573276"/>
                    </a:cubicBezTo>
                    <a:cubicBezTo>
                      <a:pt x="346639" y="1561347"/>
                      <a:pt x="349809" y="1549834"/>
                      <a:pt x="340883" y="1534318"/>
                    </a:cubicBezTo>
                    <a:cubicBezTo>
                      <a:pt x="331121" y="1517968"/>
                      <a:pt x="311182" y="1503286"/>
                      <a:pt x="288574" y="1506873"/>
                    </a:cubicBezTo>
                    <a:cubicBezTo>
                      <a:pt x="270887" y="1509542"/>
                      <a:pt x="263796" y="1521471"/>
                      <a:pt x="256705" y="1533484"/>
                    </a:cubicBezTo>
                    <a:lnTo>
                      <a:pt x="255370" y="1535736"/>
                    </a:lnTo>
                    <a:cubicBezTo>
                      <a:pt x="249196" y="1545914"/>
                      <a:pt x="243439" y="1548583"/>
                      <a:pt x="234513" y="1553422"/>
                    </a:cubicBezTo>
                    <a:cubicBezTo>
                      <a:pt x="231009" y="1555174"/>
                      <a:pt x="227422" y="1556925"/>
                      <a:pt x="223000" y="1559595"/>
                    </a:cubicBezTo>
                    <a:cubicBezTo>
                      <a:pt x="217661" y="1562681"/>
                      <a:pt x="213657" y="1566685"/>
                      <a:pt x="209735" y="1570689"/>
                    </a:cubicBezTo>
                    <a:cubicBezTo>
                      <a:pt x="205314" y="1575528"/>
                      <a:pt x="201309" y="1579115"/>
                      <a:pt x="195136" y="1581284"/>
                    </a:cubicBezTo>
                    <a:cubicBezTo>
                      <a:pt x="189796" y="1583537"/>
                      <a:pt x="184040" y="1584788"/>
                      <a:pt x="178784" y="1586122"/>
                    </a:cubicBezTo>
                    <a:cubicBezTo>
                      <a:pt x="176115" y="1587040"/>
                      <a:pt x="173028" y="1587457"/>
                      <a:pt x="170358" y="1588375"/>
                    </a:cubicBezTo>
                    <a:cubicBezTo>
                      <a:pt x="167688" y="1583036"/>
                      <a:pt x="164601" y="1577780"/>
                      <a:pt x="161515" y="1572441"/>
                    </a:cubicBezTo>
                    <a:cubicBezTo>
                      <a:pt x="154424" y="1560012"/>
                      <a:pt x="147749" y="1548500"/>
                      <a:pt x="143828" y="1534819"/>
                    </a:cubicBezTo>
                    <a:cubicBezTo>
                      <a:pt x="142493" y="1531315"/>
                      <a:pt x="141158" y="1526811"/>
                      <a:pt x="138990" y="1521972"/>
                    </a:cubicBezTo>
                    <a:cubicBezTo>
                      <a:pt x="133233" y="1506456"/>
                      <a:pt x="125224" y="1485183"/>
                      <a:pt x="130563" y="1474589"/>
                    </a:cubicBezTo>
                    <a:cubicBezTo>
                      <a:pt x="133650" y="1468833"/>
                      <a:pt x="137654" y="1464412"/>
                      <a:pt x="141659" y="1460408"/>
                    </a:cubicBezTo>
                    <a:cubicBezTo>
                      <a:pt x="150502" y="1451565"/>
                      <a:pt x="161181" y="1440888"/>
                      <a:pt x="150502" y="1418364"/>
                    </a:cubicBezTo>
                    <a:cubicBezTo>
                      <a:pt x="139907" y="1395340"/>
                      <a:pt x="124390" y="1383828"/>
                      <a:pt x="98694" y="1380741"/>
                    </a:cubicBezTo>
                    <a:lnTo>
                      <a:pt x="94272" y="1379824"/>
                    </a:lnTo>
                    <a:cubicBezTo>
                      <a:pt x="78338" y="1378072"/>
                      <a:pt x="61486" y="1374985"/>
                      <a:pt x="61903" y="1363890"/>
                    </a:cubicBezTo>
                    <a:cubicBezTo>
                      <a:pt x="61903" y="1360804"/>
                      <a:pt x="62820" y="1360387"/>
                      <a:pt x="66324" y="1357717"/>
                    </a:cubicBezTo>
                    <a:cubicBezTo>
                      <a:pt x="69828" y="1355465"/>
                      <a:pt x="75668" y="1351544"/>
                      <a:pt x="77420" y="1343536"/>
                    </a:cubicBezTo>
                    <a:cubicBezTo>
                      <a:pt x="79673" y="1334693"/>
                      <a:pt x="75668" y="1327602"/>
                      <a:pt x="72581" y="1321846"/>
                    </a:cubicBezTo>
                    <a:cubicBezTo>
                      <a:pt x="71247" y="1319177"/>
                      <a:pt x="69494" y="1316090"/>
                      <a:pt x="69077" y="1313421"/>
                    </a:cubicBezTo>
                    <a:cubicBezTo>
                      <a:pt x="68160" y="1309417"/>
                      <a:pt x="70830" y="1302827"/>
                      <a:pt x="73500" y="1296570"/>
                    </a:cubicBezTo>
                    <a:cubicBezTo>
                      <a:pt x="77003" y="1287727"/>
                      <a:pt x="81508" y="1278384"/>
                      <a:pt x="77504" y="1269541"/>
                    </a:cubicBezTo>
                    <a:cubicBezTo>
                      <a:pt x="75251" y="1264703"/>
                      <a:pt x="71330" y="1261116"/>
                      <a:pt x="65574" y="1258947"/>
                    </a:cubicBezTo>
                    <a:cubicBezTo>
                      <a:pt x="53643" y="1254109"/>
                      <a:pt x="45635" y="1258947"/>
                      <a:pt x="38126" y="1253608"/>
                    </a:cubicBezTo>
                    <a:cubicBezTo>
                      <a:pt x="35456" y="1251857"/>
                      <a:pt x="33288" y="1249604"/>
                      <a:pt x="31035" y="1247435"/>
                    </a:cubicBezTo>
                    <a:cubicBezTo>
                      <a:pt x="27531" y="1243932"/>
                      <a:pt x="23527" y="1239427"/>
                      <a:pt x="17270" y="1236340"/>
                    </a:cubicBezTo>
                    <a:cubicBezTo>
                      <a:pt x="15017" y="1235423"/>
                      <a:pt x="12848" y="1234588"/>
                      <a:pt x="10178" y="1233671"/>
                    </a:cubicBezTo>
                    <a:cubicBezTo>
                      <a:pt x="6674" y="1232336"/>
                      <a:pt x="417" y="1230584"/>
                      <a:pt x="0" y="1228832"/>
                    </a:cubicBezTo>
                    <a:lnTo>
                      <a:pt x="0" y="1227915"/>
                    </a:lnTo>
                    <a:cubicBezTo>
                      <a:pt x="2253" y="1227915"/>
                      <a:pt x="5340" y="1227498"/>
                      <a:pt x="8844" y="1226163"/>
                    </a:cubicBezTo>
                    <a:cubicBezTo>
                      <a:pt x="38043" y="1211564"/>
                      <a:pt x="29199" y="1186705"/>
                      <a:pt x="21691" y="1166351"/>
                    </a:cubicBezTo>
                    <a:cubicBezTo>
                      <a:pt x="18604" y="1157007"/>
                      <a:pt x="20356" y="1148165"/>
                      <a:pt x="22609" y="1138405"/>
                    </a:cubicBezTo>
                    <a:cubicBezTo>
                      <a:pt x="24861" y="1129562"/>
                      <a:pt x="26613" y="1120219"/>
                      <a:pt x="24861" y="1109625"/>
                    </a:cubicBezTo>
                    <a:cubicBezTo>
                      <a:pt x="23527" y="1104286"/>
                      <a:pt x="20440" y="1099447"/>
                      <a:pt x="17770" y="1095026"/>
                    </a:cubicBezTo>
                    <a:cubicBezTo>
                      <a:pt x="15101" y="1091522"/>
                      <a:pt x="12431" y="1086600"/>
                      <a:pt x="12431" y="1083931"/>
                    </a:cubicBezTo>
                    <a:cubicBezTo>
                      <a:pt x="12848" y="1081262"/>
                      <a:pt x="13765" y="1079510"/>
                      <a:pt x="15935" y="1076840"/>
                    </a:cubicBezTo>
                    <a:cubicBezTo>
                      <a:pt x="19021" y="1072836"/>
                      <a:pt x="23026" y="1067080"/>
                      <a:pt x="22108" y="1057320"/>
                    </a:cubicBezTo>
                    <a:cubicBezTo>
                      <a:pt x="21691" y="1047560"/>
                      <a:pt x="18604" y="1040969"/>
                      <a:pt x="15935" y="1035630"/>
                    </a:cubicBezTo>
                    <a:cubicBezTo>
                      <a:pt x="12431" y="1027622"/>
                      <a:pt x="10595" y="1023201"/>
                      <a:pt x="15518" y="1012606"/>
                    </a:cubicBezTo>
                    <a:lnTo>
                      <a:pt x="17770" y="1007768"/>
                    </a:lnTo>
                    <a:cubicBezTo>
                      <a:pt x="20857" y="1000677"/>
                      <a:pt x="23944" y="994004"/>
                      <a:pt x="29700" y="990500"/>
                    </a:cubicBezTo>
                    <a:cubicBezTo>
                      <a:pt x="31952" y="989165"/>
                      <a:pt x="34539" y="988748"/>
                      <a:pt x="37709" y="987831"/>
                    </a:cubicBezTo>
                    <a:cubicBezTo>
                      <a:pt x="42131" y="986913"/>
                      <a:pt x="47470" y="985578"/>
                      <a:pt x="51892" y="982075"/>
                    </a:cubicBezTo>
                    <a:cubicBezTo>
                      <a:pt x="55396" y="979405"/>
                      <a:pt x="58566" y="975901"/>
                      <a:pt x="60735" y="973232"/>
                    </a:cubicBezTo>
                    <a:cubicBezTo>
                      <a:pt x="63822" y="969728"/>
                      <a:pt x="65574" y="966558"/>
                      <a:pt x="70079" y="965224"/>
                    </a:cubicBezTo>
                    <a:cubicBezTo>
                      <a:pt x="72748" y="964306"/>
                      <a:pt x="76252" y="964306"/>
                      <a:pt x="79840" y="964806"/>
                    </a:cubicBezTo>
                    <a:cubicBezTo>
                      <a:pt x="85596" y="964806"/>
                      <a:pt x="92271" y="965224"/>
                      <a:pt x="98444" y="961720"/>
                    </a:cubicBezTo>
                    <a:cubicBezTo>
                      <a:pt x="104200" y="958216"/>
                      <a:pt x="107287" y="953712"/>
                      <a:pt x="109956" y="949791"/>
                    </a:cubicBezTo>
                    <a:cubicBezTo>
                      <a:pt x="113043" y="945787"/>
                      <a:pt x="114796" y="942700"/>
                      <a:pt x="120135" y="940948"/>
                    </a:cubicBezTo>
                    <a:cubicBezTo>
                      <a:pt x="123222" y="940030"/>
                      <a:pt x="125891" y="939613"/>
                      <a:pt x="128561" y="939613"/>
                    </a:cubicBezTo>
                    <a:cubicBezTo>
                      <a:pt x="135235" y="938696"/>
                      <a:pt x="142744" y="937361"/>
                      <a:pt x="149835" y="930771"/>
                    </a:cubicBezTo>
                    <a:cubicBezTo>
                      <a:pt x="165352" y="917007"/>
                      <a:pt x="160931" y="901574"/>
                      <a:pt x="158261" y="889144"/>
                    </a:cubicBezTo>
                    <a:cubicBezTo>
                      <a:pt x="156926" y="883805"/>
                      <a:pt x="155591" y="878550"/>
                      <a:pt x="155591" y="873211"/>
                    </a:cubicBezTo>
                    <a:cubicBezTo>
                      <a:pt x="155174" y="851522"/>
                      <a:pt x="162682" y="844014"/>
                      <a:pt x="186626" y="840426"/>
                    </a:cubicBezTo>
                    <a:cubicBezTo>
                      <a:pt x="204313" y="837757"/>
                      <a:pt x="221165" y="828497"/>
                      <a:pt x="239352" y="812481"/>
                    </a:cubicBezTo>
                    <a:cubicBezTo>
                      <a:pt x="261960" y="792960"/>
                      <a:pt x="262795" y="770854"/>
                      <a:pt x="263713" y="745160"/>
                    </a:cubicBezTo>
                    <a:cubicBezTo>
                      <a:pt x="264130" y="742908"/>
                      <a:pt x="264130" y="740322"/>
                      <a:pt x="264130" y="737152"/>
                    </a:cubicBezTo>
                    <a:cubicBezTo>
                      <a:pt x="264130" y="729144"/>
                      <a:pt x="263713" y="718966"/>
                      <a:pt x="267216" y="713210"/>
                    </a:cubicBezTo>
                    <a:cubicBezTo>
                      <a:pt x="268968" y="710541"/>
                      <a:pt x="270720" y="709707"/>
                      <a:pt x="274724" y="707871"/>
                    </a:cubicBezTo>
                    <a:cubicBezTo>
                      <a:pt x="277811" y="706536"/>
                      <a:pt x="280898" y="705202"/>
                      <a:pt x="284486" y="702532"/>
                    </a:cubicBezTo>
                    <a:cubicBezTo>
                      <a:pt x="291160" y="696777"/>
                      <a:pt x="294664" y="690103"/>
                      <a:pt x="295081" y="683012"/>
                    </a:cubicBezTo>
                    <a:cubicBezTo>
                      <a:pt x="295498" y="667079"/>
                      <a:pt x="280481" y="652897"/>
                      <a:pt x="268050" y="641802"/>
                    </a:cubicBezTo>
                    <a:cubicBezTo>
                      <a:pt x="258290" y="632960"/>
                      <a:pt x="255203" y="624534"/>
                      <a:pt x="251699" y="614357"/>
                    </a:cubicBezTo>
                    <a:cubicBezTo>
                      <a:pt x="249446" y="609018"/>
                      <a:pt x="247277" y="603262"/>
                      <a:pt x="244191" y="596672"/>
                    </a:cubicBezTo>
                    <a:cubicBezTo>
                      <a:pt x="241938" y="593168"/>
                      <a:pt x="240686" y="589998"/>
                      <a:pt x="238851" y="586494"/>
                    </a:cubicBezTo>
                    <a:cubicBezTo>
                      <a:pt x="235348" y="580739"/>
                      <a:pt x="232678" y="575900"/>
                      <a:pt x="230008" y="568809"/>
                    </a:cubicBezTo>
                    <a:cubicBezTo>
                      <a:pt x="226504" y="559466"/>
                      <a:pt x="223334" y="554211"/>
                      <a:pt x="213657" y="548455"/>
                    </a:cubicBezTo>
                    <a:cubicBezTo>
                      <a:pt x="207900" y="544951"/>
                      <a:pt x="201726" y="543116"/>
                      <a:pt x="195469" y="540947"/>
                    </a:cubicBezTo>
                    <a:cubicBezTo>
                      <a:pt x="186126" y="538278"/>
                      <a:pt x="178200" y="535608"/>
                      <a:pt x="173361" y="527683"/>
                    </a:cubicBezTo>
                    <a:cubicBezTo>
                      <a:pt x="168939" y="519675"/>
                      <a:pt x="170275" y="509497"/>
                      <a:pt x="172944" y="500238"/>
                    </a:cubicBezTo>
                    <a:lnTo>
                      <a:pt x="173361" y="497568"/>
                    </a:lnTo>
                    <a:cubicBezTo>
                      <a:pt x="176448" y="486473"/>
                      <a:pt x="176448" y="485139"/>
                      <a:pt x="173361" y="474127"/>
                    </a:cubicBezTo>
                    <a:lnTo>
                      <a:pt x="172443" y="471458"/>
                    </a:lnTo>
                    <a:cubicBezTo>
                      <a:pt x="168939" y="458611"/>
                      <a:pt x="175113" y="444429"/>
                      <a:pt x="181286" y="430248"/>
                    </a:cubicBezTo>
                    <a:cubicBezTo>
                      <a:pt x="184373" y="423574"/>
                      <a:pt x="187460" y="417401"/>
                      <a:pt x="189296" y="410727"/>
                    </a:cubicBezTo>
                    <a:cubicBezTo>
                      <a:pt x="190213" y="408475"/>
                      <a:pt x="191549" y="405889"/>
                      <a:pt x="192383" y="403637"/>
                    </a:cubicBezTo>
                    <a:cubicBezTo>
                      <a:pt x="195886" y="394794"/>
                      <a:pt x="199474" y="385034"/>
                      <a:pt x="198139" y="374439"/>
                    </a:cubicBezTo>
                    <a:cubicBezTo>
                      <a:pt x="197221" y="369601"/>
                      <a:pt x="195469" y="365097"/>
                      <a:pt x="193717" y="361593"/>
                    </a:cubicBezTo>
                    <a:cubicBezTo>
                      <a:pt x="192383" y="358506"/>
                      <a:pt x="191047" y="355420"/>
                      <a:pt x="190630" y="352750"/>
                    </a:cubicBezTo>
                    <a:cubicBezTo>
                      <a:pt x="189713" y="349664"/>
                      <a:pt x="190213" y="346577"/>
                      <a:pt x="190213" y="343908"/>
                    </a:cubicBezTo>
                    <a:cubicBezTo>
                      <a:pt x="190213" y="337734"/>
                      <a:pt x="190213" y="331061"/>
                      <a:pt x="185792" y="323553"/>
                    </a:cubicBezTo>
                    <a:cubicBezTo>
                      <a:pt x="183539" y="320049"/>
                      <a:pt x="181370" y="317380"/>
                      <a:pt x="180035" y="315545"/>
                    </a:cubicBezTo>
                    <a:cubicBezTo>
                      <a:pt x="177366" y="312458"/>
                      <a:pt x="176031" y="311123"/>
                      <a:pt x="175196" y="306702"/>
                    </a:cubicBezTo>
                    <a:cubicBezTo>
                      <a:pt x="174779" y="303198"/>
                      <a:pt x="175613" y="299611"/>
                      <a:pt x="176115" y="295190"/>
                    </a:cubicBezTo>
                    <a:cubicBezTo>
                      <a:pt x="177032" y="288516"/>
                      <a:pt x="178366" y="281008"/>
                      <a:pt x="175196" y="273083"/>
                    </a:cubicBezTo>
                    <a:cubicBezTo>
                      <a:pt x="172527" y="265993"/>
                      <a:pt x="167688" y="260654"/>
                      <a:pt x="162766" y="255399"/>
                    </a:cubicBezTo>
                    <a:cubicBezTo>
                      <a:pt x="159679" y="251895"/>
                      <a:pt x="156592" y="248725"/>
                      <a:pt x="154757" y="245221"/>
                    </a:cubicBezTo>
                    <a:cubicBezTo>
                      <a:pt x="151253" y="239048"/>
                      <a:pt x="147666" y="229705"/>
                      <a:pt x="151253" y="221780"/>
                    </a:cubicBezTo>
                    <a:cubicBezTo>
                      <a:pt x="153923" y="215106"/>
                      <a:pt x="161014" y="209851"/>
                      <a:pt x="171609" y="207181"/>
                    </a:cubicBezTo>
                    <a:cubicBezTo>
                      <a:pt x="187543" y="202760"/>
                      <a:pt x="202143" y="205847"/>
                      <a:pt x="217661" y="208516"/>
                    </a:cubicBezTo>
                    <a:cubicBezTo>
                      <a:pt x="224752" y="209851"/>
                      <a:pt x="232261" y="211186"/>
                      <a:pt x="240269" y="211603"/>
                    </a:cubicBezTo>
                    <a:cubicBezTo>
                      <a:pt x="242939" y="212020"/>
                      <a:pt x="246026" y="212520"/>
                      <a:pt x="248696" y="212937"/>
                    </a:cubicBezTo>
                    <a:cubicBezTo>
                      <a:pt x="256705" y="214272"/>
                      <a:pt x="265047" y="216024"/>
                      <a:pt x="273056" y="213354"/>
                    </a:cubicBezTo>
                    <a:cubicBezTo>
                      <a:pt x="279230" y="211102"/>
                      <a:pt x="283234" y="207181"/>
                      <a:pt x="285904" y="203594"/>
                    </a:cubicBezTo>
                    <a:cubicBezTo>
                      <a:pt x="288157" y="201342"/>
                      <a:pt x="289408" y="199173"/>
                      <a:pt x="291244" y="198255"/>
                    </a:cubicBezTo>
                    <a:cubicBezTo>
                      <a:pt x="297000" y="195169"/>
                      <a:pt x="302756" y="194251"/>
                      <a:pt x="308929" y="192916"/>
                    </a:cubicBezTo>
                    <a:cubicBezTo>
                      <a:pt x="319525" y="190664"/>
                      <a:pt x="331956" y="188495"/>
                      <a:pt x="342134" y="174731"/>
                    </a:cubicBezTo>
                    <a:cubicBezTo>
                      <a:pt x="348307" y="166722"/>
                      <a:pt x="350560" y="158380"/>
                      <a:pt x="352311" y="150372"/>
                    </a:cubicBezTo>
                    <a:cubicBezTo>
                      <a:pt x="353230" y="147285"/>
                      <a:pt x="353647" y="144199"/>
                      <a:pt x="354981" y="141530"/>
                    </a:cubicBezTo>
                    <a:cubicBezTo>
                      <a:pt x="356734" y="136190"/>
                      <a:pt x="357651" y="134856"/>
                      <a:pt x="358068" y="134856"/>
                    </a:cubicBezTo>
                    <a:cubicBezTo>
                      <a:pt x="358485" y="134439"/>
                      <a:pt x="360738" y="134439"/>
                      <a:pt x="362490" y="134439"/>
                    </a:cubicBezTo>
                    <a:cubicBezTo>
                      <a:pt x="364742" y="134022"/>
                      <a:pt x="367328" y="134022"/>
                      <a:pt x="370499" y="133521"/>
                    </a:cubicBezTo>
                    <a:cubicBezTo>
                      <a:pt x="376672" y="132603"/>
                      <a:pt x="381595" y="130017"/>
                      <a:pt x="386850" y="126847"/>
                    </a:cubicBezTo>
                    <a:cubicBezTo>
                      <a:pt x="391272" y="124595"/>
                      <a:pt x="395693" y="122009"/>
                      <a:pt x="399281" y="122009"/>
                    </a:cubicBezTo>
                    <a:cubicBezTo>
                      <a:pt x="399698" y="122009"/>
                      <a:pt x="399698" y="122009"/>
                      <a:pt x="399698" y="122009"/>
                    </a:cubicBezTo>
                    <a:cubicBezTo>
                      <a:pt x="401450" y="122009"/>
                      <a:pt x="403202" y="123344"/>
                      <a:pt x="405872" y="125513"/>
                    </a:cubicBezTo>
                    <a:cubicBezTo>
                      <a:pt x="409376" y="128599"/>
                      <a:pt x="414298" y="133020"/>
                      <a:pt x="421807" y="132603"/>
                    </a:cubicBezTo>
                    <a:cubicBezTo>
                      <a:pt x="428898" y="132186"/>
                      <a:pt x="434654" y="129517"/>
                      <a:pt x="439075" y="124595"/>
                    </a:cubicBezTo>
                    <a:cubicBezTo>
                      <a:pt x="447919" y="114001"/>
                      <a:pt x="447085" y="96649"/>
                      <a:pt x="446167" y="91394"/>
                    </a:cubicBezTo>
                    <a:cubicBezTo>
                      <a:pt x="444415" y="75877"/>
                      <a:pt x="443080" y="61279"/>
                      <a:pt x="441745" y="45346"/>
                    </a:cubicBezTo>
                    <a:cubicBezTo>
                      <a:pt x="451089" y="44428"/>
                      <a:pt x="460349" y="42259"/>
                      <a:pt x="468776" y="37838"/>
                    </a:cubicBezTo>
                    <a:cubicBezTo>
                      <a:pt x="475450" y="34334"/>
                      <a:pt x="481623" y="29412"/>
                      <a:pt x="486462" y="23656"/>
                    </a:cubicBezTo>
                    <a:cubicBezTo>
                      <a:pt x="488714" y="21404"/>
                      <a:pt x="489966" y="18818"/>
                      <a:pt x="491801" y="16566"/>
                    </a:cubicBezTo>
                    <a:cubicBezTo>
                      <a:pt x="494888" y="12561"/>
                      <a:pt x="497558" y="8557"/>
                      <a:pt x="500645" y="5971"/>
                    </a:cubicBezTo>
                    <a:cubicBezTo>
                      <a:pt x="509071" y="-702"/>
                      <a:pt x="521919" y="-202"/>
                      <a:pt x="532096" y="215"/>
                    </a:cubicBezTo>
                    <a:cubicBezTo>
                      <a:pt x="544944" y="632"/>
                      <a:pt x="560044" y="1550"/>
                      <a:pt x="573727" y="6388"/>
                    </a:cubicBezTo>
                    <a:cubicBezTo>
                      <a:pt x="583070" y="9475"/>
                      <a:pt x="591913" y="14814"/>
                      <a:pt x="599839" y="19652"/>
                    </a:cubicBezTo>
                    <a:cubicBezTo>
                      <a:pt x="621530" y="33416"/>
                      <a:pt x="638799" y="45763"/>
                      <a:pt x="653482" y="58609"/>
                    </a:cubicBezTo>
                    <a:cubicBezTo>
                      <a:pt x="656569" y="61696"/>
                      <a:pt x="660574" y="65700"/>
                      <a:pt x="660574" y="69204"/>
                    </a:cubicBezTo>
                    <a:cubicBezTo>
                      <a:pt x="660574" y="70121"/>
                      <a:pt x="660156" y="71456"/>
                      <a:pt x="659656" y="72291"/>
                    </a:cubicBezTo>
                    <a:cubicBezTo>
                      <a:pt x="659239" y="74042"/>
                      <a:pt x="658739" y="75794"/>
                      <a:pt x="658322" y="78464"/>
                    </a:cubicBezTo>
                    <a:cubicBezTo>
                      <a:pt x="657403" y="87306"/>
                      <a:pt x="663660" y="94397"/>
                      <a:pt x="668499" y="99319"/>
                    </a:cubicBezTo>
                    <a:cubicBezTo>
                      <a:pt x="671586" y="102822"/>
                      <a:pt x="674673" y="105992"/>
                      <a:pt x="675173" y="109496"/>
                    </a:cubicBezTo>
                    <a:cubicBezTo>
                      <a:pt x="676091" y="114334"/>
                      <a:pt x="671169" y="119673"/>
                      <a:pt x="666747" y="125012"/>
                    </a:cubicBezTo>
                    <a:lnTo>
                      <a:pt x="664996" y="127265"/>
                    </a:lnTo>
                    <a:cubicBezTo>
                      <a:pt x="649478" y="145867"/>
                      <a:pt x="644639" y="169809"/>
                      <a:pt x="651731" y="188829"/>
                    </a:cubicBezTo>
                    <a:cubicBezTo>
                      <a:pt x="656152" y="200341"/>
                      <a:pt x="666330" y="210101"/>
                      <a:pt x="678761" y="214522"/>
                    </a:cubicBezTo>
                    <a:cubicBezTo>
                      <a:pt x="689356" y="218526"/>
                      <a:pt x="700452" y="217609"/>
                      <a:pt x="709295" y="212771"/>
                    </a:cubicBezTo>
                    <a:cubicBezTo>
                      <a:pt x="716804" y="208766"/>
                      <a:pt x="722143" y="202593"/>
                      <a:pt x="726982" y="196420"/>
                    </a:cubicBezTo>
                    <a:cubicBezTo>
                      <a:pt x="730986" y="191582"/>
                      <a:pt x="734990" y="186660"/>
                      <a:pt x="739829" y="183990"/>
                    </a:cubicBezTo>
                    <a:cubicBezTo>
                      <a:pt x="746003" y="180487"/>
                      <a:pt x="754012" y="179569"/>
                      <a:pt x="761103" y="182239"/>
                    </a:cubicBezTo>
                    <a:cubicBezTo>
                      <a:pt x="763356" y="183156"/>
                      <a:pt x="765108" y="184491"/>
                      <a:pt x="767277" y="185325"/>
                    </a:cubicBezTo>
                    <a:cubicBezTo>
                      <a:pt x="773451" y="188412"/>
                      <a:pt x="780125" y="192416"/>
                      <a:pt x="788551" y="191081"/>
                    </a:cubicBezTo>
                    <a:cubicBezTo>
                      <a:pt x="794725" y="190164"/>
                      <a:pt x="798729" y="186660"/>
                      <a:pt x="802733" y="183990"/>
                    </a:cubicBezTo>
                    <a:cubicBezTo>
                      <a:pt x="804485" y="182656"/>
                      <a:pt x="806237" y="181321"/>
                      <a:pt x="808073" y="180487"/>
                    </a:cubicBezTo>
                    <a:cubicBezTo>
                      <a:pt x="813412" y="177400"/>
                      <a:pt x="821838" y="178235"/>
                      <a:pt x="828930" y="182739"/>
                    </a:cubicBezTo>
                    <a:cubicBezTo>
                      <a:pt x="835604" y="187161"/>
                      <a:pt x="841360" y="193334"/>
                      <a:pt x="847116" y="201342"/>
                    </a:cubicBezTo>
                    <a:cubicBezTo>
                      <a:pt x="852455" y="208433"/>
                      <a:pt x="857712" y="215941"/>
                      <a:pt x="862633" y="223949"/>
                    </a:cubicBezTo>
                    <a:cubicBezTo>
                      <a:pt x="858629" y="227036"/>
                      <a:pt x="854625" y="229705"/>
                      <a:pt x="850203" y="231040"/>
                    </a:cubicBezTo>
                    <a:cubicBezTo>
                      <a:pt x="842194" y="233709"/>
                      <a:pt x="833351" y="230122"/>
                      <a:pt x="828095" y="238130"/>
                    </a:cubicBezTo>
                    <a:cubicBezTo>
                      <a:pt x="817917" y="253647"/>
                      <a:pt x="849369" y="263407"/>
                      <a:pt x="843195" y="282844"/>
                    </a:cubicBezTo>
                    <a:cubicBezTo>
                      <a:pt x="840108" y="291686"/>
                      <a:pt x="830347" y="298777"/>
                      <a:pt x="821087" y="299695"/>
                    </a:cubicBezTo>
                    <a:cubicBezTo>
                      <a:pt x="809991" y="301029"/>
                      <a:pt x="807322" y="294356"/>
                      <a:pt x="798979" y="290352"/>
                    </a:cubicBezTo>
                    <a:cubicBezTo>
                      <a:pt x="782628" y="282343"/>
                      <a:pt x="771531" y="308037"/>
                      <a:pt x="761771" y="319549"/>
                    </a:cubicBezTo>
                    <a:cubicBezTo>
                      <a:pt x="744501" y="339486"/>
                      <a:pt x="724562" y="356754"/>
                      <a:pt x="706375" y="375774"/>
                    </a:cubicBezTo>
                    <a:cubicBezTo>
                      <a:pt x="695780" y="386869"/>
                      <a:pt x="682933" y="395712"/>
                      <a:pt x="673589" y="408559"/>
                    </a:cubicBezTo>
                    <a:cubicBezTo>
                      <a:pt x="667832" y="416567"/>
                      <a:pt x="663828" y="425409"/>
                      <a:pt x="658071" y="432917"/>
                    </a:cubicBezTo>
                    <a:cubicBezTo>
                      <a:pt x="650979" y="442678"/>
                      <a:pt x="639467" y="447099"/>
                      <a:pt x="633294" y="457276"/>
                    </a:cubicBezTo>
                    <a:cubicBezTo>
                      <a:pt x="627954" y="466119"/>
                      <a:pt x="627954" y="476796"/>
                      <a:pt x="624867" y="486473"/>
                    </a:cubicBezTo>
                    <a:cubicBezTo>
                      <a:pt x="618193" y="509497"/>
                      <a:pt x="604928" y="531187"/>
                      <a:pt x="610684" y="556463"/>
                    </a:cubicBezTo>
                    <a:cubicBezTo>
                      <a:pt x="616858" y="581239"/>
                      <a:pt x="629706" y="603846"/>
                      <a:pt x="626619" y="630874"/>
                    </a:cubicBezTo>
                    <a:cubicBezTo>
                      <a:pt x="623950" y="653481"/>
                      <a:pt x="609350" y="670332"/>
                      <a:pt x="608933" y="693773"/>
                    </a:cubicBezTo>
                    <a:cubicBezTo>
                      <a:pt x="608516" y="703950"/>
                      <a:pt x="610267" y="715046"/>
                      <a:pt x="614272" y="724305"/>
                    </a:cubicBezTo>
                    <a:cubicBezTo>
                      <a:pt x="615607" y="726975"/>
                      <a:pt x="619111" y="729644"/>
                      <a:pt x="620446" y="732730"/>
                    </a:cubicBezTo>
                    <a:cubicBezTo>
                      <a:pt x="622698" y="738487"/>
                      <a:pt x="621363" y="743325"/>
                      <a:pt x="623115" y="748664"/>
                    </a:cubicBezTo>
                    <a:cubicBezTo>
                      <a:pt x="626619" y="761093"/>
                      <a:pt x="639467" y="769936"/>
                      <a:pt x="641302" y="783200"/>
                    </a:cubicBezTo>
                    <a:cubicBezTo>
                      <a:pt x="642637" y="793794"/>
                      <a:pt x="635963" y="802721"/>
                      <a:pt x="632459" y="812397"/>
                    </a:cubicBezTo>
                    <a:cubicBezTo>
                      <a:pt x="629372" y="820823"/>
                      <a:pt x="628955" y="825244"/>
                      <a:pt x="628454" y="834503"/>
                    </a:cubicBezTo>
                    <a:cubicBezTo>
                      <a:pt x="628454" y="846433"/>
                      <a:pt x="624951" y="856610"/>
                      <a:pt x="623616" y="868623"/>
                    </a:cubicBezTo>
                    <a:cubicBezTo>
                      <a:pt x="622698" y="879718"/>
                      <a:pt x="628037" y="889895"/>
                      <a:pt x="626703" y="900990"/>
                    </a:cubicBezTo>
                    <a:cubicBezTo>
                      <a:pt x="625785" y="909832"/>
                      <a:pt x="620529" y="917841"/>
                      <a:pt x="617860" y="926266"/>
                    </a:cubicBezTo>
                    <a:cubicBezTo>
                      <a:pt x="611185" y="949707"/>
                      <a:pt x="612520" y="977653"/>
                      <a:pt x="610768" y="1002429"/>
                    </a:cubicBezTo>
                    <a:cubicBezTo>
                      <a:pt x="607264" y="1055151"/>
                      <a:pt x="629790" y="1104286"/>
                      <a:pt x="625368" y="1157007"/>
                    </a:cubicBezTo>
                    <a:cubicBezTo>
                      <a:pt x="623115" y="1184953"/>
                      <a:pt x="620028" y="1211064"/>
                      <a:pt x="611603" y="1238092"/>
                    </a:cubicBezTo>
                    <a:cubicBezTo>
                      <a:pt x="608516" y="1249187"/>
                      <a:pt x="607597" y="1262451"/>
                      <a:pt x="602759" y="1273045"/>
                    </a:cubicBezTo>
                    <a:cubicBezTo>
                      <a:pt x="597003" y="1285892"/>
                      <a:pt x="591246" y="1290731"/>
                      <a:pt x="593415" y="1306747"/>
                    </a:cubicBezTo>
                    <a:cubicBezTo>
                      <a:pt x="595668" y="1320511"/>
                      <a:pt x="599172" y="1334192"/>
                      <a:pt x="596502" y="1347957"/>
                    </a:cubicBezTo>
                    <a:cubicBezTo>
                      <a:pt x="594249" y="1358134"/>
                      <a:pt x="587158" y="1364808"/>
                      <a:pt x="584072" y="1374068"/>
                    </a:cubicBezTo>
                    <a:cubicBezTo>
                      <a:pt x="582319" y="1378906"/>
                      <a:pt x="584072" y="1384245"/>
                      <a:pt x="581819" y="1389167"/>
                    </a:cubicBezTo>
                    <a:cubicBezTo>
                      <a:pt x="579566" y="1394005"/>
                      <a:pt x="575145" y="1395840"/>
                      <a:pt x="572975" y="1400262"/>
                    </a:cubicBezTo>
                    <a:cubicBezTo>
                      <a:pt x="567219" y="1410439"/>
                      <a:pt x="566301" y="1421117"/>
                      <a:pt x="566802" y="1432128"/>
                    </a:cubicBezTo>
                    <a:cubicBezTo>
                      <a:pt x="567219" y="1445392"/>
                      <a:pt x="570306" y="1471586"/>
                      <a:pt x="587158" y="1473755"/>
                    </a:cubicBezTo>
                    <a:cubicBezTo>
                      <a:pt x="595167" y="1475090"/>
                      <a:pt x="606180" y="1468416"/>
                      <a:pt x="614606" y="1467999"/>
                    </a:cubicBezTo>
                    <a:cubicBezTo>
                      <a:pt x="626118" y="1467582"/>
                      <a:pt x="635462" y="1468416"/>
                      <a:pt x="646058" y="1462660"/>
                    </a:cubicBezTo>
                    <a:cubicBezTo>
                      <a:pt x="663327" y="1452483"/>
                      <a:pt x="681514" y="1430794"/>
                      <a:pt x="694361" y="1415694"/>
                    </a:cubicBezTo>
                    <a:cubicBezTo>
                      <a:pt x="708544" y="1399761"/>
                      <a:pt x="719640" y="1393588"/>
                      <a:pt x="734657" y="1413442"/>
                    </a:cubicBezTo>
                    <a:cubicBezTo>
                      <a:pt x="744418" y="1426289"/>
                      <a:pt x="749757" y="1440470"/>
                      <a:pt x="759935" y="1452399"/>
                    </a:cubicBezTo>
                    <a:cubicBezTo>
                      <a:pt x="764774" y="1458572"/>
                      <a:pt x="770114" y="1463494"/>
                      <a:pt x="772365" y="1471419"/>
                    </a:cubicBezTo>
                    <a:cubicBezTo>
                      <a:pt x="775870" y="1484266"/>
                      <a:pt x="771948" y="1523223"/>
                      <a:pt x="794474" y="1505121"/>
                    </a:cubicBezTo>
                    <a:cubicBezTo>
                      <a:pt x="802900" y="1498448"/>
                      <a:pt x="816165" y="1486518"/>
                      <a:pt x="818417" y="1475924"/>
                    </a:cubicBezTo>
                    <a:cubicBezTo>
                      <a:pt x="820670" y="1466164"/>
                      <a:pt x="813996" y="1455069"/>
                      <a:pt x="819753" y="1446226"/>
                    </a:cubicBezTo>
                    <a:cubicBezTo>
                      <a:pt x="823256" y="1440470"/>
                      <a:pt x="851204" y="1425872"/>
                      <a:pt x="856961" y="1428541"/>
                    </a:cubicBezTo>
                    <a:cubicBezTo>
                      <a:pt x="878652" y="1438301"/>
                      <a:pt x="844113" y="1494110"/>
                      <a:pt x="856543" y="1508708"/>
                    </a:cubicBezTo>
                    <a:cubicBezTo>
                      <a:pt x="872895" y="1528229"/>
                      <a:pt x="912356" y="1449813"/>
                      <a:pt x="912774" y="1436967"/>
                    </a:cubicBezTo>
                    <a:cubicBezTo>
                      <a:pt x="913191" y="1425455"/>
                      <a:pt x="912356" y="1400679"/>
                      <a:pt x="928291" y="1418364"/>
                    </a:cubicBezTo>
                    <a:cubicBezTo>
                      <a:pt x="932712" y="1423202"/>
                      <a:pt x="933129" y="1444057"/>
                      <a:pt x="941139" y="1445392"/>
                    </a:cubicBezTo>
                    <a:cubicBezTo>
                      <a:pt x="960660" y="1448061"/>
                      <a:pt x="949982" y="1414860"/>
                      <a:pt x="945560" y="1408604"/>
                    </a:cubicBezTo>
                    <a:cubicBezTo>
                      <a:pt x="932712" y="1390918"/>
                      <a:pt x="927873" y="1369646"/>
                      <a:pt x="915025" y="1351878"/>
                    </a:cubicBezTo>
                    <a:cubicBezTo>
                      <a:pt x="901761" y="1332858"/>
                      <a:pt x="889747" y="1328436"/>
                      <a:pt x="917278" y="1315590"/>
                    </a:cubicBezTo>
                    <a:cubicBezTo>
                      <a:pt x="927456" y="1310752"/>
                      <a:pt x="937217" y="1306246"/>
                      <a:pt x="945643" y="1298739"/>
                    </a:cubicBezTo>
                    <a:cubicBezTo>
                      <a:pt x="952317" y="1292566"/>
                      <a:pt x="956739" y="1284140"/>
                      <a:pt x="964247" y="1278384"/>
                    </a:cubicBezTo>
                    <a:cubicBezTo>
                      <a:pt x="980182" y="1265537"/>
                      <a:pt x="1010299" y="1264203"/>
                      <a:pt x="1029821" y="1265955"/>
                    </a:cubicBezTo>
                    <a:cubicBezTo>
                      <a:pt x="1052430" y="1267706"/>
                      <a:pt x="1056851" y="1288979"/>
                      <a:pt x="1079460" y="1291231"/>
                    </a:cubicBezTo>
                    <a:cubicBezTo>
                      <a:pt x="1101568" y="1292983"/>
                      <a:pt x="1123342" y="1286393"/>
                      <a:pt x="1145450" y="1288979"/>
                    </a:cubicBezTo>
                    <a:cubicBezTo>
                      <a:pt x="1156046" y="1290313"/>
                      <a:pt x="1167141" y="1293817"/>
                      <a:pt x="1176903" y="1289396"/>
                    </a:cubicBezTo>
                    <a:cubicBezTo>
                      <a:pt x="1183076" y="1286726"/>
                      <a:pt x="1185745" y="1278801"/>
                      <a:pt x="1193254" y="1278801"/>
                    </a:cubicBezTo>
                    <a:cubicBezTo>
                      <a:pt x="1203849" y="1278801"/>
                      <a:pt x="1210941" y="1294318"/>
                      <a:pt x="1212276" y="1302743"/>
                    </a:cubicBezTo>
                    <a:cubicBezTo>
                      <a:pt x="1214028" y="1313337"/>
                      <a:pt x="1208772" y="1319094"/>
                      <a:pt x="1206519" y="1328854"/>
                    </a:cubicBezTo>
                    <a:cubicBezTo>
                      <a:pt x="1200762" y="1355465"/>
                      <a:pt x="1230463" y="1348374"/>
                      <a:pt x="1245980" y="1357634"/>
                    </a:cubicBezTo>
                    <a:cubicBezTo>
                      <a:pt x="1265919" y="1369563"/>
                      <a:pt x="1262332" y="1389500"/>
                      <a:pt x="1277432" y="1402848"/>
                    </a:cubicBezTo>
                    <a:cubicBezTo>
                      <a:pt x="1291197" y="1414777"/>
                      <a:pt x="1314223" y="1400178"/>
                      <a:pt x="1322148" y="1417947"/>
                    </a:cubicBezTo>
                    <a:cubicBezTo>
                      <a:pt x="1324818" y="1423703"/>
                      <a:pt x="1323067" y="1431711"/>
                      <a:pt x="1324818" y="1437884"/>
                    </a:cubicBezTo>
                    <a:cubicBezTo>
                      <a:pt x="1327071" y="1443223"/>
                      <a:pt x="1330992" y="1448061"/>
                      <a:pt x="1333662" y="1453401"/>
                    </a:cubicBezTo>
                    <a:cubicBezTo>
                      <a:pt x="1339835" y="1465330"/>
                      <a:pt x="1341671" y="1474256"/>
                      <a:pt x="1341671" y="1487937"/>
                    </a:cubicBezTo>
                    <a:cubicBezTo>
                      <a:pt x="1341671" y="1511878"/>
                      <a:pt x="1351015" y="1530898"/>
                      <a:pt x="1354519" y="1554840"/>
                    </a:cubicBezTo>
                    <a:cubicBezTo>
                      <a:pt x="1358523" y="1580950"/>
                      <a:pt x="1380214" y="1594715"/>
                      <a:pt x="1384635" y="1620825"/>
                    </a:cubicBezTo>
                    <a:cubicBezTo>
                      <a:pt x="1389057" y="1645184"/>
                      <a:pt x="1399235" y="1661618"/>
                      <a:pt x="1416087" y="1679720"/>
                    </a:cubicBezTo>
                    <a:cubicBezTo>
                      <a:pt x="1445787" y="1711170"/>
                      <a:pt x="1492756" y="1729355"/>
                      <a:pt x="1514447" y="1767896"/>
                    </a:cubicBezTo>
                    <a:cubicBezTo>
                      <a:pt x="1527295" y="1790503"/>
                      <a:pt x="1538391" y="1814861"/>
                      <a:pt x="1549904" y="1838303"/>
                    </a:cubicBezTo>
                    <a:cubicBezTo>
                      <a:pt x="1559665" y="1856905"/>
                      <a:pt x="1575183" y="1870169"/>
                      <a:pt x="1583108" y="1890607"/>
                    </a:cubicBezTo>
                    <a:cubicBezTo>
                      <a:pt x="1591534" y="1911462"/>
                      <a:pt x="1603464" y="1931400"/>
                      <a:pt x="1619399" y="1947333"/>
                    </a:cubicBezTo>
                    <a:cubicBezTo>
                      <a:pt x="1635750" y="1964184"/>
                      <a:pt x="1642424" y="1979200"/>
                      <a:pt x="1633164" y="2001807"/>
                    </a:cubicBezTo>
                    <a:cubicBezTo>
                      <a:pt x="1612308" y="2050942"/>
                      <a:pt x="1619399" y="2098408"/>
                      <a:pt x="1634082" y="2147959"/>
                    </a:cubicBezTo>
                    <a:cubicBezTo>
                      <a:pt x="1641507" y="2159722"/>
                      <a:pt x="1646346" y="2172986"/>
                      <a:pt x="1646346" y="218891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13043922" name="Полилиния 416"/>
              <p:cNvSpPr/>
              <p:nvPr/>
            </p:nvSpPr>
            <p:spPr bwMode="auto">
              <a:xfrm>
                <a:off x="10099570" y="5060956"/>
                <a:ext cx="466781" cy="1185636"/>
              </a:xfrm>
              <a:custGeom>
                <a:avLst/>
                <a:gdLst>
                  <a:gd name="connsiteX0" fmla="*/ 513893 w 524212"/>
                  <a:gd name="connsiteY0" fmla="*/ 811466 h 1331509"/>
                  <a:gd name="connsiteX1" fmla="*/ 515228 w 524212"/>
                  <a:gd name="connsiteY1" fmla="*/ 852258 h 1331509"/>
                  <a:gd name="connsiteX2" fmla="*/ 504132 w 524212"/>
                  <a:gd name="connsiteY2" fmla="*/ 875699 h 1331509"/>
                  <a:gd name="connsiteX3" fmla="*/ 501463 w 524212"/>
                  <a:gd name="connsiteY3" fmla="*/ 901810 h 1331509"/>
                  <a:gd name="connsiteX4" fmla="*/ 488198 w 524212"/>
                  <a:gd name="connsiteY4" fmla="*/ 923916 h 1331509"/>
                  <a:gd name="connsiteX5" fmla="*/ 479355 w 524212"/>
                  <a:gd name="connsiteY5" fmla="*/ 959370 h 1331509"/>
                  <a:gd name="connsiteX6" fmla="*/ 470011 w 524212"/>
                  <a:gd name="connsiteY6" fmla="*/ 983312 h 1331509"/>
                  <a:gd name="connsiteX7" fmla="*/ 468258 w 524212"/>
                  <a:gd name="connsiteY7" fmla="*/ 1009422 h 1331509"/>
                  <a:gd name="connsiteX8" fmla="*/ 451907 w 524212"/>
                  <a:gd name="connsiteY8" fmla="*/ 1027108 h 1331509"/>
                  <a:gd name="connsiteX9" fmla="*/ 406272 w 524212"/>
                  <a:gd name="connsiteY9" fmla="*/ 1090924 h 1331509"/>
                  <a:gd name="connsiteX10" fmla="*/ 384164 w 524212"/>
                  <a:gd name="connsiteY10" fmla="*/ 1090507 h 1331509"/>
                  <a:gd name="connsiteX11" fmla="*/ 367312 w 524212"/>
                  <a:gd name="connsiteY11" fmla="*/ 1102937 h 1331509"/>
                  <a:gd name="connsiteX12" fmla="*/ 346455 w 524212"/>
                  <a:gd name="connsiteY12" fmla="*/ 1100685 h 1331509"/>
                  <a:gd name="connsiteX13" fmla="*/ 308830 w 524212"/>
                  <a:gd name="connsiteY13" fmla="*/ 1120622 h 1331509"/>
                  <a:gd name="connsiteX14" fmla="*/ 260526 w 524212"/>
                  <a:gd name="connsiteY14" fmla="*/ 1088255 h 1331509"/>
                  <a:gd name="connsiteX15" fmla="*/ 243257 w 524212"/>
                  <a:gd name="connsiteY15" fmla="*/ 1100685 h 1331509"/>
                  <a:gd name="connsiteX16" fmla="*/ 214892 w 524212"/>
                  <a:gd name="connsiteY16" fmla="*/ 1113531 h 1331509"/>
                  <a:gd name="connsiteX17" fmla="*/ 212639 w 524212"/>
                  <a:gd name="connsiteY17" fmla="*/ 1169757 h 1331509"/>
                  <a:gd name="connsiteX18" fmla="*/ 205965 w 524212"/>
                  <a:gd name="connsiteY18" fmla="*/ 1204293 h 1331509"/>
                  <a:gd name="connsiteX19" fmla="*/ 209052 w 524212"/>
                  <a:gd name="connsiteY19" fmla="*/ 1229987 h 1331509"/>
                  <a:gd name="connsiteX20" fmla="*/ 175347 w 524212"/>
                  <a:gd name="connsiteY20" fmla="*/ 1261019 h 1331509"/>
                  <a:gd name="connsiteX21" fmla="*/ 167338 w 524212"/>
                  <a:gd name="connsiteY21" fmla="*/ 1288965 h 1331509"/>
                  <a:gd name="connsiteX22" fmla="*/ 182855 w 524212"/>
                  <a:gd name="connsiteY22" fmla="*/ 1311989 h 1331509"/>
                  <a:gd name="connsiteX23" fmla="*/ 177099 w 524212"/>
                  <a:gd name="connsiteY23" fmla="*/ 1331509 h 1331509"/>
                  <a:gd name="connsiteX24" fmla="*/ 174847 w 524212"/>
                  <a:gd name="connsiteY24" fmla="*/ 1330174 h 1331509"/>
                  <a:gd name="connsiteX25" fmla="*/ 149151 w 524212"/>
                  <a:gd name="connsiteY25" fmla="*/ 1315576 h 1331509"/>
                  <a:gd name="connsiteX26" fmla="*/ 133634 w 524212"/>
                  <a:gd name="connsiteY26" fmla="*/ 1309820 h 1331509"/>
                  <a:gd name="connsiteX27" fmla="*/ 145146 w 524212"/>
                  <a:gd name="connsiteY27" fmla="*/ 1272197 h 1331509"/>
                  <a:gd name="connsiteX28" fmla="*/ 158912 w 524212"/>
                  <a:gd name="connsiteY28" fmla="*/ 1252260 h 1331509"/>
                  <a:gd name="connsiteX29" fmla="*/ 178434 w 524212"/>
                  <a:gd name="connsiteY29" fmla="*/ 1199121 h 1331509"/>
                  <a:gd name="connsiteX30" fmla="*/ 138973 w 524212"/>
                  <a:gd name="connsiteY30" fmla="*/ 1122457 h 1331509"/>
                  <a:gd name="connsiteX31" fmla="*/ 123038 w 524212"/>
                  <a:gd name="connsiteY31" fmla="*/ 1099851 h 1331509"/>
                  <a:gd name="connsiteX32" fmla="*/ 106186 w 524212"/>
                  <a:gd name="connsiteY32" fmla="*/ 1070653 h 1331509"/>
                  <a:gd name="connsiteX33" fmla="*/ 61469 w 524212"/>
                  <a:gd name="connsiteY33" fmla="*/ 1009089 h 1331509"/>
                  <a:gd name="connsiteX34" fmla="*/ 25179 w 524212"/>
                  <a:gd name="connsiteY34" fmla="*/ 974970 h 1331509"/>
                  <a:gd name="connsiteX35" fmla="*/ 13666 w 524212"/>
                  <a:gd name="connsiteY35" fmla="*/ 963875 h 1331509"/>
                  <a:gd name="connsiteX36" fmla="*/ 2570 w 524212"/>
                  <a:gd name="connsiteY36" fmla="*/ 935929 h 1331509"/>
                  <a:gd name="connsiteX37" fmla="*/ 15001 w 524212"/>
                  <a:gd name="connsiteY37" fmla="*/ 923499 h 1331509"/>
                  <a:gd name="connsiteX38" fmla="*/ 31853 w 524212"/>
                  <a:gd name="connsiteY38" fmla="*/ 903979 h 1331509"/>
                  <a:gd name="connsiteX39" fmla="*/ 32270 w 524212"/>
                  <a:gd name="connsiteY39" fmla="*/ 873447 h 1331509"/>
                  <a:gd name="connsiteX40" fmla="*/ 31353 w 524212"/>
                  <a:gd name="connsiteY40" fmla="*/ 853510 h 1331509"/>
                  <a:gd name="connsiteX41" fmla="*/ 80073 w 524212"/>
                  <a:gd name="connsiteY41" fmla="*/ 831820 h 1331509"/>
                  <a:gd name="connsiteX42" fmla="*/ 94256 w 524212"/>
                  <a:gd name="connsiteY42" fmla="*/ 829568 h 1331509"/>
                  <a:gd name="connsiteX43" fmla="*/ 97760 w 524212"/>
                  <a:gd name="connsiteY43" fmla="*/ 829151 h 1331509"/>
                  <a:gd name="connsiteX44" fmla="*/ 160664 w 524212"/>
                  <a:gd name="connsiteY44" fmla="*/ 805209 h 1331509"/>
                  <a:gd name="connsiteX45" fmla="*/ 163333 w 524212"/>
                  <a:gd name="connsiteY45" fmla="*/ 750736 h 1331509"/>
                  <a:gd name="connsiteX46" fmla="*/ 155325 w 524212"/>
                  <a:gd name="connsiteY46" fmla="*/ 725960 h 1331509"/>
                  <a:gd name="connsiteX47" fmla="*/ 156659 w 524212"/>
                  <a:gd name="connsiteY47" fmla="*/ 706940 h 1331509"/>
                  <a:gd name="connsiteX48" fmla="*/ 153156 w 524212"/>
                  <a:gd name="connsiteY48" fmla="*/ 667482 h 1331509"/>
                  <a:gd name="connsiteX49" fmla="*/ 146982 w 524212"/>
                  <a:gd name="connsiteY49" fmla="*/ 628024 h 1331509"/>
                  <a:gd name="connsiteX50" fmla="*/ 127460 w 524212"/>
                  <a:gd name="connsiteY50" fmla="*/ 548775 h 1331509"/>
                  <a:gd name="connsiteX51" fmla="*/ 119034 w 524212"/>
                  <a:gd name="connsiteY51" fmla="*/ 527919 h 1331509"/>
                  <a:gd name="connsiteX52" fmla="*/ 118117 w 524212"/>
                  <a:gd name="connsiteY52" fmla="*/ 525667 h 1331509"/>
                  <a:gd name="connsiteX53" fmla="*/ 129629 w 524212"/>
                  <a:gd name="connsiteY53" fmla="*/ 515490 h 1331509"/>
                  <a:gd name="connsiteX54" fmla="*/ 134051 w 524212"/>
                  <a:gd name="connsiteY54" fmla="*/ 465855 h 1331509"/>
                  <a:gd name="connsiteX55" fmla="*/ 129212 w 524212"/>
                  <a:gd name="connsiteY55" fmla="*/ 455677 h 1331509"/>
                  <a:gd name="connsiteX56" fmla="*/ 146065 w 524212"/>
                  <a:gd name="connsiteY56" fmla="*/ 401204 h 1331509"/>
                  <a:gd name="connsiteX57" fmla="*/ 168173 w 524212"/>
                  <a:gd name="connsiteY57" fmla="*/ 383518 h 1331509"/>
                  <a:gd name="connsiteX58" fmla="*/ 186360 w 524212"/>
                  <a:gd name="connsiteY58" fmla="*/ 384853 h 1331509"/>
                  <a:gd name="connsiteX59" fmla="*/ 201459 w 524212"/>
                  <a:gd name="connsiteY59" fmla="*/ 387940 h 1331509"/>
                  <a:gd name="connsiteX60" fmla="*/ 222316 w 524212"/>
                  <a:gd name="connsiteY60" fmla="*/ 382601 h 1331509"/>
                  <a:gd name="connsiteX61" fmla="*/ 232077 w 524212"/>
                  <a:gd name="connsiteY61" fmla="*/ 378597 h 1331509"/>
                  <a:gd name="connsiteX62" fmla="*/ 245342 w 524212"/>
                  <a:gd name="connsiteY62" fmla="*/ 379014 h 1331509"/>
                  <a:gd name="connsiteX63" fmla="*/ 264864 w 524212"/>
                  <a:gd name="connsiteY63" fmla="*/ 379014 h 1331509"/>
                  <a:gd name="connsiteX64" fmla="*/ 324264 w 524212"/>
                  <a:gd name="connsiteY64" fmla="*/ 344478 h 1331509"/>
                  <a:gd name="connsiteX65" fmla="*/ 339364 w 524212"/>
                  <a:gd name="connsiteY65" fmla="*/ 289086 h 1331509"/>
                  <a:gd name="connsiteX66" fmla="*/ 338447 w 524212"/>
                  <a:gd name="connsiteY66" fmla="*/ 279326 h 1331509"/>
                  <a:gd name="connsiteX67" fmla="*/ 333107 w 524212"/>
                  <a:gd name="connsiteY67" fmla="*/ 252715 h 1331509"/>
                  <a:gd name="connsiteX68" fmla="*/ 327768 w 524212"/>
                  <a:gd name="connsiteY68" fmla="*/ 243873 h 1331509"/>
                  <a:gd name="connsiteX69" fmla="*/ 323347 w 524212"/>
                  <a:gd name="connsiteY69" fmla="*/ 234112 h 1331509"/>
                  <a:gd name="connsiteX70" fmla="*/ 339281 w 524212"/>
                  <a:gd name="connsiteY70" fmla="*/ 225687 h 1331509"/>
                  <a:gd name="connsiteX71" fmla="*/ 357885 w 524212"/>
                  <a:gd name="connsiteY71" fmla="*/ 219013 h 1331509"/>
                  <a:gd name="connsiteX72" fmla="*/ 386667 w 524212"/>
                  <a:gd name="connsiteY72" fmla="*/ 164957 h 1331509"/>
                  <a:gd name="connsiteX73" fmla="*/ 379993 w 524212"/>
                  <a:gd name="connsiteY73" fmla="*/ 111318 h 1331509"/>
                  <a:gd name="connsiteX74" fmla="*/ 339198 w 524212"/>
                  <a:gd name="connsiteY74" fmla="*/ 112235 h 1331509"/>
                  <a:gd name="connsiteX75" fmla="*/ 331188 w 524212"/>
                  <a:gd name="connsiteY75" fmla="*/ 117991 h 1331509"/>
                  <a:gd name="connsiteX76" fmla="*/ 313001 w 524212"/>
                  <a:gd name="connsiteY76" fmla="*/ 117073 h 1331509"/>
                  <a:gd name="connsiteX77" fmla="*/ 299236 w 524212"/>
                  <a:gd name="connsiteY77" fmla="*/ 105144 h 1331509"/>
                  <a:gd name="connsiteX78" fmla="*/ 281049 w 524212"/>
                  <a:gd name="connsiteY78" fmla="*/ 100723 h 1331509"/>
                  <a:gd name="connsiteX79" fmla="*/ 264697 w 524212"/>
                  <a:gd name="connsiteY79" fmla="*/ 95384 h 1331509"/>
                  <a:gd name="connsiteX80" fmla="*/ 281049 w 524212"/>
                  <a:gd name="connsiteY80" fmla="*/ 69273 h 1331509"/>
                  <a:gd name="connsiteX81" fmla="*/ 296566 w 524212"/>
                  <a:gd name="connsiteY81" fmla="*/ 52423 h 1331509"/>
                  <a:gd name="connsiteX82" fmla="*/ 304993 w 524212"/>
                  <a:gd name="connsiteY82" fmla="*/ 32485 h 1331509"/>
                  <a:gd name="connsiteX83" fmla="*/ 316088 w 524212"/>
                  <a:gd name="connsiteY83" fmla="*/ 8126 h 1331509"/>
                  <a:gd name="connsiteX84" fmla="*/ 327184 w 524212"/>
                  <a:gd name="connsiteY84" fmla="*/ 118 h 1331509"/>
                  <a:gd name="connsiteX85" fmla="*/ 357718 w 524212"/>
                  <a:gd name="connsiteY85" fmla="*/ 14299 h 1331509"/>
                  <a:gd name="connsiteX86" fmla="*/ 362140 w 524212"/>
                  <a:gd name="connsiteY86" fmla="*/ 17803 h 1331509"/>
                  <a:gd name="connsiteX87" fmla="*/ 378074 w 524212"/>
                  <a:gd name="connsiteY87" fmla="*/ 28898 h 1331509"/>
                  <a:gd name="connsiteX88" fmla="*/ 390004 w 524212"/>
                  <a:gd name="connsiteY88" fmla="*/ 32402 h 1331509"/>
                  <a:gd name="connsiteX89" fmla="*/ 401100 w 524212"/>
                  <a:gd name="connsiteY89" fmla="*/ 35905 h 1331509"/>
                  <a:gd name="connsiteX90" fmla="*/ 407774 w 524212"/>
                  <a:gd name="connsiteY90" fmla="*/ 55843 h 1331509"/>
                  <a:gd name="connsiteX91" fmla="*/ 422374 w 524212"/>
                  <a:gd name="connsiteY91" fmla="*/ 92131 h 1331509"/>
                  <a:gd name="connsiteX92" fmla="*/ 474182 w 524212"/>
                  <a:gd name="connsiteY92" fmla="*/ 99222 h 1331509"/>
                  <a:gd name="connsiteX93" fmla="*/ 473765 w 524212"/>
                  <a:gd name="connsiteY93" fmla="*/ 111651 h 1331509"/>
                  <a:gd name="connsiteX94" fmla="*/ 486612 w 524212"/>
                  <a:gd name="connsiteY94" fmla="*/ 136010 h 1331509"/>
                  <a:gd name="connsiteX95" fmla="*/ 479104 w 524212"/>
                  <a:gd name="connsiteY95" fmla="*/ 158116 h 1331509"/>
                  <a:gd name="connsiteX96" fmla="*/ 505217 w 524212"/>
                  <a:gd name="connsiteY96" fmla="*/ 221933 h 1331509"/>
                  <a:gd name="connsiteX97" fmla="*/ 508303 w 524212"/>
                  <a:gd name="connsiteY97" fmla="*/ 251130 h 1331509"/>
                  <a:gd name="connsiteX98" fmla="*/ 519817 w 524212"/>
                  <a:gd name="connsiteY98" fmla="*/ 278159 h 1331509"/>
                  <a:gd name="connsiteX99" fmla="*/ 519400 w 524212"/>
                  <a:gd name="connsiteY99" fmla="*/ 360578 h 1331509"/>
                  <a:gd name="connsiteX100" fmla="*/ 519817 w 524212"/>
                  <a:gd name="connsiteY100" fmla="*/ 438576 h 1331509"/>
                  <a:gd name="connsiteX101" fmla="*/ 508720 w 524212"/>
                  <a:gd name="connsiteY101" fmla="*/ 513404 h 1331509"/>
                  <a:gd name="connsiteX102" fmla="*/ 511807 w 524212"/>
                  <a:gd name="connsiteY102" fmla="*/ 582977 h 1331509"/>
                  <a:gd name="connsiteX103" fmla="*/ 512725 w 524212"/>
                  <a:gd name="connsiteY103" fmla="*/ 614426 h 1331509"/>
                  <a:gd name="connsiteX104" fmla="*/ 518064 w 524212"/>
                  <a:gd name="connsiteY104" fmla="*/ 642789 h 1331509"/>
                  <a:gd name="connsiteX105" fmla="*/ 503882 w 524212"/>
                  <a:gd name="connsiteY105" fmla="*/ 665396 h 1331509"/>
                  <a:gd name="connsiteX106" fmla="*/ 508720 w 524212"/>
                  <a:gd name="connsiteY106" fmla="*/ 686669 h 1331509"/>
                  <a:gd name="connsiteX107" fmla="*/ 509639 w 524212"/>
                  <a:gd name="connsiteY107" fmla="*/ 723457 h 1331509"/>
                  <a:gd name="connsiteX108" fmla="*/ 518064 w 524212"/>
                  <a:gd name="connsiteY108" fmla="*/ 754490 h 1331509"/>
                  <a:gd name="connsiteX109" fmla="*/ 523404 w 524212"/>
                  <a:gd name="connsiteY109" fmla="*/ 784187 h 1331509"/>
                  <a:gd name="connsiteX110" fmla="*/ 513893 w 524212"/>
                  <a:gd name="connsiteY110" fmla="*/ 811466 h 1331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524212" h="1331509" extrusionOk="0">
                    <a:moveTo>
                      <a:pt x="513893" y="811466"/>
                    </a:moveTo>
                    <a:cubicBezTo>
                      <a:pt x="511223" y="825230"/>
                      <a:pt x="517897" y="838494"/>
                      <a:pt x="515228" y="852258"/>
                    </a:cubicBezTo>
                    <a:cubicBezTo>
                      <a:pt x="513476" y="861602"/>
                      <a:pt x="506802" y="867357"/>
                      <a:pt x="504132" y="875699"/>
                    </a:cubicBezTo>
                    <a:cubicBezTo>
                      <a:pt x="501046" y="884125"/>
                      <a:pt x="503715" y="893385"/>
                      <a:pt x="501463" y="901810"/>
                    </a:cubicBezTo>
                    <a:cubicBezTo>
                      <a:pt x="498793" y="910236"/>
                      <a:pt x="491285" y="915991"/>
                      <a:pt x="488198" y="923916"/>
                    </a:cubicBezTo>
                    <a:cubicBezTo>
                      <a:pt x="483776" y="935429"/>
                      <a:pt x="484193" y="947858"/>
                      <a:pt x="479355" y="959370"/>
                    </a:cubicBezTo>
                    <a:cubicBezTo>
                      <a:pt x="475851" y="967796"/>
                      <a:pt x="471345" y="974469"/>
                      <a:pt x="470011" y="983312"/>
                    </a:cubicBezTo>
                    <a:cubicBezTo>
                      <a:pt x="468675" y="991738"/>
                      <a:pt x="471762" y="1001915"/>
                      <a:pt x="468258" y="1009422"/>
                    </a:cubicBezTo>
                    <a:cubicBezTo>
                      <a:pt x="465172" y="1016513"/>
                      <a:pt x="457664" y="1021352"/>
                      <a:pt x="451907" y="1027108"/>
                    </a:cubicBezTo>
                    <a:cubicBezTo>
                      <a:pt x="433303" y="1046628"/>
                      <a:pt x="420872" y="1068735"/>
                      <a:pt x="406272" y="1090924"/>
                    </a:cubicBezTo>
                    <a:cubicBezTo>
                      <a:pt x="393842" y="1109527"/>
                      <a:pt x="399181" y="1089590"/>
                      <a:pt x="384164" y="1090507"/>
                    </a:cubicBezTo>
                    <a:cubicBezTo>
                      <a:pt x="377073" y="1090924"/>
                      <a:pt x="373569" y="1100685"/>
                      <a:pt x="367312" y="1102937"/>
                    </a:cubicBezTo>
                    <a:cubicBezTo>
                      <a:pt x="357134" y="1107358"/>
                      <a:pt x="355799" y="1101185"/>
                      <a:pt x="346455" y="1100685"/>
                    </a:cubicBezTo>
                    <a:cubicBezTo>
                      <a:pt x="330104" y="1099767"/>
                      <a:pt x="325181" y="1116201"/>
                      <a:pt x="308830" y="1120622"/>
                    </a:cubicBezTo>
                    <a:cubicBezTo>
                      <a:pt x="276043" y="1130382"/>
                      <a:pt x="291143" y="1058641"/>
                      <a:pt x="260526" y="1088255"/>
                    </a:cubicBezTo>
                    <a:cubicBezTo>
                      <a:pt x="253434" y="1095346"/>
                      <a:pt x="253434" y="1097097"/>
                      <a:pt x="243257" y="1100685"/>
                    </a:cubicBezTo>
                    <a:cubicBezTo>
                      <a:pt x="233913" y="1104188"/>
                      <a:pt x="221566" y="1104689"/>
                      <a:pt x="214892" y="1113531"/>
                    </a:cubicBezTo>
                    <a:cubicBezTo>
                      <a:pt x="203795" y="1127713"/>
                      <a:pt x="218395" y="1151654"/>
                      <a:pt x="212639" y="1169757"/>
                    </a:cubicBezTo>
                    <a:cubicBezTo>
                      <a:pt x="208218" y="1183021"/>
                      <a:pt x="203795" y="1190111"/>
                      <a:pt x="205965" y="1204293"/>
                    </a:cubicBezTo>
                    <a:cubicBezTo>
                      <a:pt x="207299" y="1212718"/>
                      <a:pt x="211721" y="1221561"/>
                      <a:pt x="209052" y="1229987"/>
                    </a:cubicBezTo>
                    <a:cubicBezTo>
                      <a:pt x="204630" y="1245920"/>
                      <a:pt x="185608" y="1249924"/>
                      <a:pt x="175347" y="1261019"/>
                    </a:cubicBezTo>
                    <a:cubicBezTo>
                      <a:pt x="168256" y="1268527"/>
                      <a:pt x="163417" y="1278704"/>
                      <a:pt x="167338" y="1288965"/>
                    </a:cubicBezTo>
                    <a:cubicBezTo>
                      <a:pt x="171343" y="1297807"/>
                      <a:pt x="181938" y="1300477"/>
                      <a:pt x="182855" y="1311989"/>
                    </a:cubicBezTo>
                    <a:cubicBezTo>
                      <a:pt x="183773" y="1319497"/>
                      <a:pt x="181104" y="1325753"/>
                      <a:pt x="177099" y="1331509"/>
                    </a:cubicBezTo>
                    <a:cubicBezTo>
                      <a:pt x="176181" y="1331092"/>
                      <a:pt x="175764" y="1330591"/>
                      <a:pt x="174847" y="1330174"/>
                    </a:cubicBezTo>
                    <a:cubicBezTo>
                      <a:pt x="166837" y="1324835"/>
                      <a:pt x="158495" y="1319997"/>
                      <a:pt x="149151" y="1315576"/>
                    </a:cubicBezTo>
                    <a:cubicBezTo>
                      <a:pt x="144312" y="1313324"/>
                      <a:pt x="138973" y="1311572"/>
                      <a:pt x="133634" y="1309820"/>
                    </a:cubicBezTo>
                    <a:cubicBezTo>
                      <a:pt x="135886" y="1296556"/>
                      <a:pt x="139390" y="1283709"/>
                      <a:pt x="145146" y="1272197"/>
                    </a:cubicBezTo>
                    <a:cubicBezTo>
                      <a:pt x="148650" y="1265106"/>
                      <a:pt x="153573" y="1258933"/>
                      <a:pt x="158912" y="1252260"/>
                    </a:cubicBezTo>
                    <a:cubicBezTo>
                      <a:pt x="170007" y="1237160"/>
                      <a:pt x="181938" y="1221728"/>
                      <a:pt x="178434" y="1199121"/>
                    </a:cubicBezTo>
                    <a:cubicBezTo>
                      <a:pt x="174013" y="1171175"/>
                      <a:pt x="155408" y="1145481"/>
                      <a:pt x="138973" y="1122457"/>
                    </a:cubicBezTo>
                    <a:cubicBezTo>
                      <a:pt x="133634" y="1114949"/>
                      <a:pt x="127877" y="1106941"/>
                      <a:pt x="123038" y="1099851"/>
                    </a:cubicBezTo>
                    <a:cubicBezTo>
                      <a:pt x="116865" y="1090090"/>
                      <a:pt x="111526" y="1079913"/>
                      <a:pt x="106186" y="1070653"/>
                    </a:cubicBezTo>
                    <a:cubicBezTo>
                      <a:pt x="94256" y="1048463"/>
                      <a:pt x="83160" y="1027692"/>
                      <a:pt x="61469" y="1009089"/>
                    </a:cubicBezTo>
                    <a:cubicBezTo>
                      <a:pt x="49038" y="998495"/>
                      <a:pt x="37526" y="986982"/>
                      <a:pt x="25179" y="974970"/>
                    </a:cubicBezTo>
                    <a:lnTo>
                      <a:pt x="13666" y="963875"/>
                    </a:lnTo>
                    <a:cubicBezTo>
                      <a:pt x="818" y="951946"/>
                      <a:pt x="-3186" y="946190"/>
                      <a:pt x="2570" y="935929"/>
                    </a:cubicBezTo>
                    <a:cubicBezTo>
                      <a:pt x="5239" y="931091"/>
                      <a:pt x="9662" y="927504"/>
                      <a:pt x="15001" y="923499"/>
                    </a:cubicBezTo>
                    <a:cubicBezTo>
                      <a:pt x="21174" y="918661"/>
                      <a:pt x="27849" y="912905"/>
                      <a:pt x="31853" y="903979"/>
                    </a:cubicBezTo>
                    <a:cubicBezTo>
                      <a:pt x="36691" y="893385"/>
                      <a:pt x="34523" y="882707"/>
                      <a:pt x="32270" y="873447"/>
                    </a:cubicBezTo>
                    <a:cubicBezTo>
                      <a:pt x="30936" y="865939"/>
                      <a:pt x="29183" y="859683"/>
                      <a:pt x="31353" y="853510"/>
                    </a:cubicBezTo>
                    <a:cubicBezTo>
                      <a:pt x="37109" y="837159"/>
                      <a:pt x="60135" y="833989"/>
                      <a:pt x="80073" y="831820"/>
                    </a:cubicBezTo>
                    <a:cubicBezTo>
                      <a:pt x="85413" y="831403"/>
                      <a:pt x="90252" y="830485"/>
                      <a:pt x="94256" y="829568"/>
                    </a:cubicBezTo>
                    <a:lnTo>
                      <a:pt x="97760" y="829151"/>
                    </a:lnTo>
                    <a:cubicBezTo>
                      <a:pt x="118617" y="825147"/>
                      <a:pt x="144312" y="820308"/>
                      <a:pt x="160664" y="805209"/>
                    </a:cubicBezTo>
                    <a:cubicBezTo>
                      <a:pt x="180186" y="787024"/>
                      <a:pt x="170842" y="766669"/>
                      <a:pt x="163333" y="750736"/>
                    </a:cubicBezTo>
                    <a:cubicBezTo>
                      <a:pt x="159329" y="741893"/>
                      <a:pt x="155325" y="733468"/>
                      <a:pt x="155325" y="725960"/>
                    </a:cubicBezTo>
                    <a:cubicBezTo>
                      <a:pt x="154907" y="718869"/>
                      <a:pt x="156242" y="713113"/>
                      <a:pt x="156659" y="706940"/>
                    </a:cubicBezTo>
                    <a:cubicBezTo>
                      <a:pt x="158412" y="695428"/>
                      <a:pt x="160163" y="683499"/>
                      <a:pt x="153156" y="667482"/>
                    </a:cubicBezTo>
                    <a:cubicBezTo>
                      <a:pt x="146482" y="652883"/>
                      <a:pt x="146482" y="644458"/>
                      <a:pt x="146982" y="628024"/>
                    </a:cubicBezTo>
                    <a:cubicBezTo>
                      <a:pt x="147899" y="598326"/>
                      <a:pt x="138139" y="573967"/>
                      <a:pt x="127460" y="548775"/>
                    </a:cubicBezTo>
                    <a:cubicBezTo>
                      <a:pt x="124791" y="542101"/>
                      <a:pt x="122121" y="535010"/>
                      <a:pt x="119034" y="527919"/>
                    </a:cubicBezTo>
                    <a:lnTo>
                      <a:pt x="118117" y="525667"/>
                    </a:lnTo>
                    <a:cubicBezTo>
                      <a:pt x="122121" y="522581"/>
                      <a:pt x="126125" y="518993"/>
                      <a:pt x="129629" y="515490"/>
                    </a:cubicBezTo>
                    <a:cubicBezTo>
                      <a:pt x="147816" y="495969"/>
                      <a:pt x="140725" y="480536"/>
                      <a:pt x="134051" y="465855"/>
                    </a:cubicBezTo>
                    <a:cubicBezTo>
                      <a:pt x="132716" y="462768"/>
                      <a:pt x="130964" y="459181"/>
                      <a:pt x="129212" y="455677"/>
                    </a:cubicBezTo>
                    <a:cubicBezTo>
                      <a:pt x="122121" y="438409"/>
                      <a:pt x="126959" y="422476"/>
                      <a:pt x="146065" y="401204"/>
                    </a:cubicBezTo>
                    <a:cubicBezTo>
                      <a:pt x="152739" y="393696"/>
                      <a:pt x="159830" y="385687"/>
                      <a:pt x="168173" y="383518"/>
                    </a:cubicBezTo>
                    <a:cubicBezTo>
                      <a:pt x="174346" y="381266"/>
                      <a:pt x="179685" y="383101"/>
                      <a:pt x="186360" y="384853"/>
                    </a:cubicBezTo>
                    <a:cubicBezTo>
                      <a:pt x="190781" y="386188"/>
                      <a:pt x="196121" y="387523"/>
                      <a:pt x="201459" y="387940"/>
                    </a:cubicBezTo>
                    <a:cubicBezTo>
                      <a:pt x="210803" y="388857"/>
                      <a:pt x="216977" y="385270"/>
                      <a:pt x="222316" y="382601"/>
                    </a:cubicBezTo>
                    <a:cubicBezTo>
                      <a:pt x="225403" y="380849"/>
                      <a:pt x="228490" y="379514"/>
                      <a:pt x="232077" y="378597"/>
                    </a:cubicBezTo>
                    <a:cubicBezTo>
                      <a:pt x="236082" y="377679"/>
                      <a:pt x="240503" y="378180"/>
                      <a:pt x="245342" y="379014"/>
                    </a:cubicBezTo>
                    <a:cubicBezTo>
                      <a:pt x="251098" y="379932"/>
                      <a:pt x="257773" y="380766"/>
                      <a:pt x="264864" y="379014"/>
                    </a:cubicBezTo>
                    <a:cubicBezTo>
                      <a:pt x="288808" y="372841"/>
                      <a:pt x="318507" y="349316"/>
                      <a:pt x="324264" y="344478"/>
                    </a:cubicBezTo>
                    <a:cubicBezTo>
                      <a:pt x="342868" y="328962"/>
                      <a:pt x="341116" y="307689"/>
                      <a:pt x="339364" y="289086"/>
                    </a:cubicBezTo>
                    <a:lnTo>
                      <a:pt x="338447" y="279326"/>
                    </a:lnTo>
                    <a:cubicBezTo>
                      <a:pt x="338029" y="270484"/>
                      <a:pt x="337112" y="261641"/>
                      <a:pt x="333107" y="252715"/>
                    </a:cubicBezTo>
                    <a:cubicBezTo>
                      <a:pt x="331772" y="249629"/>
                      <a:pt x="329604" y="246542"/>
                      <a:pt x="327768" y="243873"/>
                    </a:cubicBezTo>
                    <a:cubicBezTo>
                      <a:pt x="324264" y="239451"/>
                      <a:pt x="322929" y="236782"/>
                      <a:pt x="323347" y="234112"/>
                    </a:cubicBezTo>
                    <a:cubicBezTo>
                      <a:pt x="324681" y="228773"/>
                      <a:pt x="329103" y="227439"/>
                      <a:pt x="339281" y="225687"/>
                    </a:cubicBezTo>
                    <a:cubicBezTo>
                      <a:pt x="345955" y="224352"/>
                      <a:pt x="353046" y="223017"/>
                      <a:pt x="357885" y="219013"/>
                    </a:cubicBezTo>
                    <a:cubicBezTo>
                      <a:pt x="372986" y="207918"/>
                      <a:pt x="386250" y="165374"/>
                      <a:pt x="386667" y="164957"/>
                    </a:cubicBezTo>
                    <a:cubicBezTo>
                      <a:pt x="391506" y="149023"/>
                      <a:pt x="391089" y="124665"/>
                      <a:pt x="379993" y="111318"/>
                    </a:cubicBezTo>
                    <a:cubicBezTo>
                      <a:pt x="364476" y="92714"/>
                      <a:pt x="348958" y="104644"/>
                      <a:pt x="339198" y="112235"/>
                    </a:cubicBezTo>
                    <a:cubicBezTo>
                      <a:pt x="336528" y="114487"/>
                      <a:pt x="333858" y="116239"/>
                      <a:pt x="331188" y="117991"/>
                    </a:cubicBezTo>
                    <a:cubicBezTo>
                      <a:pt x="320093" y="124665"/>
                      <a:pt x="318758" y="123330"/>
                      <a:pt x="313001" y="117073"/>
                    </a:cubicBezTo>
                    <a:cubicBezTo>
                      <a:pt x="309914" y="113570"/>
                      <a:pt x="305910" y="109065"/>
                      <a:pt x="299236" y="105144"/>
                    </a:cubicBezTo>
                    <a:cubicBezTo>
                      <a:pt x="293896" y="102058"/>
                      <a:pt x="287306" y="101641"/>
                      <a:pt x="281049" y="100723"/>
                    </a:cubicBezTo>
                    <a:cubicBezTo>
                      <a:pt x="273958" y="99805"/>
                      <a:pt x="266866" y="98971"/>
                      <a:pt x="264697" y="95384"/>
                    </a:cubicBezTo>
                    <a:cubicBezTo>
                      <a:pt x="261194" y="88710"/>
                      <a:pt x="269536" y="79868"/>
                      <a:pt x="281049" y="69273"/>
                    </a:cubicBezTo>
                    <a:cubicBezTo>
                      <a:pt x="287723" y="63517"/>
                      <a:pt x="293479" y="58178"/>
                      <a:pt x="296566" y="52423"/>
                    </a:cubicBezTo>
                    <a:cubicBezTo>
                      <a:pt x="299653" y="45749"/>
                      <a:pt x="302323" y="39159"/>
                      <a:pt x="304993" y="32485"/>
                    </a:cubicBezTo>
                    <a:cubicBezTo>
                      <a:pt x="308079" y="23642"/>
                      <a:pt x="311166" y="15217"/>
                      <a:pt x="316088" y="8126"/>
                    </a:cubicBezTo>
                    <a:cubicBezTo>
                      <a:pt x="319175" y="3705"/>
                      <a:pt x="323180" y="1035"/>
                      <a:pt x="327184" y="118"/>
                    </a:cubicBezTo>
                    <a:cubicBezTo>
                      <a:pt x="334275" y="-800"/>
                      <a:pt x="344871" y="3622"/>
                      <a:pt x="357718" y="14299"/>
                    </a:cubicBezTo>
                    <a:cubicBezTo>
                      <a:pt x="359053" y="15634"/>
                      <a:pt x="360805" y="16969"/>
                      <a:pt x="362140" y="17803"/>
                    </a:cubicBezTo>
                    <a:cubicBezTo>
                      <a:pt x="366979" y="21807"/>
                      <a:pt x="371900" y="25811"/>
                      <a:pt x="378074" y="28898"/>
                    </a:cubicBezTo>
                    <a:cubicBezTo>
                      <a:pt x="382079" y="31150"/>
                      <a:pt x="386083" y="31567"/>
                      <a:pt x="390004" y="32402"/>
                    </a:cubicBezTo>
                    <a:cubicBezTo>
                      <a:pt x="394426" y="33319"/>
                      <a:pt x="398014" y="33736"/>
                      <a:pt x="401100" y="35905"/>
                    </a:cubicBezTo>
                    <a:cubicBezTo>
                      <a:pt x="407274" y="39909"/>
                      <a:pt x="407774" y="45665"/>
                      <a:pt x="407774" y="55843"/>
                    </a:cubicBezTo>
                    <a:cubicBezTo>
                      <a:pt x="407774" y="67355"/>
                      <a:pt x="408191" y="81536"/>
                      <a:pt x="422374" y="92131"/>
                    </a:cubicBezTo>
                    <a:cubicBezTo>
                      <a:pt x="438309" y="103226"/>
                      <a:pt x="456913" y="102725"/>
                      <a:pt x="474182" y="99222"/>
                    </a:cubicBezTo>
                    <a:cubicBezTo>
                      <a:pt x="473765" y="103643"/>
                      <a:pt x="473264" y="107647"/>
                      <a:pt x="473765" y="111651"/>
                    </a:cubicBezTo>
                    <a:cubicBezTo>
                      <a:pt x="475100" y="121828"/>
                      <a:pt x="485278" y="126250"/>
                      <a:pt x="486612" y="136010"/>
                    </a:cubicBezTo>
                    <a:cubicBezTo>
                      <a:pt x="487948" y="144435"/>
                      <a:pt x="480439" y="150191"/>
                      <a:pt x="479104" y="158116"/>
                    </a:cubicBezTo>
                    <a:cubicBezTo>
                      <a:pt x="476018" y="180723"/>
                      <a:pt x="505717" y="197574"/>
                      <a:pt x="505217" y="221933"/>
                    </a:cubicBezTo>
                    <a:cubicBezTo>
                      <a:pt x="504800" y="233028"/>
                      <a:pt x="503882" y="240119"/>
                      <a:pt x="508303" y="251130"/>
                    </a:cubicBezTo>
                    <a:cubicBezTo>
                      <a:pt x="512308" y="260890"/>
                      <a:pt x="518064" y="267981"/>
                      <a:pt x="519817" y="278159"/>
                    </a:cubicBezTo>
                    <a:cubicBezTo>
                      <a:pt x="523320" y="303852"/>
                      <a:pt x="521151" y="334384"/>
                      <a:pt x="519400" y="360578"/>
                    </a:cubicBezTo>
                    <a:cubicBezTo>
                      <a:pt x="517647" y="387606"/>
                      <a:pt x="519400" y="411965"/>
                      <a:pt x="519817" y="438576"/>
                    </a:cubicBezTo>
                    <a:cubicBezTo>
                      <a:pt x="520234" y="464269"/>
                      <a:pt x="507886" y="487294"/>
                      <a:pt x="508720" y="513404"/>
                    </a:cubicBezTo>
                    <a:cubicBezTo>
                      <a:pt x="509137" y="536011"/>
                      <a:pt x="517147" y="561204"/>
                      <a:pt x="511807" y="582977"/>
                    </a:cubicBezTo>
                    <a:cubicBezTo>
                      <a:pt x="508720" y="596241"/>
                      <a:pt x="507803" y="600662"/>
                      <a:pt x="512725" y="614426"/>
                    </a:cubicBezTo>
                    <a:cubicBezTo>
                      <a:pt x="516229" y="624604"/>
                      <a:pt x="522069" y="632112"/>
                      <a:pt x="518064" y="642789"/>
                    </a:cubicBezTo>
                    <a:cubicBezTo>
                      <a:pt x="514977" y="651632"/>
                      <a:pt x="504800" y="655636"/>
                      <a:pt x="503882" y="665396"/>
                    </a:cubicBezTo>
                    <a:cubicBezTo>
                      <a:pt x="502964" y="672904"/>
                      <a:pt x="508303" y="679161"/>
                      <a:pt x="508720" y="686669"/>
                    </a:cubicBezTo>
                    <a:cubicBezTo>
                      <a:pt x="509137" y="701267"/>
                      <a:pt x="505634" y="708358"/>
                      <a:pt x="509639" y="723457"/>
                    </a:cubicBezTo>
                    <a:cubicBezTo>
                      <a:pt x="512308" y="733635"/>
                      <a:pt x="514477" y="743812"/>
                      <a:pt x="518064" y="754490"/>
                    </a:cubicBezTo>
                    <a:cubicBezTo>
                      <a:pt x="521568" y="765084"/>
                      <a:pt x="526074" y="773092"/>
                      <a:pt x="523404" y="784187"/>
                    </a:cubicBezTo>
                    <a:cubicBezTo>
                      <a:pt x="522236" y="794615"/>
                      <a:pt x="515144" y="801705"/>
                      <a:pt x="513893" y="81146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32793695" name="Полилиния 417"/>
              <p:cNvSpPr/>
              <p:nvPr/>
            </p:nvSpPr>
            <p:spPr bwMode="auto">
              <a:xfrm>
                <a:off x="11176868" y="2479990"/>
                <a:ext cx="101448" cy="34999"/>
              </a:xfrm>
              <a:custGeom>
                <a:avLst/>
                <a:gdLst>
                  <a:gd name="connsiteX0" fmla="*/ 0 w 113929"/>
                  <a:gd name="connsiteY0" fmla="*/ 25374 h 39306"/>
                  <a:gd name="connsiteX1" fmla="*/ 4004 w 113929"/>
                  <a:gd name="connsiteY1" fmla="*/ 16532 h 39306"/>
                  <a:gd name="connsiteX2" fmla="*/ 11096 w 113929"/>
                  <a:gd name="connsiteY2" fmla="*/ 11693 h 39306"/>
                  <a:gd name="connsiteX3" fmla="*/ 14600 w 113929"/>
                  <a:gd name="connsiteY3" fmla="*/ 4185 h 39306"/>
                  <a:gd name="connsiteX4" fmla="*/ 21274 w 113929"/>
                  <a:gd name="connsiteY4" fmla="*/ 181 h 39306"/>
                  <a:gd name="connsiteX5" fmla="*/ 25695 w 113929"/>
                  <a:gd name="connsiteY5" fmla="*/ 5520 h 39306"/>
                  <a:gd name="connsiteX6" fmla="*/ 35874 w 113929"/>
                  <a:gd name="connsiteY6" fmla="*/ 11693 h 39306"/>
                  <a:gd name="connsiteX7" fmla="*/ 48304 w 113929"/>
                  <a:gd name="connsiteY7" fmla="*/ 12110 h 39306"/>
                  <a:gd name="connsiteX8" fmla="*/ 75751 w 113929"/>
                  <a:gd name="connsiteY8" fmla="*/ 10359 h 39306"/>
                  <a:gd name="connsiteX9" fmla="*/ 80173 w 113929"/>
                  <a:gd name="connsiteY9" fmla="*/ 9441 h 39306"/>
                  <a:gd name="connsiteX10" fmla="*/ 87264 w 113929"/>
                  <a:gd name="connsiteY10" fmla="*/ 3268 h 39306"/>
                  <a:gd name="connsiteX11" fmla="*/ 100529 w 113929"/>
                  <a:gd name="connsiteY11" fmla="*/ 3268 h 39306"/>
                  <a:gd name="connsiteX12" fmla="*/ 103199 w 113929"/>
                  <a:gd name="connsiteY12" fmla="*/ 6771 h 39306"/>
                  <a:gd name="connsiteX13" fmla="*/ 109873 w 113929"/>
                  <a:gd name="connsiteY13" fmla="*/ 10776 h 39306"/>
                  <a:gd name="connsiteX14" fmla="*/ 113878 w 113929"/>
                  <a:gd name="connsiteY14" fmla="*/ 16949 h 39306"/>
                  <a:gd name="connsiteX15" fmla="*/ 109039 w 113929"/>
                  <a:gd name="connsiteY15" fmla="*/ 21370 h 39306"/>
                  <a:gd name="connsiteX16" fmla="*/ 102365 w 113929"/>
                  <a:gd name="connsiteY16" fmla="*/ 24040 h 39306"/>
                  <a:gd name="connsiteX17" fmla="*/ 99695 w 113929"/>
                  <a:gd name="connsiteY17" fmla="*/ 27543 h 39306"/>
                  <a:gd name="connsiteX18" fmla="*/ 82843 w 113929"/>
                  <a:gd name="connsiteY18" fmla="*/ 32382 h 39306"/>
                  <a:gd name="connsiteX19" fmla="*/ 74417 w 113929"/>
                  <a:gd name="connsiteY19" fmla="*/ 38555 h 39306"/>
                  <a:gd name="connsiteX20" fmla="*/ 66908 w 113929"/>
                  <a:gd name="connsiteY20" fmla="*/ 38972 h 39306"/>
                  <a:gd name="connsiteX21" fmla="*/ 17270 w 113929"/>
                  <a:gd name="connsiteY21" fmla="*/ 38054 h 39306"/>
                  <a:gd name="connsiteX22" fmla="*/ 9761 w 113929"/>
                  <a:gd name="connsiteY22" fmla="*/ 37637 h 39306"/>
                  <a:gd name="connsiteX23" fmla="*/ 0 w 113929"/>
                  <a:gd name="connsiteY23" fmla="*/ 25374 h 39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3929" h="39306" extrusionOk="0">
                    <a:moveTo>
                      <a:pt x="0" y="25374"/>
                    </a:moveTo>
                    <a:cubicBezTo>
                      <a:pt x="0" y="22288"/>
                      <a:pt x="1335" y="18701"/>
                      <a:pt x="4004" y="16532"/>
                    </a:cubicBezTo>
                    <a:cubicBezTo>
                      <a:pt x="6257" y="14780"/>
                      <a:pt x="9344" y="13862"/>
                      <a:pt x="11096" y="11693"/>
                    </a:cubicBezTo>
                    <a:cubicBezTo>
                      <a:pt x="12848" y="9441"/>
                      <a:pt x="13765" y="6855"/>
                      <a:pt x="14600" y="4185"/>
                    </a:cubicBezTo>
                    <a:cubicBezTo>
                      <a:pt x="15934" y="1516"/>
                      <a:pt x="18604" y="-653"/>
                      <a:pt x="21274" y="181"/>
                    </a:cubicBezTo>
                    <a:cubicBezTo>
                      <a:pt x="23527" y="1099"/>
                      <a:pt x="24361" y="3685"/>
                      <a:pt x="25695" y="5520"/>
                    </a:cubicBezTo>
                    <a:cubicBezTo>
                      <a:pt x="27948" y="9024"/>
                      <a:pt x="31869" y="10859"/>
                      <a:pt x="35874" y="11693"/>
                    </a:cubicBezTo>
                    <a:cubicBezTo>
                      <a:pt x="39878" y="12611"/>
                      <a:pt x="44299" y="12110"/>
                      <a:pt x="48304" y="12110"/>
                    </a:cubicBezTo>
                    <a:cubicBezTo>
                      <a:pt x="57648" y="11693"/>
                      <a:pt x="66491" y="10776"/>
                      <a:pt x="75751" y="10359"/>
                    </a:cubicBezTo>
                    <a:cubicBezTo>
                      <a:pt x="77087" y="10359"/>
                      <a:pt x="78838" y="10359"/>
                      <a:pt x="80173" y="9441"/>
                    </a:cubicBezTo>
                    <a:cubicBezTo>
                      <a:pt x="83260" y="8106"/>
                      <a:pt x="85012" y="5437"/>
                      <a:pt x="87264" y="3268"/>
                    </a:cubicBezTo>
                    <a:cubicBezTo>
                      <a:pt x="90768" y="181"/>
                      <a:pt x="97442" y="-236"/>
                      <a:pt x="100529" y="3268"/>
                    </a:cubicBezTo>
                    <a:cubicBezTo>
                      <a:pt x="101447" y="4185"/>
                      <a:pt x="101864" y="5520"/>
                      <a:pt x="103199" y="6771"/>
                    </a:cubicBezTo>
                    <a:cubicBezTo>
                      <a:pt x="104951" y="8523"/>
                      <a:pt x="107621" y="9441"/>
                      <a:pt x="109873" y="10776"/>
                    </a:cubicBezTo>
                    <a:cubicBezTo>
                      <a:pt x="112126" y="12110"/>
                      <a:pt x="114295" y="14279"/>
                      <a:pt x="113878" y="16949"/>
                    </a:cubicBezTo>
                    <a:cubicBezTo>
                      <a:pt x="113460" y="19201"/>
                      <a:pt x="111208" y="20953"/>
                      <a:pt x="109039" y="21370"/>
                    </a:cubicBezTo>
                    <a:cubicBezTo>
                      <a:pt x="106786" y="22288"/>
                      <a:pt x="104200" y="22705"/>
                      <a:pt x="102365" y="24040"/>
                    </a:cubicBezTo>
                    <a:cubicBezTo>
                      <a:pt x="101447" y="24957"/>
                      <a:pt x="100612" y="26292"/>
                      <a:pt x="99695" y="27543"/>
                    </a:cubicBezTo>
                    <a:cubicBezTo>
                      <a:pt x="95691" y="31964"/>
                      <a:pt x="88182" y="29795"/>
                      <a:pt x="82843" y="32382"/>
                    </a:cubicBezTo>
                    <a:cubicBezTo>
                      <a:pt x="79756" y="34133"/>
                      <a:pt x="77504" y="37220"/>
                      <a:pt x="74417" y="38555"/>
                    </a:cubicBezTo>
                    <a:cubicBezTo>
                      <a:pt x="72164" y="39472"/>
                      <a:pt x="69578" y="39472"/>
                      <a:pt x="66908" y="38972"/>
                    </a:cubicBezTo>
                    <a:cubicBezTo>
                      <a:pt x="50556" y="37637"/>
                      <a:pt x="33705" y="37220"/>
                      <a:pt x="17270" y="38054"/>
                    </a:cubicBezTo>
                    <a:cubicBezTo>
                      <a:pt x="14600" y="38054"/>
                      <a:pt x="11930" y="38471"/>
                      <a:pt x="9761" y="37637"/>
                    </a:cubicBezTo>
                    <a:cubicBezTo>
                      <a:pt x="4839" y="37387"/>
                      <a:pt x="417" y="30296"/>
                      <a:pt x="0" y="2537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71680981" name="Полилиния 418"/>
              <p:cNvSpPr/>
              <p:nvPr/>
            </p:nvSpPr>
            <p:spPr bwMode="auto">
              <a:xfrm>
                <a:off x="10619012" y="2328838"/>
                <a:ext cx="59583" cy="127541"/>
              </a:xfrm>
              <a:custGeom>
                <a:avLst/>
                <a:gdLst>
                  <a:gd name="connsiteX0" fmla="*/ 53181 w 66915"/>
                  <a:gd name="connsiteY0" fmla="*/ 64903 h 143234"/>
                  <a:gd name="connsiteX1" fmla="*/ 50928 w 66915"/>
                  <a:gd name="connsiteY1" fmla="*/ 49387 h 143234"/>
                  <a:gd name="connsiteX2" fmla="*/ 57602 w 66915"/>
                  <a:gd name="connsiteY2" fmla="*/ 36123 h 143234"/>
                  <a:gd name="connsiteX3" fmla="*/ 60689 w 66915"/>
                  <a:gd name="connsiteY3" fmla="*/ 34371 h 143234"/>
                  <a:gd name="connsiteX4" fmla="*/ 59772 w 66915"/>
                  <a:gd name="connsiteY4" fmla="*/ 20190 h 143234"/>
                  <a:gd name="connsiteX5" fmla="*/ 46006 w 66915"/>
                  <a:gd name="connsiteY5" fmla="*/ 11347 h 143234"/>
                  <a:gd name="connsiteX6" fmla="*/ 36662 w 66915"/>
                  <a:gd name="connsiteY6" fmla="*/ 4674 h 143234"/>
                  <a:gd name="connsiteX7" fmla="*/ 23397 w 66915"/>
                  <a:gd name="connsiteY7" fmla="*/ 669 h 143234"/>
                  <a:gd name="connsiteX8" fmla="*/ 10967 w 66915"/>
                  <a:gd name="connsiteY8" fmla="*/ 2421 h 143234"/>
                  <a:gd name="connsiteX9" fmla="*/ 6963 w 66915"/>
                  <a:gd name="connsiteY9" fmla="*/ 8594 h 143234"/>
                  <a:gd name="connsiteX10" fmla="*/ 289 w 66915"/>
                  <a:gd name="connsiteY10" fmla="*/ 16603 h 143234"/>
                  <a:gd name="connsiteX11" fmla="*/ 5127 w 66915"/>
                  <a:gd name="connsiteY11" fmla="*/ 28532 h 143234"/>
                  <a:gd name="connsiteX12" fmla="*/ 7797 w 66915"/>
                  <a:gd name="connsiteY12" fmla="*/ 53808 h 143234"/>
                  <a:gd name="connsiteX13" fmla="*/ 2958 w 66915"/>
                  <a:gd name="connsiteY13" fmla="*/ 64403 h 143234"/>
                  <a:gd name="connsiteX14" fmla="*/ 2040 w 66915"/>
                  <a:gd name="connsiteY14" fmla="*/ 75915 h 143234"/>
                  <a:gd name="connsiteX15" fmla="*/ 10466 w 66915"/>
                  <a:gd name="connsiteY15" fmla="*/ 84757 h 143234"/>
                  <a:gd name="connsiteX16" fmla="*/ 33075 w 66915"/>
                  <a:gd name="connsiteY16" fmla="*/ 104695 h 143234"/>
                  <a:gd name="connsiteX17" fmla="*/ 41918 w 66915"/>
                  <a:gd name="connsiteY17" fmla="*/ 114872 h 143234"/>
                  <a:gd name="connsiteX18" fmla="*/ 44588 w 66915"/>
                  <a:gd name="connsiteY18" fmla="*/ 127719 h 143234"/>
                  <a:gd name="connsiteX19" fmla="*/ 51262 w 66915"/>
                  <a:gd name="connsiteY19" fmla="*/ 136144 h 143234"/>
                  <a:gd name="connsiteX20" fmla="*/ 51679 w 66915"/>
                  <a:gd name="connsiteY20" fmla="*/ 139648 h 143234"/>
                  <a:gd name="connsiteX21" fmla="*/ 54766 w 66915"/>
                  <a:gd name="connsiteY21" fmla="*/ 141900 h 143234"/>
                  <a:gd name="connsiteX22" fmla="*/ 66279 w 66915"/>
                  <a:gd name="connsiteY22" fmla="*/ 140566 h 143234"/>
                  <a:gd name="connsiteX23" fmla="*/ 64944 w 66915"/>
                  <a:gd name="connsiteY23" fmla="*/ 133058 h 143234"/>
                  <a:gd name="connsiteX24" fmla="*/ 59605 w 66915"/>
                  <a:gd name="connsiteY24" fmla="*/ 126885 h 143234"/>
                  <a:gd name="connsiteX25" fmla="*/ 58687 w 66915"/>
                  <a:gd name="connsiteY25" fmla="*/ 116290 h 143234"/>
                  <a:gd name="connsiteX26" fmla="*/ 56935 w 66915"/>
                  <a:gd name="connsiteY26" fmla="*/ 103443 h 143234"/>
                  <a:gd name="connsiteX27" fmla="*/ 52931 w 66915"/>
                  <a:gd name="connsiteY27" fmla="*/ 93683 h 143234"/>
                  <a:gd name="connsiteX28" fmla="*/ 54265 w 66915"/>
                  <a:gd name="connsiteY28" fmla="*/ 81754 h 143234"/>
                  <a:gd name="connsiteX29" fmla="*/ 53181 w 66915"/>
                  <a:gd name="connsiteY29" fmla="*/ 64903 h 143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6915" h="143234" extrusionOk="0">
                    <a:moveTo>
                      <a:pt x="53181" y="64903"/>
                    </a:moveTo>
                    <a:cubicBezTo>
                      <a:pt x="52263" y="59564"/>
                      <a:pt x="50928" y="54726"/>
                      <a:pt x="50928" y="49387"/>
                    </a:cubicBezTo>
                    <a:cubicBezTo>
                      <a:pt x="51345" y="44048"/>
                      <a:pt x="53181" y="38792"/>
                      <a:pt x="57602" y="36123"/>
                    </a:cubicBezTo>
                    <a:cubicBezTo>
                      <a:pt x="58520" y="35706"/>
                      <a:pt x="59855" y="34788"/>
                      <a:pt x="60689" y="34371"/>
                    </a:cubicBezTo>
                    <a:cubicBezTo>
                      <a:pt x="64693" y="30868"/>
                      <a:pt x="63359" y="23777"/>
                      <a:pt x="59772" y="20190"/>
                    </a:cubicBezTo>
                    <a:cubicBezTo>
                      <a:pt x="56268" y="16686"/>
                      <a:pt x="50928" y="14434"/>
                      <a:pt x="46006" y="11347"/>
                    </a:cubicBezTo>
                    <a:cubicBezTo>
                      <a:pt x="42919" y="9095"/>
                      <a:pt x="40250" y="6509"/>
                      <a:pt x="36662" y="4674"/>
                    </a:cubicBezTo>
                    <a:cubicBezTo>
                      <a:pt x="32658" y="2421"/>
                      <a:pt x="28237" y="1587"/>
                      <a:pt x="23397" y="669"/>
                    </a:cubicBezTo>
                    <a:cubicBezTo>
                      <a:pt x="18976" y="-248"/>
                      <a:pt x="14054" y="-665"/>
                      <a:pt x="10967" y="2421"/>
                    </a:cubicBezTo>
                    <a:cubicBezTo>
                      <a:pt x="9215" y="4173"/>
                      <a:pt x="8297" y="6425"/>
                      <a:pt x="6963" y="8594"/>
                    </a:cubicBezTo>
                    <a:cubicBezTo>
                      <a:pt x="4710" y="11264"/>
                      <a:pt x="1206" y="13433"/>
                      <a:pt x="289" y="16603"/>
                    </a:cubicBezTo>
                    <a:cubicBezTo>
                      <a:pt x="-1047" y="21024"/>
                      <a:pt x="2540" y="25028"/>
                      <a:pt x="5127" y="28532"/>
                    </a:cubicBezTo>
                    <a:cubicBezTo>
                      <a:pt x="9966" y="36040"/>
                      <a:pt x="10883" y="45800"/>
                      <a:pt x="7797" y="53808"/>
                    </a:cubicBezTo>
                    <a:cubicBezTo>
                      <a:pt x="6462" y="57312"/>
                      <a:pt x="4293" y="60899"/>
                      <a:pt x="2958" y="64403"/>
                    </a:cubicBezTo>
                    <a:cubicBezTo>
                      <a:pt x="1623" y="67906"/>
                      <a:pt x="706" y="71910"/>
                      <a:pt x="2040" y="75915"/>
                    </a:cubicBezTo>
                    <a:cubicBezTo>
                      <a:pt x="3792" y="79919"/>
                      <a:pt x="7380" y="82088"/>
                      <a:pt x="10466" y="84757"/>
                    </a:cubicBezTo>
                    <a:cubicBezTo>
                      <a:pt x="18476" y="90513"/>
                      <a:pt x="25984" y="97604"/>
                      <a:pt x="33075" y="104695"/>
                    </a:cubicBezTo>
                    <a:cubicBezTo>
                      <a:pt x="36162" y="107781"/>
                      <a:pt x="39248" y="110868"/>
                      <a:pt x="41918" y="114872"/>
                    </a:cubicBezTo>
                    <a:cubicBezTo>
                      <a:pt x="44171" y="118876"/>
                      <a:pt x="45422" y="123297"/>
                      <a:pt x="44588" y="127719"/>
                    </a:cubicBezTo>
                    <a:cubicBezTo>
                      <a:pt x="48092" y="129053"/>
                      <a:pt x="50762" y="132557"/>
                      <a:pt x="51262" y="136144"/>
                    </a:cubicBezTo>
                    <a:cubicBezTo>
                      <a:pt x="51262" y="137479"/>
                      <a:pt x="51262" y="138814"/>
                      <a:pt x="51679" y="139648"/>
                    </a:cubicBezTo>
                    <a:cubicBezTo>
                      <a:pt x="52096" y="140566"/>
                      <a:pt x="53431" y="141400"/>
                      <a:pt x="54766" y="141900"/>
                    </a:cubicBezTo>
                    <a:cubicBezTo>
                      <a:pt x="58771" y="143235"/>
                      <a:pt x="64110" y="144570"/>
                      <a:pt x="66279" y="140566"/>
                    </a:cubicBezTo>
                    <a:cubicBezTo>
                      <a:pt x="67613" y="138313"/>
                      <a:pt x="66696" y="135227"/>
                      <a:pt x="64944" y="133058"/>
                    </a:cubicBezTo>
                    <a:cubicBezTo>
                      <a:pt x="63192" y="130805"/>
                      <a:pt x="60939" y="129053"/>
                      <a:pt x="59605" y="126885"/>
                    </a:cubicBezTo>
                    <a:cubicBezTo>
                      <a:pt x="57352" y="123798"/>
                      <a:pt x="57352" y="119794"/>
                      <a:pt x="58687" y="116290"/>
                    </a:cubicBezTo>
                    <a:cubicBezTo>
                      <a:pt x="60939" y="110534"/>
                      <a:pt x="60022" y="108782"/>
                      <a:pt x="56935" y="103443"/>
                    </a:cubicBezTo>
                    <a:cubicBezTo>
                      <a:pt x="55183" y="100357"/>
                      <a:pt x="53431" y="97687"/>
                      <a:pt x="52931" y="93683"/>
                    </a:cubicBezTo>
                    <a:cubicBezTo>
                      <a:pt x="52513" y="89679"/>
                      <a:pt x="53848" y="85675"/>
                      <a:pt x="54265" y="81754"/>
                    </a:cubicBezTo>
                    <a:cubicBezTo>
                      <a:pt x="55433" y="75581"/>
                      <a:pt x="54516" y="70242"/>
                      <a:pt x="53181" y="6490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52865681" name="Полилиния 419"/>
              <p:cNvSpPr/>
              <p:nvPr/>
            </p:nvSpPr>
            <p:spPr bwMode="auto">
              <a:xfrm>
                <a:off x="11275776" y="3551153"/>
                <a:ext cx="60039" cy="159050"/>
              </a:xfrm>
              <a:custGeom>
                <a:avLst/>
                <a:gdLst>
                  <a:gd name="connsiteX0" fmla="*/ 27580 w 67426"/>
                  <a:gd name="connsiteY0" fmla="*/ 10497 h 178619"/>
                  <a:gd name="connsiteX1" fmla="*/ 36423 w 67426"/>
                  <a:gd name="connsiteY1" fmla="*/ 11415 h 178619"/>
                  <a:gd name="connsiteX2" fmla="*/ 43932 w 67426"/>
                  <a:gd name="connsiteY2" fmla="*/ 18089 h 178619"/>
                  <a:gd name="connsiteX3" fmla="*/ 41262 w 67426"/>
                  <a:gd name="connsiteY3" fmla="*/ 27849 h 178619"/>
                  <a:gd name="connsiteX4" fmla="*/ 36423 w 67426"/>
                  <a:gd name="connsiteY4" fmla="*/ 31352 h 178619"/>
                  <a:gd name="connsiteX5" fmla="*/ 32419 w 67426"/>
                  <a:gd name="connsiteY5" fmla="*/ 46869 h 178619"/>
                  <a:gd name="connsiteX6" fmla="*/ 42180 w 67426"/>
                  <a:gd name="connsiteY6" fmla="*/ 60633 h 178619"/>
                  <a:gd name="connsiteX7" fmla="*/ 46184 w 67426"/>
                  <a:gd name="connsiteY7" fmla="*/ 65472 h 178619"/>
                  <a:gd name="connsiteX8" fmla="*/ 47102 w 67426"/>
                  <a:gd name="connsiteY8" fmla="*/ 74815 h 178619"/>
                  <a:gd name="connsiteX9" fmla="*/ 55945 w 67426"/>
                  <a:gd name="connsiteY9" fmla="*/ 81905 h 178619"/>
                  <a:gd name="connsiteX10" fmla="*/ 59032 w 67426"/>
                  <a:gd name="connsiteY10" fmla="*/ 92500 h 178619"/>
                  <a:gd name="connsiteX11" fmla="*/ 58114 w 67426"/>
                  <a:gd name="connsiteY11" fmla="*/ 137213 h 178619"/>
                  <a:gd name="connsiteX12" fmla="*/ 57197 w 67426"/>
                  <a:gd name="connsiteY12" fmla="*/ 153564 h 178619"/>
                  <a:gd name="connsiteX13" fmla="*/ 66040 w 67426"/>
                  <a:gd name="connsiteY13" fmla="*/ 166411 h 178619"/>
                  <a:gd name="connsiteX14" fmla="*/ 67375 w 67426"/>
                  <a:gd name="connsiteY14" fmla="*/ 168663 h 178619"/>
                  <a:gd name="connsiteX15" fmla="*/ 63370 w 67426"/>
                  <a:gd name="connsiteY15" fmla="*/ 172167 h 178619"/>
                  <a:gd name="connsiteX16" fmla="*/ 45684 w 67426"/>
                  <a:gd name="connsiteY16" fmla="*/ 177505 h 178619"/>
                  <a:gd name="connsiteX17" fmla="*/ 37257 w 67426"/>
                  <a:gd name="connsiteY17" fmla="*/ 177922 h 178619"/>
                  <a:gd name="connsiteX18" fmla="*/ 29749 w 67426"/>
                  <a:gd name="connsiteY18" fmla="*/ 166828 h 178619"/>
                  <a:gd name="connsiteX19" fmla="*/ 11562 w 67426"/>
                  <a:gd name="connsiteY19" fmla="*/ 158402 h 178619"/>
                  <a:gd name="connsiteX20" fmla="*/ 13815 w 67426"/>
                  <a:gd name="connsiteY20" fmla="*/ 149059 h 178619"/>
                  <a:gd name="connsiteX21" fmla="*/ 18653 w 67426"/>
                  <a:gd name="connsiteY21" fmla="*/ 140633 h 178619"/>
                  <a:gd name="connsiteX22" fmla="*/ 19071 w 67426"/>
                  <a:gd name="connsiteY22" fmla="*/ 130039 h 178619"/>
                  <a:gd name="connsiteX23" fmla="*/ 26162 w 67426"/>
                  <a:gd name="connsiteY23" fmla="*/ 121197 h 178619"/>
                  <a:gd name="connsiteX24" fmla="*/ 23075 w 67426"/>
                  <a:gd name="connsiteY24" fmla="*/ 99507 h 178619"/>
                  <a:gd name="connsiteX25" fmla="*/ 18236 w 67426"/>
                  <a:gd name="connsiteY25" fmla="*/ 87578 h 178619"/>
                  <a:gd name="connsiteX26" fmla="*/ 12062 w 67426"/>
                  <a:gd name="connsiteY26" fmla="*/ 81822 h 178619"/>
                  <a:gd name="connsiteX27" fmla="*/ 11145 w 67426"/>
                  <a:gd name="connsiteY27" fmla="*/ 43699 h 178619"/>
                  <a:gd name="connsiteX28" fmla="*/ 18653 w 67426"/>
                  <a:gd name="connsiteY28" fmla="*/ 45951 h 178619"/>
                  <a:gd name="connsiteX29" fmla="*/ 25328 w 67426"/>
                  <a:gd name="connsiteY29" fmla="*/ 43282 h 178619"/>
                  <a:gd name="connsiteX30" fmla="*/ 21323 w 67426"/>
                  <a:gd name="connsiteY30" fmla="*/ 36608 h 178619"/>
                  <a:gd name="connsiteX31" fmla="*/ 12480 w 67426"/>
                  <a:gd name="connsiteY31" fmla="*/ 33521 h 178619"/>
                  <a:gd name="connsiteX32" fmla="*/ 10728 w 67426"/>
                  <a:gd name="connsiteY32" fmla="*/ 33521 h 178619"/>
                  <a:gd name="connsiteX33" fmla="*/ 9393 w 67426"/>
                  <a:gd name="connsiteY33" fmla="*/ 31770 h 178619"/>
                  <a:gd name="connsiteX34" fmla="*/ 9393 w 67426"/>
                  <a:gd name="connsiteY34" fmla="*/ 20258 h 178619"/>
                  <a:gd name="connsiteX35" fmla="*/ 10311 w 67426"/>
                  <a:gd name="connsiteY35" fmla="*/ 4324 h 178619"/>
                  <a:gd name="connsiteX36" fmla="*/ 27580 w 67426"/>
                  <a:gd name="connsiteY36" fmla="*/ 10497 h 17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7426" h="178619" extrusionOk="0">
                    <a:moveTo>
                      <a:pt x="27580" y="10497"/>
                    </a:moveTo>
                    <a:cubicBezTo>
                      <a:pt x="30250" y="11832"/>
                      <a:pt x="33336" y="10914"/>
                      <a:pt x="36423" y="11415"/>
                    </a:cubicBezTo>
                    <a:cubicBezTo>
                      <a:pt x="39927" y="11832"/>
                      <a:pt x="43097" y="14919"/>
                      <a:pt x="43932" y="18089"/>
                    </a:cubicBezTo>
                    <a:cubicBezTo>
                      <a:pt x="44850" y="21592"/>
                      <a:pt x="43932" y="25179"/>
                      <a:pt x="41262" y="27849"/>
                    </a:cubicBezTo>
                    <a:cubicBezTo>
                      <a:pt x="39927" y="29184"/>
                      <a:pt x="37758" y="30101"/>
                      <a:pt x="36423" y="31352"/>
                    </a:cubicBezTo>
                    <a:cubicBezTo>
                      <a:pt x="32002" y="34856"/>
                      <a:pt x="30667" y="41530"/>
                      <a:pt x="32419" y="46869"/>
                    </a:cubicBezTo>
                    <a:cubicBezTo>
                      <a:pt x="33753" y="52208"/>
                      <a:pt x="37758" y="57046"/>
                      <a:pt x="42180" y="60633"/>
                    </a:cubicBezTo>
                    <a:cubicBezTo>
                      <a:pt x="43514" y="61968"/>
                      <a:pt x="45267" y="63303"/>
                      <a:pt x="46184" y="65472"/>
                    </a:cubicBezTo>
                    <a:cubicBezTo>
                      <a:pt x="47102" y="68558"/>
                      <a:pt x="45767" y="72145"/>
                      <a:pt x="47102" y="74815"/>
                    </a:cubicBezTo>
                    <a:cubicBezTo>
                      <a:pt x="48437" y="78318"/>
                      <a:pt x="53276" y="79236"/>
                      <a:pt x="55945" y="81905"/>
                    </a:cubicBezTo>
                    <a:cubicBezTo>
                      <a:pt x="58615" y="84575"/>
                      <a:pt x="59032" y="88996"/>
                      <a:pt x="59032" y="92500"/>
                    </a:cubicBezTo>
                    <a:cubicBezTo>
                      <a:pt x="59950" y="107599"/>
                      <a:pt x="60367" y="122615"/>
                      <a:pt x="58114" y="137213"/>
                    </a:cubicBezTo>
                    <a:cubicBezTo>
                      <a:pt x="57197" y="142552"/>
                      <a:pt x="55861" y="148308"/>
                      <a:pt x="57197" y="153564"/>
                    </a:cubicBezTo>
                    <a:cubicBezTo>
                      <a:pt x="58531" y="158903"/>
                      <a:pt x="62035" y="162907"/>
                      <a:pt x="66040" y="166411"/>
                    </a:cubicBezTo>
                    <a:cubicBezTo>
                      <a:pt x="66457" y="166828"/>
                      <a:pt x="67375" y="167745"/>
                      <a:pt x="67375" y="168663"/>
                    </a:cubicBezTo>
                    <a:cubicBezTo>
                      <a:pt x="67792" y="170415"/>
                      <a:pt x="65623" y="171749"/>
                      <a:pt x="63370" y="172167"/>
                    </a:cubicBezTo>
                    <a:cubicBezTo>
                      <a:pt x="57614" y="173918"/>
                      <a:pt x="51440" y="175670"/>
                      <a:pt x="45684" y="177505"/>
                    </a:cubicBezTo>
                    <a:cubicBezTo>
                      <a:pt x="43014" y="178423"/>
                      <a:pt x="39927" y="179257"/>
                      <a:pt x="37257" y="177922"/>
                    </a:cubicBezTo>
                    <a:cubicBezTo>
                      <a:pt x="33253" y="175670"/>
                      <a:pt x="32836" y="169914"/>
                      <a:pt x="29749" y="166828"/>
                    </a:cubicBezTo>
                    <a:cubicBezTo>
                      <a:pt x="24910" y="161989"/>
                      <a:pt x="14232" y="165076"/>
                      <a:pt x="11562" y="158402"/>
                    </a:cubicBezTo>
                    <a:cubicBezTo>
                      <a:pt x="10228" y="155315"/>
                      <a:pt x="11979" y="151728"/>
                      <a:pt x="13815" y="149059"/>
                    </a:cubicBezTo>
                    <a:cubicBezTo>
                      <a:pt x="15566" y="146390"/>
                      <a:pt x="18236" y="143720"/>
                      <a:pt x="18653" y="140633"/>
                    </a:cubicBezTo>
                    <a:cubicBezTo>
                      <a:pt x="19571" y="137130"/>
                      <a:pt x="18236" y="133543"/>
                      <a:pt x="19071" y="130039"/>
                    </a:cubicBezTo>
                    <a:cubicBezTo>
                      <a:pt x="20405" y="126535"/>
                      <a:pt x="24410" y="124700"/>
                      <a:pt x="26162" y="121197"/>
                    </a:cubicBezTo>
                    <a:cubicBezTo>
                      <a:pt x="30166" y="115023"/>
                      <a:pt x="25745" y="106598"/>
                      <a:pt x="23075" y="99507"/>
                    </a:cubicBezTo>
                    <a:cubicBezTo>
                      <a:pt x="21740" y="95503"/>
                      <a:pt x="20822" y="90665"/>
                      <a:pt x="18236" y="87578"/>
                    </a:cubicBezTo>
                    <a:cubicBezTo>
                      <a:pt x="16485" y="85326"/>
                      <a:pt x="14232" y="83574"/>
                      <a:pt x="12062" y="81822"/>
                    </a:cubicBezTo>
                    <a:cubicBezTo>
                      <a:pt x="4054" y="75148"/>
                      <a:pt x="-10046" y="42364"/>
                      <a:pt x="11145" y="43699"/>
                    </a:cubicBezTo>
                    <a:cubicBezTo>
                      <a:pt x="13815" y="43699"/>
                      <a:pt x="15984" y="45451"/>
                      <a:pt x="18653" y="45951"/>
                    </a:cubicBezTo>
                    <a:cubicBezTo>
                      <a:pt x="21323" y="46368"/>
                      <a:pt x="24827" y="45951"/>
                      <a:pt x="25328" y="43282"/>
                    </a:cubicBezTo>
                    <a:cubicBezTo>
                      <a:pt x="26245" y="40612"/>
                      <a:pt x="23576" y="38443"/>
                      <a:pt x="21323" y="36608"/>
                    </a:cubicBezTo>
                    <a:cubicBezTo>
                      <a:pt x="18653" y="34856"/>
                      <a:pt x="15566" y="32604"/>
                      <a:pt x="12480" y="33521"/>
                    </a:cubicBezTo>
                    <a:cubicBezTo>
                      <a:pt x="12062" y="33521"/>
                      <a:pt x="11145" y="33939"/>
                      <a:pt x="10728" y="33521"/>
                    </a:cubicBezTo>
                    <a:cubicBezTo>
                      <a:pt x="9810" y="33104"/>
                      <a:pt x="9810" y="32604"/>
                      <a:pt x="9393" y="31770"/>
                    </a:cubicBezTo>
                    <a:cubicBezTo>
                      <a:pt x="7641" y="26931"/>
                      <a:pt x="8976" y="24679"/>
                      <a:pt x="9393" y="20258"/>
                    </a:cubicBezTo>
                    <a:cubicBezTo>
                      <a:pt x="10311" y="14919"/>
                      <a:pt x="8058" y="9663"/>
                      <a:pt x="10311" y="4324"/>
                    </a:cubicBezTo>
                    <a:cubicBezTo>
                      <a:pt x="15984" y="-7271"/>
                      <a:pt x="22658" y="7828"/>
                      <a:pt x="27580" y="1049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9645242" name="Полилиния 420"/>
              <p:cNvSpPr/>
              <p:nvPr/>
            </p:nvSpPr>
            <p:spPr bwMode="auto">
              <a:xfrm>
                <a:off x="11228065" y="3604624"/>
                <a:ext cx="21380" cy="23396"/>
              </a:xfrm>
              <a:custGeom>
                <a:avLst/>
                <a:gdLst>
                  <a:gd name="connsiteX0" fmla="*/ 23095 w 24012"/>
                  <a:gd name="connsiteY0" fmla="*/ 8425 h 26276"/>
                  <a:gd name="connsiteX1" fmla="*/ 24013 w 24012"/>
                  <a:gd name="connsiteY1" fmla="*/ 6173 h 26276"/>
                  <a:gd name="connsiteX2" fmla="*/ 11582 w 24012"/>
                  <a:gd name="connsiteY2" fmla="*/ 0 h 26276"/>
                  <a:gd name="connsiteX3" fmla="*/ 4491 w 24012"/>
                  <a:gd name="connsiteY3" fmla="*/ 2252 h 26276"/>
                  <a:gd name="connsiteX4" fmla="*/ 3156 w 24012"/>
                  <a:gd name="connsiteY4" fmla="*/ 7091 h 26276"/>
                  <a:gd name="connsiteX5" fmla="*/ 69 w 24012"/>
                  <a:gd name="connsiteY5" fmla="*/ 14181 h 26276"/>
                  <a:gd name="connsiteX6" fmla="*/ 12917 w 24012"/>
                  <a:gd name="connsiteY6" fmla="*/ 24776 h 26276"/>
                  <a:gd name="connsiteX7" fmla="*/ 15169 w 24012"/>
                  <a:gd name="connsiteY7" fmla="*/ 15016 h 26276"/>
                  <a:gd name="connsiteX8" fmla="*/ 23095 w 24012"/>
                  <a:gd name="connsiteY8" fmla="*/ 8425 h 262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12" h="26276" extrusionOk="0">
                    <a:moveTo>
                      <a:pt x="23095" y="8425"/>
                    </a:moveTo>
                    <a:cubicBezTo>
                      <a:pt x="23512" y="8008"/>
                      <a:pt x="24013" y="7091"/>
                      <a:pt x="24013" y="6173"/>
                    </a:cubicBezTo>
                    <a:cubicBezTo>
                      <a:pt x="24013" y="834"/>
                      <a:pt x="15169" y="0"/>
                      <a:pt x="11582" y="0"/>
                    </a:cubicBezTo>
                    <a:cubicBezTo>
                      <a:pt x="8912" y="0"/>
                      <a:pt x="5826" y="0"/>
                      <a:pt x="4491" y="2252"/>
                    </a:cubicBezTo>
                    <a:cubicBezTo>
                      <a:pt x="3573" y="3587"/>
                      <a:pt x="3573" y="5339"/>
                      <a:pt x="3156" y="7091"/>
                    </a:cubicBezTo>
                    <a:cubicBezTo>
                      <a:pt x="2739" y="9343"/>
                      <a:pt x="486" y="11512"/>
                      <a:pt x="69" y="14181"/>
                    </a:cubicBezTo>
                    <a:cubicBezTo>
                      <a:pt x="-848" y="19937"/>
                      <a:pt x="7578" y="30114"/>
                      <a:pt x="12917" y="24776"/>
                    </a:cubicBezTo>
                    <a:cubicBezTo>
                      <a:pt x="15586" y="22106"/>
                      <a:pt x="14252" y="18102"/>
                      <a:pt x="15169" y="15016"/>
                    </a:cubicBezTo>
                    <a:cubicBezTo>
                      <a:pt x="16921" y="12012"/>
                      <a:pt x="21343" y="10678"/>
                      <a:pt x="23095" y="842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4691260" name="Полилиния 421"/>
              <p:cNvSpPr/>
              <p:nvPr/>
            </p:nvSpPr>
            <p:spPr bwMode="auto">
              <a:xfrm>
                <a:off x="11348586" y="3782577"/>
                <a:ext cx="32815" cy="47048"/>
              </a:xfrm>
              <a:custGeom>
                <a:avLst/>
                <a:gdLst>
                  <a:gd name="connsiteX0" fmla="*/ 14889 w 36854"/>
                  <a:gd name="connsiteY0" fmla="*/ 45575 h 52838"/>
                  <a:gd name="connsiteX1" fmla="*/ 8215 w 36854"/>
                  <a:gd name="connsiteY1" fmla="*/ 37567 h 52838"/>
                  <a:gd name="connsiteX2" fmla="*/ 6463 w 36854"/>
                  <a:gd name="connsiteY2" fmla="*/ 32729 h 52838"/>
                  <a:gd name="connsiteX3" fmla="*/ 2959 w 36854"/>
                  <a:gd name="connsiteY3" fmla="*/ 26055 h 52838"/>
                  <a:gd name="connsiteX4" fmla="*/ 2041 w 36854"/>
                  <a:gd name="connsiteY4" fmla="*/ 2614 h 52838"/>
                  <a:gd name="connsiteX5" fmla="*/ 3793 w 36854"/>
                  <a:gd name="connsiteY5" fmla="*/ 362 h 52838"/>
                  <a:gd name="connsiteX6" fmla="*/ 8215 w 36854"/>
                  <a:gd name="connsiteY6" fmla="*/ 2113 h 52838"/>
                  <a:gd name="connsiteX7" fmla="*/ 9966 w 36854"/>
                  <a:gd name="connsiteY7" fmla="*/ 6952 h 52838"/>
                  <a:gd name="connsiteX8" fmla="*/ 21480 w 36854"/>
                  <a:gd name="connsiteY8" fmla="*/ 16712 h 52838"/>
                  <a:gd name="connsiteX9" fmla="*/ 26318 w 36854"/>
                  <a:gd name="connsiteY9" fmla="*/ 17629 h 52838"/>
                  <a:gd name="connsiteX10" fmla="*/ 29823 w 36854"/>
                  <a:gd name="connsiteY10" fmla="*/ 20716 h 52838"/>
                  <a:gd name="connsiteX11" fmla="*/ 30240 w 36854"/>
                  <a:gd name="connsiteY11" fmla="*/ 25554 h 52838"/>
                  <a:gd name="connsiteX12" fmla="*/ 31991 w 36854"/>
                  <a:gd name="connsiteY12" fmla="*/ 26889 h 52838"/>
                  <a:gd name="connsiteX13" fmla="*/ 36413 w 36854"/>
                  <a:gd name="connsiteY13" fmla="*/ 38401 h 52838"/>
                  <a:gd name="connsiteX14" fmla="*/ 27570 w 36854"/>
                  <a:gd name="connsiteY14" fmla="*/ 51665 h 52838"/>
                  <a:gd name="connsiteX15" fmla="*/ 14889 w 36854"/>
                  <a:gd name="connsiteY15" fmla="*/ 45575 h 5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854" h="52838" extrusionOk="0">
                    <a:moveTo>
                      <a:pt x="14889" y="45575"/>
                    </a:moveTo>
                    <a:cubicBezTo>
                      <a:pt x="12219" y="43323"/>
                      <a:pt x="9549" y="40737"/>
                      <a:pt x="8215" y="37567"/>
                    </a:cubicBezTo>
                    <a:cubicBezTo>
                      <a:pt x="7297" y="35815"/>
                      <a:pt x="7297" y="34063"/>
                      <a:pt x="6463" y="32729"/>
                    </a:cubicBezTo>
                    <a:cubicBezTo>
                      <a:pt x="5545" y="30476"/>
                      <a:pt x="4210" y="28308"/>
                      <a:pt x="2959" y="26055"/>
                    </a:cubicBezTo>
                    <a:cubicBezTo>
                      <a:pt x="-545" y="18964"/>
                      <a:pt x="-1045" y="10122"/>
                      <a:pt x="2041" y="2614"/>
                    </a:cubicBezTo>
                    <a:cubicBezTo>
                      <a:pt x="2458" y="1696"/>
                      <a:pt x="2959" y="862"/>
                      <a:pt x="3793" y="362"/>
                    </a:cubicBezTo>
                    <a:cubicBezTo>
                      <a:pt x="5128" y="-556"/>
                      <a:pt x="7297" y="362"/>
                      <a:pt x="8215" y="2113"/>
                    </a:cubicBezTo>
                    <a:cubicBezTo>
                      <a:pt x="9132" y="3448"/>
                      <a:pt x="9549" y="5200"/>
                      <a:pt x="9966" y="6952"/>
                    </a:cubicBezTo>
                    <a:cubicBezTo>
                      <a:pt x="11719" y="11790"/>
                      <a:pt x="16140" y="15794"/>
                      <a:pt x="21480" y="16712"/>
                    </a:cubicBezTo>
                    <a:cubicBezTo>
                      <a:pt x="23232" y="17129"/>
                      <a:pt x="24983" y="17129"/>
                      <a:pt x="26318" y="17629"/>
                    </a:cubicBezTo>
                    <a:cubicBezTo>
                      <a:pt x="28070" y="18047"/>
                      <a:pt x="29405" y="19381"/>
                      <a:pt x="29823" y="20716"/>
                    </a:cubicBezTo>
                    <a:cubicBezTo>
                      <a:pt x="30240" y="22468"/>
                      <a:pt x="29405" y="24220"/>
                      <a:pt x="30240" y="25554"/>
                    </a:cubicBezTo>
                    <a:cubicBezTo>
                      <a:pt x="30657" y="25972"/>
                      <a:pt x="31157" y="26472"/>
                      <a:pt x="31991" y="26889"/>
                    </a:cubicBezTo>
                    <a:cubicBezTo>
                      <a:pt x="35996" y="29142"/>
                      <a:pt x="37748" y="33980"/>
                      <a:pt x="36413" y="38401"/>
                    </a:cubicBezTo>
                    <a:cubicBezTo>
                      <a:pt x="35495" y="41905"/>
                      <a:pt x="30657" y="48996"/>
                      <a:pt x="27570" y="51665"/>
                    </a:cubicBezTo>
                    <a:cubicBezTo>
                      <a:pt x="22814" y="55336"/>
                      <a:pt x="18893" y="49580"/>
                      <a:pt x="14889" y="455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0385408" name="Полилиния 422"/>
              <p:cNvSpPr/>
              <p:nvPr/>
            </p:nvSpPr>
            <p:spPr bwMode="auto">
              <a:xfrm>
                <a:off x="11391518" y="3895362"/>
                <a:ext cx="13682" cy="29254"/>
              </a:xfrm>
              <a:custGeom>
                <a:avLst/>
                <a:gdLst>
                  <a:gd name="connsiteX0" fmla="*/ 12309 w 15366"/>
                  <a:gd name="connsiteY0" fmla="*/ 1752 h 32854"/>
                  <a:gd name="connsiteX1" fmla="*/ 11391 w 15366"/>
                  <a:gd name="connsiteY1" fmla="*/ 417 h 32854"/>
                  <a:gd name="connsiteX2" fmla="*/ 9139 w 15366"/>
                  <a:gd name="connsiteY2" fmla="*/ 0 h 32854"/>
                  <a:gd name="connsiteX3" fmla="*/ 2965 w 15366"/>
                  <a:gd name="connsiteY3" fmla="*/ 4421 h 32854"/>
                  <a:gd name="connsiteX4" fmla="*/ 712 w 15366"/>
                  <a:gd name="connsiteY4" fmla="*/ 12430 h 32854"/>
                  <a:gd name="connsiteX5" fmla="*/ 8220 w 15366"/>
                  <a:gd name="connsiteY5" fmla="*/ 30615 h 32854"/>
                  <a:gd name="connsiteX6" fmla="*/ 12309 w 15366"/>
                  <a:gd name="connsiteY6" fmla="*/ 1752 h 32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366" h="32854" extrusionOk="0">
                    <a:moveTo>
                      <a:pt x="12309" y="1752"/>
                    </a:moveTo>
                    <a:cubicBezTo>
                      <a:pt x="11892" y="1335"/>
                      <a:pt x="11892" y="834"/>
                      <a:pt x="11391" y="417"/>
                    </a:cubicBezTo>
                    <a:cubicBezTo>
                      <a:pt x="10973" y="0"/>
                      <a:pt x="10056" y="0"/>
                      <a:pt x="9139" y="0"/>
                    </a:cubicBezTo>
                    <a:cubicBezTo>
                      <a:pt x="6469" y="0"/>
                      <a:pt x="4299" y="2252"/>
                      <a:pt x="2965" y="4421"/>
                    </a:cubicBezTo>
                    <a:cubicBezTo>
                      <a:pt x="1630" y="6674"/>
                      <a:pt x="1213" y="9760"/>
                      <a:pt x="712" y="12430"/>
                    </a:cubicBezTo>
                    <a:cubicBezTo>
                      <a:pt x="295" y="17768"/>
                      <a:pt x="-2792" y="39875"/>
                      <a:pt x="8220" y="30615"/>
                    </a:cubicBezTo>
                    <a:cubicBezTo>
                      <a:pt x="17147" y="23024"/>
                      <a:pt x="16730" y="11011"/>
                      <a:pt x="12309" y="175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42179896" name="Полилиния 423"/>
              <p:cNvSpPr/>
              <p:nvPr/>
            </p:nvSpPr>
            <p:spPr bwMode="auto">
              <a:xfrm>
                <a:off x="11418333" y="4032263"/>
                <a:ext cx="22772" cy="16578"/>
              </a:xfrm>
              <a:custGeom>
                <a:avLst/>
                <a:gdLst>
                  <a:gd name="connsiteX0" fmla="*/ 25159 w 25575"/>
                  <a:gd name="connsiteY0" fmla="*/ 13681 h 18618"/>
                  <a:gd name="connsiteX1" fmla="*/ 25576 w 25575"/>
                  <a:gd name="connsiteY1" fmla="*/ 9260 h 18618"/>
                  <a:gd name="connsiteX2" fmla="*/ 25159 w 25575"/>
                  <a:gd name="connsiteY2" fmla="*/ 6173 h 18618"/>
                  <a:gd name="connsiteX3" fmla="*/ 21655 w 25575"/>
                  <a:gd name="connsiteY3" fmla="*/ 3087 h 18618"/>
                  <a:gd name="connsiteX4" fmla="*/ 12812 w 25575"/>
                  <a:gd name="connsiteY4" fmla="*/ 0 h 18618"/>
                  <a:gd name="connsiteX5" fmla="*/ 2633 w 25575"/>
                  <a:gd name="connsiteY5" fmla="*/ 15516 h 18618"/>
                  <a:gd name="connsiteX6" fmla="*/ 15898 w 25575"/>
                  <a:gd name="connsiteY6" fmla="*/ 18603 h 18618"/>
                  <a:gd name="connsiteX7" fmla="*/ 23907 w 25575"/>
                  <a:gd name="connsiteY7" fmla="*/ 15516 h 18618"/>
                  <a:gd name="connsiteX8" fmla="*/ 25159 w 25575"/>
                  <a:gd name="connsiteY8" fmla="*/ 13681 h 18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575" h="18618" extrusionOk="0">
                    <a:moveTo>
                      <a:pt x="25159" y="13681"/>
                    </a:moveTo>
                    <a:cubicBezTo>
                      <a:pt x="25576" y="12346"/>
                      <a:pt x="25576" y="10595"/>
                      <a:pt x="25576" y="9260"/>
                    </a:cubicBezTo>
                    <a:cubicBezTo>
                      <a:pt x="25576" y="8342"/>
                      <a:pt x="25576" y="7007"/>
                      <a:pt x="25159" y="6173"/>
                    </a:cubicBezTo>
                    <a:cubicBezTo>
                      <a:pt x="24240" y="4839"/>
                      <a:pt x="22906" y="3921"/>
                      <a:pt x="21655" y="3087"/>
                    </a:cubicBezTo>
                    <a:cubicBezTo>
                      <a:pt x="18985" y="1335"/>
                      <a:pt x="15898" y="0"/>
                      <a:pt x="12812" y="0"/>
                    </a:cubicBezTo>
                    <a:cubicBezTo>
                      <a:pt x="5303" y="417"/>
                      <a:pt x="-4875" y="8008"/>
                      <a:pt x="2633" y="15516"/>
                    </a:cubicBezTo>
                    <a:cubicBezTo>
                      <a:pt x="5720" y="19020"/>
                      <a:pt x="11476" y="18603"/>
                      <a:pt x="15898" y="18603"/>
                    </a:cubicBezTo>
                    <a:cubicBezTo>
                      <a:pt x="18985" y="18186"/>
                      <a:pt x="22072" y="18186"/>
                      <a:pt x="23907" y="15516"/>
                    </a:cubicBezTo>
                    <a:cubicBezTo>
                      <a:pt x="24741" y="15016"/>
                      <a:pt x="25159" y="14599"/>
                      <a:pt x="25159" y="1368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04799057" name="Полилиния 424"/>
              <p:cNvSpPr/>
              <p:nvPr/>
            </p:nvSpPr>
            <p:spPr bwMode="auto">
              <a:xfrm>
                <a:off x="11451358" y="4074084"/>
                <a:ext cx="11979" cy="20027"/>
              </a:xfrm>
              <a:custGeom>
                <a:avLst/>
                <a:gdLst>
                  <a:gd name="connsiteX0" fmla="*/ 12431 w 13454"/>
                  <a:gd name="connsiteY0" fmla="*/ 9259 h 22492"/>
                  <a:gd name="connsiteX1" fmla="*/ 13348 w 13454"/>
                  <a:gd name="connsiteY1" fmla="*/ 5756 h 22492"/>
                  <a:gd name="connsiteX2" fmla="*/ 12014 w 13454"/>
                  <a:gd name="connsiteY2" fmla="*/ 4004 h 22492"/>
                  <a:gd name="connsiteX3" fmla="*/ 9344 w 13454"/>
                  <a:gd name="connsiteY3" fmla="*/ 917 h 22492"/>
                  <a:gd name="connsiteX4" fmla="*/ 8009 w 13454"/>
                  <a:gd name="connsiteY4" fmla="*/ 0 h 22492"/>
                  <a:gd name="connsiteX5" fmla="*/ 6674 w 13454"/>
                  <a:gd name="connsiteY5" fmla="*/ 417 h 22492"/>
                  <a:gd name="connsiteX6" fmla="*/ 1335 w 13454"/>
                  <a:gd name="connsiteY6" fmla="*/ 3503 h 22492"/>
                  <a:gd name="connsiteX7" fmla="*/ 0 w 13454"/>
                  <a:gd name="connsiteY7" fmla="*/ 4421 h 22492"/>
                  <a:gd name="connsiteX8" fmla="*/ 0 w 13454"/>
                  <a:gd name="connsiteY8" fmla="*/ 5756 h 22492"/>
                  <a:gd name="connsiteX9" fmla="*/ 417 w 13454"/>
                  <a:gd name="connsiteY9" fmla="*/ 14181 h 22492"/>
                  <a:gd name="connsiteX10" fmla="*/ 6591 w 13454"/>
                  <a:gd name="connsiteY10" fmla="*/ 22190 h 22492"/>
                  <a:gd name="connsiteX11" fmla="*/ 12431 w 13454"/>
                  <a:gd name="connsiteY11" fmla="*/ 9259 h 2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454" h="22492" extrusionOk="0">
                    <a:moveTo>
                      <a:pt x="12431" y="9259"/>
                    </a:moveTo>
                    <a:cubicBezTo>
                      <a:pt x="12848" y="7925"/>
                      <a:pt x="13765" y="7007"/>
                      <a:pt x="13348" y="5756"/>
                    </a:cubicBezTo>
                    <a:cubicBezTo>
                      <a:pt x="13348" y="4838"/>
                      <a:pt x="12931" y="4421"/>
                      <a:pt x="12014" y="4004"/>
                    </a:cubicBezTo>
                    <a:cubicBezTo>
                      <a:pt x="11096" y="3086"/>
                      <a:pt x="10261" y="2252"/>
                      <a:pt x="9344" y="917"/>
                    </a:cubicBezTo>
                    <a:cubicBezTo>
                      <a:pt x="8927" y="500"/>
                      <a:pt x="8426" y="0"/>
                      <a:pt x="8009" y="0"/>
                    </a:cubicBezTo>
                    <a:cubicBezTo>
                      <a:pt x="7592" y="0"/>
                      <a:pt x="7091" y="0"/>
                      <a:pt x="6674" y="417"/>
                    </a:cubicBezTo>
                    <a:cubicBezTo>
                      <a:pt x="4923" y="1334"/>
                      <a:pt x="3170" y="2669"/>
                      <a:pt x="1335" y="3503"/>
                    </a:cubicBezTo>
                    <a:cubicBezTo>
                      <a:pt x="917" y="3921"/>
                      <a:pt x="417" y="3921"/>
                      <a:pt x="0" y="4421"/>
                    </a:cubicBezTo>
                    <a:cubicBezTo>
                      <a:pt x="0" y="4838"/>
                      <a:pt x="0" y="5339"/>
                      <a:pt x="0" y="5756"/>
                    </a:cubicBezTo>
                    <a:cubicBezTo>
                      <a:pt x="0" y="8425"/>
                      <a:pt x="417" y="11512"/>
                      <a:pt x="417" y="14181"/>
                    </a:cubicBezTo>
                    <a:cubicBezTo>
                      <a:pt x="417" y="17685"/>
                      <a:pt x="1752" y="23941"/>
                      <a:pt x="6591" y="22190"/>
                    </a:cubicBezTo>
                    <a:cubicBezTo>
                      <a:pt x="11096" y="21189"/>
                      <a:pt x="10178" y="13180"/>
                      <a:pt x="12431" y="925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39974726" name="Полилиния 425"/>
              <p:cNvSpPr/>
              <p:nvPr/>
            </p:nvSpPr>
            <p:spPr bwMode="auto">
              <a:xfrm>
                <a:off x="11459712" y="4155499"/>
                <a:ext cx="15112" cy="20484"/>
              </a:xfrm>
              <a:custGeom>
                <a:avLst/>
                <a:gdLst>
                  <a:gd name="connsiteX0" fmla="*/ 15898 w 16972"/>
                  <a:gd name="connsiteY0" fmla="*/ 7753 h 23005"/>
                  <a:gd name="connsiteX1" fmla="*/ 11893 w 16972"/>
                  <a:gd name="connsiteY1" fmla="*/ 1080 h 23005"/>
                  <a:gd name="connsiteX2" fmla="*/ 8389 w 16972"/>
                  <a:gd name="connsiteY2" fmla="*/ 162 h 23005"/>
                  <a:gd name="connsiteX3" fmla="*/ 6637 w 16972"/>
                  <a:gd name="connsiteY3" fmla="*/ 1497 h 23005"/>
                  <a:gd name="connsiteX4" fmla="*/ 4385 w 16972"/>
                  <a:gd name="connsiteY4" fmla="*/ 4583 h 23005"/>
                  <a:gd name="connsiteX5" fmla="*/ 2633 w 16972"/>
                  <a:gd name="connsiteY5" fmla="*/ 8087 h 23005"/>
                  <a:gd name="connsiteX6" fmla="*/ 1715 w 16972"/>
                  <a:gd name="connsiteY6" fmla="*/ 22268 h 23005"/>
                  <a:gd name="connsiteX7" fmla="*/ 7055 w 16972"/>
                  <a:gd name="connsiteY7" fmla="*/ 20934 h 23005"/>
                  <a:gd name="connsiteX8" fmla="*/ 16399 w 16972"/>
                  <a:gd name="connsiteY8" fmla="*/ 13843 h 23005"/>
                  <a:gd name="connsiteX9" fmla="*/ 15898 w 16972"/>
                  <a:gd name="connsiteY9" fmla="*/ 7753 h 23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972" h="23005" extrusionOk="0">
                    <a:moveTo>
                      <a:pt x="15898" y="7753"/>
                    </a:moveTo>
                    <a:cubicBezTo>
                      <a:pt x="14563" y="5501"/>
                      <a:pt x="13645" y="2915"/>
                      <a:pt x="11893" y="1080"/>
                    </a:cubicBezTo>
                    <a:cubicBezTo>
                      <a:pt x="10976" y="162"/>
                      <a:pt x="9641" y="-255"/>
                      <a:pt x="8389" y="162"/>
                    </a:cubicBezTo>
                    <a:cubicBezTo>
                      <a:pt x="7472" y="579"/>
                      <a:pt x="7055" y="1080"/>
                      <a:pt x="6637" y="1497"/>
                    </a:cubicBezTo>
                    <a:cubicBezTo>
                      <a:pt x="5719" y="2415"/>
                      <a:pt x="4885" y="3249"/>
                      <a:pt x="4385" y="4583"/>
                    </a:cubicBezTo>
                    <a:cubicBezTo>
                      <a:pt x="3467" y="5501"/>
                      <a:pt x="3050" y="6836"/>
                      <a:pt x="2633" y="8087"/>
                    </a:cubicBezTo>
                    <a:cubicBezTo>
                      <a:pt x="881" y="11591"/>
                      <a:pt x="-1789" y="18682"/>
                      <a:pt x="1715" y="22268"/>
                    </a:cubicBezTo>
                    <a:cubicBezTo>
                      <a:pt x="3467" y="24020"/>
                      <a:pt x="5219" y="22268"/>
                      <a:pt x="7055" y="20934"/>
                    </a:cubicBezTo>
                    <a:cubicBezTo>
                      <a:pt x="10142" y="19182"/>
                      <a:pt x="15063" y="17430"/>
                      <a:pt x="16399" y="13843"/>
                    </a:cubicBezTo>
                    <a:cubicBezTo>
                      <a:pt x="17233" y="11674"/>
                      <a:pt x="17233" y="9505"/>
                      <a:pt x="15898" y="7753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93772549" name="Полилиния 426"/>
              <p:cNvSpPr/>
              <p:nvPr/>
            </p:nvSpPr>
            <p:spPr bwMode="auto">
              <a:xfrm>
                <a:off x="11470714" y="4206526"/>
                <a:ext cx="25284" cy="75615"/>
              </a:xfrm>
              <a:custGeom>
                <a:avLst/>
                <a:gdLst>
                  <a:gd name="connsiteX0" fmla="*/ 18142 w 28396"/>
                  <a:gd name="connsiteY0" fmla="*/ 75329 h 84919"/>
                  <a:gd name="connsiteX1" fmla="*/ 22146 w 28396"/>
                  <a:gd name="connsiteY1" fmla="*/ 65986 h 84919"/>
                  <a:gd name="connsiteX2" fmla="*/ 25233 w 28396"/>
                  <a:gd name="connsiteY2" fmla="*/ 63316 h 84919"/>
                  <a:gd name="connsiteX3" fmla="*/ 28320 w 28396"/>
                  <a:gd name="connsiteY3" fmla="*/ 54473 h 84919"/>
                  <a:gd name="connsiteX4" fmla="*/ 25650 w 28396"/>
                  <a:gd name="connsiteY4" fmla="*/ 34119 h 84919"/>
                  <a:gd name="connsiteX5" fmla="*/ 22563 w 28396"/>
                  <a:gd name="connsiteY5" fmla="*/ 26110 h 84919"/>
                  <a:gd name="connsiteX6" fmla="*/ 17224 w 28396"/>
                  <a:gd name="connsiteY6" fmla="*/ 18603 h 84919"/>
                  <a:gd name="connsiteX7" fmla="*/ 15472 w 28396"/>
                  <a:gd name="connsiteY7" fmla="*/ 11095 h 84919"/>
                  <a:gd name="connsiteX8" fmla="*/ 13220 w 28396"/>
                  <a:gd name="connsiteY8" fmla="*/ 3087 h 84919"/>
                  <a:gd name="connsiteX9" fmla="*/ 10967 w 28396"/>
                  <a:gd name="connsiteY9" fmla="*/ 1335 h 84919"/>
                  <a:gd name="connsiteX10" fmla="*/ 4793 w 28396"/>
                  <a:gd name="connsiteY10" fmla="*/ 0 h 84919"/>
                  <a:gd name="connsiteX11" fmla="*/ 2124 w 28396"/>
                  <a:gd name="connsiteY11" fmla="*/ 417 h 84919"/>
                  <a:gd name="connsiteX12" fmla="*/ 789 w 28396"/>
                  <a:gd name="connsiteY12" fmla="*/ 4838 h 84919"/>
                  <a:gd name="connsiteX13" fmla="*/ 1206 w 28396"/>
                  <a:gd name="connsiteY13" fmla="*/ 12346 h 84919"/>
                  <a:gd name="connsiteX14" fmla="*/ 2541 w 28396"/>
                  <a:gd name="connsiteY14" fmla="*/ 21189 h 84919"/>
                  <a:gd name="connsiteX15" fmla="*/ 6045 w 28396"/>
                  <a:gd name="connsiteY15" fmla="*/ 27862 h 84919"/>
                  <a:gd name="connsiteX16" fmla="*/ 7797 w 28396"/>
                  <a:gd name="connsiteY16" fmla="*/ 30115 h 84919"/>
                  <a:gd name="connsiteX17" fmla="*/ 8715 w 28396"/>
                  <a:gd name="connsiteY17" fmla="*/ 31867 h 84919"/>
                  <a:gd name="connsiteX18" fmla="*/ 7797 w 28396"/>
                  <a:gd name="connsiteY18" fmla="*/ 60230 h 84919"/>
                  <a:gd name="connsiteX19" fmla="*/ 6462 w 28396"/>
                  <a:gd name="connsiteY19" fmla="*/ 63733 h 84919"/>
                  <a:gd name="connsiteX20" fmla="*/ 3375 w 28396"/>
                  <a:gd name="connsiteY20" fmla="*/ 66403 h 84919"/>
                  <a:gd name="connsiteX21" fmla="*/ 289 w 28396"/>
                  <a:gd name="connsiteY21" fmla="*/ 75746 h 84919"/>
                  <a:gd name="connsiteX22" fmla="*/ 6462 w 28396"/>
                  <a:gd name="connsiteY22" fmla="*/ 83254 h 84919"/>
                  <a:gd name="connsiteX23" fmla="*/ 16640 w 28396"/>
                  <a:gd name="connsiteY23" fmla="*/ 84171 h 84919"/>
                  <a:gd name="connsiteX24" fmla="*/ 18142 w 28396"/>
                  <a:gd name="connsiteY24" fmla="*/ 75329 h 8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8396" h="84919" extrusionOk="0">
                    <a:moveTo>
                      <a:pt x="18142" y="75329"/>
                    </a:moveTo>
                    <a:cubicBezTo>
                      <a:pt x="18559" y="71825"/>
                      <a:pt x="19477" y="68238"/>
                      <a:pt x="22146" y="65986"/>
                    </a:cubicBezTo>
                    <a:cubicBezTo>
                      <a:pt x="23064" y="65068"/>
                      <a:pt x="24399" y="64234"/>
                      <a:pt x="25233" y="63316"/>
                    </a:cubicBezTo>
                    <a:cubicBezTo>
                      <a:pt x="27486" y="61064"/>
                      <a:pt x="28320" y="57560"/>
                      <a:pt x="28320" y="54473"/>
                    </a:cubicBezTo>
                    <a:cubicBezTo>
                      <a:pt x="28737" y="47800"/>
                      <a:pt x="27403" y="40709"/>
                      <a:pt x="25650" y="34119"/>
                    </a:cubicBezTo>
                    <a:cubicBezTo>
                      <a:pt x="24733" y="31450"/>
                      <a:pt x="24316" y="28363"/>
                      <a:pt x="22563" y="26110"/>
                    </a:cubicBezTo>
                    <a:cubicBezTo>
                      <a:pt x="20812" y="23441"/>
                      <a:pt x="18559" y="21272"/>
                      <a:pt x="17224" y="18603"/>
                    </a:cubicBezTo>
                    <a:cubicBezTo>
                      <a:pt x="15889" y="16351"/>
                      <a:pt x="15472" y="13764"/>
                      <a:pt x="15472" y="11095"/>
                    </a:cubicBezTo>
                    <a:cubicBezTo>
                      <a:pt x="15472" y="8426"/>
                      <a:pt x="15472" y="5339"/>
                      <a:pt x="13220" y="3087"/>
                    </a:cubicBezTo>
                    <a:cubicBezTo>
                      <a:pt x="12302" y="2169"/>
                      <a:pt x="11885" y="1752"/>
                      <a:pt x="10967" y="1335"/>
                    </a:cubicBezTo>
                    <a:cubicBezTo>
                      <a:pt x="9215" y="417"/>
                      <a:pt x="6963" y="0"/>
                      <a:pt x="4793" y="0"/>
                    </a:cubicBezTo>
                    <a:cubicBezTo>
                      <a:pt x="3876" y="0"/>
                      <a:pt x="3042" y="0"/>
                      <a:pt x="2124" y="417"/>
                    </a:cubicBezTo>
                    <a:cubicBezTo>
                      <a:pt x="789" y="1335"/>
                      <a:pt x="789" y="3087"/>
                      <a:pt x="789" y="4838"/>
                    </a:cubicBezTo>
                    <a:cubicBezTo>
                      <a:pt x="789" y="7508"/>
                      <a:pt x="1206" y="10177"/>
                      <a:pt x="1206" y="12346"/>
                    </a:cubicBezTo>
                    <a:cubicBezTo>
                      <a:pt x="1623" y="15433"/>
                      <a:pt x="1623" y="18520"/>
                      <a:pt x="2541" y="21189"/>
                    </a:cubicBezTo>
                    <a:cubicBezTo>
                      <a:pt x="3459" y="23858"/>
                      <a:pt x="4293" y="26027"/>
                      <a:pt x="6045" y="27862"/>
                    </a:cubicBezTo>
                    <a:cubicBezTo>
                      <a:pt x="6963" y="28279"/>
                      <a:pt x="7380" y="29197"/>
                      <a:pt x="7797" y="30115"/>
                    </a:cubicBezTo>
                    <a:cubicBezTo>
                      <a:pt x="8214" y="30532"/>
                      <a:pt x="8214" y="31450"/>
                      <a:pt x="8715" y="31867"/>
                    </a:cubicBezTo>
                    <a:cubicBezTo>
                      <a:pt x="10967" y="41210"/>
                      <a:pt x="9132" y="50887"/>
                      <a:pt x="7797" y="60230"/>
                    </a:cubicBezTo>
                    <a:cubicBezTo>
                      <a:pt x="7380" y="61564"/>
                      <a:pt x="7380" y="62899"/>
                      <a:pt x="6462" y="63733"/>
                    </a:cubicBezTo>
                    <a:cubicBezTo>
                      <a:pt x="5545" y="65068"/>
                      <a:pt x="4209" y="65485"/>
                      <a:pt x="3375" y="66403"/>
                    </a:cubicBezTo>
                    <a:cubicBezTo>
                      <a:pt x="706" y="68655"/>
                      <a:pt x="-629" y="72159"/>
                      <a:pt x="289" y="75746"/>
                    </a:cubicBezTo>
                    <a:cubicBezTo>
                      <a:pt x="706" y="79249"/>
                      <a:pt x="3375" y="81919"/>
                      <a:pt x="6462" y="83254"/>
                    </a:cubicBezTo>
                    <a:cubicBezTo>
                      <a:pt x="8715" y="84171"/>
                      <a:pt x="14889" y="85923"/>
                      <a:pt x="16640" y="84171"/>
                    </a:cubicBezTo>
                    <a:cubicBezTo>
                      <a:pt x="19894" y="82836"/>
                      <a:pt x="18142" y="77998"/>
                      <a:pt x="18142" y="753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3642035" name="Полилиния 427"/>
              <p:cNvSpPr/>
              <p:nvPr/>
            </p:nvSpPr>
            <p:spPr bwMode="auto">
              <a:xfrm>
                <a:off x="11449353" y="4421451"/>
                <a:ext cx="30693" cy="137604"/>
              </a:xfrm>
              <a:custGeom>
                <a:avLst/>
                <a:gdLst>
                  <a:gd name="connsiteX0" fmla="*/ 22692 w 34470"/>
                  <a:gd name="connsiteY0" fmla="*/ 153796 h 154535"/>
                  <a:gd name="connsiteX1" fmla="*/ 32036 w 34470"/>
                  <a:gd name="connsiteY1" fmla="*/ 135610 h 154535"/>
                  <a:gd name="connsiteX2" fmla="*/ 31118 w 34470"/>
                  <a:gd name="connsiteY2" fmla="*/ 79385 h 154535"/>
                  <a:gd name="connsiteX3" fmla="*/ 34205 w 34470"/>
                  <a:gd name="connsiteY3" fmla="*/ 66121 h 154535"/>
                  <a:gd name="connsiteX4" fmla="*/ 28866 w 34470"/>
                  <a:gd name="connsiteY4" fmla="*/ 26663 h 154535"/>
                  <a:gd name="connsiteX5" fmla="*/ 29283 w 34470"/>
                  <a:gd name="connsiteY5" fmla="*/ 11147 h 154535"/>
                  <a:gd name="connsiteX6" fmla="*/ 28365 w 34470"/>
                  <a:gd name="connsiteY6" fmla="*/ 4056 h 154535"/>
                  <a:gd name="connsiteX7" fmla="*/ 23026 w 34470"/>
                  <a:gd name="connsiteY7" fmla="*/ 52 h 154535"/>
                  <a:gd name="connsiteX8" fmla="*/ 17687 w 34470"/>
                  <a:gd name="connsiteY8" fmla="*/ 4473 h 154535"/>
                  <a:gd name="connsiteX9" fmla="*/ 15434 w 34470"/>
                  <a:gd name="connsiteY9" fmla="*/ 11147 h 154535"/>
                  <a:gd name="connsiteX10" fmla="*/ 10595 w 34470"/>
                  <a:gd name="connsiteY10" fmla="*/ 19989 h 154535"/>
                  <a:gd name="connsiteX11" fmla="*/ 5256 w 34470"/>
                  <a:gd name="connsiteY11" fmla="*/ 37257 h 154535"/>
                  <a:gd name="connsiteX12" fmla="*/ 7508 w 34470"/>
                  <a:gd name="connsiteY12" fmla="*/ 59865 h 154535"/>
                  <a:gd name="connsiteX13" fmla="*/ 10595 w 34470"/>
                  <a:gd name="connsiteY13" fmla="*/ 83306 h 154535"/>
                  <a:gd name="connsiteX14" fmla="*/ 0 w 34470"/>
                  <a:gd name="connsiteY14" fmla="*/ 131606 h 154535"/>
                  <a:gd name="connsiteX15" fmla="*/ 22692 w 34470"/>
                  <a:gd name="connsiteY15" fmla="*/ 153796 h 154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470" h="154535" extrusionOk="0">
                    <a:moveTo>
                      <a:pt x="22692" y="153796"/>
                    </a:moveTo>
                    <a:cubicBezTo>
                      <a:pt x="29784" y="151126"/>
                      <a:pt x="32036" y="142701"/>
                      <a:pt x="32036" y="135610"/>
                    </a:cubicBezTo>
                    <a:cubicBezTo>
                      <a:pt x="32954" y="116590"/>
                      <a:pt x="27198" y="97487"/>
                      <a:pt x="31118" y="79385"/>
                    </a:cubicBezTo>
                    <a:cubicBezTo>
                      <a:pt x="32036" y="74964"/>
                      <a:pt x="33371" y="70542"/>
                      <a:pt x="34205" y="66121"/>
                    </a:cubicBezTo>
                    <a:cubicBezTo>
                      <a:pt x="35957" y="52357"/>
                      <a:pt x="28449" y="40010"/>
                      <a:pt x="28866" y="26663"/>
                    </a:cubicBezTo>
                    <a:cubicBezTo>
                      <a:pt x="28866" y="21324"/>
                      <a:pt x="29283" y="16486"/>
                      <a:pt x="29283" y="11147"/>
                    </a:cubicBezTo>
                    <a:cubicBezTo>
                      <a:pt x="29283" y="8477"/>
                      <a:pt x="29283" y="6308"/>
                      <a:pt x="28365" y="4056"/>
                    </a:cubicBezTo>
                    <a:cubicBezTo>
                      <a:pt x="27448" y="1804"/>
                      <a:pt x="25278" y="-365"/>
                      <a:pt x="23026" y="52"/>
                    </a:cubicBezTo>
                    <a:cubicBezTo>
                      <a:pt x="20774" y="52"/>
                      <a:pt x="18604" y="2304"/>
                      <a:pt x="17687" y="4473"/>
                    </a:cubicBezTo>
                    <a:cubicBezTo>
                      <a:pt x="16769" y="6642"/>
                      <a:pt x="16352" y="8895"/>
                      <a:pt x="15434" y="11147"/>
                    </a:cubicBezTo>
                    <a:cubicBezTo>
                      <a:pt x="14099" y="14233"/>
                      <a:pt x="12347" y="17320"/>
                      <a:pt x="10595" y="19989"/>
                    </a:cubicBezTo>
                    <a:cubicBezTo>
                      <a:pt x="7508" y="25329"/>
                      <a:pt x="4839" y="31502"/>
                      <a:pt x="5256" y="37257"/>
                    </a:cubicBezTo>
                    <a:cubicBezTo>
                      <a:pt x="5673" y="44765"/>
                      <a:pt x="6174" y="52357"/>
                      <a:pt x="7508" y="59865"/>
                    </a:cubicBezTo>
                    <a:cubicBezTo>
                      <a:pt x="8844" y="67372"/>
                      <a:pt x="11013" y="75381"/>
                      <a:pt x="10595" y="83306"/>
                    </a:cubicBezTo>
                    <a:cubicBezTo>
                      <a:pt x="9678" y="99656"/>
                      <a:pt x="0" y="114755"/>
                      <a:pt x="0" y="131606"/>
                    </a:cubicBezTo>
                    <a:cubicBezTo>
                      <a:pt x="501" y="141783"/>
                      <a:pt x="10261" y="158217"/>
                      <a:pt x="22692" y="15379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75673705" name="Полилиния 428"/>
              <p:cNvSpPr/>
              <p:nvPr/>
            </p:nvSpPr>
            <p:spPr bwMode="auto">
              <a:xfrm>
                <a:off x="10096770" y="4115845"/>
                <a:ext cx="876551" cy="954756"/>
              </a:xfrm>
              <a:custGeom>
                <a:avLst/>
                <a:gdLst>
                  <a:gd name="connsiteX0" fmla="*/ 82886 w 984396"/>
                  <a:gd name="connsiteY0" fmla="*/ 55790 h 1072222"/>
                  <a:gd name="connsiteX1" fmla="*/ 82469 w 984396"/>
                  <a:gd name="connsiteY1" fmla="*/ 54873 h 1072222"/>
                  <a:gd name="connsiteX2" fmla="*/ 78464 w 984396"/>
                  <a:gd name="connsiteY2" fmla="*/ 51786 h 1072222"/>
                  <a:gd name="connsiteX3" fmla="*/ 69121 w 984396"/>
                  <a:gd name="connsiteY3" fmla="*/ 45112 h 1072222"/>
                  <a:gd name="connsiteX4" fmla="*/ 64281 w 984396"/>
                  <a:gd name="connsiteY4" fmla="*/ 34935 h 1072222"/>
                  <a:gd name="connsiteX5" fmla="*/ 60778 w 984396"/>
                  <a:gd name="connsiteY5" fmla="*/ 24341 h 1072222"/>
                  <a:gd name="connsiteX6" fmla="*/ 53687 w 984396"/>
                  <a:gd name="connsiteY6" fmla="*/ 18167 h 1072222"/>
                  <a:gd name="connsiteX7" fmla="*/ 27990 w 984396"/>
                  <a:gd name="connsiteY7" fmla="*/ 3986 h 1072222"/>
                  <a:gd name="connsiteX8" fmla="*/ 4965 w 984396"/>
                  <a:gd name="connsiteY8" fmla="*/ 3569 h 1072222"/>
                  <a:gd name="connsiteX9" fmla="*/ 961 w 984396"/>
                  <a:gd name="connsiteY9" fmla="*/ 14664 h 1072222"/>
                  <a:gd name="connsiteX10" fmla="*/ 9804 w 984396"/>
                  <a:gd name="connsiteY10" fmla="*/ 50534 h 1072222"/>
                  <a:gd name="connsiteX11" fmla="*/ 21316 w 984396"/>
                  <a:gd name="connsiteY11" fmla="*/ 54538 h 1072222"/>
                  <a:gd name="connsiteX12" fmla="*/ 46595 w 984396"/>
                  <a:gd name="connsiteY12" fmla="*/ 62547 h 1072222"/>
                  <a:gd name="connsiteX13" fmla="*/ 59025 w 984396"/>
                  <a:gd name="connsiteY13" fmla="*/ 69638 h 1072222"/>
                  <a:gd name="connsiteX14" fmla="*/ 67035 w 984396"/>
                  <a:gd name="connsiteY14" fmla="*/ 82067 h 1072222"/>
                  <a:gd name="connsiteX15" fmla="*/ 90060 w 984396"/>
                  <a:gd name="connsiteY15" fmla="*/ 129450 h 1072222"/>
                  <a:gd name="connsiteX16" fmla="*/ 94482 w 984396"/>
                  <a:gd name="connsiteY16" fmla="*/ 142714 h 1072222"/>
                  <a:gd name="connsiteX17" fmla="*/ 87391 w 984396"/>
                  <a:gd name="connsiteY17" fmla="*/ 153809 h 1072222"/>
                  <a:gd name="connsiteX18" fmla="*/ 72791 w 984396"/>
                  <a:gd name="connsiteY18" fmla="*/ 152475 h 1072222"/>
                  <a:gd name="connsiteX19" fmla="*/ 55938 w 984396"/>
                  <a:gd name="connsiteY19" fmla="*/ 171494 h 1072222"/>
                  <a:gd name="connsiteX20" fmla="*/ 59025 w 984396"/>
                  <a:gd name="connsiteY20" fmla="*/ 200274 h 1072222"/>
                  <a:gd name="connsiteX21" fmla="*/ 81635 w 984396"/>
                  <a:gd name="connsiteY21" fmla="*/ 217960 h 1072222"/>
                  <a:gd name="connsiteX22" fmla="*/ 97569 w 984396"/>
                  <a:gd name="connsiteY22" fmla="*/ 232558 h 1072222"/>
                  <a:gd name="connsiteX23" fmla="*/ 113086 w 984396"/>
                  <a:gd name="connsiteY23" fmla="*/ 260921 h 1072222"/>
                  <a:gd name="connsiteX24" fmla="*/ 140116 w 984396"/>
                  <a:gd name="connsiteY24" fmla="*/ 292788 h 1072222"/>
                  <a:gd name="connsiteX25" fmla="*/ 165812 w 984396"/>
                  <a:gd name="connsiteY25" fmla="*/ 342423 h 1072222"/>
                  <a:gd name="connsiteX26" fmla="*/ 193260 w 984396"/>
                  <a:gd name="connsiteY26" fmla="*/ 368534 h 1072222"/>
                  <a:gd name="connsiteX27" fmla="*/ 226463 w 984396"/>
                  <a:gd name="connsiteY27" fmla="*/ 384050 h 1072222"/>
                  <a:gd name="connsiteX28" fmla="*/ 236641 w 984396"/>
                  <a:gd name="connsiteY28" fmla="*/ 387553 h 1072222"/>
                  <a:gd name="connsiteX29" fmla="*/ 241063 w 984396"/>
                  <a:gd name="connsiteY29" fmla="*/ 395562 h 1072222"/>
                  <a:gd name="connsiteX30" fmla="*/ 262754 w 984396"/>
                  <a:gd name="connsiteY30" fmla="*/ 401318 h 1072222"/>
                  <a:gd name="connsiteX31" fmla="*/ 311893 w 984396"/>
                  <a:gd name="connsiteY31" fmla="*/ 419920 h 1072222"/>
                  <a:gd name="connsiteX32" fmla="*/ 340675 w 984396"/>
                  <a:gd name="connsiteY32" fmla="*/ 446532 h 1072222"/>
                  <a:gd name="connsiteX33" fmla="*/ 345096 w 984396"/>
                  <a:gd name="connsiteY33" fmla="*/ 458044 h 1072222"/>
                  <a:gd name="connsiteX34" fmla="*/ 357944 w 984396"/>
                  <a:gd name="connsiteY34" fmla="*/ 477063 h 1072222"/>
                  <a:gd name="connsiteX35" fmla="*/ 363700 w 984396"/>
                  <a:gd name="connsiteY35" fmla="*/ 490328 h 1072222"/>
                  <a:gd name="connsiteX36" fmla="*/ 376131 w 984396"/>
                  <a:gd name="connsiteY36" fmla="*/ 500088 h 1072222"/>
                  <a:gd name="connsiteX37" fmla="*/ 399574 w 984396"/>
                  <a:gd name="connsiteY37" fmla="*/ 526198 h 1072222"/>
                  <a:gd name="connsiteX38" fmla="*/ 412005 w 984396"/>
                  <a:gd name="connsiteY38" fmla="*/ 533289 h 1072222"/>
                  <a:gd name="connsiteX39" fmla="*/ 422599 w 984396"/>
                  <a:gd name="connsiteY39" fmla="*/ 543883 h 1072222"/>
                  <a:gd name="connsiteX40" fmla="*/ 447377 w 984396"/>
                  <a:gd name="connsiteY40" fmla="*/ 566490 h 1072222"/>
                  <a:gd name="connsiteX41" fmla="*/ 467734 w 984396"/>
                  <a:gd name="connsiteY41" fmla="*/ 597940 h 1072222"/>
                  <a:gd name="connsiteX42" fmla="*/ 481916 w 984396"/>
                  <a:gd name="connsiteY42" fmla="*/ 607700 h 1072222"/>
                  <a:gd name="connsiteX43" fmla="*/ 502773 w 984396"/>
                  <a:gd name="connsiteY43" fmla="*/ 635145 h 1072222"/>
                  <a:gd name="connsiteX44" fmla="*/ 506777 w 984396"/>
                  <a:gd name="connsiteY44" fmla="*/ 643988 h 1072222"/>
                  <a:gd name="connsiteX45" fmla="*/ 512951 w 984396"/>
                  <a:gd name="connsiteY45" fmla="*/ 651996 h 1072222"/>
                  <a:gd name="connsiteX46" fmla="*/ 533307 w 984396"/>
                  <a:gd name="connsiteY46" fmla="*/ 683029 h 1072222"/>
                  <a:gd name="connsiteX47" fmla="*/ 536394 w 984396"/>
                  <a:gd name="connsiteY47" fmla="*/ 688368 h 1072222"/>
                  <a:gd name="connsiteX48" fmla="*/ 544820 w 984396"/>
                  <a:gd name="connsiteY48" fmla="*/ 694124 h 1072222"/>
                  <a:gd name="connsiteX49" fmla="*/ 563007 w 984396"/>
                  <a:gd name="connsiteY49" fmla="*/ 713644 h 1072222"/>
                  <a:gd name="connsiteX50" fmla="*/ 570099 w 984396"/>
                  <a:gd name="connsiteY50" fmla="*/ 743759 h 1072222"/>
                  <a:gd name="connsiteX51" fmla="*/ 612646 w 984396"/>
                  <a:gd name="connsiteY51" fmla="*/ 770787 h 1072222"/>
                  <a:gd name="connsiteX52" fmla="*/ 645850 w 984396"/>
                  <a:gd name="connsiteY52" fmla="*/ 788055 h 1072222"/>
                  <a:gd name="connsiteX53" fmla="*/ 666707 w 984396"/>
                  <a:gd name="connsiteY53" fmla="*/ 806241 h 1072222"/>
                  <a:gd name="connsiteX54" fmla="*/ 673798 w 984396"/>
                  <a:gd name="connsiteY54" fmla="*/ 824844 h 1072222"/>
                  <a:gd name="connsiteX55" fmla="*/ 690650 w 984396"/>
                  <a:gd name="connsiteY55" fmla="*/ 844781 h 1072222"/>
                  <a:gd name="connsiteX56" fmla="*/ 691985 w 984396"/>
                  <a:gd name="connsiteY56" fmla="*/ 858045 h 1072222"/>
                  <a:gd name="connsiteX57" fmla="*/ 710172 w 984396"/>
                  <a:gd name="connsiteY57" fmla="*/ 889495 h 1072222"/>
                  <a:gd name="connsiteX58" fmla="*/ 740289 w 984396"/>
                  <a:gd name="connsiteY58" fmla="*/ 911184 h 1072222"/>
                  <a:gd name="connsiteX59" fmla="*/ 779750 w 984396"/>
                  <a:gd name="connsiteY59" fmla="*/ 954146 h 1072222"/>
                  <a:gd name="connsiteX60" fmla="*/ 802359 w 984396"/>
                  <a:gd name="connsiteY60" fmla="*/ 1006867 h 1072222"/>
                  <a:gd name="connsiteX61" fmla="*/ 820963 w 984396"/>
                  <a:gd name="connsiteY61" fmla="*/ 1026387 h 1072222"/>
                  <a:gd name="connsiteX62" fmla="*/ 858589 w 984396"/>
                  <a:gd name="connsiteY62" fmla="*/ 1059589 h 1072222"/>
                  <a:gd name="connsiteX63" fmla="*/ 879445 w 984396"/>
                  <a:gd name="connsiteY63" fmla="*/ 1072019 h 1072222"/>
                  <a:gd name="connsiteX64" fmla="*/ 897132 w 984396"/>
                  <a:gd name="connsiteY64" fmla="*/ 1059589 h 1072222"/>
                  <a:gd name="connsiteX65" fmla="*/ 894462 w 984396"/>
                  <a:gd name="connsiteY65" fmla="*/ 1039652 h 1072222"/>
                  <a:gd name="connsiteX66" fmla="*/ 882031 w 984396"/>
                  <a:gd name="connsiteY66" fmla="*/ 1017045 h 1072222"/>
                  <a:gd name="connsiteX67" fmla="*/ 874023 w 984396"/>
                  <a:gd name="connsiteY67" fmla="*/ 1008202 h 1072222"/>
                  <a:gd name="connsiteX68" fmla="*/ 870018 w 984396"/>
                  <a:gd name="connsiteY68" fmla="*/ 998859 h 1072222"/>
                  <a:gd name="connsiteX69" fmla="*/ 866514 w 984396"/>
                  <a:gd name="connsiteY69" fmla="*/ 982926 h 1072222"/>
                  <a:gd name="connsiteX70" fmla="*/ 867431 w 984396"/>
                  <a:gd name="connsiteY70" fmla="*/ 969662 h 1072222"/>
                  <a:gd name="connsiteX71" fmla="*/ 861676 w 984396"/>
                  <a:gd name="connsiteY71" fmla="*/ 954563 h 1072222"/>
                  <a:gd name="connsiteX72" fmla="*/ 855502 w 984396"/>
                  <a:gd name="connsiteY72" fmla="*/ 939046 h 1072222"/>
                  <a:gd name="connsiteX73" fmla="*/ 867933 w 984396"/>
                  <a:gd name="connsiteY73" fmla="*/ 931038 h 1072222"/>
                  <a:gd name="connsiteX74" fmla="*/ 877276 w 984396"/>
                  <a:gd name="connsiteY74" fmla="*/ 934125 h 1072222"/>
                  <a:gd name="connsiteX75" fmla="*/ 896298 w 984396"/>
                  <a:gd name="connsiteY75" fmla="*/ 928785 h 1072222"/>
                  <a:gd name="connsiteX76" fmla="*/ 916653 w 984396"/>
                  <a:gd name="connsiteY76" fmla="*/ 909766 h 1072222"/>
                  <a:gd name="connsiteX77" fmla="*/ 953862 w 984396"/>
                  <a:gd name="connsiteY77" fmla="*/ 922612 h 1072222"/>
                  <a:gd name="connsiteX78" fmla="*/ 967127 w 984396"/>
                  <a:gd name="connsiteY78" fmla="*/ 935459 h 1072222"/>
                  <a:gd name="connsiteX79" fmla="*/ 984396 w 984396"/>
                  <a:gd name="connsiteY79" fmla="*/ 938546 h 1072222"/>
                  <a:gd name="connsiteX80" fmla="*/ 972883 w 984396"/>
                  <a:gd name="connsiteY80" fmla="*/ 918191 h 1072222"/>
                  <a:gd name="connsiteX81" fmla="*/ 964040 w 984396"/>
                  <a:gd name="connsiteY81" fmla="*/ 907597 h 1072222"/>
                  <a:gd name="connsiteX82" fmla="*/ 952110 w 984396"/>
                  <a:gd name="connsiteY82" fmla="*/ 904510 h 1072222"/>
                  <a:gd name="connsiteX83" fmla="*/ 906058 w 984396"/>
                  <a:gd name="connsiteY83" fmla="*/ 879234 h 1072222"/>
                  <a:gd name="connsiteX84" fmla="*/ 889206 w 984396"/>
                  <a:gd name="connsiteY84" fmla="*/ 883238 h 1072222"/>
                  <a:gd name="connsiteX85" fmla="*/ 877276 w 984396"/>
                  <a:gd name="connsiteY85" fmla="*/ 877482 h 1072222"/>
                  <a:gd name="connsiteX86" fmla="*/ 836063 w 984396"/>
                  <a:gd name="connsiteY86" fmla="*/ 846950 h 1072222"/>
                  <a:gd name="connsiteX87" fmla="*/ 817876 w 984396"/>
                  <a:gd name="connsiteY87" fmla="*/ 836773 h 1072222"/>
                  <a:gd name="connsiteX88" fmla="*/ 785506 w 984396"/>
                  <a:gd name="connsiteY88" fmla="*/ 837691 h 1072222"/>
                  <a:gd name="connsiteX89" fmla="*/ 732364 w 984396"/>
                  <a:gd name="connsiteY89" fmla="*/ 814666 h 1072222"/>
                  <a:gd name="connsiteX90" fmla="*/ 692485 w 984396"/>
                  <a:gd name="connsiteY90" fmla="*/ 773040 h 1072222"/>
                  <a:gd name="connsiteX91" fmla="*/ 672547 w 984396"/>
                  <a:gd name="connsiteY91" fmla="*/ 708806 h 1072222"/>
                  <a:gd name="connsiteX92" fmla="*/ 653526 w 984396"/>
                  <a:gd name="connsiteY92" fmla="*/ 691538 h 1072222"/>
                  <a:gd name="connsiteX93" fmla="*/ 642429 w 984396"/>
                  <a:gd name="connsiteY93" fmla="*/ 660505 h 1072222"/>
                  <a:gd name="connsiteX94" fmla="*/ 618069 w 984396"/>
                  <a:gd name="connsiteY94" fmla="*/ 630808 h 1072222"/>
                  <a:gd name="connsiteX95" fmla="*/ 611895 w 984396"/>
                  <a:gd name="connsiteY95" fmla="*/ 625469 h 1072222"/>
                  <a:gd name="connsiteX96" fmla="*/ 610144 w 984396"/>
                  <a:gd name="connsiteY96" fmla="*/ 616626 h 1072222"/>
                  <a:gd name="connsiteX97" fmla="*/ 613647 w 984396"/>
                  <a:gd name="connsiteY97" fmla="*/ 598941 h 1072222"/>
                  <a:gd name="connsiteX98" fmla="*/ 617151 w 984396"/>
                  <a:gd name="connsiteY98" fmla="*/ 583425 h 1072222"/>
                  <a:gd name="connsiteX99" fmla="*/ 624659 w 984396"/>
                  <a:gd name="connsiteY99" fmla="*/ 564405 h 1072222"/>
                  <a:gd name="connsiteX100" fmla="*/ 627329 w 984396"/>
                  <a:gd name="connsiteY100" fmla="*/ 558649 h 1072222"/>
                  <a:gd name="connsiteX101" fmla="*/ 636172 w 984396"/>
                  <a:gd name="connsiteY101" fmla="*/ 550640 h 1072222"/>
                  <a:gd name="connsiteX102" fmla="*/ 668542 w 984396"/>
                  <a:gd name="connsiteY102" fmla="*/ 535541 h 1072222"/>
                  <a:gd name="connsiteX103" fmla="*/ 688481 w 984396"/>
                  <a:gd name="connsiteY103" fmla="*/ 531537 h 1072222"/>
                  <a:gd name="connsiteX104" fmla="*/ 751802 w 984396"/>
                  <a:gd name="connsiteY104" fmla="*/ 534624 h 1072222"/>
                  <a:gd name="connsiteX105" fmla="*/ 777080 w 984396"/>
                  <a:gd name="connsiteY105" fmla="*/ 536375 h 1072222"/>
                  <a:gd name="connsiteX106" fmla="*/ 782837 w 984396"/>
                  <a:gd name="connsiteY106" fmla="*/ 541714 h 1072222"/>
                  <a:gd name="connsiteX107" fmla="*/ 791263 w 984396"/>
                  <a:gd name="connsiteY107" fmla="*/ 547471 h 1072222"/>
                  <a:gd name="connsiteX108" fmla="*/ 796102 w 984396"/>
                  <a:gd name="connsiteY108" fmla="*/ 548805 h 1072222"/>
                  <a:gd name="connsiteX109" fmla="*/ 800106 w 984396"/>
                  <a:gd name="connsiteY109" fmla="*/ 546136 h 1072222"/>
                  <a:gd name="connsiteX110" fmla="*/ 798354 w 984396"/>
                  <a:gd name="connsiteY110" fmla="*/ 540797 h 1072222"/>
                  <a:gd name="connsiteX111" fmla="*/ 791680 w 984396"/>
                  <a:gd name="connsiteY111" fmla="*/ 530620 h 1072222"/>
                  <a:gd name="connsiteX112" fmla="*/ 783254 w 984396"/>
                  <a:gd name="connsiteY112" fmla="*/ 520859 h 1072222"/>
                  <a:gd name="connsiteX113" fmla="*/ 768154 w 984396"/>
                  <a:gd name="connsiteY113" fmla="*/ 517773 h 1072222"/>
                  <a:gd name="connsiteX114" fmla="*/ 751301 w 984396"/>
                  <a:gd name="connsiteY114" fmla="*/ 518190 h 1072222"/>
                  <a:gd name="connsiteX115" fmla="*/ 733615 w 984396"/>
                  <a:gd name="connsiteY115" fmla="*/ 519108 h 1072222"/>
                  <a:gd name="connsiteX116" fmla="*/ 704416 w 984396"/>
                  <a:gd name="connsiteY116" fmla="*/ 505343 h 1072222"/>
                  <a:gd name="connsiteX117" fmla="*/ 682308 w 984396"/>
                  <a:gd name="connsiteY117" fmla="*/ 490244 h 1072222"/>
                  <a:gd name="connsiteX118" fmla="*/ 623825 w 984396"/>
                  <a:gd name="connsiteY118" fmla="*/ 455708 h 1072222"/>
                  <a:gd name="connsiteX119" fmla="*/ 581778 w 984396"/>
                  <a:gd name="connsiteY119" fmla="*/ 433602 h 1072222"/>
                  <a:gd name="connsiteX120" fmla="*/ 557001 w 984396"/>
                  <a:gd name="connsiteY120" fmla="*/ 428262 h 1072222"/>
                  <a:gd name="connsiteX121" fmla="*/ 516706 w 984396"/>
                  <a:gd name="connsiteY121" fmla="*/ 398148 h 1072222"/>
                  <a:gd name="connsiteX122" fmla="*/ 478162 w 984396"/>
                  <a:gd name="connsiteY122" fmla="*/ 368450 h 1072222"/>
                  <a:gd name="connsiteX123" fmla="*/ 451132 w 984396"/>
                  <a:gd name="connsiteY123" fmla="*/ 347595 h 1072222"/>
                  <a:gd name="connsiteX124" fmla="*/ 423184 w 984396"/>
                  <a:gd name="connsiteY124" fmla="*/ 332996 h 1072222"/>
                  <a:gd name="connsiteX125" fmla="*/ 377549 w 984396"/>
                  <a:gd name="connsiteY125" fmla="*/ 303299 h 1072222"/>
                  <a:gd name="connsiteX126" fmla="*/ 351436 w 984396"/>
                  <a:gd name="connsiteY126" fmla="*/ 298878 h 1072222"/>
                  <a:gd name="connsiteX127" fmla="*/ 336837 w 984396"/>
                  <a:gd name="connsiteY127" fmla="*/ 278523 h 1072222"/>
                  <a:gd name="connsiteX128" fmla="*/ 299212 w 984396"/>
                  <a:gd name="connsiteY128" fmla="*/ 265676 h 1072222"/>
                  <a:gd name="connsiteX129" fmla="*/ 273099 w 984396"/>
                  <a:gd name="connsiteY129" fmla="*/ 225801 h 1072222"/>
                  <a:gd name="connsiteX130" fmla="*/ 258917 w 984396"/>
                  <a:gd name="connsiteY130" fmla="*/ 216041 h 1072222"/>
                  <a:gd name="connsiteX131" fmla="*/ 254911 w 984396"/>
                  <a:gd name="connsiteY131" fmla="*/ 198356 h 1072222"/>
                  <a:gd name="connsiteX132" fmla="*/ 213699 w 984396"/>
                  <a:gd name="connsiteY132" fmla="*/ 146969 h 1072222"/>
                  <a:gd name="connsiteX133" fmla="*/ 156969 w 984396"/>
                  <a:gd name="connsiteY133" fmla="*/ 109763 h 1072222"/>
                  <a:gd name="connsiteX134" fmla="*/ 140116 w 984396"/>
                  <a:gd name="connsiteY134" fmla="*/ 90243 h 1072222"/>
                  <a:gd name="connsiteX135" fmla="*/ 125517 w 984396"/>
                  <a:gd name="connsiteY135" fmla="*/ 82735 h 1072222"/>
                  <a:gd name="connsiteX136" fmla="*/ 118843 w 984396"/>
                  <a:gd name="connsiteY136" fmla="*/ 81817 h 1072222"/>
                  <a:gd name="connsiteX137" fmla="*/ 111334 w 984396"/>
                  <a:gd name="connsiteY137" fmla="*/ 78313 h 1072222"/>
                  <a:gd name="connsiteX138" fmla="*/ 108247 w 984396"/>
                  <a:gd name="connsiteY138" fmla="*/ 75227 h 1072222"/>
                  <a:gd name="connsiteX139" fmla="*/ 96317 w 984396"/>
                  <a:gd name="connsiteY139" fmla="*/ 66384 h 1072222"/>
                  <a:gd name="connsiteX140" fmla="*/ 85222 w 984396"/>
                  <a:gd name="connsiteY140" fmla="*/ 57542 h 1072222"/>
                  <a:gd name="connsiteX141" fmla="*/ 82886 w 984396"/>
                  <a:gd name="connsiteY141" fmla="*/ 55790 h 1072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</a:cxnLst>
                <a:rect l="l" t="t" r="r" b="b"/>
                <a:pathLst>
                  <a:path w="984396" h="1072222" extrusionOk="0">
                    <a:moveTo>
                      <a:pt x="82886" y="55790"/>
                    </a:moveTo>
                    <a:cubicBezTo>
                      <a:pt x="82886" y="55373"/>
                      <a:pt x="82469" y="55373"/>
                      <a:pt x="82469" y="54873"/>
                    </a:cubicBezTo>
                    <a:cubicBezTo>
                      <a:pt x="81551" y="53538"/>
                      <a:pt x="79799" y="52620"/>
                      <a:pt x="78464" y="51786"/>
                    </a:cubicBezTo>
                    <a:cubicBezTo>
                      <a:pt x="75378" y="50034"/>
                      <a:pt x="71372" y="48282"/>
                      <a:pt x="69121" y="45112"/>
                    </a:cubicBezTo>
                    <a:cubicBezTo>
                      <a:pt x="66868" y="42025"/>
                      <a:pt x="65115" y="38439"/>
                      <a:pt x="64281" y="34935"/>
                    </a:cubicBezTo>
                    <a:cubicBezTo>
                      <a:pt x="63447" y="31431"/>
                      <a:pt x="62947" y="27427"/>
                      <a:pt x="60778" y="24341"/>
                    </a:cubicBezTo>
                    <a:cubicBezTo>
                      <a:pt x="59025" y="21671"/>
                      <a:pt x="56356" y="19919"/>
                      <a:pt x="53687" y="18167"/>
                    </a:cubicBezTo>
                    <a:cubicBezTo>
                      <a:pt x="45260" y="12828"/>
                      <a:pt x="36834" y="7990"/>
                      <a:pt x="27990" y="3986"/>
                    </a:cubicBezTo>
                    <a:cubicBezTo>
                      <a:pt x="20482" y="482"/>
                      <a:pt x="10305" y="-2688"/>
                      <a:pt x="4965" y="3569"/>
                    </a:cubicBezTo>
                    <a:cubicBezTo>
                      <a:pt x="2295" y="6655"/>
                      <a:pt x="1878" y="10660"/>
                      <a:pt x="961" y="14664"/>
                    </a:cubicBezTo>
                    <a:cubicBezTo>
                      <a:pt x="-792" y="27510"/>
                      <a:pt x="-1292" y="43444"/>
                      <a:pt x="9804" y="50534"/>
                    </a:cubicBezTo>
                    <a:cubicBezTo>
                      <a:pt x="13308" y="52787"/>
                      <a:pt x="17312" y="53621"/>
                      <a:pt x="21316" y="54538"/>
                    </a:cubicBezTo>
                    <a:cubicBezTo>
                      <a:pt x="29743" y="56791"/>
                      <a:pt x="38169" y="59377"/>
                      <a:pt x="46595" y="62547"/>
                    </a:cubicBezTo>
                    <a:cubicBezTo>
                      <a:pt x="51017" y="64299"/>
                      <a:pt x="55438" y="66551"/>
                      <a:pt x="59025" y="69638"/>
                    </a:cubicBezTo>
                    <a:cubicBezTo>
                      <a:pt x="62530" y="73142"/>
                      <a:pt x="64782" y="77646"/>
                      <a:pt x="67035" y="82067"/>
                    </a:cubicBezTo>
                    <a:cubicBezTo>
                      <a:pt x="74543" y="98001"/>
                      <a:pt x="82552" y="113934"/>
                      <a:pt x="90060" y="129450"/>
                    </a:cubicBezTo>
                    <a:cubicBezTo>
                      <a:pt x="92313" y="133871"/>
                      <a:pt x="94065" y="138293"/>
                      <a:pt x="94482" y="142714"/>
                    </a:cubicBezTo>
                    <a:cubicBezTo>
                      <a:pt x="94482" y="147552"/>
                      <a:pt x="91812" y="152475"/>
                      <a:pt x="87391" y="153809"/>
                    </a:cubicBezTo>
                    <a:cubicBezTo>
                      <a:pt x="82552" y="155144"/>
                      <a:pt x="77629" y="152057"/>
                      <a:pt x="72791" y="152475"/>
                    </a:cubicBezTo>
                    <a:cubicBezTo>
                      <a:pt x="63447" y="152475"/>
                      <a:pt x="58191" y="162652"/>
                      <a:pt x="55938" y="171494"/>
                    </a:cubicBezTo>
                    <a:cubicBezTo>
                      <a:pt x="52852" y="183423"/>
                      <a:pt x="47513" y="191015"/>
                      <a:pt x="59025" y="200274"/>
                    </a:cubicBezTo>
                    <a:cubicBezTo>
                      <a:pt x="66534" y="206030"/>
                      <a:pt x="74126" y="212203"/>
                      <a:pt x="81635" y="217960"/>
                    </a:cubicBezTo>
                    <a:cubicBezTo>
                      <a:pt x="87391" y="222381"/>
                      <a:pt x="93147" y="226802"/>
                      <a:pt x="97569" y="232558"/>
                    </a:cubicBezTo>
                    <a:cubicBezTo>
                      <a:pt x="104243" y="240983"/>
                      <a:pt x="107330" y="251578"/>
                      <a:pt x="113086" y="260921"/>
                    </a:cubicBezTo>
                    <a:cubicBezTo>
                      <a:pt x="120594" y="272850"/>
                      <a:pt x="132608" y="281276"/>
                      <a:pt x="140116" y="292788"/>
                    </a:cubicBezTo>
                    <a:cubicBezTo>
                      <a:pt x="150295" y="308304"/>
                      <a:pt x="152965" y="328658"/>
                      <a:pt x="165812" y="342423"/>
                    </a:cubicBezTo>
                    <a:cubicBezTo>
                      <a:pt x="174656" y="351766"/>
                      <a:pt x="185334" y="357939"/>
                      <a:pt x="193260" y="368534"/>
                    </a:cubicBezTo>
                    <a:cubicBezTo>
                      <a:pt x="200768" y="378711"/>
                      <a:pt x="214533" y="382298"/>
                      <a:pt x="226463" y="384050"/>
                    </a:cubicBezTo>
                    <a:cubicBezTo>
                      <a:pt x="229967" y="384467"/>
                      <a:pt x="233972" y="384967"/>
                      <a:pt x="236641" y="387553"/>
                    </a:cubicBezTo>
                    <a:cubicBezTo>
                      <a:pt x="238894" y="389806"/>
                      <a:pt x="239311" y="392892"/>
                      <a:pt x="241063" y="395562"/>
                    </a:cubicBezTo>
                    <a:cubicBezTo>
                      <a:pt x="245484" y="401735"/>
                      <a:pt x="254828" y="401318"/>
                      <a:pt x="262754" y="401318"/>
                    </a:cubicBezTo>
                    <a:cubicBezTo>
                      <a:pt x="280441" y="401735"/>
                      <a:pt x="296459" y="411078"/>
                      <a:pt x="311893" y="419920"/>
                    </a:cubicBezTo>
                    <a:cubicBezTo>
                      <a:pt x="323405" y="426594"/>
                      <a:pt x="335335" y="434102"/>
                      <a:pt x="340675" y="446532"/>
                    </a:cubicBezTo>
                    <a:cubicBezTo>
                      <a:pt x="342427" y="450536"/>
                      <a:pt x="343344" y="454540"/>
                      <a:pt x="345096" y="458044"/>
                    </a:cubicBezTo>
                    <a:cubicBezTo>
                      <a:pt x="348600" y="465134"/>
                      <a:pt x="355275" y="469973"/>
                      <a:pt x="357944" y="477063"/>
                    </a:cubicBezTo>
                    <a:cubicBezTo>
                      <a:pt x="359696" y="481485"/>
                      <a:pt x="360613" y="486824"/>
                      <a:pt x="363700" y="490328"/>
                    </a:cubicBezTo>
                    <a:cubicBezTo>
                      <a:pt x="367204" y="494332"/>
                      <a:pt x="372543" y="496501"/>
                      <a:pt x="376131" y="500088"/>
                    </a:cubicBezTo>
                    <a:cubicBezTo>
                      <a:pt x="384140" y="508513"/>
                      <a:pt x="389897" y="519608"/>
                      <a:pt x="399574" y="526198"/>
                    </a:cubicBezTo>
                    <a:cubicBezTo>
                      <a:pt x="403578" y="528868"/>
                      <a:pt x="408417" y="530620"/>
                      <a:pt x="412005" y="533289"/>
                    </a:cubicBezTo>
                    <a:cubicBezTo>
                      <a:pt x="416009" y="536375"/>
                      <a:pt x="419096" y="540380"/>
                      <a:pt x="422599" y="543883"/>
                    </a:cubicBezTo>
                    <a:cubicBezTo>
                      <a:pt x="430609" y="551892"/>
                      <a:pt x="440787" y="557648"/>
                      <a:pt x="447377" y="566490"/>
                    </a:cubicBezTo>
                    <a:cubicBezTo>
                      <a:pt x="454886" y="576251"/>
                      <a:pt x="458473" y="589514"/>
                      <a:pt x="467734" y="597940"/>
                    </a:cubicBezTo>
                    <a:cubicBezTo>
                      <a:pt x="472155" y="601944"/>
                      <a:pt x="477495" y="604113"/>
                      <a:pt x="481916" y="607700"/>
                    </a:cubicBezTo>
                    <a:cubicBezTo>
                      <a:pt x="491260" y="614374"/>
                      <a:pt x="498268" y="624551"/>
                      <a:pt x="502773" y="635145"/>
                    </a:cubicBezTo>
                    <a:cubicBezTo>
                      <a:pt x="504108" y="638232"/>
                      <a:pt x="505026" y="640902"/>
                      <a:pt x="506777" y="643988"/>
                    </a:cubicBezTo>
                    <a:cubicBezTo>
                      <a:pt x="508529" y="646658"/>
                      <a:pt x="510782" y="649327"/>
                      <a:pt x="512951" y="651996"/>
                    </a:cubicBezTo>
                    <a:cubicBezTo>
                      <a:pt x="520960" y="661340"/>
                      <a:pt x="528051" y="671934"/>
                      <a:pt x="533307" y="683029"/>
                    </a:cubicBezTo>
                    <a:cubicBezTo>
                      <a:pt x="534225" y="684780"/>
                      <a:pt x="535059" y="686532"/>
                      <a:pt x="536394" y="688368"/>
                    </a:cubicBezTo>
                    <a:cubicBezTo>
                      <a:pt x="538647" y="691037"/>
                      <a:pt x="541734" y="692372"/>
                      <a:pt x="544820" y="694124"/>
                    </a:cubicBezTo>
                    <a:cubicBezTo>
                      <a:pt x="552328" y="698545"/>
                      <a:pt x="560338" y="705218"/>
                      <a:pt x="563007" y="713644"/>
                    </a:cubicBezTo>
                    <a:cubicBezTo>
                      <a:pt x="566511" y="723404"/>
                      <a:pt x="565676" y="734499"/>
                      <a:pt x="570099" y="743759"/>
                    </a:cubicBezTo>
                    <a:cubicBezTo>
                      <a:pt x="577607" y="759275"/>
                      <a:pt x="596711" y="764113"/>
                      <a:pt x="612646" y="770787"/>
                    </a:cubicBezTo>
                    <a:cubicBezTo>
                      <a:pt x="624159" y="775626"/>
                      <a:pt x="634755" y="781882"/>
                      <a:pt x="645850" y="788055"/>
                    </a:cubicBezTo>
                    <a:cubicBezTo>
                      <a:pt x="653859" y="792894"/>
                      <a:pt x="662201" y="797815"/>
                      <a:pt x="666707" y="806241"/>
                    </a:cubicBezTo>
                    <a:cubicBezTo>
                      <a:pt x="669794" y="811997"/>
                      <a:pt x="670211" y="819087"/>
                      <a:pt x="673798" y="824844"/>
                    </a:cubicBezTo>
                    <a:cubicBezTo>
                      <a:pt x="678637" y="832352"/>
                      <a:pt x="687564" y="836773"/>
                      <a:pt x="690650" y="844781"/>
                    </a:cubicBezTo>
                    <a:cubicBezTo>
                      <a:pt x="691985" y="848785"/>
                      <a:pt x="691568" y="853624"/>
                      <a:pt x="691985" y="858045"/>
                    </a:cubicBezTo>
                    <a:cubicBezTo>
                      <a:pt x="692902" y="870475"/>
                      <a:pt x="700828" y="881486"/>
                      <a:pt x="710172" y="889495"/>
                    </a:cubicBezTo>
                    <a:cubicBezTo>
                      <a:pt x="719516" y="897920"/>
                      <a:pt x="730528" y="904093"/>
                      <a:pt x="740289" y="911184"/>
                    </a:cubicBezTo>
                    <a:cubicBezTo>
                      <a:pt x="756224" y="922279"/>
                      <a:pt x="770823" y="936460"/>
                      <a:pt x="779750" y="954146"/>
                    </a:cubicBezTo>
                    <a:cubicBezTo>
                      <a:pt x="788176" y="971413"/>
                      <a:pt x="791263" y="991351"/>
                      <a:pt x="802359" y="1006867"/>
                    </a:cubicBezTo>
                    <a:cubicBezTo>
                      <a:pt x="807698" y="1014375"/>
                      <a:pt x="814288" y="1020131"/>
                      <a:pt x="820963" y="1026387"/>
                    </a:cubicBezTo>
                    <a:cubicBezTo>
                      <a:pt x="833393" y="1037483"/>
                      <a:pt x="845740" y="1048494"/>
                      <a:pt x="858589" y="1059589"/>
                    </a:cubicBezTo>
                    <a:cubicBezTo>
                      <a:pt x="864762" y="1064928"/>
                      <a:pt x="871436" y="1070684"/>
                      <a:pt x="879445" y="1072019"/>
                    </a:cubicBezTo>
                    <a:cubicBezTo>
                      <a:pt x="887454" y="1073353"/>
                      <a:pt x="897132" y="1068015"/>
                      <a:pt x="897132" y="1059589"/>
                    </a:cubicBezTo>
                    <a:cubicBezTo>
                      <a:pt x="897132" y="1052498"/>
                      <a:pt x="897132" y="1046325"/>
                      <a:pt x="894462" y="1039652"/>
                    </a:cubicBezTo>
                    <a:cubicBezTo>
                      <a:pt x="891375" y="1031643"/>
                      <a:pt x="887788" y="1023718"/>
                      <a:pt x="882031" y="1017045"/>
                    </a:cubicBezTo>
                    <a:cubicBezTo>
                      <a:pt x="879361" y="1013958"/>
                      <a:pt x="876275" y="1011289"/>
                      <a:pt x="874023" y="1008202"/>
                    </a:cubicBezTo>
                    <a:cubicBezTo>
                      <a:pt x="872270" y="1005532"/>
                      <a:pt x="871353" y="1002029"/>
                      <a:pt x="870018" y="998859"/>
                    </a:cubicBezTo>
                    <a:cubicBezTo>
                      <a:pt x="868266" y="993520"/>
                      <a:pt x="866514" y="988265"/>
                      <a:pt x="866514" y="982926"/>
                    </a:cubicBezTo>
                    <a:cubicBezTo>
                      <a:pt x="866514" y="978504"/>
                      <a:pt x="867849" y="974083"/>
                      <a:pt x="867431" y="969662"/>
                    </a:cubicBezTo>
                    <a:cubicBezTo>
                      <a:pt x="867014" y="964323"/>
                      <a:pt x="864762" y="959067"/>
                      <a:pt x="861676" y="954563"/>
                    </a:cubicBezTo>
                    <a:cubicBezTo>
                      <a:pt x="859006" y="950141"/>
                      <a:pt x="854167" y="944385"/>
                      <a:pt x="855502" y="939046"/>
                    </a:cubicBezTo>
                    <a:cubicBezTo>
                      <a:pt x="856836" y="933708"/>
                      <a:pt x="863010" y="930204"/>
                      <a:pt x="867933" y="931038"/>
                    </a:cubicBezTo>
                    <a:cubicBezTo>
                      <a:pt x="871019" y="931455"/>
                      <a:pt x="874106" y="933290"/>
                      <a:pt x="877276" y="934125"/>
                    </a:cubicBezTo>
                    <a:cubicBezTo>
                      <a:pt x="883950" y="936377"/>
                      <a:pt x="891875" y="934125"/>
                      <a:pt x="896298" y="928785"/>
                    </a:cubicBezTo>
                    <a:cubicBezTo>
                      <a:pt x="904306" y="919943"/>
                      <a:pt x="903389" y="910183"/>
                      <a:pt x="916653" y="909766"/>
                    </a:cubicBezTo>
                    <a:cubicBezTo>
                      <a:pt x="930419" y="909349"/>
                      <a:pt x="943684" y="913270"/>
                      <a:pt x="953862" y="922612"/>
                    </a:cubicBezTo>
                    <a:cubicBezTo>
                      <a:pt x="958284" y="926617"/>
                      <a:pt x="962288" y="931956"/>
                      <a:pt x="967127" y="935459"/>
                    </a:cubicBezTo>
                    <a:cubicBezTo>
                      <a:pt x="971965" y="938963"/>
                      <a:pt x="979056" y="941215"/>
                      <a:pt x="984396" y="938546"/>
                    </a:cubicBezTo>
                    <a:cubicBezTo>
                      <a:pt x="980392" y="931872"/>
                      <a:pt x="976888" y="924781"/>
                      <a:pt x="972883" y="918191"/>
                    </a:cubicBezTo>
                    <a:cubicBezTo>
                      <a:pt x="970631" y="914187"/>
                      <a:pt x="968045" y="909766"/>
                      <a:pt x="964040" y="907597"/>
                    </a:cubicBezTo>
                    <a:cubicBezTo>
                      <a:pt x="960536" y="905345"/>
                      <a:pt x="956031" y="905345"/>
                      <a:pt x="952110" y="904510"/>
                    </a:cubicBezTo>
                    <a:cubicBezTo>
                      <a:pt x="934840" y="899672"/>
                      <a:pt x="923745" y="876565"/>
                      <a:pt x="906058" y="879234"/>
                    </a:cubicBezTo>
                    <a:cubicBezTo>
                      <a:pt x="900302" y="880151"/>
                      <a:pt x="894962" y="883655"/>
                      <a:pt x="889206" y="883238"/>
                    </a:cubicBezTo>
                    <a:cubicBezTo>
                      <a:pt x="884784" y="882821"/>
                      <a:pt x="880780" y="880151"/>
                      <a:pt x="877276" y="877482"/>
                    </a:cubicBezTo>
                    <a:cubicBezTo>
                      <a:pt x="863510" y="867305"/>
                      <a:pt x="849829" y="857127"/>
                      <a:pt x="836063" y="846950"/>
                    </a:cubicBezTo>
                    <a:cubicBezTo>
                      <a:pt x="830307" y="842529"/>
                      <a:pt x="824551" y="838525"/>
                      <a:pt x="817876" y="836773"/>
                    </a:cubicBezTo>
                    <a:cubicBezTo>
                      <a:pt x="807281" y="834103"/>
                      <a:pt x="796185" y="837691"/>
                      <a:pt x="785506" y="837691"/>
                    </a:cubicBezTo>
                    <a:cubicBezTo>
                      <a:pt x="765985" y="837691"/>
                      <a:pt x="748298" y="825761"/>
                      <a:pt x="732364" y="814666"/>
                    </a:cubicBezTo>
                    <a:cubicBezTo>
                      <a:pt x="716429" y="803572"/>
                      <a:pt x="699994" y="791225"/>
                      <a:pt x="692485" y="773040"/>
                    </a:cubicBezTo>
                    <a:cubicBezTo>
                      <a:pt x="683642" y="752184"/>
                      <a:pt x="688481" y="725239"/>
                      <a:pt x="672547" y="708806"/>
                    </a:cubicBezTo>
                    <a:cubicBezTo>
                      <a:pt x="666373" y="702633"/>
                      <a:pt x="657947" y="698628"/>
                      <a:pt x="653526" y="691538"/>
                    </a:cubicBezTo>
                    <a:cubicBezTo>
                      <a:pt x="647769" y="682695"/>
                      <a:pt x="646851" y="670265"/>
                      <a:pt x="642429" y="660505"/>
                    </a:cubicBezTo>
                    <a:cubicBezTo>
                      <a:pt x="637090" y="648576"/>
                      <a:pt x="628664" y="637898"/>
                      <a:pt x="618069" y="630808"/>
                    </a:cubicBezTo>
                    <a:cubicBezTo>
                      <a:pt x="615816" y="629056"/>
                      <a:pt x="613230" y="627721"/>
                      <a:pt x="611895" y="625469"/>
                    </a:cubicBezTo>
                    <a:cubicBezTo>
                      <a:pt x="610144" y="622799"/>
                      <a:pt x="610144" y="619712"/>
                      <a:pt x="610144" y="616626"/>
                    </a:cubicBezTo>
                    <a:cubicBezTo>
                      <a:pt x="610561" y="610453"/>
                      <a:pt x="612395" y="604697"/>
                      <a:pt x="613647" y="598941"/>
                    </a:cubicBezTo>
                    <a:cubicBezTo>
                      <a:pt x="614982" y="593602"/>
                      <a:pt x="614982" y="588347"/>
                      <a:pt x="617151" y="583425"/>
                    </a:cubicBezTo>
                    <a:cubicBezTo>
                      <a:pt x="619821" y="577252"/>
                      <a:pt x="621990" y="570578"/>
                      <a:pt x="624659" y="564405"/>
                    </a:cubicBezTo>
                    <a:cubicBezTo>
                      <a:pt x="625578" y="562653"/>
                      <a:pt x="626412" y="560401"/>
                      <a:pt x="627329" y="558649"/>
                    </a:cubicBezTo>
                    <a:cubicBezTo>
                      <a:pt x="629582" y="555145"/>
                      <a:pt x="632669" y="552893"/>
                      <a:pt x="636172" y="550640"/>
                    </a:cubicBezTo>
                    <a:cubicBezTo>
                      <a:pt x="646350" y="544467"/>
                      <a:pt x="657863" y="541297"/>
                      <a:pt x="668542" y="535541"/>
                    </a:cubicBezTo>
                    <a:cubicBezTo>
                      <a:pt x="674298" y="532038"/>
                      <a:pt x="681807" y="531537"/>
                      <a:pt x="688481" y="531537"/>
                    </a:cubicBezTo>
                    <a:cubicBezTo>
                      <a:pt x="709755" y="531954"/>
                      <a:pt x="730528" y="535958"/>
                      <a:pt x="751802" y="534624"/>
                    </a:cubicBezTo>
                    <a:cubicBezTo>
                      <a:pt x="759311" y="534206"/>
                      <a:pt x="769989" y="531954"/>
                      <a:pt x="777080" y="536375"/>
                    </a:cubicBezTo>
                    <a:cubicBezTo>
                      <a:pt x="779333" y="537710"/>
                      <a:pt x="781085" y="539879"/>
                      <a:pt x="782837" y="541714"/>
                    </a:cubicBezTo>
                    <a:cubicBezTo>
                      <a:pt x="785506" y="543967"/>
                      <a:pt x="788176" y="546136"/>
                      <a:pt x="791263" y="547471"/>
                    </a:cubicBezTo>
                    <a:cubicBezTo>
                      <a:pt x="793015" y="548388"/>
                      <a:pt x="794350" y="548805"/>
                      <a:pt x="796102" y="548805"/>
                    </a:cubicBezTo>
                    <a:cubicBezTo>
                      <a:pt x="797854" y="548805"/>
                      <a:pt x="799606" y="547471"/>
                      <a:pt x="800106" y="546136"/>
                    </a:cubicBezTo>
                    <a:cubicBezTo>
                      <a:pt x="800523" y="544384"/>
                      <a:pt x="799689" y="542632"/>
                      <a:pt x="798354" y="540797"/>
                    </a:cubicBezTo>
                    <a:cubicBezTo>
                      <a:pt x="796102" y="537293"/>
                      <a:pt x="793933" y="533706"/>
                      <a:pt x="791680" y="530620"/>
                    </a:cubicBezTo>
                    <a:cubicBezTo>
                      <a:pt x="789427" y="527116"/>
                      <a:pt x="786841" y="523112"/>
                      <a:pt x="783254" y="520859"/>
                    </a:cubicBezTo>
                    <a:cubicBezTo>
                      <a:pt x="778832" y="518190"/>
                      <a:pt x="773493" y="517773"/>
                      <a:pt x="768154" y="517773"/>
                    </a:cubicBezTo>
                    <a:cubicBezTo>
                      <a:pt x="762398" y="517773"/>
                      <a:pt x="757058" y="517773"/>
                      <a:pt x="751301" y="518190"/>
                    </a:cubicBezTo>
                    <a:cubicBezTo>
                      <a:pt x="745962" y="518607"/>
                      <a:pt x="738871" y="520442"/>
                      <a:pt x="733615" y="519108"/>
                    </a:cubicBezTo>
                    <a:cubicBezTo>
                      <a:pt x="723854" y="516438"/>
                      <a:pt x="713259" y="509764"/>
                      <a:pt x="704416" y="505343"/>
                    </a:cubicBezTo>
                    <a:cubicBezTo>
                      <a:pt x="695989" y="501339"/>
                      <a:pt x="690650" y="494749"/>
                      <a:pt x="682308" y="490244"/>
                    </a:cubicBezTo>
                    <a:cubicBezTo>
                      <a:pt x="662368" y="479650"/>
                      <a:pt x="642846" y="468138"/>
                      <a:pt x="623825" y="455708"/>
                    </a:cubicBezTo>
                    <a:cubicBezTo>
                      <a:pt x="610561" y="446865"/>
                      <a:pt x="597212" y="437522"/>
                      <a:pt x="581778" y="433602"/>
                    </a:cubicBezTo>
                    <a:cubicBezTo>
                      <a:pt x="573769" y="431349"/>
                      <a:pt x="565426" y="430515"/>
                      <a:pt x="557001" y="428262"/>
                    </a:cubicBezTo>
                    <a:cubicBezTo>
                      <a:pt x="540648" y="423841"/>
                      <a:pt x="525966" y="412746"/>
                      <a:pt x="516706" y="398148"/>
                    </a:cubicBezTo>
                    <a:cubicBezTo>
                      <a:pt x="508696" y="385301"/>
                      <a:pt x="489675" y="378627"/>
                      <a:pt x="478162" y="368450"/>
                    </a:cubicBezTo>
                    <a:cubicBezTo>
                      <a:pt x="469736" y="360942"/>
                      <a:pt x="460893" y="353351"/>
                      <a:pt x="451132" y="347595"/>
                    </a:cubicBezTo>
                    <a:cubicBezTo>
                      <a:pt x="441788" y="342256"/>
                      <a:pt x="432110" y="338752"/>
                      <a:pt x="423184" y="332996"/>
                    </a:cubicBezTo>
                    <a:cubicBezTo>
                      <a:pt x="407667" y="322819"/>
                      <a:pt x="395737" y="305968"/>
                      <a:pt x="377549" y="303299"/>
                    </a:cubicBezTo>
                    <a:cubicBezTo>
                      <a:pt x="368706" y="301964"/>
                      <a:pt x="358528" y="304216"/>
                      <a:pt x="351436" y="298878"/>
                    </a:cubicBezTo>
                    <a:cubicBezTo>
                      <a:pt x="344762" y="294039"/>
                      <a:pt x="343011" y="284279"/>
                      <a:pt x="336837" y="278523"/>
                    </a:cubicBezTo>
                    <a:cubicBezTo>
                      <a:pt x="327076" y="269180"/>
                      <a:pt x="310224" y="273184"/>
                      <a:pt x="299212" y="265676"/>
                    </a:cubicBezTo>
                    <a:cubicBezTo>
                      <a:pt x="285946" y="256833"/>
                      <a:pt x="285946" y="235144"/>
                      <a:pt x="273099" y="225801"/>
                    </a:cubicBezTo>
                    <a:cubicBezTo>
                      <a:pt x="268677" y="222297"/>
                      <a:pt x="262504" y="220962"/>
                      <a:pt x="258917" y="216041"/>
                    </a:cubicBezTo>
                    <a:cubicBezTo>
                      <a:pt x="255329" y="211119"/>
                      <a:pt x="255830" y="204112"/>
                      <a:pt x="254911" y="198356"/>
                    </a:cubicBezTo>
                    <a:cubicBezTo>
                      <a:pt x="252242" y="175749"/>
                      <a:pt x="233220" y="158898"/>
                      <a:pt x="213699" y="146969"/>
                    </a:cubicBezTo>
                    <a:cubicBezTo>
                      <a:pt x="194177" y="135456"/>
                      <a:pt x="172069" y="126614"/>
                      <a:pt x="156969" y="109763"/>
                    </a:cubicBezTo>
                    <a:cubicBezTo>
                      <a:pt x="151212" y="103590"/>
                      <a:pt x="146373" y="95999"/>
                      <a:pt x="140116" y="90243"/>
                    </a:cubicBezTo>
                    <a:cubicBezTo>
                      <a:pt x="136112" y="86739"/>
                      <a:pt x="130773" y="83569"/>
                      <a:pt x="125517" y="82735"/>
                    </a:cubicBezTo>
                    <a:cubicBezTo>
                      <a:pt x="123264" y="82318"/>
                      <a:pt x="121095" y="82735"/>
                      <a:pt x="118843" y="81817"/>
                    </a:cubicBezTo>
                    <a:cubicBezTo>
                      <a:pt x="116173" y="80899"/>
                      <a:pt x="113503" y="80065"/>
                      <a:pt x="111334" y="78313"/>
                    </a:cubicBezTo>
                    <a:cubicBezTo>
                      <a:pt x="110417" y="77396"/>
                      <a:pt x="109583" y="76061"/>
                      <a:pt x="108247" y="75227"/>
                    </a:cubicBezTo>
                    <a:cubicBezTo>
                      <a:pt x="105160" y="71723"/>
                      <a:pt x="100739" y="69054"/>
                      <a:pt x="96317" y="66384"/>
                    </a:cubicBezTo>
                    <a:cubicBezTo>
                      <a:pt x="92313" y="64132"/>
                      <a:pt x="87474" y="61546"/>
                      <a:pt x="85222" y="57542"/>
                    </a:cubicBezTo>
                    <a:cubicBezTo>
                      <a:pt x="83720" y="57542"/>
                      <a:pt x="83303" y="56708"/>
                      <a:pt x="82886" y="5579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5639035" name="Полилиния 429"/>
              <p:cNvSpPr/>
              <p:nvPr/>
            </p:nvSpPr>
            <p:spPr bwMode="auto">
              <a:xfrm>
                <a:off x="9702176" y="4308738"/>
                <a:ext cx="61133" cy="68643"/>
              </a:xfrm>
              <a:custGeom>
                <a:avLst/>
                <a:gdLst>
                  <a:gd name="connsiteX0" fmla="*/ 60005 w 68657"/>
                  <a:gd name="connsiteY0" fmla="*/ 19937 h 77089"/>
                  <a:gd name="connsiteX1" fmla="*/ 48493 w 68657"/>
                  <a:gd name="connsiteY1" fmla="*/ 6674 h 77089"/>
                  <a:gd name="connsiteX2" fmla="*/ 36563 w 68657"/>
                  <a:gd name="connsiteY2" fmla="*/ 2669 h 77089"/>
                  <a:gd name="connsiteX3" fmla="*/ 13954 w 68657"/>
                  <a:gd name="connsiteY3" fmla="*/ 0 h 77089"/>
                  <a:gd name="connsiteX4" fmla="*/ 7781 w 68657"/>
                  <a:gd name="connsiteY4" fmla="*/ 417 h 77089"/>
                  <a:gd name="connsiteX5" fmla="*/ 2942 w 68657"/>
                  <a:gd name="connsiteY5" fmla="*/ 5255 h 77089"/>
                  <a:gd name="connsiteX6" fmla="*/ 272 w 68657"/>
                  <a:gd name="connsiteY6" fmla="*/ 25193 h 77089"/>
                  <a:gd name="connsiteX7" fmla="*/ 2942 w 68657"/>
                  <a:gd name="connsiteY7" fmla="*/ 65986 h 77089"/>
                  <a:gd name="connsiteX8" fmla="*/ 4276 w 68657"/>
                  <a:gd name="connsiteY8" fmla="*/ 69990 h 77089"/>
                  <a:gd name="connsiteX9" fmla="*/ 9115 w 68657"/>
                  <a:gd name="connsiteY9" fmla="*/ 71325 h 77089"/>
                  <a:gd name="connsiteX10" fmla="*/ 23715 w 68657"/>
                  <a:gd name="connsiteY10" fmla="*/ 61564 h 77089"/>
                  <a:gd name="connsiteX11" fmla="*/ 28136 w 68657"/>
                  <a:gd name="connsiteY11" fmla="*/ 58478 h 77089"/>
                  <a:gd name="connsiteX12" fmla="*/ 29471 w 68657"/>
                  <a:gd name="connsiteY12" fmla="*/ 59812 h 77089"/>
                  <a:gd name="connsiteX13" fmla="*/ 39233 w 68657"/>
                  <a:gd name="connsiteY13" fmla="*/ 71742 h 77089"/>
                  <a:gd name="connsiteX14" fmla="*/ 66680 w 68657"/>
                  <a:gd name="connsiteY14" fmla="*/ 65569 h 77089"/>
                  <a:gd name="connsiteX15" fmla="*/ 60005 w 68657"/>
                  <a:gd name="connsiteY15" fmla="*/ 19937 h 77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8657" h="77089" extrusionOk="0">
                    <a:moveTo>
                      <a:pt x="60005" y="19937"/>
                    </a:moveTo>
                    <a:cubicBezTo>
                      <a:pt x="56918" y="15099"/>
                      <a:pt x="53331" y="9760"/>
                      <a:pt x="48493" y="6674"/>
                    </a:cubicBezTo>
                    <a:cubicBezTo>
                      <a:pt x="44989" y="4421"/>
                      <a:pt x="40484" y="3587"/>
                      <a:pt x="36563" y="2669"/>
                    </a:cubicBezTo>
                    <a:cubicBezTo>
                      <a:pt x="29054" y="1335"/>
                      <a:pt x="21462" y="417"/>
                      <a:pt x="13954" y="0"/>
                    </a:cubicBezTo>
                    <a:cubicBezTo>
                      <a:pt x="11702" y="0"/>
                      <a:pt x="9949" y="0"/>
                      <a:pt x="7781" y="417"/>
                    </a:cubicBezTo>
                    <a:cubicBezTo>
                      <a:pt x="5528" y="1335"/>
                      <a:pt x="4276" y="3086"/>
                      <a:pt x="2942" y="5255"/>
                    </a:cubicBezTo>
                    <a:cubicBezTo>
                      <a:pt x="-562" y="11011"/>
                      <a:pt x="-145" y="18519"/>
                      <a:pt x="272" y="25193"/>
                    </a:cubicBezTo>
                    <a:cubicBezTo>
                      <a:pt x="1189" y="38957"/>
                      <a:pt x="2024" y="52221"/>
                      <a:pt x="2942" y="65986"/>
                    </a:cubicBezTo>
                    <a:cubicBezTo>
                      <a:pt x="2942" y="67320"/>
                      <a:pt x="3359" y="69072"/>
                      <a:pt x="4276" y="69990"/>
                    </a:cubicBezTo>
                    <a:cubicBezTo>
                      <a:pt x="5611" y="71325"/>
                      <a:pt x="7363" y="71325"/>
                      <a:pt x="9115" y="71325"/>
                    </a:cubicBezTo>
                    <a:cubicBezTo>
                      <a:pt x="15289" y="70407"/>
                      <a:pt x="20628" y="66903"/>
                      <a:pt x="23715" y="61564"/>
                    </a:cubicBezTo>
                    <a:cubicBezTo>
                      <a:pt x="24633" y="59812"/>
                      <a:pt x="26385" y="57560"/>
                      <a:pt x="28136" y="58478"/>
                    </a:cubicBezTo>
                    <a:cubicBezTo>
                      <a:pt x="29054" y="58895"/>
                      <a:pt x="29471" y="59395"/>
                      <a:pt x="29471" y="59812"/>
                    </a:cubicBezTo>
                    <a:cubicBezTo>
                      <a:pt x="32558" y="64234"/>
                      <a:pt x="35227" y="68238"/>
                      <a:pt x="39233" y="71742"/>
                    </a:cubicBezTo>
                    <a:cubicBezTo>
                      <a:pt x="48993" y="80584"/>
                      <a:pt x="63593" y="78415"/>
                      <a:pt x="66680" y="65569"/>
                    </a:cubicBezTo>
                    <a:cubicBezTo>
                      <a:pt x="70601" y="48717"/>
                      <a:pt x="68849" y="34536"/>
                      <a:pt x="60005" y="1993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78855968" name="Полилиния 430"/>
              <p:cNvSpPr/>
              <p:nvPr/>
            </p:nvSpPr>
            <p:spPr bwMode="auto">
              <a:xfrm>
                <a:off x="9659331" y="4351275"/>
                <a:ext cx="31942" cy="41548"/>
              </a:xfrm>
              <a:custGeom>
                <a:avLst/>
                <a:gdLst>
                  <a:gd name="connsiteX0" fmla="*/ 31452 w 35873"/>
                  <a:gd name="connsiteY0" fmla="*/ 26640 h 46661"/>
                  <a:gd name="connsiteX1" fmla="*/ 35874 w 35873"/>
                  <a:gd name="connsiteY1" fmla="*/ 14711 h 46661"/>
                  <a:gd name="connsiteX2" fmla="*/ 29700 w 35873"/>
                  <a:gd name="connsiteY2" fmla="*/ 1448 h 46661"/>
                  <a:gd name="connsiteX3" fmla="*/ 23025 w 35873"/>
                  <a:gd name="connsiteY3" fmla="*/ 1031 h 46661"/>
                  <a:gd name="connsiteX4" fmla="*/ 21274 w 35873"/>
                  <a:gd name="connsiteY4" fmla="*/ 6786 h 46661"/>
                  <a:gd name="connsiteX5" fmla="*/ 16852 w 35873"/>
                  <a:gd name="connsiteY5" fmla="*/ 17381 h 46661"/>
                  <a:gd name="connsiteX6" fmla="*/ 9761 w 35873"/>
                  <a:gd name="connsiteY6" fmla="*/ 25806 h 46661"/>
                  <a:gd name="connsiteX7" fmla="*/ 9344 w 35873"/>
                  <a:gd name="connsiteY7" fmla="*/ 27558 h 46661"/>
                  <a:gd name="connsiteX8" fmla="*/ 8009 w 35873"/>
                  <a:gd name="connsiteY8" fmla="*/ 28893 h 46661"/>
                  <a:gd name="connsiteX9" fmla="*/ 2670 w 35873"/>
                  <a:gd name="connsiteY9" fmla="*/ 34232 h 46661"/>
                  <a:gd name="connsiteX10" fmla="*/ 0 w 35873"/>
                  <a:gd name="connsiteY10" fmla="*/ 39571 h 46661"/>
                  <a:gd name="connsiteX11" fmla="*/ 3087 w 35873"/>
                  <a:gd name="connsiteY11" fmla="*/ 44910 h 46661"/>
                  <a:gd name="connsiteX12" fmla="*/ 6590 w 35873"/>
                  <a:gd name="connsiteY12" fmla="*/ 46661 h 46661"/>
                  <a:gd name="connsiteX13" fmla="*/ 11013 w 35873"/>
                  <a:gd name="connsiteY13" fmla="*/ 45327 h 46661"/>
                  <a:gd name="connsiteX14" fmla="*/ 22942 w 35873"/>
                  <a:gd name="connsiteY14" fmla="*/ 32897 h 46661"/>
                  <a:gd name="connsiteX15" fmla="*/ 28698 w 35873"/>
                  <a:gd name="connsiteY15" fmla="*/ 31563 h 46661"/>
                  <a:gd name="connsiteX16" fmla="*/ 29617 w 35873"/>
                  <a:gd name="connsiteY16" fmla="*/ 29310 h 46661"/>
                  <a:gd name="connsiteX17" fmla="*/ 31452 w 35873"/>
                  <a:gd name="connsiteY17" fmla="*/ 26640 h 46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5873" h="46661" extrusionOk="0">
                    <a:moveTo>
                      <a:pt x="31452" y="26640"/>
                    </a:moveTo>
                    <a:cubicBezTo>
                      <a:pt x="33704" y="22636"/>
                      <a:pt x="35874" y="19967"/>
                      <a:pt x="35874" y="14711"/>
                    </a:cubicBezTo>
                    <a:cubicBezTo>
                      <a:pt x="35874" y="10290"/>
                      <a:pt x="33621" y="4117"/>
                      <a:pt x="29700" y="1448"/>
                    </a:cubicBezTo>
                    <a:cubicBezTo>
                      <a:pt x="27447" y="113"/>
                      <a:pt x="24861" y="-805"/>
                      <a:pt x="23025" y="1031"/>
                    </a:cubicBezTo>
                    <a:cubicBezTo>
                      <a:pt x="21691" y="2365"/>
                      <a:pt x="21691" y="4534"/>
                      <a:pt x="21274" y="6786"/>
                    </a:cubicBezTo>
                    <a:cubicBezTo>
                      <a:pt x="20857" y="10790"/>
                      <a:pt x="19521" y="14294"/>
                      <a:pt x="16852" y="17381"/>
                    </a:cubicBezTo>
                    <a:cubicBezTo>
                      <a:pt x="14600" y="20050"/>
                      <a:pt x="10178" y="22219"/>
                      <a:pt x="9761" y="25806"/>
                    </a:cubicBezTo>
                    <a:cubicBezTo>
                      <a:pt x="9761" y="26223"/>
                      <a:pt x="9761" y="27141"/>
                      <a:pt x="9344" y="27558"/>
                    </a:cubicBezTo>
                    <a:cubicBezTo>
                      <a:pt x="8927" y="27975"/>
                      <a:pt x="8426" y="28476"/>
                      <a:pt x="8009" y="28893"/>
                    </a:cubicBezTo>
                    <a:cubicBezTo>
                      <a:pt x="6257" y="30645"/>
                      <a:pt x="4505" y="32397"/>
                      <a:pt x="2670" y="34232"/>
                    </a:cubicBezTo>
                    <a:cubicBezTo>
                      <a:pt x="1335" y="35984"/>
                      <a:pt x="0" y="37736"/>
                      <a:pt x="0" y="39571"/>
                    </a:cubicBezTo>
                    <a:cubicBezTo>
                      <a:pt x="0" y="41823"/>
                      <a:pt x="1752" y="43074"/>
                      <a:pt x="3087" y="44910"/>
                    </a:cubicBezTo>
                    <a:cubicBezTo>
                      <a:pt x="4004" y="45827"/>
                      <a:pt x="5339" y="46661"/>
                      <a:pt x="6590" y="46661"/>
                    </a:cubicBezTo>
                    <a:cubicBezTo>
                      <a:pt x="8343" y="46661"/>
                      <a:pt x="9677" y="45327"/>
                      <a:pt x="11013" y="45327"/>
                    </a:cubicBezTo>
                    <a:cubicBezTo>
                      <a:pt x="11013" y="39153"/>
                      <a:pt x="16351" y="33398"/>
                      <a:pt x="22942" y="32897"/>
                    </a:cubicBezTo>
                    <a:cubicBezTo>
                      <a:pt x="24694" y="32897"/>
                      <a:pt x="27364" y="32897"/>
                      <a:pt x="28698" y="31563"/>
                    </a:cubicBezTo>
                    <a:cubicBezTo>
                      <a:pt x="29115" y="31145"/>
                      <a:pt x="29617" y="30228"/>
                      <a:pt x="29617" y="29310"/>
                    </a:cubicBezTo>
                    <a:cubicBezTo>
                      <a:pt x="30534" y="28392"/>
                      <a:pt x="31035" y="27475"/>
                      <a:pt x="31452" y="2664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5700646" name="Полилиния 431"/>
              <p:cNvSpPr/>
              <p:nvPr/>
            </p:nvSpPr>
            <p:spPr bwMode="auto">
              <a:xfrm>
                <a:off x="9758653" y="4420552"/>
                <a:ext cx="31363" cy="52198"/>
              </a:xfrm>
              <a:custGeom>
                <a:avLst/>
                <a:gdLst>
                  <a:gd name="connsiteX0" fmla="*/ 33287 w 35223"/>
                  <a:gd name="connsiteY0" fmla="*/ 19247 h 58621"/>
                  <a:gd name="connsiteX1" fmla="*/ 35039 w 35223"/>
                  <a:gd name="connsiteY1" fmla="*/ 9070 h 58621"/>
                  <a:gd name="connsiteX2" fmla="*/ 32369 w 35223"/>
                  <a:gd name="connsiteY2" fmla="*/ 2396 h 58621"/>
                  <a:gd name="connsiteX3" fmla="*/ 24360 w 35223"/>
                  <a:gd name="connsiteY3" fmla="*/ 144 h 58621"/>
                  <a:gd name="connsiteX4" fmla="*/ 6173 w 35223"/>
                  <a:gd name="connsiteY4" fmla="*/ 19164 h 58621"/>
                  <a:gd name="connsiteX5" fmla="*/ 4421 w 35223"/>
                  <a:gd name="connsiteY5" fmla="*/ 30675 h 58621"/>
                  <a:gd name="connsiteX6" fmla="*/ 1335 w 35223"/>
                  <a:gd name="connsiteY6" fmla="*/ 33345 h 58621"/>
                  <a:gd name="connsiteX7" fmla="*/ 417 w 35223"/>
                  <a:gd name="connsiteY7" fmla="*/ 37766 h 58621"/>
                  <a:gd name="connsiteX8" fmla="*/ 0 w 35223"/>
                  <a:gd name="connsiteY8" fmla="*/ 45775 h 58621"/>
                  <a:gd name="connsiteX9" fmla="*/ 917 w 35223"/>
                  <a:gd name="connsiteY9" fmla="*/ 51531 h 58621"/>
                  <a:gd name="connsiteX10" fmla="*/ 5339 w 35223"/>
                  <a:gd name="connsiteY10" fmla="*/ 55535 h 58621"/>
                  <a:gd name="connsiteX11" fmla="*/ 18187 w 35223"/>
                  <a:gd name="connsiteY11" fmla="*/ 58621 h 58621"/>
                  <a:gd name="connsiteX12" fmla="*/ 20857 w 35223"/>
                  <a:gd name="connsiteY12" fmla="*/ 58204 h 58621"/>
                  <a:gd name="connsiteX13" fmla="*/ 22608 w 35223"/>
                  <a:gd name="connsiteY13" fmla="*/ 55952 h 58621"/>
                  <a:gd name="connsiteX14" fmla="*/ 27447 w 35223"/>
                  <a:gd name="connsiteY14" fmla="*/ 45358 h 58621"/>
                  <a:gd name="connsiteX15" fmla="*/ 26112 w 35223"/>
                  <a:gd name="connsiteY15" fmla="*/ 31593 h 58621"/>
                  <a:gd name="connsiteX16" fmla="*/ 33287 w 35223"/>
                  <a:gd name="connsiteY16" fmla="*/ 19247 h 58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5223" h="58621" extrusionOk="0">
                    <a:moveTo>
                      <a:pt x="33287" y="19247"/>
                    </a:moveTo>
                    <a:cubicBezTo>
                      <a:pt x="35039" y="16160"/>
                      <a:pt x="35540" y="12573"/>
                      <a:pt x="35039" y="9070"/>
                    </a:cubicBezTo>
                    <a:cubicBezTo>
                      <a:pt x="34622" y="6817"/>
                      <a:pt x="34121" y="4231"/>
                      <a:pt x="32369" y="2396"/>
                    </a:cubicBezTo>
                    <a:cubicBezTo>
                      <a:pt x="30617" y="144"/>
                      <a:pt x="27030" y="-274"/>
                      <a:pt x="24360" y="144"/>
                    </a:cubicBezTo>
                    <a:cubicBezTo>
                      <a:pt x="14600" y="1061"/>
                      <a:pt x="6674" y="9487"/>
                      <a:pt x="6173" y="19164"/>
                    </a:cubicBezTo>
                    <a:cubicBezTo>
                      <a:pt x="6173" y="23168"/>
                      <a:pt x="7091" y="27589"/>
                      <a:pt x="4421" y="30675"/>
                    </a:cubicBezTo>
                    <a:cubicBezTo>
                      <a:pt x="3503" y="31593"/>
                      <a:pt x="2169" y="32427"/>
                      <a:pt x="1335" y="33345"/>
                    </a:cubicBezTo>
                    <a:cubicBezTo>
                      <a:pt x="417" y="34680"/>
                      <a:pt x="417" y="36431"/>
                      <a:pt x="417" y="37766"/>
                    </a:cubicBezTo>
                    <a:cubicBezTo>
                      <a:pt x="417" y="40436"/>
                      <a:pt x="0" y="43105"/>
                      <a:pt x="0" y="45775"/>
                    </a:cubicBezTo>
                    <a:cubicBezTo>
                      <a:pt x="0" y="47527"/>
                      <a:pt x="0" y="49779"/>
                      <a:pt x="917" y="51531"/>
                    </a:cubicBezTo>
                    <a:cubicBezTo>
                      <a:pt x="1835" y="53283"/>
                      <a:pt x="3587" y="54617"/>
                      <a:pt x="5339" y="55535"/>
                    </a:cubicBezTo>
                    <a:cubicBezTo>
                      <a:pt x="9343" y="57787"/>
                      <a:pt x="13765" y="58621"/>
                      <a:pt x="18187" y="58621"/>
                    </a:cubicBezTo>
                    <a:cubicBezTo>
                      <a:pt x="19104" y="58621"/>
                      <a:pt x="19939" y="58621"/>
                      <a:pt x="20857" y="58204"/>
                    </a:cubicBezTo>
                    <a:cubicBezTo>
                      <a:pt x="21774" y="57787"/>
                      <a:pt x="22191" y="56869"/>
                      <a:pt x="22608" y="55952"/>
                    </a:cubicBezTo>
                    <a:cubicBezTo>
                      <a:pt x="24861" y="52448"/>
                      <a:pt x="26613" y="48861"/>
                      <a:pt x="27447" y="45358"/>
                    </a:cubicBezTo>
                    <a:cubicBezTo>
                      <a:pt x="28782" y="40019"/>
                      <a:pt x="26112" y="36515"/>
                      <a:pt x="26112" y="31593"/>
                    </a:cubicBezTo>
                    <a:cubicBezTo>
                      <a:pt x="26196" y="25420"/>
                      <a:pt x="30701" y="23668"/>
                      <a:pt x="33287" y="19247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61748957" name="Полилиния 432"/>
              <p:cNvSpPr/>
              <p:nvPr/>
            </p:nvSpPr>
            <p:spPr bwMode="auto">
              <a:xfrm>
                <a:off x="11415533" y="4625344"/>
                <a:ext cx="31515" cy="39944"/>
              </a:xfrm>
              <a:custGeom>
                <a:avLst/>
                <a:gdLst>
                  <a:gd name="connsiteX0" fmla="*/ 35395 w 35394"/>
                  <a:gd name="connsiteY0" fmla="*/ 12075 h 44859"/>
                  <a:gd name="connsiteX1" fmla="*/ 3025 w 35394"/>
                  <a:gd name="connsiteY1" fmla="*/ 44860 h 44859"/>
                  <a:gd name="connsiteX2" fmla="*/ 1273 w 35394"/>
                  <a:gd name="connsiteY2" fmla="*/ 40855 h 44859"/>
                  <a:gd name="connsiteX3" fmla="*/ 12368 w 35394"/>
                  <a:gd name="connsiteY3" fmla="*/ 2315 h 44859"/>
                  <a:gd name="connsiteX4" fmla="*/ 28720 w 35394"/>
                  <a:gd name="connsiteY4" fmla="*/ 2315 h 44859"/>
                  <a:gd name="connsiteX5" fmla="*/ 35395 w 35394"/>
                  <a:gd name="connsiteY5" fmla="*/ 12075 h 44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394" h="44859" extrusionOk="0">
                    <a:moveTo>
                      <a:pt x="35395" y="12075"/>
                    </a:moveTo>
                    <a:lnTo>
                      <a:pt x="3025" y="44860"/>
                    </a:lnTo>
                    <a:cubicBezTo>
                      <a:pt x="2107" y="43525"/>
                      <a:pt x="1690" y="42190"/>
                      <a:pt x="1273" y="40855"/>
                    </a:cubicBezTo>
                    <a:cubicBezTo>
                      <a:pt x="-3149" y="27591"/>
                      <a:pt x="4777" y="13827"/>
                      <a:pt x="12368" y="2315"/>
                    </a:cubicBezTo>
                    <a:cubicBezTo>
                      <a:pt x="17208" y="-772"/>
                      <a:pt x="23882" y="-772"/>
                      <a:pt x="28720" y="2315"/>
                    </a:cubicBezTo>
                    <a:cubicBezTo>
                      <a:pt x="32308" y="4567"/>
                      <a:pt x="34977" y="8071"/>
                      <a:pt x="35395" y="1207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17011747" name="Полилиния 433"/>
              <p:cNvSpPr/>
              <p:nvPr/>
            </p:nvSpPr>
            <p:spPr bwMode="auto">
              <a:xfrm>
                <a:off x="11389774" y="4694110"/>
                <a:ext cx="37143" cy="72943"/>
              </a:xfrm>
              <a:custGeom>
                <a:avLst/>
                <a:gdLst>
                  <a:gd name="connsiteX0" fmla="*/ 39462 w 41713"/>
                  <a:gd name="connsiteY0" fmla="*/ 17685 h 81919"/>
                  <a:gd name="connsiteX1" fmla="*/ 41213 w 41713"/>
                  <a:gd name="connsiteY1" fmla="*/ 40709 h 81919"/>
                  <a:gd name="connsiteX2" fmla="*/ 41213 w 41713"/>
                  <a:gd name="connsiteY2" fmla="*/ 41127 h 81919"/>
                  <a:gd name="connsiteX3" fmla="*/ 0 w 41713"/>
                  <a:gd name="connsiteY3" fmla="*/ 81919 h 81919"/>
                  <a:gd name="connsiteX4" fmla="*/ 1335 w 41713"/>
                  <a:gd name="connsiteY4" fmla="*/ 55808 h 81919"/>
                  <a:gd name="connsiteX5" fmla="*/ 918 w 41713"/>
                  <a:gd name="connsiteY5" fmla="*/ 40292 h 81919"/>
                  <a:gd name="connsiteX6" fmla="*/ 41713 w 41713"/>
                  <a:gd name="connsiteY6" fmla="*/ 0 h 81919"/>
                  <a:gd name="connsiteX7" fmla="*/ 39462 w 41713"/>
                  <a:gd name="connsiteY7" fmla="*/ 17685 h 81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713" h="81919" extrusionOk="0">
                    <a:moveTo>
                      <a:pt x="39462" y="17685"/>
                    </a:moveTo>
                    <a:cubicBezTo>
                      <a:pt x="39879" y="25193"/>
                      <a:pt x="40796" y="33202"/>
                      <a:pt x="41213" y="40709"/>
                    </a:cubicBezTo>
                    <a:lnTo>
                      <a:pt x="41213" y="41127"/>
                    </a:lnTo>
                    <a:lnTo>
                      <a:pt x="0" y="81919"/>
                    </a:lnTo>
                    <a:cubicBezTo>
                      <a:pt x="417" y="73076"/>
                      <a:pt x="918" y="64234"/>
                      <a:pt x="1335" y="55808"/>
                    </a:cubicBezTo>
                    <a:cubicBezTo>
                      <a:pt x="1752" y="50469"/>
                      <a:pt x="1752" y="45214"/>
                      <a:pt x="918" y="40292"/>
                    </a:cubicBezTo>
                    <a:lnTo>
                      <a:pt x="41713" y="0"/>
                    </a:lnTo>
                    <a:cubicBezTo>
                      <a:pt x="40379" y="5256"/>
                      <a:pt x="39462" y="11429"/>
                      <a:pt x="39462" y="17685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2657923" name="Полилиния 434"/>
              <p:cNvSpPr/>
              <p:nvPr/>
            </p:nvSpPr>
            <p:spPr bwMode="auto">
              <a:xfrm>
                <a:off x="11388621" y="4779236"/>
                <a:ext cx="31628" cy="54001"/>
              </a:xfrm>
              <a:custGeom>
                <a:avLst/>
                <a:gdLst>
                  <a:gd name="connsiteX0" fmla="*/ 29744 w 35520"/>
                  <a:gd name="connsiteY0" fmla="*/ 35871 h 60646"/>
                  <a:gd name="connsiteX1" fmla="*/ 30161 w 35520"/>
                  <a:gd name="connsiteY1" fmla="*/ 40292 h 60646"/>
                  <a:gd name="connsiteX2" fmla="*/ 10222 w 35520"/>
                  <a:gd name="connsiteY2" fmla="*/ 60647 h 60646"/>
                  <a:gd name="connsiteX3" fmla="*/ 1379 w 35520"/>
                  <a:gd name="connsiteY3" fmla="*/ 46465 h 60646"/>
                  <a:gd name="connsiteX4" fmla="*/ 43 w 35520"/>
                  <a:gd name="connsiteY4" fmla="*/ 29614 h 60646"/>
                  <a:gd name="connsiteX5" fmla="*/ 43 w 35520"/>
                  <a:gd name="connsiteY5" fmla="*/ 29197 h 60646"/>
                  <a:gd name="connsiteX6" fmla="*/ 29243 w 35520"/>
                  <a:gd name="connsiteY6" fmla="*/ 0 h 60646"/>
                  <a:gd name="connsiteX7" fmla="*/ 32747 w 35520"/>
                  <a:gd name="connsiteY7" fmla="*/ 4004 h 60646"/>
                  <a:gd name="connsiteX8" fmla="*/ 35417 w 35520"/>
                  <a:gd name="connsiteY8" fmla="*/ 16434 h 60646"/>
                  <a:gd name="connsiteX9" fmla="*/ 29744 w 35520"/>
                  <a:gd name="connsiteY9" fmla="*/ 35871 h 6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520" h="60646" extrusionOk="0">
                    <a:moveTo>
                      <a:pt x="29744" y="35871"/>
                    </a:moveTo>
                    <a:cubicBezTo>
                      <a:pt x="29744" y="37206"/>
                      <a:pt x="29744" y="38958"/>
                      <a:pt x="30161" y="40292"/>
                    </a:cubicBezTo>
                    <a:lnTo>
                      <a:pt x="10222" y="60647"/>
                    </a:lnTo>
                    <a:cubicBezTo>
                      <a:pt x="6718" y="56225"/>
                      <a:pt x="3130" y="51804"/>
                      <a:pt x="1379" y="46465"/>
                    </a:cubicBezTo>
                    <a:cubicBezTo>
                      <a:pt x="-374" y="41126"/>
                      <a:pt x="43" y="35370"/>
                      <a:pt x="43" y="29614"/>
                    </a:cubicBezTo>
                    <a:lnTo>
                      <a:pt x="43" y="29197"/>
                    </a:lnTo>
                    <a:lnTo>
                      <a:pt x="29243" y="0"/>
                    </a:lnTo>
                    <a:cubicBezTo>
                      <a:pt x="30578" y="1335"/>
                      <a:pt x="31913" y="2670"/>
                      <a:pt x="32747" y="4004"/>
                    </a:cubicBezTo>
                    <a:cubicBezTo>
                      <a:pt x="35000" y="7508"/>
                      <a:pt x="35834" y="12012"/>
                      <a:pt x="35417" y="16434"/>
                    </a:cubicBezTo>
                    <a:cubicBezTo>
                      <a:pt x="34582" y="23024"/>
                      <a:pt x="30161" y="28864"/>
                      <a:pt x="29744" y="35871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8771163" name="Полилиния 435"/>
              <p:cNvSpPr/>
              <p:nvPr/>
            </p:nvSpPr>
            <p:spPr bwMode="auto">
              <a:xfrm>
                <a:off x="11345481" y="4905508"/>
                <a:ext cx="39612" cy="48066"/>
              </a:xfrm>
              <a:custGeom>
                <a:avLst/>
                <a:gdLst>
                  <a:gd name="connsiteX0" fmla="*/ 44071 w 44487"/>
                  <a:gd name="connsiteY0" fmla="*/ 2594 h 53981"/>
                  <a:gd name="connsiteX1" fmla="*/ 44488 w 44487"/>
                  <a:gd name="connsiteY1" fmla="*/ 5680 h 53981"/>
                  <a:gd name="connsiteX2" fmla="*/ 40066 w 44487"/>
                  <a:gd name="connsiteY2" fmla="*/ 14523 h 53981"/>
                  <a:gd name="connsiteX3" fmla="*/ 38315 w 44487"/>
                  <a:gd name="connsiteY3" fmla="*/ 16776 h 53981"/>
                  <a:gd name="connsiteX4" fmla="*/ 39232 w 44487"/>
                  <a:gd name="connsiteY4" fmla="*/ 20279 h 53981"/>
                  <a:gd name="connsiteX5" fmla="*/ 5527 w 44487"/>
                  <a:gd name="connsiteY5" fmla="*/ 53981 h 53981"/>
                  <a:gd name="connsiteX6" fmla="*/ 1106 w 44487"/>
                  <a:gd name="connsiteY6" fmla="*/ 47808 h 53981"/>
                  <a:gd name="connsiteX7" fmla="*/ 3776 w 44487"/>
                  <a:gd name="connsiteY7" fmla="*/ 30123 h 53981"/>
                  <a:gd name="connsiteX8" fmla="*/ 13954 w 44487"/>
                  <a:gd name="connsiteY8" fmla="*/ 18193 h 53981"/>
                  <a:gd name="connsiteX9" fmla="*/ 28136 w 44487"/>
                  <a:gd name="connsiteY9" fmla="*/ 16442 h 53981"/>
                  <a:gd name="connsiteX10" fmla="*/ 32558 w 44487"/>
                  <a:gd name="connsiteY10" fmla="*/ 8433 h 53981"/>
                  <a:gd name="connsiteX11" fmla="*/ 36979 w 44487"/>
                  <a:gd name="connsiteY11" fmla="*/ 425 h 53981"/>
                  <a:gd name="connsiteX12" fmla="*/ 44071 w 44487"/>
                  <a:gd name="connsiteY12" fmla="*/ 2594 h 53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487" h="53981" extrusionOk="0">
                    <a:moveTo>
                      <a:pt x="44071" y="2594"/>
                    </a:moveTo>
                    <a:cubicBezTo>
                      <a:pt x="44488" y="3512"/>
                      <a:pt x="44488" y="4846"/>
                      <a:pt x="44488" y="5680"/>
                    </a:cubicBezTo>
                    <a:cubicBezTo>
                      <a:pt x="44071" y="9184"/>
                      <a:pt x="42235" y="12354"/>
                      <a:pt x="40066" y="14523"/>
                    </a:cubicBezTo>
                    <a:cubicBezTo>
                      <a:pt x="39649" y="15441"/>
                      <a:pt x="38732" y="15858"/>
                      <a:pt x="38315" y="16776"/>
                    </a:cubicBezTo>
                    <a:cubicBezTo>
                      <a:pt x="37898" y="18110"/>
                      <a:pt x="38315" y="19445"/>
                      <a:pt x="39232" y="20279"/>
                    </a:cubicBezTo>
                    <a:lnTo>
                      <a:pt x="5527" y="53981"/>
                    </a:lnTo>
                    <a:cubicBezTo>
                      <a:pt x="4193" y="51729"/>
                      <a:pt x="2441" y="50477"/>
                      <a:pt x="1106" y="47808"/>
                    </a:cubicBezTo>
                    <a:cubicBezTo>
                      <a:pt x="-1564" y="42469"/>
                      <a:pt x="1106" y="35879"/>
                      <a:pt x="3776" y="30123"/>
                    </a:cubicBezTo>
                    <a:cubicBezTo>
                      <a:pt x="6028" y="25284"/>
                      <a:pt x="8614" y="19945"/>
                      <a:pt x="13954" y="18193"/>
                    </a:cubicBezTo>
                    <a:cubicBezTo>
                      <a:pt x="18375" y="16859"/>
                      <a:pt x="24132" y="19111"/>
                      <a:pt x="28136" y="16442"/>
                    </a:cubicBezTo>
                    <a:cubicBezTo>
                      <a:pt x="30806" y="14690"/>
                      <a:pt x="31641" y="11603"/>
                      <a:pt x="32558" y="8433"/>
                    </a:cubicBezTo>
                    <a:cubicBezTo>
                      <a:pt x="33475" y="5764"/>
                      <a:pt x="34811" y="2260"/>
                      <a:pt x="36979" y="425"/>
                    </a:cubicBezTo>
                    <a:cubicBezTo>
                      <a:pt x="38732" y="-493"/>
                      <a:pt x="42736" y="8"/>
                      <a:pt x="44071" y="259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44845820" name="Полилиния 436"/>
              <p:cNvSpPr/>
              <p:nvPr/>
            </p:nvSpPr>
            <p:spPr bwMode="auto">
              <a:xfrm>
                <a:off x="11403454" y="4850622"/>
                <a:ext cx="13212" cy="26491"/>
              </a:xfrm>
              <a:custGeom>
                <a:avLst/>
                <a:gdLst>
                  <a:gd name="connsiteX0" fmla="*/ 14838 w 14837"/>
                  <a:gd name="connsiteY0" fmla="*/ 0 h 29751"/>
                  <a:gd name="connsiteX1" fmla="*/ 14838 w 14837"/>
                  <a:gd name="connsiteY1" fmla="*/ 918 h 29751"/>
                  <a:gd name="connsiteX2" fmla="*/ 13503 w 14837"/>
                  <a:gd name="connsiteY2" fmla="*/ 20855 h 29751"/>
                  <a:gd name="connsiteX3" fmla="*/ 4159 w 14837"/>
                  <a:gd name="connsiteY3" fmla="*/ 29281 h 29751"/>
                  <a:gd name="connsiteX4" fmla="*/ 1490 w 14837"/>
                  <a:gd name="connsiteY4" fmla="*/ 25777 h 29751"/>
                  <a:gd name="connsiteX5" fmla="*/ 155 w 14837"/>
                  <a:gd name="connsiteY5" fmla="*/ 14682 h 29751"/>
                  <a:gd name="connsiteX6" fmla="*/ 14838 w 14837"/>
                  <a:gd name="connsiteY6" fmla="*/ 0 h 29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837" h="29751" extrusionOk="0">
                    <a:moveTo>
                      <a:pt x="14838" y="0"/>
                    </a:moveTo>
                    <a:lnTo>
                      <a:pt x="14838" y="918"/>
                    </a:lnTo>
                    <a:cubicBezTo>
                      <a:pt x="14421" y="7591"/>
                      <a:pt x="14838" y="14682"/>
                      <a:pt x="13503" y="20855"/>
                    </a:cubicBezTo>
                    <a:cubicBezTo>
                      <a:pt x="12585" y="25693"/>
                      <a:pt x="8665" y="31449"/>
                      <a:pt x="4159" y="29281"/>
                    </a:cubicBezTo>
                    <a:cubicBezTo>
                      <a:pt x="2825" y="28363"/>
                      <a:pt x="1907" y="27028"/>
                      <a:pt x="1490" y="25777"/>
                    </a:cubicBezTo>
                    <a:cubicBezTo>
                      <a:pt x="155" y="22273"/>
                      <a:pt x="-262" y="18686"/>
                      <a:pt x="155" y="14682"/>
                    </a:cubicBezTo>
                    <a:lnTo>
                      <a:pt x="14838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42222965" name="Полилиния 437"/>
              <p:cNvSpPr/>
              <p:nvPr/>
            </p:nvSpPr>
            <p:spPr bwMode="auto">
              <a:xfrm>
                <a:off x="11356153" y="4961003"/>
                <a:ext cx="25463" cy="52516"/>
              </a:xfrm>
              <a:custGeom>
                <a:avLst/>
                <a:gdLst>
                  <a:gd name="connsiteX0" fmla="*/ 26746 w 28597"/>
                  <a:gd name="connsiteY0" fmla="*/ 29364 h 58978"/>
                  <a:gd name="connsiteX1" fmla="*/ 26329 w 28597"/>
                  <a:gd name="connsiteY1" fmla="*/ 41293 h 58978"/>
                  <a:gd name="connsiteX2" fmla="*/ 8643 w 28597"/>
                  <a:gd name="connsiteY2" fmla="*/ 58978 h 58978"/>
                  <a:gd name="connsiteX3" fmla="*/ 6390 w 28597"/>
                  <a:gd name="connsiteY3" fmla="*/ 53639 h 58978"/>
                  <a:gd name="connsiteX4" fmla="*/ 1551 w 28597"/>
                  <a:gd name="connsiteY4" fmla="*/ 46966 h 58978"/>
                  <a:gd name="connsiteX5" fmla="*/ 2469 w 28597"/>
                  <a:gd name="connsiteY5" fmla="*/ 28363 h 58978"/>
                  <a:gd name="connsiteX6" fmla="*/ 3387 w 28597"/>
                  <a:gd name="connsiteY6" fmla="*/ 23941 h 58978"/>
                  <a:gd name="connsiteX7" fmla="*/ 27330 w 28597"/>
                  <a:gd name="connsiteY7" fmla="*/ 0 h 58978"/>
                  <a:gd name="connsiteX8" fmla="*/ 26746 w 28597"/>
                  <a:gd name="connsiteY8" fmla="*/ 29364 h 5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97" h="58978" extrusionOk="0">
                    <a:moveTo>
                      <a:pt x="26746" y="29364"/>
                    </a:moveTo>
                    <a:cubicBezTo>
                      <a:pt x="26329" y="33368"/>
                      <a:pt x="25828" y="37372"/>
                      <a:pt x="26329" y="41293"/>
                    </a:cubicBezTo>
                    <a:lnTo>
                      <a:pt x="8643" y="58978"/>
                    </a:lnTo>
                    <a:cubicBezTo>
                      <a:pt x="8226" y="56726"/>
                      <a:pt x="7725" y="55475"/>
                      <a:pt x="6390" y="53639"/>
                    </a:cubicBezTo>
                    <a:cubicBezTo>
                      <a:pt x="5056" y="51387"/>
                      <a:pt x="2886" y="49218"/>
                      <a:pt x="1551" y="46966"/>
                    </a:cubicBezTo>
                    <a:cubicBezTo>
                      <a:pt x="-1536" y="41210"/>
                      <a:pt x="633" y="34536"/>
                      <a:pt x="2469" y="28363"/>
                    </a:cubicBezTo>
                    <a:lnTo>
                      <a:pt x="3387" y="23941"/>
                    </a:lnTo>
                    <a:lnTo>
                      <a:pt x="27330" y="0"/>
                    </a:lnTo>
                    <a:cubicBezTo>
                      <a:pt x="29833" y="9843"/>
                      <a:pt x="28081" y="18686"/>
                      <a:pt x="26746" y="2936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8909564" name="Полилиния 438"/>
              <p:cNvSpPr/>
              <p:nvPr/>
            </p:nvSpPr>
            <p:spPr bwMode="auto">
              <a:xfrm>
                <a:off x="11362957" y="5037588"/>
                <a:ext cx="22793" cy="30567"/>
              </a:xfrm>
              <a:custGeom>
                <a:avLst/>
                <a:gdLst>
                  <a:gd name="connsiteX0" fmla="*/ 24861 w 25598"/>
                  <a:gd name="connsiteY0" fmla="*/ 13764 h 34329"/>
                  <a:gd name="connsiteX1" fmla="*/ 23944 w 25598"/>
                  <a:gd name="connsiteY1" fmla="*/ 19938 h 34329"/>
                  <a:gd name="connsiteX2" fmla="*/ 12431 w 25598"/>
                  <a:gd name="connsiteY2" fmla="*/ 25277 h 34329"/>
                  <a:gd name="connsiteX3" fmla="*/ 9761 w 25598"/>
                  <a:gd name="connsiteY3" fmla="*/ 34119 h 34329"/>
                  <a:gd name="connsiteX4" fmla="*/ 4421 w 25598"/>
                  <a:gd name="connsiteY4" fmla="*/ 30615 h 34329"/>
                  <a:gd name="connsiteX5" fmla="*/ 4004 w 25598"/>
                  <a:gd name="connsiteY5" fmla="*/ 23525 h 34329"/>
                  <a:gd name="connsiteX6" fmla="*/ 0 w 25598"/>
                  <a:gd name="connsiteY6" fmla="*/ 15516 h 34329"/>
                  <a:gd name="connsiteX7" fmla="*/ 15517 w 25598"/>
                  <a:gd name="connsiteY7" fmla="*/ 0 h 34329"/>
                  <a:gd name="connsiteX8" fmla="*/ 20356 w 25598"/>
                  <a:gd name="connsiteY8" fmla="*/ 8843 h 34329"/>
                  <a:gd name="connsiteX9" fmla="*/ 24861 w 25598"/>
                  <a:gd name="connsiteY9" fmla="*/ 13764 h 3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98" h="34329" extrusionOk="0">
                    <a:moveTo>
                      <a:pt x="24861" y="13764"/>
                    </a:moveTo>
                    <a:cubicBezTo>
                      <a:pt x="25779" y="16017"/>
                      <a:pt x="26196" y="18603"/>
                      <a:pt x="23944" y="19938"/>
                    </a:cubicBezTo>
                    <a:cubicBezTo>
                      <a:pt x="19522" y="17268"/>
                      <a:pt x="13348" y="20355"/>
                      <a:pt x="12431" y="25277"/>
                    </a:cubicBezTo>
                    <a:cubicBezTo>
                      <a:pt x="11513" y="28363"/>
                      <a:pt x="12848" y="33285"/>
                      <a:pt x="9761" y="34119"/>
                    </a:cubicBezTo>
                    <a:cubicBezTo>
                      <a:pt x="7508" y="35037"/>
                      <a:pt x="5340" y="32785"/>
                      <a:pt x="4421" y="30615"/>
                    </a:cubicBezTo>
                    <a:cubicBezTo>
                      <a:pt x="4004" y="27946"/>
                      <a:pt x="4421" y="25777"/>
                      <a:pt x="4004" y="23525"/>
                    </a:cubicBezTo>
                    <a:cubicBezTo>
                      <a:pt x="3587" y="20438"/>
                      <a:pt x="1752" y="18186"/>
                      <a:pt x="0" y="15516"/>
                    </a:cubicBezTo>
                    <a:lnTo>
                      <a:pt x="15517" y="0"/>
                    </a:lnTo>
                    <a:cubicBezTo>
                      <a:pt x="16435" y="3087"/>
                      <a:pt x="17770" y="6674"/>
                      <a:pt x="20356" y="8843"/>
                    </a:cubicBezTo>
                    <a:cubicBezTo>
                      <a:pt x="21774" y="10678"/>
                      <a:pt x="24027" y="11512"/>
                      <a:pt x="24861" y="1376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8448808" name="Полилиния 439"/>
              <p:cNvSpPr/>
              <p:nvPr/>
            </p:nvSpPr>
            <p:spPr bwMode="auto">
              <a:xfrm>
                <a:off x="11457068" y="4942656"/>
                <a:ext cx="17683" cy="28701"/>
              </a:xfrm>
              <a:custGeom>
                <a:avLst/>
                <a:gdLst>
                  <a:gd name="connsiteX0" fmla="*/ 19785 w 19860"/>
                  <a:gd name="connsiteY0" fmla="*/ 11429 h 32232"/>
                  <a:gd name="connsiteX1" fmla="*/ 5602 w 19860"/>
                  <a:gd name="connsiteY1" fmla="*/ 30949 h 32232"/>
                  <a:gd name="connsiteX2" fmla="*/ 4684 w 19860"/>
                  <a:gd name="connsiteY2" fmla="*/ 20355 h 32232"/>
                  <a:gd name="connsiteX3" fmla="*/ 6436 w 19860"/>
                  <a:gd name="connsiteY3" fmla="*/ 19020 h 32232"/>
                  <a:gd name="connsiteX4" fmla="*/ 6853 w 19860"/>
                  <a:gd name="connsiteY4" fmla="*/ 17268 h 32232"/>
                  <a:gd name="connsiteX5" fmla="*/ 3767 w 19860"/>
                  <a:gd name="connsiteY5" fmla="*/ 12430 h 32232"/>
                  <a:gd name="connsiteX6" fmla="*/ 16197 w 19860"/>
                  <a:gd name="connsiteY6" fmla="*/ 0 h 32232"/>
                  <a:gd name="connsiteX7" fmla="*/ 17115 w 19860"/>
                  <a:gd name="connsiteY7" fmla="*/ 2253 h 32232"/>
                  <a:gd name="connsiteX8" fmla="*/ 19785 w 19860"/>
                  <a:gd name="connsiteY8" fmla="*/ 11429 h 32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860" h="32232" extrusionOk="0">
                    <a:moveTo>
                      <a:pt x="19785" y="11429"/>
                    </a:moveTo>
                    <a:cubicBezTo>
                      <a:pt x="20702" y="20772"/>
                      <a:pt x="13110" y="26945"/>
                      <a:pt x="5602" y="30949"/>
                    </a:cubicBezTo>
                    <a:cubicBezTo>
                      <a:pt x="-2825" y="36288"/>
                      <a:pt x="-572" y="23441"/>
                      <a:pt x="4684" y="20355"/>
                    </a:cubicBezTo>
                    <a:cubicBezTo>
                      <a:pt x="5101" y="19937"/>
                      <a:pt x="6019" y="19437"/>
                      <a:pt x="6436" y="19020"/>
                    </a:cubicBezTo>
                    <a:cubicBezTo>
                      <a:pt x="6853" y="18603"/>
                      <a:pt x="6853" y="18102"/>
                      <a:pt x="6853" y="17268"/>
                    </a:cubicBezTo>
                    <a:cubicBezTo>
                      <a:pt x="6436" y="15016"/>
                      <a:pt x="5518" y="13764"/>
                      <a:pt x="3767" y="12430"/>
                    </a:cubicBezTo>
                    <a:lnTo>
                      <a:pt x="16197" y="0"/>
                    </a:lnTo>
                    <a:cubicBezTo>
                      <a:pt x="16614" y="918"/>
                      <a:pt x="17115" y="1335"/>
                      <a:pt x="17115" y="2253"/>
                    </a:cubicBezTo>
                    <a:cubicBezTo>
                      <a:pt x="18449" y="5172"/>
                      <a:pt x="19284" y="8342"/>
                      <a:pt x="19785" y="11429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13449931" name="Полилиния 440"/>
              <p:cNvSpPr/>
              <p:nvPr/>
            </p:nvSpPr>
            <p:spPr bwMode="auto">
              <a:xfrm>
                <a:off x="9881682" y="1538416"/>
                <a:ext cx="1414638" cy="1980018"/>
              </a:xfrm>
              <a:custGeom>
                <a:avLst/>
                <a:gdLst>
                  <a:gd name="connsiteX0" fmla="*/ 1582097 w 1588686"/>
                  <a:gd name="connsiteY0" fmla="*/ 2156998 h 2223626"/>
                  <a:gd name="connsiteX1" fmla="*/ 1559989 w 1588686"/>
                  <a:gd name="connsiteY1" fmla="*/ 2079000 h 2223626"/>
                  <a:gd name="connsiteX2" fmla="*/ 1499337 w 1588686"/>
                  <a:gd name="connsiteY2" fmla="*/ 1947029 h 2223626"/>
                  <a:gd name="connsiteX3" fmla="*/ 1475894 w 1588686"/>
                  <a:gd name="connsiteY3" fmla="*/ 1935934 h 2223626"/>
                  <a:gd name="connsiteX4" fmla="*/ 1454203 w 1588686"/>
                  <a:gd name="connsiteY4" fmla="*/ 1913327 h 2223626"/>
                  <a:gd name="connsiteX5" fmla="*/ 1434264 w 1588686"/>
                  <a:gd name="connsiteY5" fmla="*/ 1852680 h 2223626"/>
                  <a:gd name="connsiteX6" fmla="*/ 1437351 w 1588686"/>
                  <a:gd name="connsiteY6" fmla="*/ 1798624 h 2223626"/>
                  <a:gd name="connsiteX7" fmla="*/ 1462128 w 1588686"/>
                  <a:gd name="connsiteY7" fmla="*/ 1765840 h 2223626"/>
                  <a:gd name="connsiteX8" fmla="*/ 1462545 w 1588686"/>
                  <a:gd name="connsiteY8" fmla="*/ 1740563 h 2223626"/>
                  <a:gd name="connsiteX9" fmla="*/ 1416494 w 1588686"/>
                  <a:gd name="connsiteY9" fmla="*/ 1732555 h 2223626"/>
                  <a:gd name="connsiteX10" fmla="*/ 1396555 w 1588686"/>
                  <a:gd name="connsiteY10" fmla="*/ 1713035 h 2223626"/>
                  <a:gd name="connsiteX11" fmla="*/ 1371777 w 1588686"/>
                  <a:gd name="connsiteY11" fmla="*/ 1695766 h 2223626"/>
                  <a:gd name="connsiteX12" fmla="*/ 1348335 w 1588686"/>
                  <a:gd name="connsiteY12" fmla="*/ 1676747 h 2223626"/>
                  <a:gd name="connsiteX13" fmla="*/ 1341660 w 1588686"/>
                  <a:gd name="connsiteY13" fmla="*/ 1647550 h 2223626"/>
                  <a:gd name="connsiteX14" fmla="*/ 1323974 w 1588686"/>
                  <a:gd name="connsiteY14" fmla="*/ 1579312 h 2223626"/>
                  <a:gd name="connsiteX15" fmla="*/ 1355009 w 1588686"/>
                  <a:gd name="connsiteY15" fmla="*/ 1521251 h 2223626"/>
                  <a:gd name="connsiteX16" fmla="*/ 1369191 w 1588686"/>
                  <a:gd name="connsiteY16" fmla="*/ 1464525 h 2223626"/>
                  <a:gd name="connsiteX17" fmla="*/ 1322639 w 1588686"/>
                  <a:gd name="connsiteY17" fmla="*/ 1426902 h 2223626"/>
                  <a:gd name="connsiteX18" fmla="*/ 1259318 w 1588686"/>
                  <a:gd name="connsiteY18" fmla="*/ 1423816 h 2223626"/>
                  <a:gd name="connsiteX19" fmla="*/ 1209262 w 1588686"/>
                  <a:gd name="connsiteY19" fmla="*/ 1381772 h 2223626"/>
                  <a:gd name="connsiteX20" fmla="*/ 1172471 w 1588686"/>
                  <a:gd name="connsiteY20" fmla="*/ 1326381 h 2223626"/>
                  <a:gd name="connsiteX21" fmla="*/ 1168967 w 1588686"/>
                  <a:gd name="connsiteY21" fmla="*/ 1295348 h 2223626"/>
                  <a:gd name="connsiteX22" fmla="*/ 1151697 w 1588686"/>
                  <a:gd name="connsiteY22" fmla="*/ 1275411 h 2223626"/>
                  <a:gd name="connsiteX23" fmla="*/ 1157037 w 1588686"/>
                  <a:gd name="connsiteY23" fmla="*/ 1234618 h 2223626"/>
                  <a:gd name="connsiteX24" fmla="*/ 1169884 w 1588686"/>
                  <a:gd name="connsiteY24" fmla="*/ 1261646 h 2223626"/>
                  <a:gd name="connsiteX25" fmla="*/ 1191158 w 1588686"/>
                  <a:gd name="connsiteY25" fmla="*/ 1280249 h 2223626"/>
                  <a:gd name="connsiteX26" fmla="*/ 1219523 w 1588686"/>
                  <a:gd name="connsiteY26" fmla="*/ 1240791 h 2223626"/>
                  <a:gd name="connsiteX27" fmla="*/ 1175224 w 1588686"/>
                  <a:gd name="connsiteY27" fmla="*/ 1207590 h 2223626"/>
                  <a:gd name="connsiteX28" fmla="*/ 1126502 w 1588686"/>
                  <a:gd name="connsiteY28" fmla="*/ 1204503 h 2223626"/>
                  <a:gd name="connsiteX29" fmla="*/ 1100807 w 1588686"/>
                  <a:gd name="connsiteY29" fmla="*/ 1216933 h 2223626"/>
                  <a:gd name="connsiteX30" fmla="*/ 1077364 w 1588686"/>
                  <a:gd name="connsiteY30" fmla="*/ 1200582 h 2223626"/>
                  <a:gd name="connsiteX31" fmla="*/ 1060512 w 1588686"/>
                  <a:gd name="connsiteY31" fmla="*/ 1192157 h 2223626"/>
                  <a:gd name="connsiteX32" fmla="*/ 1060095 w 1588686"/>
                  <a:gd name="connsiteY32" fmla="*/ 1192157 h 2223626"/>
                  <a:gd name="connsiteX33" fmla="*/ 1058760 w 1588686"/>
                  <a:gd name="connsiteY33" fmla="*/ 1193075 h 2223626"/>
                  <a:gd name="connsiteX34" fmla="*/ 1045495 w 1588686"/>
                  <a:gd name="connsiteY34" fmla="*/ 1185066 h 2223626"/>
                  <a:gd name="connsiteX35" fmla="*/ 1039321 w 1588686"/>
                  <a:gd name="connsiteY35" fmla="*/ 1181562 h 2223626"/>
                  <a:gd name="connsiteX36" fmla="*/ 1017213 w 1588686"/>
                  <a:gd name="connsiteY36" fmla="*/ 1142105 h 2223626"/>
                  <a:gd name="connsiteX37" fmla="*/ 985344 w 1588686"/>
                  <a:gd name="connsiteY37" fmla="*/ 1100061 h 2223626"/>
                  <a:gd name="connsiteX38" fmla="*/ 964070 w 1588686"/>
                  <a:gd name="connsiteY38" fmla="*/ 1113825 h 2223626"/>
                  <a:gd name="connsiteX39" fmla="*/ 939293 w 1588686"/>
                  <a:gd name="connsiteY39" fmla="*/ 1128424 h 2223626"/>
                  <a:gd name="connsiteX40" fmla="*/ 947719 w 1588686"/>
                  <a:gd name="connsiteY40" fmla="*/ 1161208 h 2223626"/>
                  <a:gd name="connsiteX41" fmla="*/ 924276 w 1588686"/>
                  <a:gd name="connsiteY41" fmla="*/ 1182063 h 2223626"/>
                  <a:gd name="connsiteX42" fmla="*/ 858702 w 1588686"/>
                  <a:gd name="connsiteY42" fmla="*/ 1145275 h 2223626"/>
                  <a:gd name="connsiteX43" fmla="*/ 788707 w 1588686"/>
                  <a:gd name="connsiteY43" fmla="*/ 1007047 h 2223626"/>
                  <a:gd name="connsiteX44" fmla="*/ 754168 w 1588686"/>
                  <a:gd name="connsiteY44" fmla="*/ 967172 h 2223626"/>
                  <a:gd name="connsiteX45" fmla="*/ 710286 w 1588686"/>
                  <a:gd name="connsiteY45" fmla="*/ 926880 h 2223626"/>
                  <a:gd name="connsiteX46" fmla="*/ 698356 w 1588686"/>
                  <a:gd name="connsiteY46" fmla="*/ 903856 h 2223626"/>
                  <a:gd name="connsiteX47" fmla="*/ 705864 w 1588686"/>
                  <a:gd name="connsiteY47" fmla="*/ 894095 h 2223626"/>
                  <a:gd name="connsiteX48" fmla="*/ 693434 w 1588686"/>
                  <a:gd name="connsiteY48" fmla="*/ 881666 h 2223626"/>
                  <a:gd name="connsiteX49" fmla="*/ 705864 w 1588686"/>
                  <a:gd name="connsiteY49" fmla="*/ 863063 h 2223626"/>
                  <a:gd name="connsiteX50" fmla="*/ 720047 w 1588686"/>
                  <a:gd name="connsiteY50" fmla="*/ 866149 h 2223626"/>
                  <a:gd name="connsiteX51" fmla="*/ 718295 w 1588686"/>
                  <a:gd name="connsiteY51" fmla="*/ 842208 h 2223626"/>
                  <a:gd name="connsiteX52" fmla="*/ 715208 w 1588686"/>
                  <a:gd name="connsiteY52" fmla="*/ 819184 h 2223626"/>
                  <a:gd name="connsiteX53" fmla="*/ 743156 w 1588686"/>
                  <a:gd name="connsiteY53" fmla="*/ 818767 h 2223626"/>
                  <a:gd name="connsiteX54" fmla="*/ 748913 w 1588686"/>
                  <a:gd name="connsiteY54" fmla="*/ 782896 h 2223626"/>
                  <a:gd name="connsiteX55" fmla="*/ 730726 w 1588686"/>
                  <a:gd name="connsiteY55" fmla="*/ 719580 h 2223626"/>
                  <a:gd name="connsiteX56" fmla="*/ 718295 w 1588686"/>
                  <a:gd name="connsiteY56" fmla="*/ 682791 h 2223626"/>
                  <a:gd name="connsiteX57" fmla="*/ 743573 w 1588686"/>
                  <a:gd name="connsiteY57" fmla="*/ 672614 h 2223626"/>
                  <a:gd name="connsiteX58" fmla="*/ 782534 w 1588686"/>
                  <a:gd name="connsiteY58" fmla="*/ 708902 h 2223626"/>
                  <a:gd name="connsiteX59" fmla="*/ 812233 w 1588686"/>
                  <a:gd name="connsiteY59" fmla="*/ 692551 h 2223626"/>
                  <a:gd name="connsiteX60" fmla="*/ 785203 w 1588686"/>
                  <a:gd name="connsiteY60" fmla="*/ 642082 h 2223626"/>
                  <a:gd name="connsiteX61" fmla="*/ 771021 w 1588686"/>
                  <a:gd name="connsiteY61" fmla="*/ 566753 h 2223626"/>
                  <a:gd name="connsiteX62" fmla="*/ 786538 w 1588686"/>
                  <a:gd name="connsiteY62" fmla="*/ 495429 h 2223626"/>
                  <a:gd name="connsiteX63" fmla="*/ 805142 w 1588686"/>
                  <a:gd name="connsiteY63" fmla="*/ 472405 h 2223626"/>
                  <a:gd name="connsiteX64" fmla="*/ 819742 w 1588686"/>
                  <a:gd name="connsiteY64" fmla="*/ 441372 h 2223626"/>
                  <a:gd name="connsiteX65" fmla="*/ 849442 w 1588686"/>
                  <a:gd name="connsiteY65" fmla="*/ 425439 h 2223626"/>
                  <a:gd name="connsiteX66" fmla="*/ 870716 w 1588686"/>
                  <a:gd name="connsiteY66" fmla="*/ 422769 h 2223626"/>
                  <a:gd name="connsiteX67" fmla="*/ 884481 w 1588686"/>
                  <a:gd name="connsiteY67" fmla="*/ 416096 h 2223626"/>
                  <a:gd name="connsiteX68" fmla="*/ 903085 w 1588686"/>
                  <a:gd name="connsiteY68" fmla="*/ 425439 h 2223626"/>
                  <a:gd name="connsiteX69" fmla="*/ 935872 w 1588686"/>
                  <a:gd name="connsiteY69" fmla="*/ 417431 h 2223626"/>
                  <a:gd name="connsiteX70" fmla="*/ 917268 w 1588686"/>
                  <a:gd name="connsiteY70" fmla="*/ 377973 h 2223626"/>
                  <a:gd name="connsiteX71" fmla="*/ 878307 w 1588686"/>
                  <a:gd name="connsiteY71" fmla="*/ 321747 h 2223626"/>
                  <a:gd name="connsiteX72" fmla="*/ 883146 w 1588686"/>
                  <a:gd name="connsiteY72" fmla="*/ 294302 h 2223626"/>
                  <a:gd name="connsiteX73" fmla="*/ 868546 w 1588686"/>
                  <a:gd name="connsiteY73" fmla="*/ 267274 h 2223626"/>
                  <a:gd name="connsiteX74" fmla="*/ 862790 w 1588686"/>
                  <a:gd name="connsiteY74" fmla="*/ 233572 h 2223626"/>
                  <a:gd name="connsiteX75" fmla="*/ 849025 w 1588686"/>
                  <a:gd name="connsiteY75" fmla="*/ 201705 h 2223626"/>
                  <a:gd name="connsiteX76" fmla="*/ 840181 w 1588686"/>
                  <a:gd name="connsiteY76" fmla="*/ 183519 h 2223626"/>
                  <a:gd name="connsiteX77" fmla="*/ 823830 w 1588686"/>
                  <a:gd name="connsiteY77" fmla="*/ 163999 h 2223626"/>
                  <a:gd name="connsiteX78" fmla="*/ 831839 w 1588686"/>
                  <a:gd name="connsiteY78" fmla="*/ 149400 h 2223626"/>
                  <a:gd name="connsiteX79" fmla="*/ 810148 w 1588686"/>
                  <a:gd name="connsiteY79" fmla="*/ 128128 h 2223626"/>
                  <a:gd name="connsiteX80" fmla="*/ 814153 w 1588686"/>
                  <a:gd name="connsiteY80" fmla="*/ 91340 h 2223626"/>
                  <a:gd name="connsiteX81" fmla="*/ 807061 w 1588686"/>
                  <a:gd name="connsiteY81" fmla="*/ 82914 h 2223626"/>
                  <a:gd name="connsiteX82" fmla="*/ 800387 w 1588686"/>
                  <a:gd name="connsiteY82" fmla="*/ 70985 h 2223626"/>
                  <a:gd name="connsiteX83" fmla="*/ 788874 w 1588686"/>
                  <a:gd name="connsiteY83" fmla="*/ 45709 h 2223626"/>
                  <a:gd name="connsiteX84" fmla="*/ 799970 w 1588686"/>
                  <a:gd name="connsiteY84" fmla="*/ 29776 h 2223626"/>
                  <a:gd name="connsiteX85" fmla="*/ 788874 w 1588686"/>
                  <a:gd name="connsiteY85" fmla="*/ 5834 h 2223626"/>
                  <a:gd name="connsiteX86" fmla="*/ 787956 w 1588686"/>
                  <a:gd name="connsiteY86" fmla="*/ 2747 h 2223626"/>
                  <a:gd name="connsiteX87" fmla="*/ 787956 w 1588686"/>
                  <a:gd name="connsiteY87" fmla="*/ 2330 h 2223626"/>
                  <a:gd name="connsiteX88" fmla="*/ 777778 w 1588686"/>
                  <a:gd name="connsiteY88" fmla="*/ 78 h 2223626"/>
                  <a:gd name="connsiteX89" fmla="*/ 768935 w 1588686"/>
                  <a:gd name="connsiteY89" fmla="*/ 5417 h 2223626"/>
                  <a:gd name="connsiteX90" fmla="*/ 758757 w 1588686"/>
                  <a:gd name="connsiteY90" fmla="*/ 12925 h 2223626"/>
                  <a:gd name="connsiteX91" fmla="*/ 726888 w 1588686"/>
                  <a:gd name="connsiteY91" fmla="*/ 11590 h 2223626"/>
                  <a:gd name="connsiteX92" fmla="*/ 720214 w 1588686"/>
                  <a:gd name="connsiteY92" fmla="*/ 9337 h 2223626"/>
                  <a:gd name="connsiteX93" fmla="*/ 691014 w 1588686"/>
                  <a:gd name="connsiteY93" fmla="*/ 8003 h 2223626"/>
                  <a:gd name="connsiteX94" fmla="*/ 677249 w 1588686"/>
                  <a:gd name="connsiteY94" fmla="*/ 48795 h 2223626"/>
                  <a:gd name="connsiteX95" fmla="*/ 676832 w 1588686"/>
                  <a:gd name="connsiteY95" fmla="*/ 59390 h 2223626"/>
                  <a:gd name="connsiteX96" fmla="*/ 666653 w 1588686"/>
                  <a:gd name="connsiteY96" fmla="*/ 103269 h 2223626"/>
                  <a:gd name="connsiteX97" fmla="*/ 658645 w 1588686"/>
                  <a:gd name="connsiteY97" fmla="*/ 115198 h 2223626"/>
                  <a:gd name="connsiteX98" fmla="*/ 645797 w 1588686"/>
                  <a:gd name="connsiteY98" fmla="*/ 147982 h 2223626"/>
                  <a:gd name="connsiteX99" fmla="*/ 619684 w 1588686"/>
                  <a:gd name="connsiteY99" fmla="*/ 256512 h 2223626"/>
                  <a:gd name="connsiteX100" fmla="*/ 578055 w 1588686"/>
                  <a:gd name="connsiteY100" fmla="*/ 283124 h 2223626"/>
                  <a:gd name="connsiteX101" fmla="*/ 564790 w 1588686"/>
                  <a:gd name="connsiteY101" fmla="*/ 280454 h 2223626"/>
                  <a:gd name="connsiteX102" fmla="*/ 532920 w 1588686"/>
                  <a:gd name="connsiteY102" fmla="*/ 283958 h 2223626"/>
                  <a:gd name="connsiteX103" fmla="*/ 507225 w 1588686"/>
                  <a:gd name="connsiteY103" fmla="*/ 294552 h 2223626"/>
                  <a:gd name="connsiteX104" fmla="*/ 485117 w 1588686"/>
                  <a:gd name="connsiteY104" fmla="*/ 303395 h 2223626"/>
                  <a:gd name="connsiteX105" fmla="*/ 471852 w 1588686"/>
                  <a:gd name="connsiteY105" fmla="*/ 317159 h 2223626"/>
                  <a:gd name="connsiteX106" fmla="*/ 443069 w 1588686"/>
                  <a:gd name="connsiteY106" fmla="*/ 338849 h 2223626"/>
                  <a:gd name="connsiteX107" fmla="*/ 412035 w 1588686"/>
                  <a:gd name="connsiteY107" fmla="*/ 313572 h 2223626"/>
                  <a:gd name="connsiteX108" fmla="*/ 409366 w 1588686"/>
                  <a:gd name="connsiteY108" fmla="*/ 306481 h 2223626"/>
                  <a:gd name="connsiteX109" fmla="*/ 396517 w 1588686"/>
                  <a:gd name="connsiteY109" fmla="*/ 283040 h 2223626"/>
                  <a:gd name="connsiteX110" fmla="*/ 384588 w 1588686"/>
                  <a:gd name="connsiteY110" fmla="*/ 261351 h 2223626"/>
                  <a:gd name="connsiteX111" fmla="*/ 379248 w 1588686"/>
                  <a:gd name="connsiteY111" fmla="*/ 246252 h 2223626"/>
                  <a:gd name="connsiteX112" fmla="*/ 367318 w 1588686"/>
                  <a:gd name="connsiteY112" fmla="*/ 224145 h 2223626"/>
                  <a:gd name="connsiteX113" fmla="*/ 326106 w 1588686"/>
                  <a:gd name="connsiteY113" fmla="*/ 227232 h 2223626"/>
                  <a:gd name="connsiteX114" fmla="*/ 315510 w 1588686"/>
                  <a:gd name="connsiteY114" fmla="*/ 235657 h 2223626"/>
                  <a:gd name="connsiteX115" fmla="*/ 284976 w 1588686"/>
                  <a:gd name="connsiteY115" fmla="*/ 250256 h 2223626"/>
                  <a:gd name="connsiteX116" fmla="*/ 272128 w 1588686"/>
                  <a:gd name="connsiteY116" fmla="*/ 250256 h 2223626"/>
                  <a:gd name="connsiteX117" fmla="*/ 240676 w 1588686"/>
                  <a:gd name="connsiteY117" fmla="*/ 260016 h 2223626"/>
                  <a:gd name="connsiteX118" fmla="*/ 231833 w 1588686"/>
                  <a:gd name="connsiteY118" fmla="*/ 274615 h 2223626"/>
                  <a:gd name="connsiteX119" fmla="*/ 210142 w 1588686"/>
                  <a:gd name="connsiteY119" fmla="*/ 300308 h 2223626"/>
                  <a:gd name="connsiteX120" fmla="*/ 188869 w 1588686"/>
                  <a:gd name="connsiteY120" fmla="*/ 305147 h 2223626"/>
                  <a:gd name="connsiteX121" fmla="*/ 169346 w 1588686"/>
                  <a:gd name="connsiteY121" fmla="*/ 313572 h 2223626"/>
                  <a:gd name="connsiteX122" fmla="*/ 164925 w 1588686"/>
                  <a:gd name="connsiteY122" fmla="*/ 326002 h 2223626"/>
                  <a:gd name="connsiteX123" fmla="*/ 153412 w 1588686"/>
                  <a:gd name="connsiteY123" fmla="*/ 351278 h 2223626"/>
                  <a:gd name="connsiteX124" fmla="*/ 145403 w 1588686"/>
                  <a:gd name="connsiteY124" fmla="*/ 357952 h 2223626"/>
                  <a:gd name="connsiteX125" fmla="*/ 139230 w 1588686"/>
                  <a:gd name="connsiteY125" fmla="*/ 363291 h 2223626"/>
                  <a:gd name="connsiteX126" fmla="*/ 136560 w 1588686"/>
                  <a:gd name="connsiteY126" fmla="*/ 371716 h 2223626"/>
                  <a:gd name="connsiteX127" fmla="*/ 131721 w 1588686"/>
                  <a:gd name="connsiteY127" fmla="*/ 385480 h 2223626"/>
                  <a:gd name="connsiteX128" fmla="*/ 93178 w 1588686"/>
                  <a:gd name="connsiteY128" fmla="*/ 404083 h 2223626"/>
                  <a:gd name="connsiteX129" fmla="*/ 62143 w 1588686"/>
                  <a:gd name="connsiteY129" fmla="*/ 424021 h 2223626"/>
                  <a:gd name="connsiteX130" fmla="*/ 63894 w 1588686"/>
                  <a:gd name="connsiteY130" fmla="*/ 434198 h 2223626"/>
                  <a:gd name="connsiteX131" fmla="*/ 54551 w 1588686"/>
                  <a:gd name="connsiteY131" fmla="*/ 461226 h 2223626"/>
                  <a:gd name="connsiteX132" fmla="*/ 42621 w 1588686"/>
                  <a:gd name="connsiteY132" fmla="*/ 466565 h 2223626"/>
                  <a:gd name="connsiteX133" fmla="*/ 31525 w 1588686"/>
                  <a:gd name="connsiteY133" fmla="*/ 472738 h 2223626"/>
                  <a:gd name="connsiteX134" fmla="*/ 22682 w 1588686"/>
                  <a:gd name="connsiteY134" fmla="*/ 486002 h 2223626"/>
                  <a:gd name="connsiteX135" fmla="*/ 17342 w 1588686"/>
                  <a:gd name="connsiteY135" fmla="*/ 495345 h 2223626"/>
                  <a:gd name="connsiteX136" fmla="*/ 10668 w 1588686"/>
                  <a:gd name="connsiteY136" fmla="*/ 504188 h 2223626"/>
                  <a:gd name="connsiteX137" fmla="*/ 2660 w 1588686"/>
                  <a:gd name="connsiteY137" fmla="*/ 535220 h 2223626"/>
                  <a:gd name="connsiteX138" fmla="*/ 7081 w 1588686"/>
                  <a:gd name="connsiteY138" fmla="*/ 542728 h 2223626"/>
                  <a:gd name="connsiteX139" fmla="*/ 19512 w 1588686"/>
                  <a:gd name="connsiteY139" fmla="*/ 551154 h 2223626"/>
                  <a:gd name="connsiteX140" fmla="*/ 37699 w 1588686"/>
                  <a:gd name="connsiteY140" fmla="*/ 551571 h 2223626"/>
                  <a:gd name="connsiteX141" fmla="*/ 41703 w 1588686"/>
                  <a:gd name="connsiteY141" fmla="*/ 551571 h 2223626"/>
                  <a:gd name="connsiteX142" fmla="*/ 73572 w 1588686"/>
                  <a:gd name="connsiteY142" fmla="*/ 572426 h 2223626"/>
                  <a:gd name="connsiteX143" fmla="*/ 77994 w 1588686"/>
                  <a:gd name="connsiteY143" fmla="*/ 579100 h 2223626"/>
                  <a:gd name="connsiteX144" fmla="*/ 80664 w 1588686"/>
                  <a:gd name="connsiteY144" fmla="*/ 581769 h 2223626"/>
                  <a:gd name="connsiteX145" fmla="*/ 87755 w 1588686"/>
                  <a:gd name="connsiteY145" fmla="*/ 592363 h 2223626"/>
                  <a:gd name="connsiteX146" fmla="*/ 85502 w 1588686"/>
                  <a:gd name="connsiteY146" fmla="*/ 608714 h 2223626"/>
                  <a:gd name="connsiteX147" fmla="*/ 84168 w 1588686"/>
                  <a:gd name="connsiteY147" fmla="*/ 617556 h 2223626"/>
                  <a:gd name="connsiteX148" fmla="*/ 101854 w 1588686"/>
                  <a:gd name="connsiteY148" fmla="*/ 628651 h 2223626"/>
                  <a:gd name="connsiteX149" fmla="*/ 121376 w 1588686"/>
                  <a:gd name="connsiteY149" fmla="*/ 640163 h 2223626"/>
                  <a:gd name="connsiteX150" fmla="*/ 124880 w 1588686"/>
                  <a:gd name="connsiteY150" fmla="*/ 643667 h 2223626"/>
                  <a:gd name="connsiteX151" fmla="*/ 135058 w 1588686"/>
                  <a:gd name="connsiteY151" fmla="*/ 650758 h 2223626"/>
                  <a:gd name="connsiteX152" fmla="*/ 146154 w 1588686"/>
                  <a:gd name="connsiteY152" fmla="*/ 651175 h 2223626"/>
                  <a:gd name="connsiteX153" fmla="*/ 167845 w 1588686"/>
                  <a:gd name="connsiteY153" fmla="*/ 654678 h 2223626"/>
                  <a:gd name="connsiteX154" fmla="*/ 180275 w 1588686"/>
                  <a:gd name="connsiteY154" fmla="*/ 671947 h 2223626"/>
                  <a:gd name="connsiteX155" fmla="*/ 182945 w 1588686"/>
                  <a:gd name="connsiteY155" fmla="*/ 679037 h 2223626"/>
                  <a:gd name="connsiteX156" fmla="*/ 191788 w 1588686"/>
                  <a:gd name="connsiteY156" fmla="*/ 687463 h 2223626"/>
                  <a:gd name="connsiteX157" fmla="*/ 196627 w 1588686"/>
                  <a:gd name="connsiteY157" fmla="*/ 690132 h 2223626"/>
                  <a:gd name="connsiteX158" fmla="*/ 212561 w 1588686"/>
                  <a:gd name="connsiteY158" fmla="*/ 719830 h 2223626"/>
                  <a:gd name="connsiteX159" fmla="*/ 215648 w 1588686"/>
                  <a:gd name="connsiteY159" fmla="*/ 734011 h 2223626"/>
                  <a:gd name="connsiteX160" fmla="*/ 235170 w 1588686"/>
                  <a:gd name="connsiteY160" fmla="*/ 746441 h 2223626"/>
                  <a:gd name="connsiteX161" fmla="*/ 243179 w 1588686"/>
                  <a:gd name="connsiteY161" fmla="*/ 743772 h 2223626"/>
                  <a:gd name="connsiteX162" fmla="*/ 287061 w 1588686"/>
                  <a:gd name="connsiteY162" fmla="*/ 741102 h 2223626"/>
                  <a:gd name="connsiteX163" fmla="*/ 337117 w 1588686"/>
                  <a:gd name="connsiteY163" fmla="*/ 778725 h 2223626"/>
                  <a:gd name="connsiteX164" fmla="*/ 335783 w 1588686"/>
                  <a:gd name="connsiteY164" fmla="*/ 797328 h 2223626"/>
                  <a:gd name="connsiteX165" fmla="*/ 337117 w 1588686"/>
                  <a:gd name="connsiteY165" fmla="*/ 817265 h 2223626"/>
                  <a:gd name="connsiteX166" fmla="*/ 341540 w 1588686"/>
                  <a:gd name="connsiteY166" fmla="*/ 815930 h 2223626"/>
                  <a:gd name="connsiteX167" fmla="*/ 348631 w 1588686"/>
                  <a:gd name="connsiteY167" fmla="*/ 811926 h 2223626"/>
                  <a:gd name="connsiteX168" fmla="*/ 376996 w 1588686"/>
                  <a:gd name="connsiteY168" fmla="*/ 816765 h 2223626"/>
                  <a:gd name="connsiteX169" fmla="*/ 404944 w 1588686"/>
                  <a:gd name="connsiteY169" fmla="*/ 831363 h 2223626"/>
                  <a:gd name="connsiteX170" fmla="*/ 424465 w 1588686"/>
                  <a:gd name="connsiteY170" fmla="*/ 813177 h 2223626"/>
                  <a:gd name="connsiteX171" fmla="*/ 427135 w 1588686"/>
                  <a:gd name="connsiteY171" fmla="*/ 774637 h 2223626"/>
                  <a:gd name="connsiteX172" fmla="*/ 405444 w 1588686"/>
                  <a:gd name="connsiteY172" fmla="*/ 779976 h 2223626"/>
                  <a:gd name="connsiteX173" fmla="*/ 375745 w 1588686"/>
                  <a:gd name="connsiteY173" fmla="*/ 757870 h 2223626"/>
                  <a:gd name="connsiteX174" fmla="*/ 340788 w 1588686"/>
                  <a:gd name="connsiteY174" fmla="*/ 724168 h 2223626"/>
                  <a:gd name="connsiteX175" fmla="*/ 313758 w 1588686"/>
                  <a:gd name="connsiteY175" fmla="*/ 683876 h 2223626"/>
                  <a:gd name="connsiteX176" fmla="*/ 331027 w 1588686"/>
                  <a:gd name="connsiteY176" fmla="*/ 621394 h 2223626"/>
                  <a:gd name="connsiteX177" fmla="*/ 358475 w 1588686"/>
                  <a:gd name="connsiteY177" fmla="*/ 603208 h 2223626"/>
                  <a:gd name="connsiteX178" fmla="*/ 385088 w 1588686"/>
                  <a:gd name="connsiteY178" fmla="*/ 579266 h 2223626"/>
                  <a:gd name="connsiteX179" fmla="*/ 410784 w 1588686"/>
                  <a:gd name="connsiteY179" fmla="*/ 557577 h 2223626"/>
                  <a:gd name="connsiteX180" fmla="*/ 401023 w 1588686"/>
                  <a:gd name="connsiteY180" fmla="*/ 577932 h 2223626"/>
                  <a:gd name="connsiteX181" fmla="*/ 398353 w 1588686"/>
                  <a:gd name="connsiteY181" fmla="*/ 597869 h 2223626"/>
                  <a:gd name="connsiteX182" fmla="*/ 377079 w 1588686"/>
                  <a:gd name="connsiteY182" fmla="*/ 658099 h 2223626"/>
                  <a:gd name="connsiteX183" fmla="*/ 388175 w 1588686"/>
                  <a:gd name="connsiteY183" fmla="*/ 674449 h 2223626"/>
                  <a:gd name="connsiteX184" fmla="*/ 439983 w 1588686"/>
                  <a:gd name="connsiteY184" fmla="*/ 709903 h 2223626"/>
                  <a:gd name="connsiteX185" fmla="*/ 478109 w 1588686"/>
                  <a:gd name="connsiteY185" fmla="*/ 754199 h 2223626"/>
                  <a:gd name="connsiteX186" fmla="*/ 517570 w 1588686"/>
                  <a:gd name="connsiteY186" fmla="*/ 764376 h 2223626"/>
                  <a:gd name="connsiteX187" fmla="*/ 540596 w 1588686"/>
                  <a:gd name="connsiteY187" fmla="*/ 811342 h 2223626"/>
                  <a:gd name="connsiteX188" fmla="*/ 553027 w 1588686"/>
                  <a:gd name="connsiteY188" fmla="*/ 817515 h 2223626"/>
                  <a:gd name="connsiteX189" fmla="*/ 559200 w 1588686"/>
                  <a:gd name="connsiteY189" fmla="*/ 834783 h 2223626"/>
                  <a:gd name="connsiteX190" fmla="*/ 558783 w 1588686"/>
                  <a:gd name="connsiteY190" fmla="*/ 852969 h 2223626"/>
                  <a:gd name="connsiteX191" fmla="*/ 549022 w 1588686"/>
                  <a:gd name="connsiteY191" fmla="*/ 875993 h 2223626"/>
                  <a:gd name="connsiteX192" fmla="*/ 557448 w 1588686"/>
                  <a:gd name="connsiteY192" fmla="*/ 899017 h 2223626"/>
                  <a:gd name="connsiteX193" fmla="*/ 552109 w 1588686"/>
                  <a:gd name="connsiteY193" fmla="*/ 919372 h 2223626"/>
                  <a:gd name="connsiteX194" fmla="*/ 572965 w 1588686"/>
                  <a:gd name="connsiteY194" fmla="*/ 985357 h 2223626"/>
                  <a:gd name="connsiteX195" fmla="*/ 591152 w 1588686"/>
                  <a:gd name="connsiteY195" fmla="*/ 1042501 h 2223626"/>
                  <a:gd name="connsiteX196" fmla="*/ 618183 w 1588686"/>
                  <a:gd name="connsiteY196" fmla="*/ 1101896 h 2223626"/>
                  <a:gd name="connsiteX197" fmla="*/ 620853 w 1588686"/>
                  <a:gd name="connsiteY197" fmla="*/ 1156370 h 2223626"/>
                  <a:gd name="connsiteX198" fmla="*/ 635452 w 1588686"/>
                  <a:gd name="connsiteY198" fmla="*/ 1186067 h 2223626"/>
                  <a:gd name="connsiteX199" fmla="*/ 637705 w 1588686"/>
                  <a:gd name="connsiteY199" fmla="*/ 1223273 h 2223626"/>
                  <a:gd name="connsiteX200" fmla="*/ 673161 w 1588686"/>
                  <a:gd name="connsiteY200" fmla="*/ 1268904 h 2223626"/>
                  <a:gd name="connsiteX201" fmla="*/ 693517 w 1588686"/>
                  <a:gd name="connsiteY201" fmla="*/ 1332220 h 2223626"/>
                  <a:gd name="connsiteX202" fmla="*/ 703695 w 1588686"/>
                  <a:gd name="connsiteY202" fmla="*/ 1369425 h 2223626"/>
                  <a:gd name="connsiteX203" fmla="*/ 704112 w 1588686"/>
                  <a:gd name="connsiteY203" fmla="*/ 1400875 h 2223626"/>
                  <a:gd name="connsiteX204" fmla="*/ 713873 w 1588686"/>
                  <a:gd name="connsiteY204" fmla="*/ 1459353 h 2223626"/>
                  <a:gd name="connsiteX205" fmla="*/ 691765 w 1588686"/>
                  <a:gd name="connsiteY205" fmla="*/ 1486798 h 2223626"/>
                  <a:gd name="connsiteX206" fmla="*/ 700608 w 1588686"/>
                  <a:gd name="connsiteY206" fmla="*/ 1506319 h 2223626"/>
                  <a:gd name="connsiteX207" fmla="*/ 697938 w 1588686"/>
                  <a:gd name="connsiteY207" fmla="*/ 1542607 h 2223626"/>
                  <a:gd name="connsiteX208" fmla="*/ 682421 w 1588686"/>
                  <a:gd name="connsiteY208" fmla="*/ 1566048 h 2223626"/>
                  <a:gd name="connsiteX209" fmla="*/ 710369 w 1588686"/>
                  <a:gd name="connsiteY209" fmla="*/ 1577143 h 2223626"/>
                  <a:gd name="connsiteX210" fmla="*/ 727639 w 1588686"/>
                  <a:gd name="connsiteY210" fmla="*/ 1589572 h 2223626"/>
                  <a:gd name="connsiteX211" fmla="*/ 759091 w 1588686"/>
                  <a:gd name="connsiteY211" fmla="*/ 1654223 h 2223626"/>
                  <a:gd name="connsiteX212" fmla="*/ 769268 w 1588686"/>
                  <a:gd name="connsiteY212" fmla="*/ 1688342 h 2223626"/>
                  <a:gd name="connsiteX213" fmla="*/ 775025 w 1588686"/>
                  <a:gd name="connsiteY213" fmla="*/ 1718874 h 2223626"/>
                  <a:gd name="connsiteX214" fmla="*/ 813986 w 1588686"/>
                  <a:gd name="connsiteY214" fmla="*/ 1772513 h 2223626"/>
                  <a:gd name="connsiteX215" fmla="*/ 857868 w 1588686"/>
                  <a:gd name="connsiteY215" fmla="*/ 1826987 h 2223626"/>
                  <a:gd name="connsiteX216" fmla="*/ 887067 w 1588686"/>
                  <a:gd name="connsiteY216" fmla="*/ 1854432 h 2223626"/>
                  <a:gd name="connsiteX217" fmla="*/ 888403 w 1588686"/>
                  <a:gd name="connsiteY217" fmla="*/ 1853515 h 2223626"/>
                  <a:gd name="connsiteX218" fmla="*/ 898163 w 1588686"/>
                  <a:gd name="connsiteY218" fmla="*/ 1863692 h 2223626"/>
                  <a:gd name="connsiteX219" fmla="*/ 897746 w 1588686"/>
                  <a:gd name="connsiteY219" fmla="*/ 1864109 h 2223626"/>
                  <a:gd name="connsiteX220" fmla="*/ 915432 w 1588686"/>
                  <a:gd name="connsiteY220" fmla="*/ 1881794 h 2223626"/>
                  <a:gd name="connsiteX221" fmla="*/ 921606 w 1588686"/>
                  <a:gd name="connsiteY221" fmla="*/ 1887550 h 2223626"/>
                  <a:gd name="connsiteX222" fmla="*/ 931367 w 1588686"/>
                  <a:gd name="connsiteY222" fmla="*/ 1897310 h 2223626"/>
                  <a:gd name="connsiteX223" fmla="*/ 934454 w 1588686"/>
                  <a:gd name="connsiteY223" fmla="*/ 1897728 h 2223626"/>
                  <a:gd name="connsiteX224" fmla="*/ 1051418 w 1588686"/>
                  <a:gd name="connsiteY224" fmla="*/ 1965465 h 2223626"/>
                  <a:gd name="connsiteX225" fmla="*/ 1121831 w 1588686"/>
                  <a:gd name="connsiteY225" fmla="*/ 1993828 h 2223626"/>
                  <a:gd name="connsiteX226" fmla="*/ 1196665 w 1588686"/>
                  <a:gd name="connsiteY226" fmla="*/ 2038124 h 2223626"/>
                  <a:gd name="connsiteX227" fmla="*/ 1341493 w 1588686"/>
                  <a:gd name="connsiteY227" fmla="*/ 2109032 h 2223626"/>
                  <a:gd name="connsiteX228" fmla="*/ 1477062 w 1588686"/>
                  <a:gd name="connsiteY228" fmla="*/ 2178605 h 2223626"/>
                  <a:gd name="connsiteX229" fmla="*/ 1505427 w 1588686"/>
                  <a:gd name="connsiteY229" fmla="*/ 2194955 h 2223626"/>
                  <a:gd name="connsiteX230" fmla="*/ 1539966 w 1588686"/>
                  <a:gd name="connsiteY230" fmla="*/ 2212640 h 2223626"/>
                  <a:gd name="connsiteX231" fmla="*/ 1549309 w 1588686"/>
                  <a:gd name="connsiteY231" fmla="*/ 2216644 h 2223626"/>
                  <a:gd name="connsiteX232" fmla="*/ 1579844 w 1588686"/>
                  <a:gd name="connsiteY232" fmla="*/ 2222818 h 2223626"/>
                  <a:gd name="connsiteX233" fmla="*/ 1585183 w 1588686"/>
                  <a:gd name="connsiteY233" fmla="*/ 2219731 h 2223626"/>
                  <a:gd name="connsiteX234" fmla="*/ 1588687 w 1588686"/>
                  <a:gd name="connsiteY234" fmla="*/ 2208219 h 2223626"/>
                  <a:gd name="connsiteX235" fmla="*/ 1582097 w 1588686"/>
                  <a:gd name="connsiteY235" fmla="*/ 2156998 h 2223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1588686" h="2223626" extrusionOk="0">
                    <a:moveTo>
                      <a:pt x="1582097" y="2156998"/>
                    </a:moveTo>
                    <a:cubicBezTo>
                      <a:pt x="1576757" y="2130387"/>
                      <a:pt x="1563909" y="2106029"/>
                      <a:pt x="1559989" y="2079000"/>
                    </a:cubicBezTo>
                    <a:cubicBezTo>
                      <a:pt x="1553314" y="2035121"/>
                      <a:pt x="1538715" y="1973557"/>
                      <a:pt x="1499337" y="1947029"/>
                    </a:cubicBezTo>
                    <a:cubicBezTo>
                      <a:pt x="1492246" y="1942191"/>
                      <a:pt x="1482985" y="1941690"/>
                      <a:pt x="1475894" y="1935934"/>
                    </a:cubicBezTo>
                    <a:cubicBezTo>
                      <a:pt x="1467885" y="1929761"/>
                      <a:pt x="1461711" y="1920418"/>
                      <a:pt x="1454203" y="1913327"/>
                    </a:cubicBezTo>
                    <a:cubicBezTo>
                      <a:pt x="1435599" y="1894724"/>
                      <a:pt x="1435182" y="1878374"/>
                      <a:pt x="1434264" y="1852680"/>
                    </a:cubicBezTo>
                    <a:cubicBezTo>
                      <a:pt x="1433847" y="1833661"/>
                      <a:pt x="1436517" y="1817227"/>
                      <a:pt x="1437351" y="1798624"/>
                    </a:cubicBezTo>
                    <a:cubicBezTo>
                      <a:pt x="1438686" y="1774265"/>
                      <a:pt x="1442690" y="1774265"/>
                      <a:pt x="1462128" y="1765840"/>
                    </a:cubicBezTo>
                    <a:cubicBezTo>
                      <a:pt x="1477229" y="1759667"/>
                      <a:pt x="1482068" y="1744150"/>
                      <a:pt x="1462545" y="1740563"/>
                    </a:cubicBezTo>
                    <a:cubicBezTo>
                      <a:pt x="1444860" y="1737477"/>
                      <a:pt x="1429759" y="1749406"/>
                      <a:pt x="1416494" y="1732555"/>
                    </a:cubicBezTo>
                    <a:cubicBezTo>
                      <a:pt x="1409403" y="1723212"/>
                      <a:pt x="1408068" y="1719708"/>
                      <a:pt x="1396555" y="1713035"/>
                    </a:cubicBezTo>
                    <a:cubicBezTo>
                      <a:pt x="1386377" y="1707696"/>
                      <a:pt x="1379286" y="1704192"/>
                      <a:pt x="1371777" y="1695766"/>
                    </a:cubicBezTo>
                    <a:cubicBezTo>
                      <a:pt x="1364686" y="1687758"/>
                      <a:pt x="1355426" y="1683837"/>
                      <a:pt x="1348335" y="1676747"/>
                    </a:cubicBezTo>
                    <a:cubicBezTo>
                      <a:pt x="1339491" y="1667904"/>
                      <a:pt x="1343496" y="1659061"/>
                      <a:pt x="1341660" y="1647550"/>
                    </a:cubicBezTo>
                    <a:cubicBezTo>
                      <a:pt x="1338573" y="1624108"/>
                      <a:pt x="1325308" y="1602836"/>
                      <a:pt x="1323974" y="1579312"/>
                    </a:cubicBezTo>
                    <a:cubicBezTo>
                      <a:pt x="1322222" y="1550531"/>
                      <a:pt x="1338573" y="1541188"/>
                      <a:pt x="1355009" y="1521251"/>
                    </a:cubicBezTo>
                    <a:cubicBezTo>
                      <a:pt x="1370109" y="1503566"/>
                      <a:pt x="1376283" y="1487132"/>
                      <a:pt x="1369191" y="1464525"/>
                    </a:cubicBezTo>
                    <a:cubicBezTo>
                      <a:pt x="1362100" y="1441501"/>
                      <a:pt x="1347500" y="1426902"/>
                      <a:pt x="1322639" y="1426902"/>
                    </a:cubicBezTo>
                    <a:cubicBezTo>
                      <a:pt x="1299196" y="1426485"/>
                      <a:pt x="1282343" y="1431741"/>
                      <a:pt x="1259318" y="1423816"/>
                    </a:cubicBezTo>
                    <a:cubicBezTo>
                      <a:pt x="1238044" y="1416308"/>
                      <a:pt x="1223862" y="1398122"/>
                      <a:pt x="1209262" y="1381772"/>
                    </a:cubicBezTo>
                    <a:cubicBezTo>
                      <a:pt x="1195079" y="1366255"/>
                      <a:pt x="1178227" y="1347236"/>
                      <a:pt x="1172471" y="1326381"/>
                    </a:cubicBezTo>
                    <a:cubicBezTo>
                      <a:pt x="1169801" y="1316620"/>
                      <a:pt x="1172054" y="1305108"/>
                      <a:pt x="1168967" y="1295348"/>
                    </a:cubicBezTo>
                    <a:cubicBezTo>
                      <a:pt x="1165880" y="1285588"/>
                      <a:pt x="1158789" y="1282501"/>
                      <a:pt x="1151697" y="1275411"/>
                    </a:cubicBezTo>
                    <a:cubicBezTo>
                      <a:pt x="1143689" y="1267402"/>
                      <a:pt x="1140185" y="1238622"/>
                      <a:pt x="1157037" y="1234618"/>
                    </a:cubicBezTo>
                    <a:cubicBezTo>
                      <a:pt x="1168967" y="1231948"/>
                      <a:pt x="1168133" y="1253221"/>
                      <a:pt x="1169884" y="1261646"/>
                    </a:cubicBezTo>
                    <a:cubicBezTo>
                      <a:pt x="1172971" y="1276745"/>
                      <a:pt x="1174723" y="1284670"/>
                      <a:pt x="1191158" y="1280249"/>
                    </a:cubicBezTo>
                    <a:cubicBezTo>
                      <a:pt x="1212849" y="1274910"/>
                      <a:pt x="1226614" y="1263899"/>
                      <a:pt x="1219523" y="1240791"/>
                    </a:cubicBezTo>
                    <a:cubicBezTo>
                      <a:pt x="1212849" y="1218685"/>
                      <a:pt x="1195162" y="1216432"/>
                      <a:pt x="1175224" y="1207590"/>
                    </a:cubicBezTo>
                    <a:cubicBezTo>
                      <a:pt x="1156620" y="1199164"/>
                      <a:pt x="1141519" y="1185400"/>
                      <a:pt x="1126502" y="1204503"/>
                    </a:cubicBezTo>
                    <a:cubicBezTo>
                      <a:pt x="1118077" y="1215598"/>
                      <a:pt x="1116741" y="1224441"/>
                      <a:pt x="1100807" y="1216933"/>
                    </a:cubicBezTo>
                    <a:cubicBezTo>
                      <a:pt x="1092381" y="1212929"/>
                      <a:pt x="1085290" y="1205004"/>
                      <a:pt x="1077364" y="1200582"/>
                    </a:cubicBezTo>
                    <a:cubicBezTo>
                      <a:pt x="1072025" y="1197496"/>
                      <a:pt x="1066268" y="1194826"/>
                      <a:pt x="1060512" y="1192157"/>
                    </a:cubicBezTo>
                    <a:cubicBezTo>
                      <a:pt x="1060095" y="1192157"/>
                      <a:pt x="1060095" y="1192157"/>
                      <a:pt x="1060095" y="1192157"/>
                    </a:cubicBezTo>
                    <a:cubicBezTo>
                      <a:pt x="1059678" y="1192574"/>
                      <a:pt x="1059177" y="1193075"/>
                      <a:pt x="1058760" y="1193075"/>
                    </a:cubicBezTo>
                    <a:lnTo>
                      <a:pt x="1045495" y="1185066"/>
                    </a:lnTo>
                    <a:cubicBezTo>
                      <a:pt x="1043242" y="1183732"/>
                      <a:pt x="1041074" y="1182814"/>
                      <a:pt x="1039321" y="1181562"/>
                    </a:cubicBezTo>
                    <a:cubicBezTo>
                      <a:pt x="1022469" y="1171385"/>
                      <a:pt x="1022469" y="1159873"/>
                      <a:pt x="1017213" y="1142105"/>
                    </a:cubicBezTo>
                    <a:cubicBezTo>
                      <a:pt x="1013209" y="1128340"/>
                      <a:pt x="1002613" y="1100895"/>
                      <a:pt x="985344" y="1100061"/>
                    </a:cubicBezTo>
                    <a:cubicBezTo>
                      <a:pt x="974749" y="1099143"/>
                      <a:pt x="971578" y="1108486"/>
                      <a:pt x="964070" y="1113825"/>
                    </a:cubicBezTo>
                    <a:cubicBezTo>
                      <a:pt x="956562" y="1119581"/>
                      <a:pt x="945466" y="1120916"/>
                      <a:pt x="939293" y="1128424"/>
                    </a:cubicBezTo>
                    <a:cubicBezTo>
                      <a:pt x="926028" y="1144357"/>
                      <a:pt x="943714" y="1147944"/>
                      <a:pt x="947719" y="1161208"/>
                    </a:cubicBezTo>
                    <a:cubicBezTo>
                      <a:pt x="951223" y="1174055"/>
                      <a:pt x="935288" y="1179393"/>
                      <a:pt x="924276" y="1182063"/>
                    </a:cubicBezTo>
                    <a:cubicBezTo>
                      <a:pt x="898163" y="1187402"/>
                      <a:pt x="874220" y="1163460"/>
                      <a:pt x="858702" y="1145275"/>
                    </a:cubicBezTo>
                    <a:cubicBezTo>
                      <a:pt x="822411" y="1104482"/>
                      <a:pt x="825916" y="1046088"/>
                      <a:pt x="788707" y="1007047"/>
                    </a:cubicBezTo>
                    <a:cubicBezTo>
                      <a:pt x="774525" y="992448"/>
                      <a:pt x="772355" y="974263"/>
                      <a:pt x="754168" y="967172"/>
                    </a:cubicBezTo>
                    <a:cubicBezTo>
                      <a:pt x="737316" y="960498"/>
                      <a:pt x="722299" y="940561"/>
                      <a:pt x="710286" y="926880"/>
                    </a:cubicBezTo>
                    <a:cubicBezTo>
                      <a:pt x="705864" y="921541"/>
                      <a:pt x="697438" y="911364"/>
                      <a:pt x="698356" y="903856"/>
                    </a:cubicBezTo>
                    <a:cubicBezTo>
                      <a:pt x="698773" y="900352"/>
                      <a:pt x="705864" y="895430"/>
                      <a:pt x="705864" y="894095"/>
                    </a:cubicBezTo>
                    <a:cubicBezTo>
                      <a:pt x="705864" y="889257"/>
                      <a:pt x="696104" y="887005"/>
                      <a:pt x="693434" y="881666"/>
                    </a:cubicBezTo>
                    <a:cubicBezTo>
                      <a:pt x="686760" y="870154"/>
                      <a:pt x="694351" y="863063"/>
                      <a:pt x="705864" y="863063"/>
                    </a:cubicBezTo>
                    <a:cubicBezTo>
                      <a:pt x="708951" y="863063"/>
                      <a:pt x="717795" y="867484"/>
                      <a:pt x="720047" y="866149"/>
                    </a:cubicBezTo>
                    <a:cubicBezTo>
                      <a:pt x="729808" y="860394"/>
                      <a:pt x="720965" y="848881"/>
                      <a:pt x="718295" y="842208"/>
                    </a:cubicBezTo>
                    <a:cubicBezTo>
                      <a:pt x="714791" y="833782"/>
                      <a:pt x="708951" y="828443"/>
                      <a:pt x="715208" y="819184"/>
                    </a:cubicBezTo>
                    <a:cubicBezTo>
                      <a:pt x="724969" y="804585"/>
                      <a:pt x="732895" y="816931"/>
                      <a:pt x="743156" y="818767"/>
                    </a:cubicBezTo>
                    <a:cubicBezTo>
                      <a:pt x="771104" y="824523"/>
                      <a:pt x="759508" y="795326"/>
                      <a:pt x="748913" y="782896"/>
                    </a:cubicBezTo>
                    <a:cubicBezTo>
                      <a:pt x="730726" y="761207"/>
                      <a:pt x="736482" y="745273"/>
                      <a:pt x="730726" y="719580"/>
                    </a:cubicBezTo>
                    <a:cubicBezTo>
                      <a:pt x="728056" y="706733"/>
                      <a:pt x="719629" y="695638"/>
                      <a:pt x="718295" y="682791"/>
                    </a:cubicBezTo>
                    <a:cubicBezTo>
                      <a:pt x="715625" y="661936"/>
                      <a:pt x="729391" y="661102"/>
                      <a:pt x="743573" y="672614"/>
                    </a:cubicBezTo>
                    <a:cubicBezTo>
                      <a:pt x="757339" y="683709"/>
                      <a:pt x="770604" y="695638"/>
                      <a:pt x="782534" y="708902"/>
                    </a:cubicBezTo>
                    <a:cubicBezTo>
                      <a:pt x="797133" y="724835"/>
                      <a:pt x="816655" y="714241"/>
                      <a:pt x="812233" y="692551"/>
                    </a:cubicBezTo>
                    <a:cubicBezTo>
                      <a:pt x="809147" y="675283"/>
                      <a:pt x="793212" y="657098"/>
                      <a:pt x="785203" y="642082"/>
                    </a:cubicBezTo>
                    <a:cubicBezTo>
                      <a:pt x="772355" y="617723"/>
                      <a:pt x="769268" y="594699"/>
                      <a:pt x="771021" y="566753"/>
                    </a:cubicBezTo>
                    <a:cubicBezTo>
                      <a:pt x="772355" y="545064"/>
                      <a:pt x="775442" y="514449"/>
                      <a:pt x="786538" y="495429"/>
                    </a:cubicBezTo>
                    <a:cubicBezTo>
                      <a:pt x="791377" y="487003"/>
                      <a:pt x="800303" y="480830"/>
                      <a:pt x="805142" y="472405"/>
                    </a:cubicBezTo>
                    <a:cubicBezTo>
                      <a:pt x="811316" y="462227"/>
                      <a:pt x="811816" y="450298"/>
                      <a:pt x="819742" y="441372"/>
                    </a:cubicBezTo>
                    <a:cubicBezTo>
                      <a:pt x="826833" y="433864"/>
                      <a:pt x="839264" y="428108"/>
                      <a:pt x="849442" y="425439"/>
                    </a:cubicBezTo>
                    <a:cubicBezTo>
                      <a:pt x="856533" y="423687"/>
                      <a:pt x="863625" y="424521"/>
                      <a:pt x="870716" y="422769"/>
                    </a:cubicBezTo>
                    <a:cubicBezTo>
                      <a:pt x="875555" y="421435"/>
                      <a:pt x="879142" y="416096"/>
                      <a:pt x="884481" y="416096"/>
                    </a:cubicBezTo>
                    <a:cubicBezTo>
                      <a:pt x="893324" y="415679"/>
                      <a:pt x="895077" y="422769"/>
                      <a:pt x="903085" y="425439"/>
                    </a:cubicBezTo>
                    <a:cubicBezTo>
                      <a:pt x="912429" y="428108"/>
                      <a:pt x="928364" y="423187"/>
                      <a:pt x="935872" y="417431"/>
                    </a:cubicBezTo>
                    <a:cubicBezTo>
                      <a:pt x="957980" y="400580"/>
                      <a:pt x="929699" y="388651"/>
                      <a:pt x="917268" y="377973"/>
                    </a:cubicBezTo>
                    <a:cubicBezTo>
                      <a:pt x="901751" y="365126"/>
                      <a:pt x="880477" y="342102"/>
                      <a:pt x="878307" y="321747"/>
                    </a:cubicBezTo>
                    <a:cubicBezTo>
                      <a:pt x="876973" y="311987"/>
                      <a:pt x="883146" y="303562"/>
                      <a:pt x="883146" y="294302"/>
                    </a:cubicBezTo>
                    <a:cubicBezTo>
                      <a:pt x="882729" y="282790"/>
                      <a:pt x="873386" y="277034"/>
                      <a:pt x="868546" y="267274"/>
                    </a:cubicBezTo>
                    <a:cubicBezTo>
                      <a:pt x="862373" y="256179"/>
                      <a:pt x="864125" y="245584"/>
                      <a:pt x="862790" y="233572"/>
                    </a:cubicBezTo>
                    <a:cubicBezTo>
                      <a:pt x="860538" y="219390"/>
                      <a:pt x="855699" y="213634"/>
                      <a:pt x="849025" y="201705"/>
                    </a:cubicBezTo>
                    <a:cubicBezTo>
                      <a:pt x="845938" y="195532"/>
                      <a:pt x="844603" y="188858"/>
                      <a:pt x="840181" y="183519"/>
                    </a:cubicBezTo>
                    <a:cubicBezTo>
                      <a:pt x="833507" y="175511"/>
                      <a:pt x="821994" y="176429"/>
                      <a:pt x="823830" y="163999"/>
                    </a:cubicBezTo>
                    <a:cubicBezTo>
                      <a:pt x="824747" y="157826"/>
                      <a:pt x="831839" y="155574"/>
                      <a:pt x="831839" y="149400"/>
                    </a:cubicBezTo>
                    <a:cubicBezTo>
                      <a:pt x="830921" y="139223"/>
                      <a:pt x="814987" y="135636"/>
                      <a:pt x="810148" y="128128"/>
                    </a:cubicBezTo>
                    <a:cubicBezTo>
                      <a:pt x="800387" y="113029"/>
                      <a:pt x="818157" y="106022"/>
                      <a:pt x="814153" y="91340"/>
                    </a:cubicBezTo>
                    <a:cubicBezTo>
                      <a:pt x="812817" y="86501"/>
                      <a:pt x="809313" y="86501"/>
                      <a:pt x="807061" y="82914"/>
                    </a:cubicBezTo>
                    <a:cubicBezTo>
                      <a:pt x="804809" y="79411"/>
                      <a:pt x="802639" y="74489"/>
                      <a:pt x="800387" y="70985"/>
                    </a:cubicBezTo>
                    <a:cubicBezTo>
                      <a:pt x="795048" y="62560"/>
                      <a:pt x="786205" y="56804"/>
                      <a:pt x="788874" y="45709"/>
                    </a:cubicBezTo>
                    <a:cubicBezTo>
                      <a:pt x="790209" y="39536"/>
                      <a:pt x="799052" y="35531"/>
                      <a:pt x="799970" y="29776"/>
                    </a:cubicBezTo>
                    <a:cubicBezTo>
                      <a:pt x="802222" y="19181"/>
                      <a:pt x="791961" y="14676"/>
                      <a:pt x="788874" y="5834"/>
                    </a:cubicBezTo>
                    <a:cubicBezTo>
                      <a:pt x="788457" y="4499"/>
                      <a:pt x="787956" y="3581"/>
                      <a:pt x="787956" y="2747"/>
                    </a:cubicBezTo>
                    <a:lnTo>
                      <a:pt x="787956" y="2330"/>
                    </a:lnTo>
                    <a:cubicBezTo>
                      <a:pt x="784452" y="995"/>
                      <a:pt x="780865" y="-339"/>
                      <a:pt x="777778" y="78"/>
                    </a:cubicBezTo>
                    <a:cubicBezTo>
                      <a:pt x="774691" y="495"/>
                      <a:pt x="772439" y="2330"/>
                      <a:pt x="768935" y="5417"/>
                    </a:cubicBezTo>
                    <a:cubicBezTo>
                      <a:pt x="766265" y="8086"/>
                      <a:pt x="763178" y="10756"/>
                      <a:pt x="758757" y="12925"/>
                    </a:cubicBezTo>
                    <a:cubicBezTo>
                      <a:pt x="746326" y="18263"/>
                      <a:pt x="736149" y="15177"/>
                      <a:pt x="726888" y="11590"/>
                    </a:cubicBezTo>
                    <a:cubicBezTo>
                      <a:pt x="724635" y="10672"/>
                      <a:pt x="722466" y="10255"/>
                      <a:pt x="720214" y="9337"/>
                    </a:cubicBezTo>
                    <a:cubicBezTo>
                      <a:pt x="707783" y="4499"/>
                      <a:pt x="699858" y="2247"/>
                      <a:pt x="691014" y="8003"/>
                    </a:cubicBezTo>
                    <a:cubicBezTo>
                      <a:pt x="679084" y="16428"/>
                      <a:pt x="678167" y="34113"/>
                      <a:pt x="677249" y="48795"/>
                    </a:cubicBezTo>
                    <a:cubicBezTo>
                      <a:pt x="676832" y="52299"/>
                      <a:pt x="676832" y="55886"/>
                      <a:pt x="676832" y="59390"/>
                    </a:cubicBezTo>
                    <a:cubicBezTo>
                      <a:pt x="676414" y="74489"/>
                      <a:pt x="676414" y="87336"/>
                      <a:pt x="666653" y="103269"/>
                    </a:cubicBezTo>
                    <a:cubicBezTo>
                      <a:pt x="663984" y="107690"/>
                      <a:pt x="661315" y="111694"/>
                      <a:pt x="658645" y="115198"/>
                    </a:cubicBezTo>
                    <a:cubicBezTo>
                      <a:pt x="651136" y="125793"/>
                      <a:pt x="646214" y="132883"/>
                      <a:pt x="645797" y="147982"/>
                    </a:cubicBezTo>
                    <a:cubicBezTo>
                      <a:pt x="644879" y="180350"/>
                      <a:pt x="635619" y="218890"/>
                      <a:pt x="619684" y="256512"/>
                    </a:cubicBezTo>
                    <a:cubicBezTo>
                      <a:pt x="613010" y="272446"/>
                      <a:pt x="604167" y="287962"/>
                      <a:pt x="578055" y="283124"/>
                    </a:cubicBezTo>
                    <a:cubicBezTo>
                      <a:pt x="573215" y="282206"/>
                      <a:pt x="568711" y="280871"/>
                      <a:pt x="564790" y="280454"/>
                    </a:cubicBezTo>
                    <a:cubicBezTo>
                      <a:pt x="552359" y="277368"/>
                      <a:pt x="546186" y="275616"/>
                      <a:pt x="532920" y="283958"/>
                    </a:cubicBezTo>
                    <a:cubicBezTo>
                      <a:pt x="524495" y="289297"/>
                      <a:pt x="515651" y="291966"/>
                      <a:pt x="507225" y="294552"/>
                    </a:cubicBezTo>
                    <a:cubicBezTo>
                      <a:pt x="499216" y="296805"/>
                      <a:pt x="491708" y="298973"/>
                      <a:pt x="485117" y="303395"/>
                    </a:cubicBezTo>
                    <a:cubicBezTo>
                      <a:pt x="480278" y="306481"/>
                      <a:pt x="476274" y="311820"/>
                      <a:pt x="471852" y="317159"/>
                    </a:cubicBezTo>
                    <a:cubicBezTo>
                      <a:pt x="464760" y="326502"/>
                      <a:pt x="456335" y="336680"/>
                      <a:pt x="443069" y="338849"/>
                    </a:cubicBezTo>
                    <a:cubicBezTo>
                      <a:pt x="421796" y="342352"/>
                      <a:pt x="416040" y="325084"/>
                      <a:pt x="412035" y="313572"/>
                    </a:cubicBezTo>
                    <a:cubicBezTo>
                      <a:pt x="411117" y="310903"/>
                      <a:pt x="410283" y="308734"/>
                      <a:pt x="409366" y="306481"/>
                    </a:cubicBezTo>
                    <a:cubicBezTo>
                      <a:pt x="406279" y="298473"/>
                      <a:pt x="401356" y="290965"/>
                      <a:pt x="396517" y="283040"/>
                    </a:cubicBezTo>
                    <a:cubicBezTo>
                      <a:pt x="392513" y="276367"/>
                      <a:pt x="388092" y="268859"/>
                      <a:pt x="384588" y="261351"/>
                    </a:cubicBezTo>
                    <a:cubicBezTo>
                      <a:pt x="382335" y="256512"/>
                      <a:pt x="381083" y="251591"/>
                      <a:pt x="379248" y="246252"/>
                    </a:cubicBezTo>
                    <a:cubicBezTo>
                      <a:pt x="376579" y="236909"/>
                      <a:pt x="373909" y="228066"/>
                      <a:pt x="367318" y="224145"/>
                    </a:cubicBezTo>
                    <a:cubicBezTo>
                      <a:pt x="356222" y="217472"/>
                      <a:pt x="339370" y="218806"/>
                      <a:pt x="326106" y="227232"/>
                    </a:cubicBezTo>
                    <a:cubicBezTo>
                      <a:pt x="321683" y="229901"/>
                      <a:pt x="318597" y="232988"/>
                      <a:pt x="315510" y="235657"/>
                    </a:cubicBezTo>
                    <a:cubicBezTo>
                      <a:pt x="308002" y="242331"/>
                      <a:pt x="299992" y="249839"/>
                      <a:pt x="284976" y="250256"/>
                    </a:cubicBezTo>
                    <a:cubicBezTo>
                      <a:pt x="280554" y="250673"/>
                      <a:pt x="276133" y="250673"/>
                      <a:pt x="272128" y="250256"/>
                    </a:cubicBezTo>
                    <a:cubicBezTo>
                      <a:pt x="258863" y="249839"/>
                      <a:pt x="249519" y="249839"/>
                      <a:pt x="240676" y="260016"/>
                    </a:cubicBezTo>
                    <a:cubicBezTo>
                      <a:pt x="236672" y="264437"/>
                      <a:pt x="234002" y="269776"/>
                      <a:pt x="231833" y="274615"/>
                    </a:cubicBezTo>
                    <a:cubicBezTo>
                      <a:pt x="227411" y="283457"/>
                      <a:pt x="222489" y="293635"/>
                      <a:pt x="210142" y="300308"/>
                    </a:cubicBezTo>
                    <a:cubicBezTo>
                      <a:pt x="203468" y="303812"/>
                      <a:pt x="195960" y="304730"/>
                      <a:pt x="188869" y="305147"/>
                    </a:cubicBezTo>
                    <a:cubicBezTo>
                      <a:pt x="178690" y="306064"/>
                      <a:pt x="172516" y="306898"/>
                      <a:pt x="169346" y="313572"/>
                    </a:cubicBezTo>
                    <a:cubicBezTo>
                      <a:pt x="167094" y="317576"/>
                      <a:pt x="166259" y="321998"/>
                      <a:pt x="164925" y="326002"/>
                    </a:cubicBezTo>
                    <a:cubicBezTo>
                      <a:pt x="162672" y="334427"/>
                      <a:pt x="160503" y="342853"/>
                      <a:pt x="153412" y="351278"/>
                    </a:cubicBezTo>
                    <a:cubicBezTo>
                      <a:pt x="150742" y="353948"/>
                      <a:pt x="148072" y="356117"/>
                      <a:pt x="145403" y="357952"/>
                    </a:cubicBezTo>
                    <a:cubicBezTo>
                      <a:pt x="142733" y="360204"/>
                      <a:pt x="140564" y="361455"/>
                      <a:pt x="139230" y="363291"/>
                    </a:cubicBezTo>
                    <a:cubicBezTo>
                      <a:pt x="137894" y="365543"/>
                      <a:pt x="136977" y="368630"/>
                      <a:pt x="136560" y="371716"/>
                    </a:cubicBezTo>
                    <a:cubicBezTo>
                      <a:pt x="135642" y="376137"/>
                      <a:pt x="134807" y="381059"/>
                      <a:pt x="131721" y="385480"/>
                    </a:cubicBezTo>
                    <a:cubicBezTo>
                      <a:pt x="123295" y="397410"/>
                      <a:pt x="108278" y="400997"/>
                      <a:pt x="93178" y="404083"/>
                    </a:cubicBezTo>
                    <a:cubicBezTo>
                      <a:pt x="74574" y="408505"/>
                      <a:pt x="63477" y="412092"/>
                      <a:pt x="62143" y="424021"/>
                    </a:cubicBezTo>
                    <a:cubicBezTo>
                      <a:pt x="61726" y="427525"/>
                      <a:pt x="63060" y="430694"/>
                      <a:pt x="63894" y="434198"/>
                    </a:cubicBezTo>
                    <a:cubicBezTo>
                      <a:pt x="66147" y="441706"/>
                      <a:pt x="68734" y="451883"/>
                      <a:pt x="54551" y="461226"/>
                    </a:cubicBezTo>
                    <a:cubicBezTo>
                      <a:pt x="50129" y="463896"/>
                      <a:pt x="46125" y="465648"/>
                      <a:pt x="42621" y="466565"/>
                    </a:cubicBezTo>
                    <a:cubicBezTo>
                      <a:pt x="38199" y="468317"/>
                      <a:pt x="34612" y="469652"/>
                      <a:pt x="31525" y="472738"/>
                    </a:cubicBezTo>
                    <a:cubicBezTo>
                      <a:pt x="28021" y="476242"/>
                      <a:pt x="25352" y="481164"/>
                      <a:pt x="22682" y="486002"/>
                    </a:cubicBezTo>
                    <a:cubicBezTo>
                      <a:pt x="20930" y="489089"/>
                      <a:pt x="19178" y="492175"/>
                      <a:pt x="17342" y="495345"/>
                    </a:cubicBezTo>
                    <a:cubicBezTo>
                      <a:pt x="15090" y="498432"/>
                      <a:pt x="12921" y="501519"/>
                      <a:pt x="10668" y="504188"/>
                    </a:cubicBezTo>
                    <a:cubicBezTo>
                      <a:pt x="907" y="516617"/>
                      <a:pt x="-3097" y="522791"/>
                      <a:pt x="2660" y="535220"/>
                    </a:cubicBezTo>
                    <a:cubicBezTo>
                      <a:pt x="3994" y="538307"/>
                      <a:pt x="5330" y="540559"/>
                      <a:pt x="7081" y="542728"/>
                    </a:cubicBezTo>
                    <a:cubicBezTo>
                      <a:pt x="10585" y="547567"/>
                      <a:pt x="14172" y="549819"/>
                      <a:pt x="19512" y="551154"/>
                    </a:cubicBezTo>
                    <a:cubicBezTo>
                      <a:pt x="24351" y="552071"/>
                      <a:pt x="30107" y="552071"/>
                      <a:pt x="37699" y="551571"/>
                    </a:cubicBezTo>
                    <a:lnTo>
                      <a:pt x="41703" y="551571"/>
                    </a:lnTo>
                    <a:cubicBezTo>
                      <a:pt x="59890" y="551154"/>
                      <a:pt x="67399" y="562165"/>
                      <a:pt x="73572" y="572426"/>
                    </a:cubicBezTo>
                    <a:cubicBezTo>
                      <a:pt x="74907" y="574678"/>
                      <a:pt x="76242" y="576847"/>
                      <a:pt x="77994" y="579100"/>
                    </a:cubicBezTo>
                    <a:cubicBezTo>
                      <a:pt x="78911" y="580017"/>
                      <a:pt x="79328" y="580851"/>
                      <a:pt x="80664" y="581769"/>
                    </a:cubicBezTo>
                    <a:cubicBezTo>
                      <a:pt x="82916" y="584021"/>
                      <a:pt x="86003" y="586607"/>
                      <a:pt x="87755" y="592363"/>
                    </a:cubicBezTo>
                    <a:cubicBezTo>
                      <a:pt x="89090" y="598537"/>
                      <a:pt x="87338" y="604293"/>
                      <a:pt x="85502" y="608714"/>
                    </a:cubicBezTo>
                    <a:cubicBezTo>
                      <a:pt x="84168" y="613135"/>
                      <a:pt x="83250" y="615805"/>
                      <a:pt x="84168" y="617556"/>
                    </a:cubicBezTo>
                    <a:cubicBezTo>
                      <a:pt x="86420" y="621561"/>
                      <a:pt x="94762" y="625565"/>
                      <a:pt x="101854" y="628651"/>
                    </a:cubicBezTo>
                    <a:cubicBezTo>
                      <a:pt x="108945" y="631738"/>
                      <a:pt x="116453" y="635325"/>
                      <a:pt x="121376" y="640163"/>
                    </a:cubicBezTo>
                    <a:lnTo>
                      <a:pt x="124880" y="643667"/>
                    </a:lnTo>
                    <a:cubicBezTo>
                      <a:pt x="128384" y="647671"/>
                      <a:pt x="130219" y="649840"/>
                      <a:pt x="135058" y="650758"/>
                    </a:cubicBezTo>
                    <a:cubicBezTo>
                      <a:pt x="138144" y="651675"/>
                      <a:pt x="142150" y="651675"/>
                      <a:pt x="146154" y="651175"/>
                    </a:cubicBezTo>
                    <a:cubicBezTo>
                      <a:pt x="152828" y="650758"/>
                      <a:pt x="160754" y="650758"/>
                      <a:pt x="167845" y="654678"/>
                    </a:cubicBezTo>
                    <a:cubicBezTo>
                      <a:pt x="177189" y="659517"/>
                      <a:pt x="178940" y="666608"/>
                      <a:pt x="180275" y="671947"/>
                    </a:cubicBezTo>
                    <a:cubicBezTo>
                      <a:pt x="181193" y="674199"/>
                      <a:pt x="181610" y="676368"/>
                      <a:pt x="182945" y="679037"/>
                    </a:cubicBezTo>
                    <a:cubicBezTo>
                      <a:pt x="185615" y="683459"/>
                      <a:pt x="187366" y="684376"/>
                      <a:pt x="191788" y="687463"/>
                    </a:cubicBezTo>
                    <a:cubicBezTo>
                      <a:pt x="193123" y="688380"/>
                      <a:pt x="194875" y="689215"/>
                      <a:pt x="196627" y="690132"/>
                    </a:cubicBezTo>
                    <a:cubicBezTo>
                      <a:pt x="209891" y="698558"/>
                      <a:pt x="211227" y="710070"/>
                      <a:pt x="212561" y="719830"/>
                    </a:cubicBezTo>
                    <a:cubicBezTo>
                      <a:pt x="213479" y="724251"/>
                      <a:pt x="213897" y="729173"/>
                      <a:pt x="215648" y="734011"/>
                    </a:cubicBezTo>
                    <a:cubicBezTo>
                      <a:pt x="220487" y="747275"/>
                      <a:pt x="226744" y="748610"/>
                      <a:pt x="235170" y="746441"/>
                    </a:cubicBezTo>
                    <a:lnTo>
                      <a:pt x="243179" y="743772"/>
                    </a:lnTo>
                    <a:cubicBezTo>
                      <a:pt x="256945" y="739767"/>
                      <a:pt x="268457" y="736264"/>
                      <a:pt x="287061" y="741102"/>
                    </a:cubicBezTo>
                    <a:cubicBezTo>
                      <a:pt x="298992" y="744189"/>
                      <a:pt x="332279" y="758787"/>
                      <a:pt x="337117" y="778725"/>
                    </a:cubicBezTo>
                    <a:cubicBezTo>
                      <a:pt x="338453" y="784064"/>
                      <a:pt x="337117" y="790654"/>
                      <a:pt x="335783" y="797328"/>
                    </a:cubicBezTo>
                    <a:cubicBezTo>
                      <a:pt x="333113" y="809757"/>
                      <a:pt x="332696" y="815513"/>
                      <a:pt x="337117" y="817265"/>
                    </a:cubicBezTo>
                    <a:cubicBezTo>
                      <a:pt x="338036" y="817682"/>
                      <a:pt x="338036" y="817682"/>
                      <a:pt x="341540" y="815930"/>
                    </a:cubicBezTo>
                    <a:cubicBezTo>
                      <a:pt x="343291" y="814596"/>
                      <a:pt x="345544" y="812844"/>
                      <a:pt x="348631" y="811926"/>
                    </a:cubicBezTo>
                    <a:cubicBezTo>
                      <a:pt x="361061" y="807922"/>
                      <a:pt x="366818" y="809674"/>
                      <a:pt x="376996" y="816765"/>
                    </a:cubicBezTo>
                    <a:cubicBezTo>
                      <a:pt x="387591" y="824272"/>
                      <a:pt x="395600" y="829194"/>
                      <a:pt x="404944" y="831363"/>
                    </a:cubicBezTo>
                    <a:cubicBezTo>
                      <a:pt x="409366" y="824689"/>
                      <a:pt x="417374" y="819851"/>
                      <a:pt x="424465" y="813177"/>
                    </a:cubicBezTo>
                    <a:cubicBezTo>
                      <a:pt x="434644" y="804335"/>
                      <a:pt x="449744" y="781728"/>
                      <a:pt x="427135" y="774637"/>
                    </a:cubicBezTo>
                    <a:cubicBezTo>
                      <a:pt x="419127" y="771968"/>
                      <a:pt x="412536" y="781311"/>
                      <a:pt x="405444" y="779976"/>
                    </a:cubicBezTo>
                    <a:cubicBezTo>
                      <a:pt x="394849" y="778641"/>
                      <a:pt x="383753" y="764460"/>
                      <a:pt x="375745" y="757870"/>
                    </a:cubicBezTo>
                    <a:cubicBezTo>
                      <a:pt x="361145" y="746358"/>
                      <a:pt x="351801" y="737932"/>
                      <a:pt x="340788" y="724168"/>
                    </a:cubicBezTo>
                    <a:cubicBezTo>
                      <a:pt x="326606" y="706900"/>
                      <a:pt x="306249" y="711321"/>
                      <a:pt x="313758" y="683876"/>
                    </a:cubicBezTo>
                    <a:cubicBezTo>
                      <a:pt x="318597" y="665273"/>
                      <a:pt x="319932" y="638662"/>
                      <a:pt x="331027" y="621394"/>
                    </a:cubicBezTo>
                    <a:cubicBezTo>
                      <a:pt x="338536" y="609882"/>
                      <a:pt x="347380" y="608964"/>
                      <a:pt x="358475" y="603208"/>
                    </a:cubicBezTo>
                    <a:cubicBezTo>
                      <a:pt x="369071" y="597869"/>
                      <a:pt x="377079" y="588609"/>
                      <a:pt x="385088" y="579266"/>
                    </a:cubicBezTo>
                    <a:cubicBezTo>
                      <a:pt x="388175" y="575763"/>
                      <a:pt x="406362" y="546482"/>
                      <a:pt x="410784" y="557577"/>
                    </a:cubicBezTo>
                    <a:cubicBezTo>
                      <a:pt x="409866" y="557577"/>
                      <a:pt x="401023" y="574845"/>
                      <a:pt x="401023" y="577932"/>
                    </a:cubicBezTo>
                    <a:cubicBezTo>
                      <a:pt x="400606" y="586357"/>
                      <a:pt x="404527" y="589444"/>
                      <a:pt x="398353" y="597869"/>
                    </a:cubicBezTo>
                    <a:cubicBezTo>
                      <a:pt x="386423" y="613802"/>
                      <a:pt x="359393" y="612051"/>
                      <a:pt x="377079" y="658099"/>
                    </a:cubicBezTo>
                    <a:cubicBezTo>
                      <a:pt x="379332" y="664272"/>
                      <a:pt x="383253" y="670528"/>
                      <a:pt x="388175" y="674449"/>
                    </a:cubicBezTo>
                    <a:cubicBezTo>
                      <a:pt x="403693" y="687296"/>
                      <a:pt x="424048" y="696139"/>
                      <a:pt x="439983" y="709903"/>
                    </a:cubicBezTo>
                    <a:cubicBezTo>
                      <a:pt x="452831" y="721832"/>
                      <a:pt x="462592" y="746191"/>
                      <a:pt x="478109" y="754199"/>
                    </a:cubicBezTo>
                    <a:cubicBezTo>
                      <a:pt x="492708" y="762208"/>
                      <a:pt x="507308" y="744856"/>
                      <a:pt x="517570" y="764376"/>
                    </a:cubicBezTo>
                    <a:cubicBezTo>
                      <a:pt x="528165" y="784731"/>
                      <a:pt x="517153" y="798496"/>
                      <a:pt x="540596" y="811342"/>
                    </a:cubicBezTo>
                    <a:cubicBezTo>
                      <a:pt x="547687" y="815346"/>
                      <a:pt x="547270" y="810425"/>
                      <a:pt x="553027" y="817515"/>
                    </a:cubicBezTo>
                    <a:cubicBezTo>
                      <a:pt x="556113" y="821519"/>
                      <a:pt x="557865" y="829945"/>
                      <a:pt x="559200" y="834783"/>
                    </a:cubicBezTo>
                    <a:cubicBezTo>
                      <a:pt x="562704" y="845878"/>
                      <a:pt x="561870" y="844961"/>
                      <a:pt x="558783" y="852969"/>
                    </a:cubicBezTo>
                    <a:cubicBezTo>
                      <a:pt x="556113" y="859643"/>
                      <a:pt x="549439" y="865816"/>
                      <a:pt x="549022" y="875993"/>
                    </a:cubicBezTo>
                    <a:cubicBezTo>
                      <a:pt x="548604" y="888840"/>
                      <a:pt x="555195" y="888423"/>
                      <a:pt x="557448" y="899017"/>
                    </a:cubicBezTo>
                    <a:cubicBezTo>
                      <a:pt x="558783" y="905691"/>
                      <a:pt x="553944" y="913199"/>
                      <a:pt x="552109" y="919372"/>
                    </a:cubicBezTo>
                    <a:cubicBezTo>
                      <a:pt x="545017" y="945482"/>
                      <a:pt x="553861" y="967672"/>
                      <a:pt x="572965" y="985357"/>
                    </a:cubicBezTo>
                    <a:cubicBezTo>
                      <a:pt x="588483" y="999539"/>
                      <a:pt x="587565" y="1022563"/>
                      <a:pt x="591152" y="1042501"/>
                    </a:cubicBezTo>
                    <a:cubicBezTo>
                      <a:pt x="594656" y="1064190"/>
                      <a:pt x="611091" y="1080123"/>
                      <a:pt x="618183" y="1101896"/>
                    </a:cubicBezTo>
                    <a:cubicBezTo>
                      <a:pt x="624357" y="1121416"/>
                      <a:pt x="611509" y="1138184"/>
                      <a:pt x="620853" y="1156370"/>
                    </a:cubicBezTo>
                    <a:cubicBezTo>
                      <a:pt x="626191" y="1167465"/>
                      <a:pt x="633283" y="1173638"/>
                      <a:pt x="635452" y="1186067"/>
                    </a:cubicBezTo>
                    <a:cubicBezTo>
                      <a:pt x="638122" y="1197996"/>
                      <a:pt x="633700" y="1211761"/>
                      <a:pt x="637705" y="1223273"/>
                    </a:cubicBezTo>
                    <a:cubicBezTo>
                      <a:pt x="643878" y="1239623"/>
                      <a:pt x="662482" y="1255139"/>
                      <a:pt x="673161" y="1268904"/>
                    </a:cubicBezTo>
                    <a:cubicBezTo>
                      <a:pt x="686927" y="1286172"/>
                      <a:pt x="686009" y="1311865"/>
                      <a:pt x="693517" y="1332220"/>
                    </a:cubicBezTo>
                    <a:cubicBezTo>
                      <a:pt x="697938" y="1345067"/>
                      <a:pt x="703278" y="1355244"/>
                      <a:pt x="703695" y="1369425"/>
                    </a:cubicBezTo>
                    <a:cubicBezTo>
                      <a:pt x="704112" y="1380020"/>
                      <a:pt x="702361" y="1390698"/>
                      <a:pt x="704112" y="1400875"/>
                    </a:cubicBezTo>
                    <a:cubicBezTo>
                      <a:pt x="707616" y="1425651"/>
                      <a:pt x="732060" y="1432742"/>
                      <a:pt x="713873" y="1459353"/>
                    </a:cubicBezTo>
                    <a:cubicBezTo>
                      <a:pt x="709035" y="1466861"/>
                      <a:pt x="693517" y="1477956"/>
                      <a:pt x="691765" y="1486798"/>
                    </a:cubicBezTo>
                    <a:cubicBezTo>
                      <a:pt x="690430" y="1495224"/>
                      <a:pt x="697104" y="1499228"/>
                      <a:pt x="700608" y="1506319"/>
                    </a:cubicBezTo>
                    <a:cubicBezTo>
                      <a:pt x="706782" y="1518748"/>
                      <a:pt x="707700" y="1532012"/>
                      <a:pt x="697938" y="1542607"/>
                    </a:cubicBezTo>
                    <a:cubicBezTo>
                      <a:pt x="691765" y="1549280"/>
                      <a:pt x="676247" y="1553701"/>
                      <a:pt x="682421" y="1566048"/>
                    </a:cubicBezTo>
                    <a:cubicBezTo>
                      <a:pt x="686843" y="1574473"/>
                      <a:pt x="703278" y="1574056"/>
                      <a:pt x="710369" y="1577143"/>
                    </a:cubicBezTo>
                    <a:cubicBezTo>
                      <a:pt x="717878" y="1580229"/>
                      <a:pt x="722299" y="1583816"/>
                      <a:pt x="727639" y="1589572"/>
                    </a:cubicBezTo>
                    <a:cubicBezTo>
                      <a:pt x="747160" y="1609510"/>
                      <a:pt x="756004" y="1627195"/>
                      <a:pt x="759091" y="1654223"/>
                    </a:cubicBezTo>
                    <a:cubicBezTo>
                      <a:pt x="760425" y="1666152"/>
                      <a:pt x="766599" y="1676330"/>
                      <a:pt x="769268" y="1688342"/>
                    </a:cubicBezTo>
                    <a:cubicBezTo>
                      <a:pt x="771521" y="1698519"/>
                      <a:pt x="771521" y="1708697"/>
                      <a:pt x="775025" y="1718874"/>
                    </a:cubicBezTo>
                    <a:cubicBezTo>
                      <a:pt x="783034" y="1740563"/>
                      <a:pt x="798051" y="1756997"/>
                      <a:pt x="813986" y="1772513"/>
                    </a:cubicBezTo>
                    <a:cubicBezTo>
                      <a:pt x="830838" y="1788864"/>
                      <a:pt x="839681" y="1810136"/>
                      <a:pt x="857868" y="1826987"/>
                    </a:cubicBezTo>
                    <a:cubicBezTo>
                      <a:pt x="867629" y="1835830"/>
                      <a:pt x="877390" y="1845173"/>
                      <a:pt x="887067" y="1854432"/>
                    </a:cubicBezTo>
                    <a:cubicBezTo>
                      <a:pt x="887484" y="1854015"/>
                      <a:pt x="887985" y="1854015"/>
                      <a:pt x="888403" y="1853515"/>
                    </a:cubicBezTo>
                    <a:lnTo>
                      <a:pt x="898163" y="1863692"/>
                    </a:lnTo>
                    <a:lnTo>
                      <a:pt x="897746" y="1864109"/>
                    </a:lnTo>
                    <a:cubicBezTo>
                      <a:pt x="903502" y="1870282"/>
                      <a:pt x="909676" y="1876038"/>
                      <a:pt x="915432" y="1881794"/>
                    </a:cubicBezTo>
                    <a:cubicBezTo>
                      <a:pt x="917185" y="1883546"/>
                      <a:pt x="919437" y="1885798"/>
                      <a:pt x="921606" y="1887550"/>
                    </a:cubicBezTo>
                    <a:lnTo>
                      <a:pt x="931367" y="1897310"/>
                    </a:lnTo>
                    <a:lnTo>
                      <a:pt x="934454" y="1897728"/>
                    </a:lnTo>
                    <a:cubicBezTo>
                      <a:pt x="969410" y="1925673"/>
                      <a:pt x="1012458" y="1944693"/>
                      <a:pt x="1051418" y="1965465"/>
                    </a:cubicBezTo>
                    <a:cubicBezTo>
                      <a:pt x="1074027" y="1977895"/>
                      <a:pt x="1099222" y="1981815"/>
                      <a:pt x="1121831" y="1993828"/>
                    </a:cubicBezTo>
                    <a:cubicBezTo>
                      <a:pt x="1147526" y="2007092"/>
                      <a:pt x="1170969" y="2024860"/>
                      <a:pt x="1196665" y="2038124"/>
                    </a:cubicBezTo>
                    <a:cubicBezTo>
                      <a:pt x="1244968" y="2063818"/>
                      <a:pt x="1287016" y="2097937"/>
                      <a:pt x="1341493" y="2109032"/>
                    </a:cubicBezTo>
                    <a:cubicBezTo>
                      <a:pt x="1393802" y="2119626"/>
                      <a:pt x="1434514" y="2148490"/>
                      <a:pt x="1477062" y="2178605"/>
                    </a:cubicBezTo>
                    <a:cubicBezTo>
                      <a:pt x="1485905" y="2184778"/>
                      <a:pt x="1495249" y="2191034"/>
                      <a:pt x="1505427" y="2194955"/>
                    </a:cubicBezTo>
                    <a:cubicBezTo>
                      <a:pt x="1517357" y="2199793"/>
                      <a:pt x="1528035" y="2207385"/>
                      <a:pt x="1539966" y="2212640"/>
                    </a:cubicBezTo>
                    <a:cubicBezTo>
                      <a:pt x="1543052" y="2213975"/>
                      <a:pt x="1546139" y="2215310"/>
                      <a:pt x="1549309" y="2216644"/>
                    </a:cubicBezTo>
                    <a:cubicBezTo>
                      <a:pt x="1559070" y="2221066"/>
                      <a:pt x="1569666" y="2225487"/>
                      <a:pt x="1579844" y="2222818"/>
                    </a:cubicBezTo>
                    <a:cubicBezTo>
                      <a:pt x="1582097" y="2222400"/>
                      <a:pt x="1583848" y="2221483"/>
                      <a:pt x="1585183" y="2219731"/>
                    </a:cubicBezTo>
                    <a:cubicBezTo>
                      <a:pt x="1588270" y="2217061"/>
                      <a:pt x="1588687" y="2212640"/>
                      <a:pt x="1588687" y="2208219"/>
                    </a:cubicBezTo>
                    <a:cubicBezTo>
                      <a:pt x="1586935" y="2192452"/>
                      <a:pt x="1585600" y="2175184"/>
                      <a:pt x="1582097" y="215699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57999726" name="Полилиния 441"/>
              <p:cNvSpPr/>
              <p:nvPr/>
            </p:nvSpPr>
            <p:spPr bwMode="auto">
              <a:xfrm>
                <a:off x="6999183" y="2359377"/>
                <a:ext cx="2513175" cy="2510778"/>
              </a:xfrm>
              <a:custGeom>
                <a:avLst/>
                <a:gdLst>
                  <a:gd name="connsiteX0" fmla="*/ 2684846 w 2822379"/>
                  <a:gd name="connsiteY0" fmla="*/ 9334 h 2819687"/>
                  <a:gd name="connsiteX1" fmla="*/ 2665324 w 2822379"/>
                  <a:gd name="connsiteY1" fmla="*/ 13755 h 2819687"/>
                  <a:gd name="connsiteX2" fmla="*/ 2653394 w 2822379"/>
                  <a:gd name="connsiteY2" fmla="*/ 9334 h 2819687"/>
                  <a:gd name="connsiteX3" fmla="*/ 2651642 w 2822379"/>
                  <a:gd name="connsiteY3" fmla="*/ 8416 h 2819687"/>
                  <a:gd name="connsiteX4" fmla="*/ 2593160 w 2822379"/>
                  <a:gd name="connsiteY4" fmla="*/ 11086 h 2819687"/>
                  <a:gd name="connsiteX5" fmla="*/ 2591825 w 2822379"/>
                  <a:gd name="connsiteY5" fmla="*/ 12003 h 2819687"/>
                  <a:gd name="connsiteX6" fmla="*/ 2581647 w 2822379"/>
                  <a:gd name="connsiteY6" fmla="*/ 16842 h 2819687"/>
                  <a:gd name="connsiteX7" fmla="*/ 2557703 w 2822379"/>
                  <a:gd name="connsiteY7" fmla="*/ 10669 h 2819687"/>
                  <a:gd name="connsiteX8" fmla="*/ 2555451 w 2822379"/>
                  <a:gd name="connsiteY8" fmla="*/ 9334 h 2819687"/>
                  <a:gd name="connsiteX9" fmla="*/ 2506730 w 2822379"/>
                  <a:gd name="connsiteY9" fmla="*/ 2243 h 2819687"/>
                  <a:gd name="connsiteX10" fmla="*/ 2488126 w 2822379"/>
                  <a:gd name="connsiteY10" fmla="*/ 18594 h 2819687"/>
                  <a:gd name="connsiteX11" fmla="*/ 2491213 w 2822379"/>
                  <a:gd name="connsiteY11" fmla="*/ 29689 h 2819687"/>
                  <a:gd name="connsiteX12" fmla="*/ 2504060 w 2822379"/>
                  <a:gd name="connsiteY12" fmla="*/ 37697 h 2819687"/>
                  <a:gd name="connsiteX13" fmla="*/ 2521329 w 2822379"/>
                  <a:gd name="connsiteY13" fmla="*/ 48792 h 2819687"/>
                  <a:gd name="connsiteX14" fmla="*/ 2530172 w 2822379"/>
                  <a:gd name="connsiteY14" fmla="*/ 65643 h 2819687"/>
                  <a:gd name="connsiteX15" fmla="*/ 2535929 w 2822379"/>
                  <a:gd name="connsiteY15" fmla="*/ 198532 h 2819687"/>
                  <a:gd name="connsiteX16" fmla="*/ 2530172 w 2822379"/>
                  <a:gd name="connsiteY16" fmla="*/ 248167 h 2819687"/>
                  <a:gd name="connsiteX17" fmla="*/ 2508899 w 2822379"/>
                  <a:gd name="connsiteY17" fmla="*/ 285790 h 2819687"/>
                  <a:gd name="connsiteX18" fmla="*/ 2504060 w 2822379"/>
                  <a:gd name="connsiteY18" fmla="*/ 289794 h 2819687"/>
                  <a:gd name="connsiteX19" fmla="*/ 2486373 w 2822379"/>
                  <a:gd name="connsiteY19" fmla="*/ 311900 h 2819687"/>
                  <a:gd name="connsiteX20" fmla="*/ 2477530 w 2822379"/>
                  <a:gd name="connsiteY20" fmla="*/ 325164 h 2819687"/>
                  <a:gd name="connsiteX21" fmla="*/ 2395105 w 2822379"/>
                  <a:gd name="connsiteY21" fmla="*/ 360618 h 2819687"/>
                  <a:gd name="connsiteX22" fmla="*/ 2391601 w 2822379"/>
                  <a:gd name="connsiteY22" fmla="*/ 358365 h 2819687"/>
                  <a:gd name="connsiteX23" fmla="*/ 2376501 w 2822379"/>
                  <a:gd name="connsiteY23" fmla="*/ 352192 h 2819687"/>
                  <a:gd name="connsiteX24" fmla="*/ 2375583 w 2822379"/>
                  <a:gd name="connsiteY24" fmla="*/ 352192 h 2819687"/>
                  <a:gd name="connsiteX25" fmla="*/ 2363153 w 2822379"/>
                  <a:gd name="connsiteY25" fmla="*/ 354445 h 2819687"/>
                  <a:gd name="connsiteX26" fmla="*/ 2336539 w 2822379"/>
                  <a:gd name="connsiteY26" fmla="*/ 359283 h 2819687"/>
                  <a:gd name="connsiteX27" fmla="*/ 2326778 w 2822379"/>
                  <a:gd name="connsiteY27" fmla="*/ 359283 h 2819687"/>
                  <a:gd name="connsiteX28" fmla="*/ 2286483 w 2822379"/>
                  <a:gd name="connsiteY28" fmla="*/ 344685 h 2819687"/>
                  <a:gd name="connsiteX29" fmla="*/ 2264375 w 2822379"/>
                  <a:gd name="connsiteY29" fmla="*/ 329585 h 2819687"/>
                  <a:gd name="connsiteX30" fmla="*/ 2253279 w 2822379"/>
                  <a:gd name="connsiteY30" fmla="*/ 338929 h 2819687"/>
                  <a:gd name="connsiteX31" fmla="*/ 2252361 w 2822379"/>
                  <a:gd name="connsiteY31" fmla="*/ 339846 h 2819687"/>
                  <a:gd name="connsiteX32" fmla="*/ 2243518 w 2822379"/>
                  <a:gd name="connsiteY32" fmla="*/ 356197 h 2819687"/>
                  <a:gd name="connsiteX33" fmla="*/ 2243518 w 2822379"/>
                  <a:gd name="connsiteY33" fmla="*/ 358449 h 2819687"/>
                  <a:gd name="connsiteX34" fmla="*/ 2245771 w 2822379"/>
                  <a:gd name="connsiteY34" fmla="*/ 359367 h 2819687"/>
                  <a:gd name="connsiteX35" fmla="*/ 2290487 w 2822379"/>
                  <a:gd name="connsiteY35" fmla="*/ 361619 h 2819687"/>
                  <a:gd name="connsiteX36" fmla="*/ 2299831 w 2822379"/>
                  <a:gd name="connsiteY36" fmla="*/ 360701 h 2819687"/>
                  <a:gd name="connsiteX37" fmla="*/ 2357896 w 2822379"/>
                  <a:gd name="connsiteY37" fmla="*/ 362453 h 2819687"/>
                  <a:gd name="connsiteX38" fmla="*/ 2374748 w 2822379"/>
                  <a:gd name="connsiteY38" fmla="*/ 367292 h 2819687"/>
                  <a:gd name="connsiteX39" fmla="*/ 2393352 w 2822379"/>
                  <a:gd name="connsiteY39" fmla="*/ 404914 h 2819687"/>
                  <a:gd name="connsiteX40" fmla="*/ 2392435 w 2822379"/>
                  <a:gd name="connsiteY40" fmla="*/ 420013 h 2819687"/>
                  <a:gd name="connsiteX41" fmla="*/ 2392435 w 2822379"/>
                  <a:gd name="connsiteY41" fmla="*/ 440868 h 2819687"/>
                  <a:gd name="connsiteX42" fmla="*/ 2395939 w 2822379"/>
                  <a:gd name="connsiteY42" fmla="*/ 454633 h 2819687"/>
                  <a:gd name="connsiteX43" fmla="*/ 2398192 w 2822379"/>
                  <a:gd name="connsiteY43" fmla="*/ 462141 h 2819687"/>
                  <a:gd name="connsiteX44" fmla="*/ 2397274 w 2822379"/>
                  <a:gd name="connsiteY44" fmla="*/ 545394 h 2819687"/>
                  <a:gd name="connsiteX45" fmla="*/ 2387930 w 2822379"/>
                  <a:gd name="connsiteY45" fmla="*/ 577761 h 2819687"/>
                  <a:gd name="connsiteX46" fmla="*/ 2356061 w 2822379"/>
                  <a:gd name="connsiteY46" fmla="*/ 596781 h 2819687"/>
                  <a:gd name="connsiteX47" fmla="*/ 2341462 w 2822379"/>
                  <a:gd name="connsiteY47" fmla="*/ 592360 h 2819687"/>
                  <a:gd name="connsiteX48" fmla="*/ 2330365 w 2822379"/>
                  <a:gd name="connsiteY48" fmla="*/ 589273 h 2819687"/>
                  <a:gd name="connsiteX49" fmla="*/ 2317935 w 2822379"/>
                  <a:gd name="connsiteY49" fmla="*/ 593278 h 2819687"/>
                  <a:gd name="connsiteX50" fmla="*/ 2312595 w 2822379"/>
                  <a:gd name="connsiteY50" fmla="*/ 595530 h 2819687"/>
                  <a:gd name="connsiteX51" fmla="*/ 2277139 w 2822379"/>
                  <a:gd name="connsiteY51" fmla="*/ 602621 h 2819687"/>
                  <a:gd name="connsiteX52" fmla="*/ 2256783 w 2822379"/>
                  <a:gd name="connsiteY52" fmla="*/ 605290 h 2819687"/>
                  <a:gd name="connsiteX53" fmla="*/ 2232005 w 2822379"/>
                  <a:gd name="connsiteY53" fmla="*/ 613299 h 2819687"/>
                  <a:gd name="connsiteX54" fmla="*/ 2213818 w 2822379"/>
                  <a:gd name="connsiteY54" fmla="*/ 619472 h 2819687"/>
                  <a:gd name="connsiteX55" fmla="*/ 2163762 w 2822379"/>
                  <a:gd name="connsiteY55" fmla="*/ 617720 h 2819687"/>
                  <a:gd name="connsiteX56" fmla="*/ 2151832 w 2822379"/>
                  <a:gd name="connsiteY56" fmla="*/ 609711 h 2819687"/>
                  <a:gd name="connsiteX57" fmla="*/ 2144740 w 2822379"/>
                  <a:gd name="connsiteY57" fmla="*/ 604873 h 2819687"/>
                  <a:gd name="connsiteX58" fmla="*/ 2113289 w 2822379"/>
                  <a:gd name="connsiteY58" fmla="*/ 593361 h 2819687"/>
                  <a:gd name="connsiteX59" fmla="*/ 2068072 w 2822379"/>
                  <a:gd name="connsiteY59" fmla="*/ 590692 h 2819687"/>
                  <a:gd name="connsiteX60" fmla="*/ 2061898 w 2822379"/>
                  <a:gd name="connsiteY60" fmla="*/ 593361 h 2819687"/>
                  <a:gd name="connsiteX61" fmla="*/ 2052554 w 2822379"/>
                  <a:gd name="connsiteY61" fmla="*/ 597365 h 2819687"/>
                  <a:gd name="connsiteX62" fmla="*/ 2018850 w 2822379"/>
                  <a:gd name="connsiteY62" fmla="*/ 598700 h 2819687"/>
                  <a:gd name="connsiteX63" fmla="*/ 2001163 w 2822379"/>
                  <a:gd name="connsiteY63" fmla="*/ 597782 h 2819687"/>
                  <a:gd name="connsiteX64" fmla="*/ 1986063 w 2822379"/>
                  <a:gd name="connsiteY64" fmla="*/ 602621 h 2819687"/>
                  <a:gd name="connsiteX65" fmla="*/ 1962620 w 2822379"/>
                  <a:gd name="connsiteY65" fmla="*/ 617720 h 2819687"/>
                  <a:gd name="connsiteX66" fmla="*/ 1948437 w 2822379"/>
                  <a:gd name="connsiteY66" fmla="*/ 620389 h 2819687"/>
                  <a:gd name="connsiteX67" fmla="*/ 1931585 w 2822379"/>
                  <a:gd name="connsiteY67" fmla="*/ 624394 h 2819687"/>
                  <a:gd name="connsiteX68" fmla="*/ 1920489 w 2822379"/>
                  <a:gd name="connsiteY68" fmla="*/ 634154 h 2819687"/>
                  <a:gd name="connsiteX69" fmla="*/ 1908976 w 2822379"/>
                  <a:gd name="connsiteY69" fmla="*/ 651005 h 2819687"/>
                  <a:gd name="connsiteX70" fmla="*/ 1909394 w 2822379"/>
                  <a:gd name="connsiteY70" fmla="*/ 672694 h 2819687"/>
                  <a:gd name="connsiteX71" fmla="*/ 1917402 w 2822379"/>
                  <a:gd name="connsiteY71" fmla="*/ 698805 h 2819687"/>
                  <a:gd name="connsiteX72" fmla="*/ 1928499 w 2822379"/>
                  <a:gd name="connsiteY72" fmla="*/ 708982 h 2819687"/>
                  <a:gd name="connsiteX73" fmla="*/ 1946686 w 2822379"/>
                  <a:gd name="connsiteY73" fmla="*/ 729837 h 2819687"/>
                  <a:gd name="connsiteX74" fmla="*/ 1945767 w 2822379"/>
                  <a:gd name="connsiteY74" fmla="*/ 744018 h 2819687"/>
                  <a:gd name="connsiteX75" fmla="*/ 1937759 w 2822379"/>
                  <a:gd name="connsiteY75" fmla="*/ 750692 h 2819687"/>
                  <a:gd name="connsiteX76" fmla="*/ 1920906 w 2822379"/>
                  <a:gd name="connsiteY76" fmla="*/ 752444 h 2819687"/>
                  <a:gd name="connsiteX77" fmla="*/ 1910728 w 2822379"/>
                  <a:gd name="connsiteY77" fmla="*/ 752861 h 2819687"/>
                  <a:gd name="connsiteX78" fmla="*/ 1903220 w 2822379"/>
                  <a:gd name="connsiteY78" fmla="*/ 757700 h 2819687"/>
                  <a:gd name="connsiteX79" fmla="*/ 1893459 w 2822379"/>
                  <a:gd name="connsiteY79" fmla="*/ 763873 h 2819687"/>
                  <a:gd name="connsiteX80" fmla="*/ 1874437 w 2822379"/>
                  <a:gd name="connsiteY80" fmla="*/ 766542 h 2819687"/>
                  <a:gd name="connsiteX81" fmla="*/ 1870934 w 2822379"/>
                  <a:gd name="connsiteY81" fmla="*/ 766542 h 2819687"/>
                  <a:gd name="connsiteX82" fmla="*/ 1823130 w 2822379"/>
                  <a:gd name="connsiteY82" fmla="*/ 778471 h 2819687"/>
                  <a:gd name="connsiteX83" fmla="*/ 1816957 w 2822379"/>
                  <a:gd name="connsiteY83" fmla="*/ 781975 h 2819687"/>
                  <a:gd name="connsiteX84" fmla="*/ 1803191 w 2822379"/>
                  <a:gd name="connsiteY84" fmla="*/ 788648 h 2819687"/>
                  <a:gd name="connsiteX85" fmla="*/ 1781918 w 2822379"/>
                  <a:gd name="connsiteY85" fmla="*/ 793070 h 2819687"/>
                  <a:gd name="connsiteX86" fmla="*/ 1775243 w 2822379"/>
                  <a:gd name="connsiteY86" fmla="*/ 793987 h 2819687"/>
                  <a:gd name="connsiteX87" fmla="*/ 1714592 w 2822379"/>
                  <a:gd name="connsiteY87" fmla="*/ 817011 h 2819687"/>
                  <a:gd name="connsiteX88" fmla="*/ 1687144 w 2822379"/>
                  <a:gd name="connsiteY88" fmla="*/ 840453 h 2819687"/>
                  <a:gd name="connsiteX89" fmla="*/ 1679136 w 2822379"/>
                  <a:gd name="connsiteY89" fmla="*/ 861725 h 2819687"/>
                  <a:gd name="connsiteX90" fmla="*/ 1667206 w 2822379"/>
                  <a:gd name="connsiteY90" fmla="*/ 890088 h 2819687"/>
                  <a:gd name="connsiteX91" fmla="*/ 1663201 w 2822379"/>
                  <a:gd name="connsiteY91" fmla="*/ 894926 h 2819687"/>
                  <a:gd name="connsiteX92" fmla="*/ 1658362 w 2822379"/>
                  <a:gd name="connsiteY92" fmla="*/ 901099 h 2819687"/>
                  <a:gd name="connsiteX93" fmla="*/ 1654859 w 2822379"/>
                  <a:gd name="connsiteY93" fmla="*/ 924541 h 2819687"/>
                  <a:gd name="connsiteX94" fmla="*/ 1654859 w 2822379"/>
                  <a:gd name="connsiteY94" fmla="*/ 924958 h 2819687"/>
                  <a:gd name="connsiteX95" fmla="*/ 1650436 w 2822379"/>
                  <a:gd name="connsiteY95" fmla="*/ 968837 h 2819687"/>
                  <a:gd name="connsiteX96" fmla="*/ 1625158 w 2822379"/>
                  <a:gd name="connsiteY96" fmla="*/ 1007377 h 2819687"/>
                  <a:gd name="connsiteX97" fmla="*/ 1618067 w 2822379"/>
                  <a:gd name="connsiteY97" fmla="*/ 1011798 h 2819687"/>
                  <a:gd name="connsiteX98" fmla="*/ 1605637 w 2822379"/>
                  <a:gd name="connsiteY98" fmla="*/ 1022393 h 2819687"/>
                  <a:gd name="connsiteX99" fmla="*/ 1605220 w 2822379"/>
                  <a:gd name="connsiteY99" fmla="*/ 1039244 h 2819687"/>
                  <a:gd name="connsiteX100" fmla="*/ 1606554 w 2822379"/>
                  <a:gd name="connsiteY100" fmla="*/ 1049004 h 2819687"/>
                  <a:gd name="connsiteX101" fmla="*/ 1606137 w 2822379"/>
                  <a:gd name="connsiteY101" fmla="*/ 1083540 h 2819687"/>
                  <a:gd name="connsiteX102" fmla="*/ 1599463 w 2822379"/>
                  <a:gd name="connsiteY102" fmla="*/ 1099890 h 2819687"/>
                  <a:gd name="connsiteX103" fmla="*/ 1583946 w 2822379"/>
                  <a:gd name="connsiteY103" fmla="*/ 1103895 h 2819687"/>
                  <a:gd name="connsiteX104" fmla="*/ 1527716 w 2822379"/>
                  <a:gd name="connsiteY104" fmla="*/ 1087044 h 2819687"/>
                  <a:gd name="connsiteX105" fmla="*/ 1502938 w 2822379"/>
                  <a:gd name="connsiteY105" fmla="*/ 1070693 h 2819687"/>
                  <a:gd name="connsiteX106" fmla="*/ 1499851 w 2822379"/>
                  <a:gd name="connsiteY106" fmla="*/ 1067190 h 2819687"/>
                  <a:gd name="connsiteX107" fmla="*/ 1496765 w 2822379"/>
                  <a:gd name="connsiteY107" fmla="*/ 1063686 h 2819687"/>
                  <a:gd name="connsiteX108" fmla="*/ 1487004 w 2822379"/>
                  <a:gd name="connsiteY108" fmla="*/ 1056178 h 2819687"/>
                  <a:gd name="connsiteX109" fmla="*/ 1473238 w 2822379"/>
                  <a:gd name="connsiteY109" fmla="*/ 1047336 h 2819687"/>
                  <a:gd name="connsiteX110" fmla="*/ 1455051 w 2822379"/>
                  <a:gd name="connsiteY110" fmla="*/ 1031402 h 2819687"/>
                  <a:gd name="connsiteX111" fmla="*/ 1450629 w 2822379"/>
                  <a:gd name="connsiteY111" fmla="*/ 1022977 h 2819687"/>
                  <a:gd name="connsiteX112" fmla="*/ 1447126 w 2822379"/>
                  <a:gd name="connsiteY112" fmla="*/ 1016303 h 2819687"/>
                  <a:gd name="connsiteX113" fmla="*/ 1440952 w 2822379"/>
                  <a:gd name="connsiteY113" fmla="*/ 1012799 h 2819687"/>
                  <a:gd name="connsiteX114" fmla="*/ 1437865 w 2822379"/>
                  <a:gd name="connsiteY114" fmla="*/ 1015469 h 2819687"/>
                  <a:gd name="connsiteX115" fmla="*/ 1428104 w 2822379"/>
                  <a:gd name="connsiteY115" fmla="*/ 1022143 h 2819687"/>
                  <a:gd name="connsiteX116" fmla="*/ 1409917 w 2822379"/>
                  <a:gd name="connsiteY116" fmla="*/ 1017304 h 2819687"/>
                  <a:gd name="connsiteX117" fmla="*/ 1407664 w 2822379"/>
                  <a:gd name="connsiteY117" fmla="*/ 1015969 h 2819687"/>
                  <a:gd name="connsiteX118" fmla="*/ 1388143 w 2822379"/>
                  <a:gd name="connsiteY118" fmla="*/ 1001371 h 2819687"/>
                  <a:gd name="connsiteX119" fmla="*/ 1386808 w 2822379"/>
                  <a:gd name="connsiteY119" fmla="*/ 1000453 h 2819687"/>
                  <a:gd name="connsiteX120" fmla="*/ 1380634 w 2822379"/>
                  <a:gd name="connsiteY120" fmla="*/ 995615 h 2819687"/>
                  <a:gd name="connsiteX121" fmla="*/ 1368204 w 2822379"/>
                  <a:gd name="connsiteY121" fmla="*/ 994697 h 2819687"/>
                  <a:gd name="connsiteX122" fmla="*/ 1365534 w 2822379"/>
                  <a:gd name="connsiteY122" fmla="*/ 994697 h 2819687"/>
                  <a:gd name="connsiteX123" fmla="*/ 1332747 w 2822379"/>
                  <a:gd name="connsiteY123" fmla="*/ 981850 h 2819687"/>
                  <a:gd name="connsiteX124" fmla="*/ 1328743 w 2822379"/>
                  <a:gd name="connsiteY124" fmla="*/ 971673 h 2819687"/>
                  <a:gd name="connsiteX125" fmla="*/ 1326073 w 2822379"/>
                  <a:gd name="connsiteY125" fmla="*/ 965000 h 2819687"/>
                  <a:gd name="connsiteX126" fmla="*/ 1309221 w 2822379"/>
                  <a:gd name="connsiteY126" fmla="*/ 959243 h 2819687"/>
                  <a:gd name="connsiteX127" fmla="*/ 1302129 w 2822379"/>
                  <a:gd name="connsiteY127" fmla="*/ 959660 h 2819687"/>
                  <a:gd name="connsiteX128" fmla="*/ 1281774 w 2822379"/>
                  <a:gd name="connsiteY128" fmla="*/ 959243 h 2819687"/>
                  <a:gd name="connsiteX129" fmla="*/ 1272430 w 2822379"/>
                  <a:gd name="connsiteY129" fmla="*/ 956157 h 2819687"/>
                  <a:gd name="connsiteX130" fmla="*/ 1267090 w 2822379"/>
                  <a:gd name="connsiteY130" fmla="*/ 954405 h 2819687"/>
                  <a:gd name="connsiteX131" fmla="*/ 1257330 w 2822379"/>
                  <a:gd name="connsiteY131" fmla="*/ 953487 h 2819687"/>
                  <a:gd name="connsiteX132" fmla="*/ 1254243 w 2822379"/>
                  <a:gd name="connsiteY132" fmla="*/ 957909 h 2819687"/>
                  <a:gd name="connsiteX133" fmla="*/ 1248903 w 2822379"/>
                  <a:gd name="connsiteY133" fmla="*/ 965417 h 2819687"/>
                  <a:gd name="connsiteX134" fmla="*/ 1240895 w 2822379"/>
                  <a:gd name="connsiteY134" fmla="*/ 970755 h 2819687"/>
                  <a:gd name="connsiteX135" fmla="*/ 1236056 w 2822379"/>
                  <a:gd name="connsiteY135" fmla="*/ 973842 h 2819687"/>
                  <a:gd name="connsiteX136" fmla="*/ 1231634 w 2822379"/>
                  <a:gd name="connsiteY136" fmla="*/ 980516 h 2819687"/>
                  <a:gd name="connsiteX137" fmla="*/ 1225461 w 2822379"/>
                  <a:gd name="connsiteY137" fmla="*/ 990276 h 2819687"/>
                  <a:gd name="connsiteX138" fmla="*/ 1217034 w 2822379"/>
                  <a:gd name="connsiteY138" fmla="*/ 996949 h 2819687"/>
                  <a:gd name="connsiteX139" fmla="*/ 1210360 w 2822379"/>
                  <a:gd name="connsiteY139" fmla="*/ 1002706 h 2819687"/>
                  <a:gd name="connsiteX140" fmla="*/ 1211695 w 2822379"/>
                  <a:gd name="connsiteY140" fmla="*/ 1008461 h 2819687"/>
                  <a:gd name="connsiteX141" fmla="*/ 1218369 w 2822379"/>
                  <a:gd name="connsiteY141" fmla="*/ 1015552 h 2819687"/>
                  <a:gd name="connsiteX142" fmla="*/ 1218786 w 2822379"/>
                  <a:gd name="connsiteY142" fmla="*/ 1015969 h 2819687"/>
                  <a:gd name="connsiteX143" fmla="*/ 1231634 w 2822379"/>
                  <a:gd name="connsiteY143" fmla="*/ 1027481 h 2819687"/>
                  <a:gd name="connsiteX144" fmla="*/ 1240060 w 2822379"/>
                  <a:gd name="connsiteY144" fmla="*/ 1037659 h 2819687"/>
                  <a:gd name="connsiteX145" fmla="*/ 1244482 w 2822379"/>
                  <a:gd name="connsiteY145" fmla="*/ 1067356 h 2819687"/>
                  <a:gd name="connsiteX146" fmla="*/ 1242229 w 2822379"/>
                  <a:gd name="connsiteY146" fmla="*/ 1088212 h 2819687"/>
                  <a:gd name="connsiteX147" fmla="*/ 1240895 w 2822379"/>
                  <a:gd name="connsiteY147" fmla="*/ 1099307 h 2819687"/>
                  <a:gd name="connsiteX148" fmla="*/ 1239976 w 2822379"/>
                  <a:gd name="connsiteY148" fmla="*/ 1105063 h 2819687"/>
                  <a:gd name="connsiteX149" fmla="*/ 1239059 w 2822379"/>
                  <a:gd name="connsiteY149" fmla="*/ 1111236 h 2819687"/>
                  <a:gd name="connsiteX150" fmla="*/ 1239059 w 2822379"/>
                  <a:gd name="connsiteY150" fmla="*/ 1116575 h 2819687"/>
                  <a:gd name="connsiteX151" fmla="*/ 1238642 w 2822379"/>
                  <a:gd name="connsiteY151" fmla="*/ 1127169 h 2819687"/>
                  <a:gd name="connsiteX152" fmla="*/ 1220955 w 2822379"/>
                  <a:gd name="connsiteY152" fmla="*/ 1190485 h 2819687"/>
                  <a:gd name="connsiteX153" fmla="*/ 1187751 w 2822379"/>
                  <a:gd name="connsiteY153" fmla="*/ 1249380 h 2819687"/>
                  <a:gd name="connsiteX154" fmla="*/ 1178909 w 2822379"/>
                  <a:gd name="connsiteY154" fmla="*/ 1263979 h 2819687"/>
                  <a:gd name="connsiteX155" fmla="*/ 1126600 w 2822379"/>
                  <a:gd name="connsiteY155" fmla="*/ 1315783 h 2819687"/>
                  <a:gd name="connsiteX156" fmla="*/ 1103991 w 2822379"/>
                  <a:gd name="connsiteY156" fmla="*/ 1325960 h 2819687"/>
                  <a:gd name="connsiteX157" fmla="*/ 1091561 w 2822379"/>
                  <a:gd name="connsiteY157" fmla="*/ 1331299 h 2819687"/>
                  <a:gd name="connsiteX158" fmla="*/ 1069870 w 2822379"/>
                  <a:gd name="connsiteY158" fmla="*/ 1341893 h 2819687"/>
                  <a:gd name="connsiteX159" fmla="*/ 1036666 w 2822379"/>
                  <a:gd name="connsiteY159" fmla="*/ 1357410 h 2819687"/>
                  <a:gd name="connsiteX160" fmla="*/ 972427 w 2822379"/>
                  <a:gd name="connsiteY160" fmla="*/ 1358744 h 2819687"/>
                  <a:gd name="connsiteX161" fmla="*/ 959162 w 2822379"/>
                  <a:gd name="connsiteY161" fmla="*/ 1351237 h 2819687"/>
                  <a:gd name="connsiteX162" fmla="*/ 952488 w 2822379"/>
                  <a:gd name="connsiteY162" fmla="*/ 1347232 h 2819687"/>
                  <a:gd name="connsiteX163" fmla="*/ 928544 w 2822379"/>
                  <a:gd name="connsiteY163" fmla="*/ 1338390 h 2819687"/>
                  <a:gd name="connsiteX164" fmla="*/ 907687 w 2822379"/>
                  <a:gd name="connsiteY164" fmla="*/ 1335720 h 2819687"/>
                  <a:gd name="connsiteX165" fmla="*/ 866475 w 2822379"/>
                  <a:gd name="connsiteY165" fmla="*/ 1325960 h 2819687"/>
                  <a:gd name="connsiteX166" fmla="*/ 826179 w 2822379"/>
                  <a:gd name="connsiteY166" fmla="*/ 1276825 h 2819687"/>
                  <a:gd name="connsiteX167" fmla="*/ 820423 w 2822379"/>
                  <a:gd name="connsiteY167" fmla="*/ 1266231 h 2819687"/>
                  <a:gd name="connsiteX168" fmla="*/ 775706 w 2822379"/>
                  <a:gd name="connsiteY168" fmla="*/ 1210005 h 2819687"/>
                  <a:gd name="connsiteX169" fmla="*/ 765111 w 2822379"/>
                  <a:gd name="connsiteY169" fmla="*/ 1203832 h 2819687"/>
                  <a:gd name="connsiteX170" fmla="*/ 754933 w 2822379"/>
                  <a:gd name="connsiteY170" fmla="*/ 1219349 h 2819687"/>
                  <a:gd name="connsiteX171" fmla="*/ 746924 w 2822379"/>
                  <a:gd name="connsiteY171" fmla="*/ 1260975 h 2819687"/>
                  <a:gd name="connsiteX172" fmla="*/ 746006 w 2822379"/>
                  <a:gd name="connsiteY172" fmla="*/ 1268483 h 2819687"/>
                  <a:gd name="connsiteX173" fmla="*/ 745089 w 2822379"/>
                  <a:gd name="connsiteY173" fmla="*/ 1278244 h 2819687"/>
                  <a:gd name="connsiteX174" fmla="*/ 748592 w 2822379"/>
                  <a:gd name="connsiteY174" fmla="*/ 1291507 h 2819687"/>
                  <a:gd name="connsiteX175" fmla="*/ 749928 w 2822379"/>
                  <a:gd name="connsiteY175" fmla="*/ 1295011 h 2819687"/>
                  <a:gd name="connsiteX176" fmla="*/ 759689 w 2822379"/>
                  <a:gd name="connsiteY176" fmla="*/ 1364083 h 2819687"/>
                  <a:gd name="connsiteX177" fmla="*/ 750345 w 2822379"/>
                  <a:gd name="connsiteY177" fmla="*/ 1431821 h 2819687"/>
                  <a:gd name="connsiteX178" fmla="*/ 744588 w 2822379"/>
                  <a:gd name="connsiteY178" fmla="*/ 1448671 h 2819687"/>
                  <a:gd name="connsiteX179" fmla="*/ 702040 w 2822379"/>
                  <a:gd name="connsiteY179" fmla="*/ 1466357 h 2819687"/>
                  <a:gd name="connsiteX180" fmla="*/ 663914 w 2822379"/>
                  <a:gd name="connsiteY180" fmla="*/ 1476117 h 2819687"/>
                  <a:gd name="connsiteX181" fmla="*/ 647062 w 2822379"/>
                  <a:gd name="connsiteY181" fmla="*/ 1515575 h 2819687"/>
                  <a:gd name="connsiteX182" fmla="*/ 646645 w 2822379"/>
                  <a:gd name="connsiteY182" fmla="*/ 1517327 h 2819687"/>
                  <a:gd name="connsiteX183" fmla="*/ 628959 w 2822379"/>
                  <a:gd name="connsiteY183" fmla="*/ 1564292 h 2819687"/>
                  <a:gd name="connsiteX184" fmla="*/ 597507 w 2822379"/>
                  <a:gd name="connsiteY184" fmla="*/ 1584230 h 2819687"/>
                  <a:gd name="connsiteX185" fmla="*/ 568307 w 2822379"/>
                  <a:gd name="connsiteY185" fmla="*/ 1593990 h 2819687"/>
                  <a:gd name="connsiteX186" fmla="*/ 490803 w 2822379"/>
                  <a:gd name="connsiteY186" fmla="*/ 1591321 h 2819687"/>
                  <a:gd name="connsiteX187" fmla="*/ 469529 w 2822379"/>
                  <a:gd name="connsiteY187" fmla="*/ 1585565 h 2819687"/>
                  <a:gd name="connsiteX188" fmla="*/ 446087 w 2822379"/>
                  <a:gd name="connsiteY188" fmla="*/ 1563875 h 2819687"/>
                  <a:gd name="connsiteX189" fmla="*/ 435909 w 2822379"/>
                  <a:gd name="connsiteY189" fmla="*/ 1547525 h 2819687"/>
                  <a:gd name="connsiteX190" fmla="*/ 432822 w 2822379"/>
                  <a:gd name="connsiteY190" fmla="*/ 1529339 h 2819687"/>
                  <a:gd name="connsiteX191" fmla="*/ 437244 w 2822379"/>
                  <a:gd name="connsiteY191" fmla="*/ 1472613 h 2819687"/>
                  <a:gd name="connsiteX192" fmla="*/ 441665 w 2822379"/>
                  <a:gd name="connsiteY192" fmla="*/ 1426982 h 2819687"/>
                  <a:gd name="connsiteX193" fmla="*/ 435909 w 2822379"/>
                  <a:gd name="connsiteY193" fmla="*/ 1415887 h 2819687"/>
                  <a:gd name="connsiteX194" fmla="*/ 411548 w 2822379"/>
                  <a:gd name="connsiteY194" fmla="*/ 1417639 h 2819687"/>
                  <a:gd name="connsiteX195" fmla="*/ 307431 w 2822379"/>
                  <a:gd name="connsiteY195" fmla="*/ 1521748 h 2819687"/>
                  <a:gd name="connsiteX196" fmla="*/ 284823 w 2822379"/>
                  <a:gd name="connsiteY196" fmla="*/ 1547441 h 2819687"/>
                  <a:gd name="connsiteX197" fmla="*/ 247614 w 2822379"/>
                  <a:gd name="connsiteY197" fmla="*/ 1552781 h 2819687"/>
                  <a:gd name="connsiteX198" fmla="*/ 235684 w 2822379"/>
                  <a:gd name="connsiteY198" fmla="*/ 1544355 h 2819687"/>
                  <a:gd name="connsiteX199" fmla="*/ 233432 w 2822379"/>
                  <a:gd name="connsiteY199" fmla="*/ 1542102 h 2819687"/>
                  <a:gd name="connsiteX200" fmla="*/ 201563 w 2822379"/>
                  <a:gd name="connsiteY200" fmla="*/ 1526169 h 2819687"/>
                  <a:gd name="connsiteX201" fmla="*/ 201563 w 2822379"/>
                  <a:gd name="connsiteY201" fmla="*/ 1528422 h 2819687"/>
                  <a:gd name="connsiteX202" fmla="*/ 171863 w 2822379"/>
                  <a:gd name="connsiteY202" fmla="*/ 1586899 h 2819687"/>
                  <a:gd name="connsiteX203" fmla="*/ 152842 w 2822379"/>
                  <a:gd name="connsiteY203" fmla="*/ 1597076 h 2819687"/>
                  <a:gd name="connsiteX204" fmla="*/ 132485 w 2822379"/>
                  <a:gd name="connsiteY204" fmla="*/ 1594407 h 2819687"/>
                  <a:gd name="connsiteX205" fmla="*/ 131568 w 2822379"/>
                  <a:gd name="connsiteY205" fmla="*/ 1593990 h 2819687"/>
                  <a:gd name="connsiteX206" fmla="*/ 65160 w 2822379"/>
                  <a:gd name="connsiteY206" fmla="*/ 1593072 h 2819687"/>
                  <a:gd name="connsiteX207" fmla="*/ 29704 w 2822379"/>
                  <a:gd name="connsiteY207" fmla="*/ 1612092 h 2819687"/>
                  <a:gd name="connsiteX208" fmla="*/ 18607 w 2822379"/>
                  <a:gd name="connsiteY208" fmla="*/ 1626274 h 2819687"/>
                  <a:gd name="connsiteX209" fmla="*/ 3090 w 2822379"/>
                  <a:gd name="connsiteY209" fmla="*/ 1648881 h 2819687"/>
                  <a:gd name="connsiteX210" fmla="*/ 1756 w 2822379"/>
                  <a:gd name="connsiteY210" fmla="*/ 1678578 h 2819687"/>
                  <a:gd name="connsiteX211" fmla="*/ 838 w 2822379"/>
                  <a:gd name="connsiteY211" fmla="*/ 1704689 h 2819687"/>
                  <a:gd name="connsiteX212" fmla="*/ 15938 w 2822379"/>
                  <a:gd name="connsiteY212" fmla="*/ 1725961 h 2819687"/>
                  <a:gd name="connsiteX213" fmla="*/ 32290 w 2822379"/>
                  <a:gd name="connsiteY213" fmla="*/ 1745899 h 2819687"/>
                  <a:gd name="connsiteX214" fmla="*/ 37629 w 2822379"/>
                  <a:gd name="connsiteY214" fmla="*/ 1771175 h 2819687"/>
                  <a:gd name="connsiteX215" fmla="*/ 42968 w 2822379"/>
                  <a:gd name="connsiteY215" fmla="*/ 1794199 h 2819687"/>
                  <a:gd name="connsiteX216" fmla="*/ 55399 w 2822379"/>
                  <a:gd name="connsiteY216" fmla="*/ 1806629 h 2819687"/>
                  <a:gd name="connsiteX217" fmla="*/ 72669 w 2822379"/>
                  <a:gd name="connsiteY217" fmla="*/ 1849173 h 2819687"/>
                  <a:gd name="connsiteX218" fmla="*/ 64242 w 2822379"/>
                  <a:gd name="connsiteY218" fmla="*/ 1862437 h 2819687"/>
                  <a:gd name="connsiteX219" fmla="*/ 58903 w 2822379"/>
                  <a:gd name="connsiteY219" fmla="*/ 1869945 h 2819687"/>
                  <a:gd name="connsiteX220" fmla="*/ 53564 w 2822379"/>
                  <a:gd name="connsiteY220" fmla="*/ 1882375 h 2819687"/>
                  <a:gd name="connsiteX221" fmla="*/ 47390 w 2822379"/>
                  <a:gd name="connsiteY221" fmla="*/ 1896556 h 2819687"/>
                  <a:gd name="connsiteX222" fmla="*/ 46472 w 2822379"/>
                  <a:gd name="connsiteY222" fmla="*/ 1897891 h 2819687"/>
                  <a:gd name="connsiteX223" fmla="*/ 42468 w 2822379"/>
                  <a:gd name="connsiteY223" fmla="*/ 1919997 h 2819687"/>
                  <a:gd name="connsiteX224" fmla="*/ 43803 w 2822379"/>
                  <a:gd name="connsiteY224" fmla="*/ 1924836 h 2819687"/>
                  <a:gd name="connsiteX225" fmla="*/ 46472 w 2822379"/>
                  <a:gd name="connsiteY225" fmla="*/ 1950946 h 2819687"/>
                  <a:gd name="connsiteX226" fmla="*/ 44220 w 2822379"/>
                  <a:gd name="connsiteY226" fmla="*/ 1961124 h 2819687"/>
                  <a:gd name="connsiteX227" fmla="*/ 50894 w 2822379"/>
                  <a:gd name="connsiteY227" fmla="*/ 1993908 h 2819687"/>
                  <a:gd name="connsiteX228" fmla="*/ 82763 w 2822379"/>
                  <a:gd name="connsiteY228" fmla="*/ 1991238 h 2819687"/>
                  <a:gd name="connsiteX229" fmla="*/ 108041 w 2822379"/>
                  <a:gd name="connsiteY229" fmla="*/ 1985065 h 2819687"/>
                  <a:gd name="connsiteX230" fmla="*/ 142997 w 2822379"/>
                  <a:gd name="connsiteY230" fmla="*/ 1994826 h 2819687"/>
                  <a:gd name="connsiteX231" fmla="*/ 166440 w 2822379"/>
                  <a:gd name="connsiteY231" fmla="*/ 2002834 h 2819687"/>
                  <a:gd name="connsiteX232" fmla="*/ 201396 w 2822379"/>
                  <a:gd name="connsiteY232" fmla="*/ 2000165 h 2819687"/>
                  <a:gd name="connsiteX233" fmla="*/ 208905 w 2822379"/>
                  <a:gd name="connsiteY233" fmla="*/ 1996661 h 2819687"/>
                  <a:gd name="connsiteX234" fmla="*/ 225256 w 2822379"/>
                  <a:gd name="connsiteY234" fmla="*/ 1989987 h 2819687"/>
                  <a:gd name="connsiteX235" fmla="*/ 231930 w 2822379"/>
                  <a:gd name="connsiteY235" fmla="*/ 1989987 h 2819687"/>
                  <a:gd name="connsiteX236" fmla="*/ 239021 w 2822379"/>
                  <a:gd name="connsiteY236" fmla="*/ 1993074 h 2819687"/>
                  <a:gd name="connsiteX237" fmla="*/ 256708 w 2822379"/>
                  <a:gd name="connsiteY237" fmla="*/ 2017850 h 2819687"/>
                  <a:gd name="connsiteX238" fmla="*/ 260212 w 2822379"/>
                  <a:gd name="connsiteY238" fmla="*/ 2024941 h 2819687"/>
                  <a:gd name="connsiteX239" fmla="*/ 255791 w 2822379"/>
                  <a:gd name="connsiteY239" fmla="*/ 2069654 h 2819687"/>
                  <a:gd name="connsiteX240" fmla="*/ 247364 w 2822379"/>
                  <a:gd name="connsiteY240" fmla="*/ 2079414 h 2819687"/>
                  <a:gd name="connsiteX241" fmla="*/ 242943 w 2822379"/>
                  <a:gd name="connsiteY241" fmla="*/ 2095765 h 2819687"/>
                  <a:gd name="connsiteX242" fmla="*/ 254872 w 2822379"/>
                  <a:gd name="connsiteY242" fmla="*/ 2100603 h 2819687"/>
                  <a:gd name="connsiteX243" fmla="*/ 255290 w 2822379"/>
                  <a:gd name="connsiteY243" fmla="*/ 2100603 h 2819687"/>
                  <a:gd name="connsiteX244" fmla="*/ 273476 w 2822379"/>
                  <a:gd name="connsiteY244" fmla="*/ 2097934 h 2819687"/>
                  <a:gd name="connsiteX245" fmla="*/ 308933 w 2822379"/>
                  <a:gd name="connsiteY245" fmla="*/ 2097517 h 2819687"/>
                  <a:gd name="connsiteX246" fmla="*/ 344806 w 2822379"/>
                  <a:gd name="connsiteY246" fmla="*/ 2133387 h 2819687"/>
                  <a:gd name="connsiteX247" fmla="*/ 355903 w 2822379"/>
                  <a:gd name="connsiteY247" fmla="*/ 2156828 h 2819687"/>
                  <a:gd name="connsiteX248" fmla="*/ 366998 w 2822379"/>
                  <a:gd name="connsiteY248" fmla="*/ 2180269 h 2819687"/>
                  <a:gd name="connsiteX249" fmla="*/ 371420 w 2822379"/>
                  <a:gd name="connsiteY249" fmla="*/ 2186442 h 2819687"/>
                  <a:gd name="connsiteX250" fmla="*/ 381181 w 2822379"/>
                  <a:gd name="connsiteY250" fmla="*/ 2205963 h 2819687"/>
                  <a:gd name="connsiteX251" fmla="*/ 374507 w 2822379"/>
                  <a:gd name="connsiteY251" fmla="*/ 2226318 h 2819687"/>
                  <a:gd name="connsiteX252" fmla="*/ 371003 w 2822379"/>
                  <a:gd name="connsiteY252" fmla="*/ 2231156 h 2819687"/>
                  <a:gd name="connsiteX253" fmla="*/ 366581 w 2822379"/>
                  <a:gd name="connsiteY253" fmla="*/ 2248007 h 2819687"/>
                  <a:gd name="connsiteX254" fmla="*/ 389607 w 2822379"/>
                  <a:gd name="connsiteY254" fmla="*/ 2255098 h 2819687"/>
                  <a:gd name="connsiteX255" fmla="*/ 421059 w 2822379"/>
                  <a:gd name="connsiteY255" fmla="*/ 2263940 h 2819687"/>
                  <a:gd name="connsiteX256" fmla="*/ 430820 w 2822379"/>
                  <a:gd name="connsiteY256" fmla="*/ 2323753 h 2819687"/>
                  <a:gd name="connsiteX257" fmla="*/ 429902 w 2822379"/>
                  <a:gd name="connsiteY257" fmla="*/ 2364045 h 2819687"/>
                  <a:gd name="connsiteX258" fmla="*/ 440998 w 2822379"/>
                  <a:gd name="connsiteY258" fmla="*/ 2375974 h 2819687"/>
                  <a:gd name="connsiteX259" fmla="*/ 464024 w 2822379"/>
                  <a:gd name="connsiteY259" fmla="*/ 2410510 h 2819687"/>
                  <a:gd name="connsiteX260" fmla="*/ 488384 w 2822379"/>
                  <a:gd name="connsiteY260" fmla="*/ 2436204 h 2819687"/>
                  <a:gd name="connsiteX261" fmla="*/ 499480 w 2822379"/>
                  <a:gd name="connsiteY261" fmla="*/ 2437538 h 2819687"/>
                  <a:gd name="connsiteX262" fmla="*/ 530932 w 2822379"/>
                  <a:gd name="connsiteY262" fmla="*/ 2451303 h 2819687"/>
                  <a:gd name="connsiteX263" fmla="*/ 530014 w 2822379"/>
                  <a:gd name="connsiteY263" fmla="*/ 2501355 h 2819687"/>
                  <a:gd name="connsiteX264" fmla="*/ 526928 w 2822379"/>
                  <a:gd name="connsiteY264" fmla="*/ 2517705 h 2819687"/>
                  <a:gd name="connsiteX265" fmla="*/ 520254 w 2822379"/>
                  <a:gd name="connsiteY265" fmla="*/ 2554494 h 2819687"/>
                  <a:gd name="connsiteX266" fmla="*/ 513162 w 2822379"/>
                  <a:gd name="connsiteY266" fmla="*/ 2595704 h 2819687"/>
                  <a:gd name="connsiteX267" fmla="*/ 516249 w 2822379"/>
                  <a:gd name="connsiteY267" fmla="*/ 2623149 h 2819687"/>
                  <a:gd name="connsiteX268" fmla="*/ 518501 w 2822379"/>
                  <a:gd name="connsiteY268" fmla="*/ 2664359 h 2819687"/>
                  <a:gd name="connsiteX269" fmla="*/ 515831 w 2822379"/>
                  <a:gd name="connsiteY269" fmla="*/ 2706403 h 2819687"/>
                  <a:gd name="connsiteX270" fmla="*/ 515414 w 2822379"/>
                  <a:gd name="connsiteY270" fmla="*/ 2730761 h 2819687"/>
                  <a:gd name="connsiteX271" fmla="*/ 531766 w 2822379"/>
                  <a:gd name="connsiteY271" fmla="*/ 2761794 h 2819687"/>
                  <a:gd name="connsiteX272" fmla="*/ 547701 w 2822379"/>
                  <a:gd name="connsiteY272" fmla="*/ 2777727 h 2819687"/>
                  <a:gd name="connsiteX273" fmla="*/ 566305 w 2822379"/>
                  <a:gd name="connsiteY273" fmla="*/ 2793661 h 2819687"/>
                  <a:gd name="connsiteX274" fmla="*/ 608352 w 2822379"/>
                  <a:gd name="connsiteY274" fmla="*/ 2775058 h 2819687"/>
                  <a:gd name="connsiteX275" fmla="*/ 611022 w 2822379"/>
                  <a:gd name="connsiteY275" fmla="*/ 2763963 h 2819687"/>
                  <a:gd name="connsiteX276" fmla="*/ 616778 w 2822379"/>
                  <a:gd name="connsiteY276" fmla="*/ 2745777 h 2819687"/>
                  <a:gd name="connsiteX277" fmla="*/ 640221 w 2822379"/>
                  <a:gd name="connsiteY277" fmla="*/ 2734682 h 2819687"/>
                  <a:gd name="connsiteX278" fmla="*/ 646394 w 2822379"/>
                  <a:gd name="connsiteY278" fmla="*/ 2733347 h 2819687"/>
                  <a:gd name="connsiteX279" fmla="*/ 706212 w 2822379"/>
                  <a:gd name="connsiteY279" fmla="*/ 2709406 h 2819687"/>
                  <a:gd name="connsiteX280" fmla="*/ 715055 w 2822379"/>
                  <a:gd name="connsiteY280" fmla="*/ 2693890 h 2819687"/>
                  <a:gd name="connsiteX281" fmla="*/ 745172 w 2822379"/>
                  <a:gd name="connsiteY281" fmla="*/ 2664192 h 2819687"/>
                  <a:gd name="connsiteX282" fmla="*/ 776624 w 2822379"/>
                  <a:gd name="connsiteY282" fmla="*/ 2708071 h 2819687"/>
                  <a:gd name="connsiteX283" fmla="*/ 777041 w 2822379"/>
                  <a:gd name="connsiteY283" fmla="*/ 2710740 h 2819687"/>
                  <a:gd name="connsiteX284" fmla="*/ 781880 w 2822379"/>
                  <a:gd name="connsiteY284" fmla="*/ 2722670 h 2819687"/>
                  <a:gd name="connsiteX285" fmla="*/ 787637 w 2822379"/>
                  <a:gd name="connsiteY285" fmla="*/ 2717831 h 2819687"/>
                  <a:gd name="connsiteX286" fmla="*/ 789889 w 2822379"/>
                  <a:gd name="connsiteY286" fmla="*/ 2714328 h 2819687"/>
                  <a:gd name="connsiteX287" fmla="*/ 812915 w 2822379"/>
                  <a:gd name="connsiteY287" fmla="*/ 2692638 h 2819687"/>
                  <a:gd name="connsiteX288" fmla="*/ 833271 w 2822379"/>
                  <a:gd name="connsiteY288" fmla="*/ 2654098 h 2819687"/>
                  <a:gd name="connsiteX289" fmla="*/ 852793 w 2822379"/>
                  <a:gd name="connsiteY289" fmla="*/ 2590281 h 2819687"/>
                  <a:gd name="connsiteX290" fmla="*/ 877154 w 2822379"/>
                  <a:gd name="connsiteY290" fmla="*/ 2533138 h 2819687"/>
                  <a:gd name="connsiteX291" fmla="*/ 895758 w 2822379"/>
                  <a:gd name="connsiteY291" fmla="*/ 2471157 h 2819687"/>
                  <a:gd name="connsiteX292" fmla="*/ 976348 w 2822379"/>
                  <a:gd name="connsiteY292" fmla="*/ 2406005 h 2819687"/>
                  <a:gd name="connsiteX293" fmla="*/ 1097734 w 2822379"/>
                  <a:gd name="connsiteY293" fmla="*/ 2447215 h 2819687"/>
                  <a:gd name="connsiteX294" fmla="*/ 1107495 w 2822379"/>
                  <a:gd name="connsiteY294" fmla="*/ 2472492 h 2819687"/>
                  <a:gd name="connsiteX295" fmla="*/ 1121677 w 2822379"/>
                  <a:gd name="connsiteY295" fmla="*/ 2502189 h 2819687"/>
                  <a:gd name="connsiteX296" fmla="*/ 1166895 w 2822379"/>
                  <a:gd name="connsiteY296" fmla="*/ 2499103 h 2819687"/>
                  <a:gd name="connsiteX297" fmla="*/ 1183246 w 2822379"/>
                  <a:gd name="connsiteY297" fmla="*/ 2487173 h 2819687"/>
                  <a:gd name="connsiteX298" fmla="*/ 1227129 w 2822379"/>
                  <a:gd name="connsiteY298" fmla="*/ 2473409 h 2819687"/>
                  <a:gd name="connsiteX299" fmla="*/ 1267424 w 2822379"/>
                  <a:gd name="connsiteY299" fmla="*/ 2510615 h 2819687"/>
                  <a:gd name="connsiteX300" fmla="*/ 1267841 w 2822379"/>
                  <a:gd name="connsiteY300" fmla="*/ 2513701 h 2819687"/>
                  <a:gd name="connsiteX301" fmla="*/ 1278019 w 2822379"/>
                  <a:gd name="connsiteY301" fmla="*/ 2534974 h 2819687"/>
                  <a:gd name="connsiteX302" fmla="*/ 1282441 w 2822379"/>
                  <a:gd name="connsiteY302" fmla="*/ 2539395 h 2819687"/>
                  <a:gd name="connsiteX303" fmla="*/ 1297041 w 2822379"/>
                  <a:gd name="connsiteY303" fmla="*/ 2558915 h 2819687"/>
                  <a:gd name="connsiteX304" fmla="*/ 1301879 w 2822379"/>
                  <a:gd name="connsiteY304" fmla="*/ 2569092 h 2819687"/>
                  <a:gd name="connsiteX305" fmla="*/ 1327992 w 2822379"/>
                  <a:gd name="connsiteY305" fmla="*/ 2605380 h 2819687"/>
                  <a:gd name="connsiteX306" fmla="*/ 1356774 w 2822379"/>
                  <a:gd name="connsiteY306" fmla="*/ 2639916 h 2819687"/>
                  <a:gd name="connsiteX307" fmla="*/ 1362948 w 2822379"/>
                  <a:gd name="connsiteY307" fmla="*/ 2652763 h 2819687"/>
                  <a:gd name="connsiteX308" fmla="*/ 1376213 w 2822379"/>
                  <a:gd name="connsiteY308" fmla="*/ 2688634 h 2819687"/>
                  <a:gd name="connsiteX309" fmla="*/ 1384222 w 2822379"/>
                  <a:gd name="connsiteY309" fmla="*/ 2709906 h 2819687"/>
                  <a:gd name="connsiteX310" fmla="*/ 1421847 w 2822379"/>
                  <a:gd name="connsiteY310" fmla="*/ 2739103 h 2819687"/>
                  <a:gd name="connsiteX311" fmla="*/ 1463477 w 2822379"/>
                  <a:gd name="connsiteY311" fmla="*/ 2773640 h 2819687"/>
                  <a:gd name="connsiteX312" fmla="*/ 1479828 w 2822379"/>
                  <a:gd name="connsiteY312" fmla="*/ 2792242 h 2819687"/>
                  <a:gd name="connsiteX313" fmla="*/ 1501519 w 2822379"/>
                  <a:gd name="connsiteY313" fmla="*/ 2818353 h 2819687"/>
                  <a:gd name="connsiteX314" fmla="*/ 1502438 w 2822379"/>
                  <a:gd name="connsiteY314" fmla="*/ 2819688 h 2819687"/>
                  <a:gd name="connsiteX315" fmla="*/ 1517037 w 2822379"/>
                  <a:gd name="connsiteY315" fmla="*/ 2805506 h 2819687"/>
                  <a:gd name="connsiteX316" fmla="*/ 1601632 w 2822379"/>
                  <a:gd name="connsiteY316" fmla="*/ 2750115 h 2819687"/>
                  <a:gd name="connsiteX317" fmla="*/ 1646349 w 2822379"/>
                  <a:gd name="connsiteY317" fmla="*/ 2758123 h 2819687"/>
                  <a:gd name="connsiteX318" fmla="*/ 1685810 w 2822379"/>
                  <a:gd name="connsiteY318" fmla="*/ 2760793 h 2819687"/>
                  <a:gd name="connsiteX319" fmla="*/ 1730526 w 2822379"/>
                  <a:gd name="connsiteY319" fmla="*/ 2763045 h 2819687"/>
                  <a:gd name="connsiteX320" fmla="*/ 1771322 w 2822379"/>
                  <a:gd name="connsiteY320" fmla="*/ 2763045 h 2819687"/>
                  <a:gd name="connsiteX321" fmla="*/ 1816039 w 2822379"/>
                  <a:gd name="connsiteY321" fmla="*/ 2749281 h 2819687"/>
                  <a:gd name="connsiteX322" fmla="*/ 1841318 w 2822379"/>
                  <a:gd name="connsiteY322" fmla="*/ 2743942 h 2819687"/>
                  <a:gd name="connsiteX323" fmla="*/ 1860839 w 2822379"/>
                  <a:gd name="connsiteY323" fmla="*/ 2738603 h 2819687"/>
                  <a:gd name="connsiteX324" fmla="*/ 1917069 w 2822379"/>
                  <a:gd name="connsiteY324" fmla="*/ 2758958 h 2819687"/>
                  <a:gd name="connsiteX325" fmla="*/ 1948104 w 2822379"/>
                  <a:gd name="connsiteY325" fmla="*/ 2776225 h 2819687"/>
                  <a:gd name="connsiteX326" fmla="*/ 1988399 w 2822379"/>
                  <a:gd name="connsiteY326" fmla="*/ 2768217 h 2819687"/>
                  <a:gd name="connsiteX327" fmla="*/ 1998160 w 2822379"/>
                  <a:gd name="connsiteY327" fmla="*/ 2760209 h 2819687"/>
                  <a:gd name="connsiteX328" fmla="*/ 2016764 w 2822379"/>
                  <a:gd name="connsiteY328" fmla="*/ 2748280 h 2819687"/>
                  <a:gd name="connsiteX329" fmla="*/ 2032281 w 2822379"/>
                  <a:gd name="connsiteY329" fmla="*/ 2751366 h 2819687"/>
                  <a:gd name="connsiteX330" fmla="*/ 2039790 w 2822379"/>
                  <a:gd name="connsiteY330" fmla="*/ 2753619 h 2819687"/>
                  <a:gd name="connsiteX331" fmla="*/ 2050885 w 2822379"/>
                  <a:gd name="connsiteY331" fmla="*/ 2750115 h 2819687"/>
                  <a:gd name="connsiteX332" fmla="*/ 2057976 w 2822379"/>
                  <a:gd name="connsiteY332" fmla="*/ 2745694 h 2819687"/>
                  <a:gd name="connsiteX333" fmla="*/ 2087176 w 2822379"/>
                  <a:gd name="connsiteY333" fmla="*/ 2737685 h 2819687"/>
                  <a:gd name="connsiteX334" fmla="*/ 2100024 w 2822379"/>
                  <a:gd name="connsiteY334" fmla="*/ 2746111 h 2819687"/>
                  <a:gd name="connsiteX335" fmla="*/ 2108867 w 2822379"/>
                  <a:gd name="connsiteY335" fmla="*/ 2751450 h 2819687"/>
                  <a:gd name="connsiteX336" fmla="*/ 2130141 w 2822379"/>
                  <a:gd name="connsiteY336" fmla="*/ 2739020 h 2819687"/>
                  <a:gd name="connsiteX337" fmla="*/ 2135480 w 2822379"/>
                  <a:gd name="connsiteY337" fmla="*/ 2733681 h 2819687"/>
                  <a:gd name="connsiteX338" fmla="*/ 2153667 w 2822379"/>
                  <a:gd name="connsiteY338" fmla="*/ 2720834 h 2819687"/>
                  <a:gd name="connsiteX339" fmla="*/ 2170937 w 2822379"/>
                  <a:gd name="connsiteY339" fmla="*/ 2708405 h 2819687"/>
                  <a:gd name="connsiteX340" fmla="*/ 2174441 w 2822379"/>
                  <a:gd name="connsiteY340" fmla="*/ 2703984 h 2819687"/>
                  <a:gd name="connsiteX341" fmla="*/ 2187288 w 2822379"/>
                  <a:gd name="connsiteY341" fmla="*/ 2693389 h 2819687"/>
                  <a:gd name="connsiteX342" fmla="*/ 2199219 w 2822379"/>
                  <a:gd name="connsiteY342" fmla="*/ 2690719 h 2819687"/>
                  <a:gd name="connsiteX343" fmla="*/ 2206310 w 2822379"/>
                  <a:gd name="connsiteY343" fmla="*/ 2689802 h 2819687"/>
                  <a:gd name="connsiteX344" fmla="*/ 2214319 w 2822379"/>
                  <a:gd name="connsiteY344" fmla="*/ 2682711 h 2819687"/>
                  <a:gd name="connsiteX345" fmla="*/ 2221410 w 2822379"/>
                  <a:gd name="connsiteY345" fmla="*/ 2674703 h 2819687"/>
                  <a:gd name="connsiteX346" fmla="*/ 2236010 w 2822379"/>
                  <a:gd name="connsiteY346" fmla="*/ 2668029 h 2819687"/>
                  <a:gd name="connsiteX347" fmla="*/ 2242684 w 2822379"/>
                  <a:gd name="connsiteY347" fmla="*/ 2665777 h 2819687"/>
                  <a:gd name="connsiteX348" fmla="*/ 2254197 w 2822379"/>
                  <a:gd name="connsiteY348" fmla="*/ 2659103 h 2819687"/>
                  <a:gd name="connsiteX349" fmla="*/ 2278140 w 2822379"/>
                  <a:gd name="connsiteY349" fmla="*/ 2648509 h 2819687"/>
                  <a:gd name="connsiteX350" fmla="*/ 2295410 w 2822379"/>
                  <a:gd name="connsiteY350" fmla="*/ 2647174 h 2819687"/>
                  <a:gd name="connsiteX351" fmla="*/ 2337456 w 2822379"/>
                  <a:gd name="connsiteY351" fmla="*/ 2619228 h 2819687"/>
                  <a:gd name="connsiteX352" fmla="*/ 2384843 w 2822379"/>
                  <a:gd name="connsiteY352" fmla="*/ 2563420 h 2819687"/>
                  <a:gd name="connsiteX353" fmla="*/ 2430060 w 2822379"/>
                  <a:gd name="connsiteY353" fmla="*/ 2536809 h 2819687"/>
                  <a:gd name="connsiteX354" fmla="*/ 2459260 w 2822379"/>
                  <a:gd name="connsiteY354" fmla="*/ 2517288 h 2819687"/>
                  <a:gd name="connsiteX355" fmla="*/ 2465433 w 2822379"/>
                  <a:gd name="connsiteY355" fmla="*/ 2514202 h 2819687"/>
                  <a:gd name="connsiteX356" fmla="*/ 2457925 w 2822379"/>
                  <a:gd name="connsiteY356" fmla="*/ 2500438 h 2819687"/>
                  <a:gd name="connsiteX357" fmla="*/ 2438904 w 2822379"/>
                  <a:gd name="connsiteY357" fmla="*/ 2460145 h 2819687"/>
                  <a:gd name="connsiteX358" fmla="*/ 2434482 w 2822379"/>
                  <a:gd name="connsiteY358" fmla="*/ 2448216 h 2819687"/>
                  <a:gd name="connsiteX359" fmla="*/ 2426974 w 2822379"/>
                  <a:gd name="connsiteY359" fmla="*/ 2389321 h 2819687"/>
                  <a:gd name="connsiteX360" fmla="*/ 2440739 w 2822379"/>
                  <a:gd name="connsiteY360" fmla="*/ 2371636 h 2819687"/>
                  <a:gd name="connsiteX361" fmla="*/ 2446913 w 2822379"/>
                  <a:gd name="connsiteY361" fmla="*/ 2345943 h 2819687"/>
                  <a:gd name="connsiteX362" fmla="*/ 2405700 w 2822379"/>
                  <a:gd name="connsiteY362" fmla="*/ 2316245 h 2819687"/>
                  <a:gd name="connsiteX363" fmla="*/ 2401695 w 2822379"/>
                  <a:gd name="connsiteY363" fmla="*/ 2315828 h 2819687"/>
                  <a:gd name="connsiteX364" fmla="*/ 2356979 w 2822379"/>
                  <a:gd name="connsiteY364" fmla="*/ 2285296 h 2819687"/>
                  <a:gd name="connsiteX365" fmla="*/ 2368074 w 2822379"/>
                  <a:gd name="connsiteY365" fmla="*/ 2267611 h 2819687"/>
                  <a:gd name="connsiteX366" fmla="*/ 2372913 w 2822379"/>
                  <a:gd name="connsiteY366" fmla="*/ 2262272 h 2819687"/>
                  <a:gd name="connsiteX367" fmla="*/ 2369410 w 2822379"/>
                  <a:gd name="connsiteY367" fmla="*/ 2250343 h 2819687"/>
                  <a:gd name="connsiteX368" fmla="*/ 2364570 w 2822379"/>
                  <a:gd name="connsiteY368" fmla="*/ 2237913 h 2819687"/>
                  <a:gd name="connsiteX369" fmla="*/ 2369910 w 2822379"/>
                  <a:gd name="connsiteY369" fmla="*/ 2212637 h 2819687"/>
                  <a:gd name="connsiteX370" fmla="*/ 2373914 w 2822379"/>
                  <a:gd name="connsiteY370" fmla="*/ 2196703 h 2819687"/>
                  <a:gd name="connsiteX371" fmla="*/ 2369493 w 2822379"/>
                  <a:gd name="connsiteY371" fmla="*/ 2193617 h 2819687"/>
                  <a:gd name="connsiteX372" fmla="*/ 2338959 w 2822379"/>
                  <a:gd name="connsiteY372" fmla="*/ 2186943 h 2819687"/>
                  <a:gd name="connsiteX373" fmla="*/ 2330115 w 2822379"/>
                  <a:gd name="connsiteY373" fmla="*/ 2178518 h 2819687"/>
                  <a:gd name="connsiteX374" fmla="*/ 2319937 w 2822379"/>
                  <a:gd name="connsiteY374" fmla="*/ 2170509 h 2819687"/>
                  <a:gd name="connsiteX375" fmla="*/ 2315098 w 2822379"/>
                  <a:gd name="connsiteY375" fmla="*/ 2168758 h 2819687"/>
                  <a:gd name="connsiteX376" fmla="*/ 2295160 w 2822379"/>
                  <a:gd name="connsiteY376" fmla="*/ 2152824 h 2819687"/>
                  <a:gd name="connsiteX377" fmla="*/ 2297412 w 2822379"/>
                  <a:gd name="connsiteY377" fmla="*/ 2139977 h 2819687"/>
                  <a:gd name="connsiteX378" fmla="*/ 2308508 w 2822379"/>
                  <a:gd name="connsiteY378" fmla="*/ 2135139 h 2819687"/>
                  <a:gd name="connsiteX379" fmla="*/ 2312011 w 2822379"/>
                  <a:gd name="connsiteY379" fmla="*/ 2134722 h 2819687"/>
                  <a:gd name="connsiteX380" fmla="*/ 2318185 w 2822379"/>
                  <a:gd name="connsiteY380" fmla="*/ 2092177 h 2819687"/>
                  <a:gd name="connsiteX381" fmla="*/ 2318602 w 2822379"/>
                  <a:gd name="connsiteY381" fmla="*/ 2056724 h 2819687"/>
                  <a:gd name="connsiteX382" fmla="*/ 2320855 w 2822379"/>
                  <a:gd name="connsiteY382" fmla="*/ 2033700 h 2819687"/>
                  <a:gd name="connsiteX383" fmla="*/ 2316016 w 2822379"/>
                  <a:gd name="connsiteY383" fmla="*/ 2024357 h 2819687"/>
                  <a:gd name="connsiteX384" fmla="*/ 2308508 w 2822379"/>
                  <a:gd name="connsiteY384" fmla="*/ 2004002 h 2819687"/>
                  <a:gd name="connsiteX385" fmla="*/ 2314681 w 2822379"/>
                  <a:gd name="connsiteY385" fmla="*/ 1989820 h 2819687"/>
                  <a:gd name="connsiteX386" fmla="*/ 2318185 w 2822379"/>
                  <a:gd name="connsiteY386" fmla="*/ 1979643 h 2819687"/>
                  <a:gd name="connsiteX387" fmla="*/ 2313347 w 2822379"/>
                  <a:gd name="connsiteY387" fmla="*/ 1962375 h 2819687"/>
                  <a:gd name="connsiteX388" fmla="*/ 2312929 w 2822379"/>
                  <a:gd name="connsiteY388" fmla="*/ 1927422 h 2819687"/>
                  <a:gd name="connsiteX389" fmla="*/ 2315182 w 2822379"/>
                  <a:gd name="connsiteY389" fmla="*/ 1923001 h 2819687"/>
                  <a:gd name="connsiteX390" fmla="*/ 2332451 w 2822379"/>
                  <a:gd name="connsiteY390" fmla="*/ 1899559 h 2819687"/>
                  <a:gd name="connsiteX391" fmla="*/ 2344882 w 2822379"/>
                  <a:gd name="connsiteY391" fmla="*/ 1895138 h 2819687"/>
                  <a:gd name="connsiteX392" fmla="*/ 2353725 w 2822379"/>
                  <a:gd name="connsiteY392" fmla="*/ 1892051 h 2819687"/>
                  <a:gd name="connsiteX393" fmla="*/ 2359899 w 2822379"/>
                  <a:gd name="connsiteY393" fmla="*/ 1885378 h 2819687"/>
                  <a:gd name="connsiteX394" fmla="*/ 2375833 w 2822379"/>
                  <a:gd name="connsiteY394" fmla="*/ 1872948 h 2819687"/>
                  <a:gd name="connsiteX395" fmla="*/ 2390432 w 2822379"/>
                  <a:gd name="connsiteY395" fmla="*/ 1871613 h 2819687"/>
                  <a:gd name="connsiteX396" fmla="*/ 2401028 w 2822379"/>
                  <a:gd name="connsiteY396" fmla="*/ 1870279 h 2819687"/>
                  <a:gd name="connsiteX397" fmla="*/ 2408119 w 2822379"/>
                  <a:gd name="connsiteY397" fmla="*/ 1862271 h 2819687"/>
                  <a:gd name="connsiteX398" fmla="*/ 2425389 w 2822379"/>
                  <a:gd name="connsiteY398" fmla="*/ 1848089 h 2819687"/>
                  <a:gd name="connsiteX399" fmla="*/ 2436484 w 2822379"/>
                  <a:gd name="connsiteY399" fmla="*/ 1845837 h 2819687"/>
                  <a:gd name="connsiteX400" fmla="*/ 2450250 w 2822379"/>
                  <a:gd name="connsiteY400" fmla="*/ 1840498 h 2819687"/>
                  <a:gd name="connsiteX401" fmla="*/ 2454254 w 2822379"/>
                  <a:gd name="connsiteY401" fmla="*/ 1812552 h 2819687"/>
                  <a:gd name="connsiteX402" fmla="*/ 2451168 w 2822379"/>
                  <a:gd name="connsiteY402" fmla="*/ 1793032 h 2819687"/>
                  <a:gd name="connsiteX403" fmla="*/ 2494133 w 2822379"/>
                  <a:gd name="connsiteY403" fmla="*/ 1746066 h 2819687"/>
                  <a:gd name="connsiteX404" fmla="*/ 2540184 w 2822379"/>
                  <a:gd name="connsiteY404" fmla="*/ 1721707 h 2819687"/>
                  <a:gd name="connsiteX405" fmla="*/ 2560123 w 2822379"/>
                  <a:gd name="connsiteY405" fmla="*/ 1664564 h 2819687"/>
                  <a:gd name="connsiteX406" fmla="*/ 2560123 w 2822379"/>
                  <a:gd name="connsiteY406" fmla="*/ 1657056 h 2819687"/>
                  <a:gd name="connsiteX407" fmla="*/ 2565880 w 2822379"/>
                  <a:gd name="connsiteY407" fmla="*/ 1625606 h 2819687"/>
                  <a:gd name="connsiteX408" fmla="*/ 2579645 w 2822379"/>
                  <a:gd name="connsiteY408" fmla="*/ 1615012 h 2819687"/>
                  <a:gd name="connsiteX409" fmla="*/ 2585818 w 2822379"/>
                  <a:gd name="connsiteY409" fmla="*/ 1611508 h 2819687"/>
                  <a:gd name="connsiteX410" fmla="*/ 2591158 w 2822379"/>
                  <a:gd name="connsiteY410" fmla="*/ 1602666 h 2819687"/>
                  <a:gd name="connsiteX411" fmla="*/ 2569884 w 2822379"/>
                  <a:gd name="connsiteY411" fmla="*/ 1573469 h 2819687"/>
                  <a:gd name="connsiteX412" fmla="*/ 2548193 w 2822379"/>
                  <a:gd name="connsiteY412" fmla="*/ 1539767 h 2819687"/>
                  <a:gd name="connsiteX413" fmla="*/ 2541102 w 2822379"/>
                  <a:gd name="connsiteY413" fmla="*/ 1523833 h 2819687"/>
                  <a:gd name="connsiteX414" fmla="*/ 2536263 w 2822379"/>
                  <a:gd name="connsiteY414" fmla="*/ 1514490 h 2819687"/>
                  <a:gd name="connsiteX415" fmla="*/ 2526502 w 2822379"/>
                  <a:gd name="connsiteY415" fmla="*/ 1494553 h 2819687"/>
                  <a:gd name="connsiteX416" fmla="*/ 2516324 w 2822379"/>
                  <a:gd name="connsiteY416" fmla="*/ 1481706 h 2819687"/>
                  <a:gd name="connsiteX417" fmla="*/ 2501224 w 2822379"/>
                  <a:gd name="connsiteY417" fmla="*/ 1475533 h 2819687"/>
                  <a:gd name="connsiteX418" fmla="*/ 2471106 w 2822379"/>
                  <a:gd name="connsiteY418" fmla="*/ 1456013 h 2819687"/>
                  <a:gd name="connsiteX419" fmla="*/ 2468854 w 2822379"/>
                  <a:gd name="connsiteY419" fmla="*/ 1417472 h 2819687"/>
                  <a:gd name="connsiteX420" fmla="*/ 2469271 w 2822379"/>
                  <a:gd name="connsiteY420" fmla="*/ 1414803 h 2819687"/>
                  <a:gd name="connsiteX421" fmla="*/ 2469271 w 2822379"/>
                  <a:gd name="connsiteY421" fmla="*/ 1398870 h 2819687"/>
                  <a:gd name="connsiteX422" fmla="*/ 2468353 w 2822379"/>
                  <a:gd name="connsiteY422" fmla="*/ 1396200 h 2819687"/>
                  <a:gd name="connsiteX423" fmla="*/ 2478532 w 2822379"/>
                  <a:gd name="connsiteY423" fmla="*/ 1344813 h 2819687"/>
                  <a:gd name="connsiteX424" fmla="*/ 2486040 w 2822379"/>
                  <a:gd name="connsiteY424" fmla="*/ 1327128 h 2819687"/>
                  <a:gd name="connsiteX425" fmla="*/ 2489127 w 2822379"/>
                  <a:gd name="connsiteY425" fmla="*/ 1318703 h 2819687"/>
                  <a:gd name="connsiteX426" fmla="*/ 2493966 w 2822379"/>
                  <a:gd name="connsiteY426" fmla="*/ 1297013 h 2819687"/>
                  <a:gd name="connsiteX427" fmla="*/ 2490879 w 2822379"/>
                  <a:gd name="connsiteY427" fmla="*/ 1287670 h 2819687"/>
                  <a:gd name="connsiteX428" fmla="*/ 2486457 w 2822379"/>
                  <a:gd name="connsiteY428" fmla="*/ 1274823 h 2819687"/>
                  <a:gd name="connsiteX429" fmla="*/ 2485539 w 2822379"/>
                  <a:gd name="connsiteY429" fmla="*/ 1263311 h 2819687"/>
                  <a:gd name="connsiteX430" fmla="*/ 2483287 w 2822379"/>
                  <a:gd name="connsiteY430" fmla="*/ 1249547 h 2819687"/>
                  <a:gd name="connsiteX431" fmla="*/ 2479282 w 2822379"/>
                  <a:gd name="connsiteY431" fmla="*/ 1244708 h 2819687"/>
                  <a:gd name="connsiteX432" fmla="*/ 2470856 w 2822379"/>
                  <a:gd name="connsiteY432" fmla="*/ 1227858 h 2819687"/>
                  <a:gd name="connsiteX433" fmla="*/ 2471774 w 2822379"/>
                  <a:gd name="connsiteY433" fmla="*/ 1212341 h 2819687"/>
                  <a:gd name="connsiteX434" fmla="*/ 2471356 w 2822379"/>
                  <a:gd name="connsiteY434" fmla="*/ 1197242 h 2819687"/>
                  <a:gd name="connsiteX435" fmla="*/ 2461596 w 2822379"/>
                  <a:gd name="connsiteY435" fmla="*/ 1184395 h 2819687"/>
                  <a:gd name="connsiteX436" fmla="*/ 2451418 w 2822379"/>
                  <a:gd name="connsiteY436" fmla="*/ 1171132 h 2819687"/>
                  <a:gd name="connsiteX437" fmla="*/ 2447414 w 2822379"/>
                  <a:gd name="connsiteY437" fmla="*/ 1135261 h 2819687"/>
                  <a:gd name="connsiteX438" fmla="*/ 2477113 w 2822379"/>
                  <a:gd name="connsiteY438" fmla="*/ 1112237 h 2819687"/>
                  <a:gd name="connsiteX439" fmla="*/ 2529422 w 2822379"/>
                  <a:gd name="connsiteY439" fmla="*/ 1113154 h 2819687"/>
                  <a:gd name="connsiteX440" fmla="*/ 2550696 w 2822379"/>
                  <a:gd name="connsiteY440" fmla="*/ 1116241 h 2819687"/>
                  <a:gd name="connsiteX441" fmla="*/ 2560874 w 2822379"/>
                  <a:gd name="connsiteY441" fmla="*/ 1117576 h 2819687"/>
                  <a:gd name="connsiteX442" fmla="*/ 2578143 w 2822379"/>
                  <a:gd name="connsiteY442" fmla="*/ 1118493 h 2819687"/>
                  <a:gd name="connsiteX443" fmla="*/ 2584817 w 2822379"/>
                  <a:gd name="connsiteY443" fmla="*/ 1112737 h 2819687"/>
                  <a:gd name="connsiteX444" fmla="*/ 2594161 w 2822379"/>
                  <a:gd name="connsiteY444" fmla="*/ 1104729 h 2819687"/>
                  <a:gd name="connsiteX445" fmla="*/ 2615852 w 2822379"/>
                  <a:gd name="connsiteY445" fmla="*/ 1098055 h 2819687"/>
                  <a:gd name="connsiteX446" fmla="*/ 2640630 w 2822379"/>
                  <a:gd name="connsiteY446" fmla="*/ 1085208 h 2819687"/>
                  <a:gd name="connsiteX447" fmla="*/ 2648638 w 2822379"/>
                  <a:gd name="connsiteY447" fmla="*/ 1065688 h 2819687"/>
                  <a:gd name="connsiteX448" fmla="*/ 2651308 w 2822379"/>
                  <a:gd name="connsiteY448" fmla="*/ 1055511 h 2819687"/>
                  <a:gd name="connsiteX449" fmla="*/ 2671248 w 2822379"/>
                  <a:gd name="connsiteY449" fmla="*/ 1038243 h 2819687"/>
                  <a:gd name="connsiteX450" fmla="*/ 2678339 w 2822379"/>
                  <a:gd name="connsiteY450" fmla="*/ 1037325 h 2819687"/>
                  <a:gd name="connsiteX451" fmla="*/ 2690269 w 2822379"/>
                  <a:gd name="connsiteY451" fmla="*/ 1032487 h 2819687"/>
                  <a:gd name="connsiteX452" fmla="*/ 2709290 w 2822379"/>
                  <a:gd name="connsiteY452" fmla="*/ 1025813 h 2819687"/>
                  <a:gd name="connsiteX453" fmla="*/ 2710208 w 2822379"/>
                  <a:gd name="connsiteY453" fmla="*/ 1025813 h 2819687"/>
                  <a:gd name="connsiteX454" fmla="*/ 2725308 w 2822379"/>
                  <a:gd name="connsiteY454" fmla="*/ 1033321 h 2819687"/>
                  <a:gd name="connsiteX455" fmla="*/ 2731065 w 2822379"/>
                  <a:gd name="connsiteY455" fmla="*/ 1036824 h 2819687"/>
                  <a:gd name="connsiteX456" fmla="*/ 2738156 w 2822379"/>
                  <a:gd name="connsiteY456" fmla="*/ 1033738 h 2819687"/>
                  <a:gd name="connsiteX457" fmla="*/ 2742160 w 2822379"/>
                  <a:gd name="connsiteY457" fmla="*/ 1011632 h 2819687"/>
                  <a:gd name="connsiteX458" fmla="*/ 2737739 w 2822379"/>
                  <a:gd name="connsiteY458" fmla="*/ 964249 h 2819687"/>
                  <a:gd name="connsiteX459" fmla="*/ 2736821 w 2822379"/>
                  <a:gd name="connsiteY459" fmla="*/ 950067 h 2819687"/>
                  <a:gd name="connsiteX460" fmla="*/ 2736404 w 2822379"/>
                  <a:gd name="connsiteY460" fmla="*/ 942559 h 2819687"/>
                  <a:gd name="connsiteX461" fmla="*/ 2729730 w 2822379"/>
                  <a:gd name="connsiteY461" fmla="*/ 922622 h 2819687"/>
                  <a:gd name="connsiteX462" fmla="*/ 2724391 w 2822379"/>
                  <a:gd name="connsiteY462" fmla="*/ 919118 h 2819687"/>
                  <a:gd name="connsiteX463" fmla="*/ 2712460 w 2822379"/>
                  <a:gd name="connsiteY463" fmla="*/ 905354 h 2819687"/>
                  <a:gd name="connsiteX464" fmla="*/ 2711126 w 2822379"/>
                  <a:gd name="connsiteY464" fmla="*/ 888503 h 2819687"/>
                  <a:gd name="connsiteX465" fmla="*/ 2709374 w 2822379"/>
                  <a:gd name="connsiteY465" fmla="*/ 875656 h 2819687"/>
                  <a:gd name="connsiteX466" fmla="*/ 2698277 w 2822379"/>
                  <a:gd name="connsiteY466" fmla="*/ 866813 h 2819687"/>
                  <a:gd name="connsiteX467" fmla="*/ 2691603 w 2822379"/>
                  <a:gd name="connsiteY467" fmla="*/ 862392 h 2819687"/>
                  <a:gd name="connsiteX468" fmla="*/ 2671248 w 2822379"/>
                  <a:gd name="connsiteY468" fmla="*/ 845124 h 2819687"/>
                  <a:gd name="connsiteX469" fmla="*/ 2640713 w 2822379"/>
                  <a:gd name="connsiteY469" fmla="*/ 822100 h 2819687"/>
                  <a:gd name="connsiteX470" fmla="*/ 2623027 w 2822379"/>
                  <a:gd name="connsiteY470" fmla="*/ 802580 h 2819687"/>
                  <a:gd name="connsiteX471" fmla="*/ 2619940 w 2822379"/>
                  <a:gd name="connsiteY471" fmla="*/ 795906 h 2819687"/>
                  <a:gd name="connsiteX472" fmla="*/ 2613766 w 2822379"/>
                  <a:gd name="connsiteY472" fmla="*/ 789232 h 2819687"/>
                  <a:gd name="connsiteX473" fmla="*/ 2607092 w 2822379"/>
                  <a:gd name="connsiteY473" fmla="*/ 782559 h 2819687"/>
                  <a:gd name="connsiteX474" fmla="*/ 2595162 w 2822379"/>
                  <a:gd name="connsiteY474" fmla="*/ 748857 h 2819687"/>
                  <a:gd name="connsiteX475" fmla="*/ 2584567 w 2822379"/>
                  <a:gd name="connsiteY475" fmla="*/ 723163 h 2819687"/>
                  <a:gd name="connsiteX476" fmla="*/ 2582314 w 2822379"/>
                  <a:gd name="connsiteY476" fmla="*/ 720911 h 2819687"/>
                  <a:gd name="connsiteX477" fmla="*/ 2576975 w 2822379"/>
                  <a:gd name="connsiteY477" fmla="*/ 696969 h 2819687"/>
                  <a:gd name="connsiteX478" fmla="*/ 2579228 w 2822379"/>
                  <a:gd name="connsiteY478" fmla="*/ 687209 h 2819687"/>
                  <a:gd name="connsiteX479" fmla="*/ 2581897 w 2822379"/>
                  <a:gd name="connsiteY479" fmla="*/ 662433 h 2819687"/>
                  <a:gd name="connsiteX480" fmla="*/ 2579645 w 2822379"/>
                  <a:gd name="connsiteY480" fmla="*/ 653591 h 2819687"/>
                  <a:gd name="connsiteX481" fmla="*/ 2580563 w 2822379"/>
                  <a:gd name="connsiteY481" fmla="*/ 623893 h 2819687"/>
                  <a:gd name="connsiteX482" fmla="*/ 2601419 w 2822379"/>
                  <a:gd name="connsiteY482" fmla="*/ 613299 h 2819687"/>
                  <a:gd name="connsiteX483" fmla="*/ 2609845 w 2822379"/>
                  <a:gd name="connsiteY483" fmla="*/ 611046 h 2819687"/>
                  <a:gd name="connsiteX484" fmla="*/ 2616519 w 2822379"/>
                  <a:gd name="connsiteY484" fmla="*/ 602204 h 2819687"/>
                  <a:gd name="connsiteX485" fmla="*/ 2622693 w 2822379"/>
                  <a:gd name="connsiteY485" fmla="*/ 589774 h 2819687"/>
                  <a:gd name="connsiteX486" fmla="*/ 2650641 w 2822379"/>
                  <a:gd name="connsiteY486" fmla="*/ 577845 h 2819687"/>
                  <a:gd name="connsiteX487" fmla="*/ 2674084 w 2822379"/>
                  <a:gd name="connsiteY487" fmla="*/ 571672 h 2819687"/>
                  <a:gd name="connsiteX488" fmla="*/ 2674501 w 2822379"/>
                  <a:gd name="connsiteY488" fmla="*/ 558825 h 2819687"/>
                  <a:gd name="connsiteX489" fmla="*/ 2652393 w 2822379"/>
                  <a:gd name="connsiteY489" fmla="*/ 542475 h 2819687"/>
                  <a:gd name="connsiteX490" fmla="*/ 2623193 w 2822379"/>
                  <a:gd name="connsiteY490" fmla="*/ 521620 h 2819687"/>
                  <a:gd name="connsiteX491" fmla="*/ 2651976 w 2822379"/>
                  <a:gd name="connsiteY491" fmla="*/ 481327 h 2819687"/>
                  <a:gd name="connsiteX492" fmla="*/ 2666575 w 2822379"/>
                  <a:gd name="connsiteY492" fmla="*/ 472902 h 2819687"/>
                  <a:gd name="connsiteX493" fmla="*/ 2686932 w 2822379"/>
                  <a:gd name="connsiteY493" fmla="*/ 444122 h 2819687"/>
                  <a:gd name="connsiteX494" fmla="*/ 2689184 w 2822379"/>
                  <a:gd name="connsiteY494" fmla="*/ 433944 h 2819687"/>
                  <a:gd name="connsiteX495" fmla="*/ 2698027 w 2822379"/>
                  <a:gd name="connsiteY495" fmla="*/ 410920 h 2819687"/>
                  <a:gd name="connsiteX496" fmla="*/ 2715297 w 2822379"/>
                  <a:gd name="connsiteY496" fmla="*/ 400743 h 2819687"/>
                  <a:gd name="connsiteX497" fmla="*/ 2715714 w 2822379"/>
                  <a:gd name="connsiteY497" fmla="*/ 400743 h 2819687"/>
                  <a:gd name="connsiteX498" fmla="*/ 2734318 w 2822379"/>
                  <a:gd name="connsiteY498" fmla="*/ 412672 h 2819687"/>
                  <a:gd name="connsiteX499" fmla="*/ 2743162 w 2822379"/>
                  <a:gd name="connsiteY499" fmla="*/ 420681 h 2819687"/>
                  <a:gd name="connsiteX500" fmla="*/ 2771944 w 2822379"/>
                  <a:gd name="connsiteY500" fmla="*/ 417594 h 2819687"/>
                  <a:gd name="connsiteX501" fmla="*/ 2774196 w 2822379"/>
                  <a:gd name="connsiteY501" fmla="*/ 403830 h 2819687"/>
                  <a:gd name="connsiteX502" fmla="*/ 2773279 w 2822379"/>
                  <a:gd name="connsiteY502" fmla="*/ 398491 h 2819687"/>
                  <a:gd name="connsiteX503" fmla="*/ 2780370 w 2822379"/>
                  <a:gd name="connsiteY503" fmla="*/ 363538 h 2819687"/>
                  <a:gd name="connsiteX504" fmla="*/ 2787461 w 2822379"/>
                  <a:gd name="connsiteY504" fmla="*/ 345852 h 2819687"/>
                  <a:gd name="connsiteX505" fmla="*/ 2788796 w 2822379"/>
                  <a:gd name="connsiteY505" fmla="*/ 337010 h 2819687"/>
                  <a:gd name="connsiteX506" fmla="*/ 2796304 w 2822379"/>
                  <a:gd name="connsiteY506" fmla="*/ 313569 h 2819687"/>
                  <a:gd name="connsiteX507" fmla="*/ 2808735 w 2822379"/>
                  <a:gd name="connsiteY507" fmla="*/ 302474 h 2819687"/>
                  <a:gd name="connsiteX508" fmla="*/ 2817161 w 2822379"/>
                  <a:gd name="connsiteY508" fmla="*/ 295383 h 2819687"/>
                  <a:gd name="connsiteX509" fmla="*/ 2817578 w 2822379"/>
                  <a:gd name="connsiteY509" fmla="*/ 251504 h 2819687"/>
                  <a:gd name="connsiteX510" fmla="*/ 2803395 w 2822379"/>
                  <a:gd name="connsiteY510" fmla="*/ 244830 h 2819687"/>
                  <a:gd name="connsiteX511" fmla="*/ 2792801 w 2822379"/>
                  <a:gd name="connsiteY511" fmla="*/ 241744 h 2819687"/>
                  <a:gd name="connsiteX512" fmla="*/ 2772444 w 2822379"/>
                  <a:gd name="connsiteY512" fmla="*/ 225393 h 2819687"/>
                  <a:gd name="connsiteX513" fmla="*/ 2769774 w 2822379"/>
                  <a:gd name="connsiteY513" fmla="*/ 222307 h 2819687"/>
                  <a:gd name="connsiteX514" fmla="*/ 2744996 w 2822379"/>
                  <a:gd name="connsiteY514" fmla="*/ 161159 h 2819687"/>
                  <a:gd name="connsiteX515" fmla="*/ 2729479 w 2822379"/>
                  <a:gd name="connsiteY515" fmla="*/ 113359 h 2819687"/>
                  <a:gd name="connsiteX516" fmla="*/ 2707371 w 2822379"/>
                  <a:gd name="connsiteY516" fmla="*/ 54465 h 2819687"/>
                  <a:gd name="connsiteX517" fmla="*/ 2715380 w 2822379"/>
                  <a:gd name="connsiteY517" fmla="*/ 41618 h 2819687"/>
                  <a:gd name="connsiteX518" fmla="*/ 2720219 w 2822379"/>
                  <a:gd name="connsiteY518" fmla="*/ 31858 h 2819687"/>
                  <a:gd name="connsiteX519" fmla="*/ 2710458 w 2822379"/>
                  <a:gd name="connsiteY519" fmla="*/ 25184 h 2819687"/>
                  <a:gd name="connsiteX520" fmla="*/ 2690936 w 2822379"/>
                  <a:gd name="connsiteY520" fmla="*/ 5664 h 2819687"/>
                  <a:gd name="connsiteX521" fmla="*/ 2690936 w 2822379"/>
                  <a:gd name="connsiteY521" fmla="*/ 5664 h 2819687"/>
                  <a:gd name="connsiteX522" fmla="*/ 2684846 w 2822379"/>
                  <a:gd name="connsiteY522" fmla="*/ 9334 h 281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</a:cxnLst>
                <a:rect l="l" t="t" r="r" b="b"/>
                <a:pathLst>
                  <a:path w="2822379" h="2819687" extrusionOk="0">
                    <a:moveTo>
                      <a:pt x="2684846" y="9334"/>
                    </a:moveTo>
                    <a:cubicBezTo>
                      <a:pt x="2679089" y="12003"/>
                      <a:pt x="2672916" y="14673"/>
                      <a:pt x="2665324" y="13755"/>
                    </a:cubicBezTo>
                    <a:cubicBezTo>
                      <a:pt x="2660485" y="13338"/>
                      <a:pt x="2656898" y="11086"/>
                      <a:pt x="2653394" y="9334"/>
                    </a:cubicBezTo>
                    <a:lnTo>
                      <a:pt x="2651642" y="8416"/>
                    </a:lnTo>
                    <a:cubicBezTo>
                      <a:pt x="2633455" y="-927"/>
                      <a:pt x="2610429" y="408"/>
                      <a:pt x="2593160" y="11086"/>
                    </a:cubicBezTo>
                    <a:lnTo>
                      <a:pt x="2591825" y="12003"/>
                    </a:lnTo>
                    <a:cubicBezTo>
                      <a:pt x="2589155" y="13755"/>
                      <a:pt x="2585651" y="16008"/>
                      <a:pt x="2581647" y="16842"/>
                    </a:cubicBezTo>
                    <a:cubicBezTo>
                      <a:pt x="2572303" y="19094"/>
                      <a:pt x="2564377" y="14172"/>
                      <a:pt x="2557703" y="10669"/>
                    </a:cubicBezTo>
                    <a:lnTo>
                      <a:pt x="2555451" y="9334"/>
                    </a:lnTo>
                    <a:cubicBezTo>
                      <a:pt x="2542603" y="1826"/>
                      <a:pt x="2522247" y="-3096"/>
                      <a:pt x="2506730" y="2243"/>
                    </a:cubicBezTo>
                    <a:cubicBezTo>
                      <a:pt x="2497887" y="5330"/>
                      <a:pt x="2489877" y="12421"/>
                      <a:pt x="2488126" y="18594"/>
                    </a:cubicBezTo>
                    <a:cubicBezTo>
                      <a:pt x="2487208" y="22097"/>
                      <a:pt x="2488126" y="25685"/>
                      <a:pt x="2491213" y="29689"/>
                    </a:cubicBezTo>
                    <a:cubicBezTo>
                      <a:pt x="2494299" y="33192"/>
                      <a:pt x="2499221" y="35028"/>
                      <a:pt x="2504060" y="37697"/>
                    </a:cubicBezTo>
                    <a:cubicBezTo>
                      <a:pt x="2509817" y="40366"/>
                      <a:pt x="2516491" y="43036"/>
                      <a:pt x="2521329" y="48792"/>
                    </a:cubicBezTo>
                    <a:cubicBezTo>
                      <a:pt x="2526168" y="54131"/>
                      <a:pt x="2528421" y="60304"/>
                      <a:pt x="2530172" y="65643"/>
                    </a:cubicBezTo>
                    <a:cubicBezTo>
                      <a:pt x="2544772" y="108187"/>
                      <a:pt x="2547025" y="155153"/>
                      <a:pt x="2535929" y="198532"/>
                    </a:cubicBezTo>
                    <a:cubicBezTo>
                      <a:pt x="2531508" y="216718"/>
                      <a:pt x="2529755" y="230398"/>
                      <a:pt x="2530172" y="248167"/>
                    </a:cubicBezTo>
                    <a:cubicBezTo>
                      <a:pt x="2530590" y="267687"/>
                      <a:pt x="2519995" y="276530"/>
                      <a:pt x="2508899" y="285790"/>
                    </a:cubicBezTo>
                    <a:cubicBezTo>
                      <a:pt x="2507147" y="287124"/>
                      <a:pt x="2505812" y="288459"/>
                      <a:pt x="2504060" y="289794"/>
                    </a:cubicBezTo>
                    <a:cubicBezTo>
                      <a:pt x="2496969" y="295967"/>
                      <a:pt x="2492130" y="303975"/>
                      <a:pt x="2486373" y="311900"/>
                    </a:cubicBezTo>
                    <a:cubicBezTo>
                      <a:pt x="2483704" y="316322"/>
                      <a:pt x="2480617" y="320743"/>
                      <a:pt x="2477530" y="325164"/>
                    </a:cubicBezTo>
                    <a:cubicBezTo>
                      <a:pt x="2462430" y="345519"/>
                      <a:pt x="2425222" y="378803"/>
                      <a:pt x="2395105" y="360618"/>
                    </a:cubicBezTo>
                    <a:cubicBezTo>
                      <a:pt x="2393770" y="359700"/>
                      <a:pt x="2392852" y="359283"/>
                      <a:pt x="2391601" y="358365"/>
                    </a:cubicBezTo>
                    <a:cubicBezTo>
                      <a:pt x="2386261" y="354862"/>
                      <a:pt x="2381423" y="351692"/>
                      <a:pt x="2376501" y="352192"/>
                    </a:cubicBezTo>
                    <a:lnTo>
                      <a:pt x="2375583" y="352192"/>
                    </a:lnTo>
                    <a:cubicBezTo>
                      <a:pt x="2370744" y="352609"/>
                      <a:pt x="2366740" y="352609"/>
                      <a:pt x="2363153" y="354445"/>
                    </a:cubicBezTo>
                    <a:cubicBezTo>
                      <a:pt x="2353391" y="359784"/>
                      <a:pt x="2344965" y="359784"/>
                      <a:pt x="2336539" y="359283"/>
                    </a:cubicBezTo>
                    <a:cubicBezTo>
                      <a:pt x="2333452" y="359283"/>
                      <a:pt x="2330365" y="359283"/>
                      <a:pt x="2326778" y="359283"/>
                    </a:cubicBezTo>
                    <a:cubicBezTo>
                      <a:pt x="2311261" y="360201"/>
                      <a:pt x="2296661" y="354862"/>
                      <a:pt x="2286483" y="344685"/>
                    </a:cubicBezTo>
                    <a:cubicBezTo>
                      <a:pt x="2278975" y="337177"/>
                      <a:pt x="2273635" y="332755"/>
                      <a:pt x="2264375" y="329585"/>
                    </a:cubicBezTo>
                    <a:cubicBezTo>
                      <a:pt x="2263040" y="330002"/>
                      <a:pt x="2259953" y="331838"/>
                      <a:pt x="2253279" y="338929"/>
                    </a:cubicBezTo>
                    <a:lnTo>
                      <a:pt x="2252361" y="339846"/>
                    </a:lnTo>
                    <a:cubicBezTo>
                      <a:pt x="2247022" y="345185"/>
                      <a:pt x="2243935" y="350941"/>
                      <a:pt x="2243518" y="356197"/>
                    </a:cubicBezTo>
                    <a:cubicBezTo>
                      <a:pt x="2243101" y="357948"/>
                      <a:pt x="2243518" y="358449"/>
                      <a:pt x="2243518" y="358449"/>
                    </a:cubicBezTo>
                    <a:cubicBezTo>
                      <a:pt x="2243518" y="358449"/>
                      <a:pt x="2243935" y="358866"/>
                      <a:pt x="2245771" y="359367"/>
                    </a:cubicBezTo>
                    <a:cubicBezTo>
                      <a:pt x="2259536" y="364205"/>
                      <a:pt x="2274553" y="362870"/>
                      <a:pt x="2290487" y="361619"/>
                    </a:cubicBezTo>
                    <a:cubicBezTo>
                      <a:pt x="2293574" y="361202"/>
                      <a:pt x="2296661" y="361202"/>
                      <a:pt x="2299831" y="360701"/>
                    </a:cubicBezTo>
                    <a:cubicBezTo>
                      <a:pt x="2319353" y="359367"/>
                      <a:pt x="2338792" y="359784"/>
                      <a:pt x="2357896" y="362453"/>
                    </a:cubicBezTo>
                    <a:cubicBezTo>
                      <a:pt x="2363236" y="363371"/>
                      <a:pt x="2369410" y="364205"/>
                      <a:pt x="2374748" y="367292"/>
                    </a:cubicBezTo>
                    <a:cubicBezTo>
                      <a:pt x="2386261" y="373465"/>
                      <a:pt x="2392935" y="387229"/>
                      <a:pt x="2393352" y="404914"/>
                    </a:cubicBezTo>
                    <a:cubicBezTo>
                      <a:pt x="2393352" y="410253"/>
                      <a:pt x="2392935" y="415091"/>
                      <a:pt x="2392435" y="420013"/>
                    </a:cubicBezTo>
                    <a:cubicBezTo>
                      <a:pt x="2392018" y="427104"/>
                      <a:pt x="2391518" y="434195"/>
                      <a:pt x="2392435" y="440868"/>
                    </a:cubicBezTo>
                    <a:cubicBezTo>
                      <a:pt x="2392852" y="445290"/>
                      <a:pt x="2394187" y="449711"/>
                      <a:pt x="2395939" y="454633"/>
                    </a:cubicBezTo>
                    <a:cubicBezTo>
                      <a:pt x="2396856" y="457302"/>
                      <a:pt x="2397274" y="459471"/>
                      <a:pt x="2398192" y="462141"/>
                    </a:cubicBezTo>
                    <a:cubicBezTo>
                      <a:pt x="2405283" y="490087"/>
                      <a:pt x="2401278" y="519284"/>
                      <a:pt x="2397274" y="545394"/>
                    </a:cubicBezTo>
                    <a:cubicBezTo>
                      <a:pt x="2395939" y="555572"/>
                      <a:pt x="2394187" y="567501"/>
                      <a:pt x="2387930" y="577761"/>
                    </a:cubicBezTo>
                    <a:cubicBezTo>
                      <a:pt x="2380838" y="590191"/>
                      <a:pt x="2368408" y="597699"/>
                      <a:pt x="2356061" y="596781"/>
                    </a:cubicBezTo>
                    <a:cubicBezTo>
                      <a:pt x="2350722" y="596364"/>
                      <a:pt x="2345883" y="594529"/>
                      <a:pt x="2341462" y="592360"/>
                    </a:cubicBezTo>
                    <a:cubicBezTo>
                      <a:pt x="2337456" y="590608"/>
                      <a:pt x="2333953" y="589273"/>
                      <a:pt x="2330365" y="589273"/>
                    </a:cubicBezTo>
                    <a:cubicBezTo>
                      <a:pt x="2326361" y="589273"/>
                      <a:pt x="2322356" y="591025"/>
                      <a:pt x="2317935" y="593278"/>
                    </a:cubicBezTo>
                    <a:cubicBezTo>
                      <a:pt x="2316183" y="594195"/>
                      <a:pt x="2314431" y="595030"/>
                      <a:pt x="2312595" y="595530"/>
                    </a:cubicBezTo>
                    <a:cubicBezTo>
                      <a:pt x="2301083" y="600368"/>
                      <a:pt x="2288652" y="601286"/>
                      <a:pt x="2277139" y="602621"/>
                    </a:cubicBezTo>
                    <a:cubicBezTo>
                      <a:pt x="2270048" y="603038"/>
                      <a:pt x="2263374" y="603956"/>
                      <a:pt x="2256783" y="605290"/>
                    </a:cubicBezTo>
                    <a:cubicBezTo>
                      <a:pt x="2248357" y="607042"/>
                      <a:pt x="2240431" y="610129"/>
                      <a:pt x="2232005" y="613299"/>
                    </a:cubicBezTo>
                    <a:cubicBezTo>
                      <a:pt x="2226249" y="615551"/>
                      <a:pt x="2220075" y="617720"/>
                      <a:pt x="2213818" y="619472"/>
                    </a:cubicBezTo>
                    <a:cubicBezTo>
                      <a:pt x="2193879" y="625228"/>
                      <a:pt x="2177027" y="624811"/>
                      <a:pt x="2163762" y="617720"/>
                    </a:cubicBezTo>
                    <a:cubicBezTo>
                      <a:pt x="2159340" y="615468"/>
                      <a:pt x="2155753" y="612381"/>
                      <a:pt x="2151832" y="609711"/>
                    </a:cubicBezTo>
                    <a:cubicBezTo>
                      <a:pt x="2149580" y="607960"/>
                      <a:pt x="2147410" y="606208"/>
                      <a:pt x="2144740" y="604873"/>
                    </a:cubicBezTo>
                    <a:cubicBezTo>
                      <a:pt x="2135397" y="599117"/>
                      <a:pt x="2124385" y="596031"/>
                      <a:pt x="2113289" y="593361"/>
                    </a:cubicBezTo>
                    <a:cubicBezTo>
                      <a:pt x="2096437" y="588940"/>
                      <a:pt x="2081420" y="585853"/>
                      <a:pt x="2068072" y="590692"/>
                    </a:cubicBezTo>
                    <a:cubicBezTo>
                      <a:pt x="2065819" y="591609"/>
                      <a:pt x="2064067" y="592443"/>
                      <a:pt x="2061898" y="593361"/>
                    </a:cubicBezTo>
                    <a:cubicBezTo>
                      <a:pt x="2059228" y="594696"/>
                      <a:pt x="2056142" y="596031"/>
                      <a:pt x="2052554" y="597365"/>
                    </a:cubicBezTo>
                    <a:cubicBezTo>
                      <a:pt x="2041041" y="600869"/>
                      <a:pt x="2029945" y="600035"/>
                      <a:pt x="2018850" y="598700"/>
                    </a:cubicBezTo>
                    <a:cubicBezTo>
                      <a:pt x="2012676" y="597782"/>
                      <a:pt x="2006920" y="597365"/>
                      <a:pt x="2001163" y="597782"/>
                    </a:cubicBezTo>
                    <a:cubicBezTo>
                      <a:pt x="1993655" y="598199"/>
                      <a:pt x="1989233" y="599534"/>
                      <a:pt x="1986063" y="602621"/>
                    </a:cubicBezTo>
                    <a:cubicBezTo>
                      <a:pt x="1978972" y="610129"/>
                      <a:pt x="1971463" y="615050"/>
                      <a:pt x="1962620" y="617720"/>
                    </a:cubicBezTo>
                    <a:cubicBezTo>
                      <a:pt x="1957781" y="619055"/>
                      <a:pt x="1952859" y="619972"/>
                      <a:pt x="1948437" y="620389"/>
                    </a:cubicBezTo>
                    <a:cubicBezTo>
                      <a:pt x="1942264" y="621307"/>
                      <a:pt x="1936007" y="622141"/>
                      <a:pt x="1931585" y="624394"/>
                    </a:cubicBezTo>
                    <a:cubicBezTo>
                      <a:pt x="1927580" y="626646"/>
                      <a:pt x="1923576" y="630149"/>
                      <a:pt x="1920489" y="634154"/>
                    </a:cubicBezTo>
                    <a:cubicBezTo>
                      <a:pt x="1915651" y="639493"/>
                      <a:pt x="1911145" y="644748"/>
                      <a:pt x="1908976" y="651005"/>
                    </a:cubicBezTo>
                    <a:cubicBezTo>
                      <a:pt x="1907225" y="657678"/>
                      <a:pt x="1908059" y="665186"/>
                      <a:pt x="1909394" y="672694"/>
                    </a:cubicBezTo>
                    <a:cubicBezTo>
                      <a:pt x="1910728" y="681537"/>
                      <a:pt x="1912063" y="691714"/>
                      <a:pt x="1917402" y="698805"/>
                    </a:cubicBezTo>
                    <a:cubicBezTo>
                      <a:pt x="1920072" y="702308"/>
                      <a:pt x="1924076" y="705478"/>
                      <a:pt x="1928499" y="708982"/>
                    </a:cubicBezTo>
                    <a:cubicBezTo>
                      <a:pt x="1935173" y="714321"/>
                      <a:pt x="1943098" y="720494"/>
                      <a:pt x="1946686" y="729837"/>
                    </a:cubicBezTo>
                    <a:cubicBezTo>
                      <a:pt x="1948437" y="735176"/>
                      <a:pt x="1948437" y="740014"/>
                      <a:pt x="1945767" y="744018"/>
                    </a:cubicBezTo>
                    <a:cubicBezTo>
                      <a:pt x="1944016" y="747105"/>
                      <a:pt x="1941346" y="749358"/>
                      <a:pt x="1937759" y="750692"/>
                    </a:cubicBezTo>
                    <a:cubicBezTo>
                      <a:pt x="1932002" y="752944"/>
                      <a:pt x="1926246" y="752944"/>
                      <a:pt x="1920906" y="752444"/>
                    </a:cubicBezTo>
                    <a:cubicBezTo>
                      <a:pt x="1916902" y="752444"/>
                      <a:pt x="1913398" y="752027"/>
                      <a:pt x="1910728" y="752861"/>
                    </a:cubicBezTo>
                    <a:cubicBezTo>
                      <a:pt x="1908059" y="753779"/>
                      <a:pt x="1905889" y="755531"/>
                      <a:pt x="1903220" y="757700"/>
                    </a:cubicBezTo>
                    <a:cubicBezTo>
                      <a:pt x="1900551" y="759952"/>
                      <a:pt x="1897464" y="762121"/>
                      <a:pt x="1893459" y="763873"/>
                    </a:cubicBezTo>
                    <a:cubicBezTo>
                      <a:pt x="1887285" y="766542"/>
                      <a:pt x="1880194" y="766542"/>
                      <a:pt x="1874437" y="766542"/>
                    </a:cubicBezTo>
                    <a:cubicBezTo>
                      <a:pt x="1873103" y="766542"/>
                      <a:pt x="1871768" y="766542"/>
                      <a:pt x="1870934" y="766542"/>
                    </a:cubicBezTo>
                    <a:cubicBezTo>
                      <a:pt x="1854582" y="766959"/>
                      <a:pt x="1837229" y="771380"/>
                      <a:pt x="1823130" y="778471"/>
                    </a:cubicBezTo>
                    <a:cubicBezTo>
                      <a:pt x="1820878" y="779389"/>
                      <a:pt x="1818708" y="780723"/>
                      <a:pt x="1816957" y="781975"/>
                    </a:cubicBezTo>
                    <a:cubicBezTo>
                      <a:pt x="1812535" y="784227"/>
                      <a:pt x="1808113" y="786813"/>
                      <a:pt x="1803191" y="788648"/>
                    </a:cubicBezTo>
                    <a:cubicBezTo>
                      <a:pt x="1796100" y="791318"/>
                      <a:pt x="1789009" y="792152"/>
                      <a:pt x="1781918" y="793070"/>
                    </a:cubicBezTo>
                    <a:cubicBezTo>
                      <a:pt x="1779665" y="793487"/>
                      <a:pt x="1777496" y="793487"/>
                      <a:pt x="1775243" y="793987"/>
                    </a:cubicBezTo>
                    <a:cubicBezTo>
                      <a:pt x="1756639" y="797074"/>
                      <a:pt x="1736700" y="804582"/>
                      <a:pt x="1714592" y="817011"/>
                    </a:cubicBezTo>
                    <a:cubicBezTo>
                      <a:pt x="1703997" y="823185"/>
                      <a:pt x="1692901" y="830275"/>
                      <a:pt x="1687144" y="840453"/>
                    </a:cubicBezTo>
                    <a:cubicBezTo>
                      <a:pt x="1683641" y="846626"/>
                      <a:pt x="1681388" y="854217"/>
                      <a:pt x="1679136" y="861725"/>
                    </a:cubicBezTo>
                    <a:cubicBezTo>
                      <a:pt x="1676466" y="871485"/>
                      <a:pt x="1673796" y="881662"/>
                      <a:pt x="1667206" y="890088"/>
                    </a:cubicBezTo>
                    <a:cubicBezTo>
                      <a:pt x="1665870" y="891840"/>
                      <a:pt x="1664536" y="893591"/>
                      <a:pt x="1663201" y="894926"/>
                    </a:cubicBezTo>
                    <a:cubicBezTo>
                      <a:pt x="1661449" y="897179"/>
                      <a:pt x="1659697" y="898930"/>
                      <a:pt x="1658362" y="901099"/>
                    </a:cubicBezTo>
                    <a:cubicBezTo>
                      <a:pt x="1654859" y="907272"/>
                      <a:pt x="1654859" y="916199"/>
                      <a:pt x="1654859" y="924541"/>
                    </a:cubicBezTo>
                    <a:lnTo>
                      <a:pt x="1654859" y="924958"/>
                    </a:lnTo>
                    <a:cubicBezTo>
                      <a:pt x="1654859" y="939139"/>
                      <a:pt x="1654442" y="954155"/>
                      <a:pt x="1650436" y="968837"/>
                    </a:cubicBezTo>
                    <a:cubicBezTo>
                      <a:pt x="1646015" y="985187"/>
                      <a:pt x="1636671" y="998952"/>
                      <a:pt x="1625158" y="1007377"/>
                    </a:cubicBezTo>
                    <a:cubicBezTo>
                      <a:pt x="1622906" y="1009129"/>
                      <a:pt x="1620320" y="1010464"/>
                      <a:pt x="1618067" y="1011798"/>
                    </a:cubicBezTo>
                    <a:cubicBezTo>
                      <a:pt x="1612728" y="1014885"/>
                      <a:pt x="1607889" y="1017972"/>
                      <a:pt x="1605637" y="1022393"/>
                    </a:cubicBezTo>
                    <a:cubicBezTo>
                      <a:pt x="1602967" y="1027231"/>
                      <a:pt x="1603884" y="1031736"/>
                      <a:pt x="1605220" y="1039244"/>
                    </a:cubicBezTo>
                    <a:cubicBezTo>
                      <a:pt x="1605637" y="1042330"/>
                      <a:pt x="1606554" y="1045417"/>
                      <a:pt x="1606554" y="1049004"/>
                    </a:cubicBezTo>
                    <a:cubicBezTo>
                      <a:pt x="1607472" y="1059181"/>
                      <a:pt x="1606971" y="1070693"/>
                      <a:pt x="1606137" y="1083540"/>
                    </a:cubicBezTo>
                    <a:cubicBezTo>
                      <a:pt x="1605720" y="1087044"/>
                      <a:pt x="1605220" y="1095052"/>
                      <a:pt x="1599463" y="1099890"/>
                    </a:cubicBezTo>
                    <a:cubicBezTo>
                      <a:pt x="1594624" y="1103895"/>
                      <a:pt x="1588868" y="1103895"/>
                      <a:pt x="1583946" y="1103895"/>
                    </a:cubicBezTo>
                    <a:cubicBezTo>
                      <a:pt x="1563089" y="1102977"/>
                      <a:pt x="1544067" y="1095052"/>
                      <a:pt x="1527716" y="1087044"/>
                    </a:cubicBezTo>
                    <a:cubicBezTo>
                      <a:pt x="1519290" y="1083040"/>
                      <a:pt x="1510029" y="1078201"/>
                      <a:pt x="1502938" y="1070693"/>
                    </a:cubicBezTo>
                    <a:cubicBezTo>
                      <a:pt x="1501603" y="1069358"/>
                      <a:pt x="1500685" y="1068024"/>
                      <a:pt x="1499851" y="1067190"/>
                    </a:cubicBezTo>
                    <a:cubicBezTo>
                      <a:pt x="1498934" y="1066272"/>
                      <a:pt x="1497599" y="1064520"/>
                      <a:pt x="1496765" y="1063686"/>
                    </a:cubicBezTo>
                    <a:cubicBezTo>
                      <a:pt x="1494095" y="1061016"/>
                      <a:pt x="1490591" y="1058848"/>
                      <a:pt x="1487004" y="1056178"/>
                    </a:cubicBezTo>
                    <a:lnTo>
                      <a:pt x="1473238" y="1047336"/>
                    </a:lnTo>
                    <a:cubicBezTo>
                      <a:pt x="1467064" y="1043331"/>
                      <a:pt x="1459973" y="1038493"/>
                      <a:pt x="1455051" y="1031402"/>
                    </a:cubicBezTo>
                    <a:cubicBezTo>
                      <a:pt x="1453299" y="1028733"/>
                      <a:pt x="1451964" y="1026063"/>
                      <a:pt x="1450629" y="1022977"/>
                    </a:cubicBezTo>
                    <a:cubicBezTo>
                      <a:pt x="1449295" y="1020307"/>
                      <a:pt x="1448377" y="1018138"/>
                      <a:pt x="1447126" y="1016303"/>
                    </a:cubicBezTo>
                    <a:cubicBezTo>
                      <a:pt x="1445373" y="1013634"/>
                      <a:pt x="1442286" y="1012299"/>
                      <a:pt x="1440952" y="1012799"/>
                    </a:cubicBezTo>
                    <a:cubicBezTo>
                      <a:pt x="1440035" y="1013216"/>
                      <a:pt x="1439200" y="1014134"/>
                      <a:pt x="1437865" y="1015469"/>
                    </a:cubicBezTo>
                    <a:cubicBezTo>
                      <a:pt x="1435612" y="1017721"/>
                      <a:pt x="1432526" y="1020808"/>
                      <a:pt x="1428104" y="1022143"/>
                    </a:cubicBezTo>
                    <a:cubicBezTo>
                      <a:pt x="1421931" y="1023477"/>
                      <a:pt x="1415257" y="1019890"/>
                      <a:pt x="1409917" y="1017304"/>
                    </a:cubicBezTo>
                    <a:cubicBezTo>
                      <a:pt x="1409000" y="1016887"/>
                      <a:pt x="1408165" y="1016386"/>
                      <a:pt x="1407664" y="1015969"/>
                    </a:cubicBezTo>
                    <a:cubicBezTo>
                      <a:pt x="1400156" y="1012466"/>
                      <a:pt x="1393482" y="1006209"/>
                      <a:pt x="1388143" y="1001371"/>
                    </a:cubicBezTo>
                    <a:lnTo>
                      <a:pt x="1386808" y="1000453"/>
                    </a:lnTo>
                    <a:cubicBezTo>
                      <a:pt x="1384556" y="998201"/>
                      <a:pt x="1382803" y="996449"/>
                      <a:pt x="1380634" y="995615"/>
                    </a:cubicBezTo>
                    <a:cubicBezTo>
                      <a:pt x="1377548" y="994280"/>
                      <a:pt x="1373126" y="994697"/>
                      <a:pt x="1368204" y="994697"/>
                    </a:cubicBezTo>
                    <a:lnTo>
                      <a:pt x="1365534" y="994697"/>
                    </a:lnTo>
                    <a:cubicBezTo>
                      <a:pt x="1350017" y="995615"/>
                      <a:pt x="1338504" y="991193"/>
                      <a:pt x="1332747" y="981850"/>
                    </a:cubicBezTo>
                    <a:cubicBezTo>
                      <a:pt x="1330494" y="978347"/>
                      <a:pt x="1329660" y="974760"/>
                      <a:pt x="1328743" y="971673"/>
                    </a:cubicBezTo>
                    <a:cubicBezTo>
                      <a:pt x="1327825" y="969004"/>
                      <a:pt x="1327408" y="966835"/>
                      <a:pt x="1326073" y="965000"/>
                    </a:cubicBezTo>
                    <a:cubicBezTo>
                      <a:pt x="1322569" y="959660"/>
                      <a:pt x="1313226" y="959243"/>
                      <a:pt x="1309221" y="959243"/>
                    </a:cubicBezTo>
                    <a:cubicBezTo>
                      <a:pt x="1306969" y="959243"/>
                      <a:pt x="1304382" y="959660"/>
                      <a:pt x="1302129" y="959660"/>
                    </a:cubicBezTo>
                    <a:cubicBezTo>
                      <a:pt x="1295455" y="960078"/>
                      <a:pt x="1288865" y="960995"/>
                      <a:pt x="1281774" y="959243"/>
                    </a:cubicBezTo>
                    <a:cubicBezTo>
                      <a:pt x="1278270" y="958326"/>
                      <a:pt x="1275600" y="957492"/>
                      <a:pt x="1272430" y="956157"/>
                    </a:cubicBezTo>
                    <a:cubicBezTo>
                      <a:pt x="1270678" y="955239"/>
                      <a:pt x="1268926" y="954822"/>
                      <a:pt x="1267090" y="954405"/>
                    </a:cubicBezTo>
                    <a:cubicBezTo>
                      <a:pt x="1262669" y="953070"/>
                      <a:pt x="1258247" y="953070"/>
                      <a:pt x="1257330" y="953487"/>
                    </a:cubicBezTo>
                    <a:cubicBezTo>
                      <a:pt x="1256412" y="953905"/>
                      <a:pt x="1255077" y="956574"/>
                      <a:pt x="1254243" y="957909"/>
                    </a:cubicBezTo>
                    <a:cubicBezTo>
                      <a:pt x="1252908" y="960161"/>
                      <a:pt x="1251156" y="963248"/>
                      <a:pt x="1248903" y="965417"/>
                    </a:cubicBezTo>
                    <a:cubicBezTo>
                      <a:pt x="1246233" y="967669"/>
                      <a:pt x="1243564" y="969421"/>
                      <a:pt x="1240895" y="970755"/>
                    </a:cubicBezTo>
                    <a:cubicBezTo>
                      <a:pt x="1239142" y="971673"/>
                      <a:pt x="1237390" y="972507"/>
                      <a:pt x="1236056" y="973842"/>
                    </a:cubicBezTo>
                    <a:cubicBezTo>
                      <a:pt x="1234303" y="975177"/>
                      <a:pt x="1232969" y="977846"/>
                      <a:pt x="1231634" y="980516"/>
                    </a:cubicBezTo>
                    <a:cubicBezTo>
                      <a:pt x="1229882" y="983602"/>
                      <a:pt x="1228130" y="987189"/>
                      <a:pt x="1225461" y="990276"/>
                    </a:cubicBezTo>
                    <a:cubicBezTo>
                      <a:pt x="1222791" y="992945"/>
                      <a:pt x="1219704" y="995114"/>
                      <a:pt x="1217034" y="996949"/>
                    </a:cubicBezTo>
                    <a:cubicBezTo>
                      <a:pt x="1213948" y="999202"/>
                      <a:pt x="1211278" y="1000954"/>
                      <a:pt x="1210360" y="1002706"/>
                    </a:cubicBezTo>
                    <a:cubicBezTo>
                      <a:pt x="1209943" y="1004040"/>
                      <a:pt x="1210360" y="1006209"/>
                      <a:pt x="1211695" y="1008461"/>
                    </a:cubicBezTo>
                    <a:cubicBezTo>
                      <a:pt x="1213447" y="1010714"/>
                      <a:pt x="1215699" y="1012883"/>
                      <a:pt x="1218369" y="1015552"/>
                    </a:cubicBezTo>
                    <a:lnTo>
                      <a:pt x="1218786" y="1015969"/>
                    </a:lnTo>
                    <a:cubicBezTo>
                      <a:pt x="1223208" y="1019473"/>
                      <a:pt x="1227212" y="1023477"/>
                      <a:pt x="1231634" y="1027481"/>
                    </a:cubicBezTo>
                    <a:cubicBezTo>
                      <a:pt x="1234721" y="1030568"/>
                      <a:pt x="1237808" y="1033654"/>
                      <a:pt x="1240060" y="1037659"/>
                    </a:cubicBezTo>
                    <a:cubicBezTo>
                      <a:pt x="1245399" y="1047002"/>
                      <a:pt x="1245399" y="1057596"/>
                      <a:pt x="1244482" y="1067356"/>
                    </a:cubicBezTo>
                    <a:cubicBezTo>
                      <a:pt x="1244065" y="1074447"/>
                      <a:pt x="1243147" y="1081538"/>
                      <a:pt x="1242229" y="1088212"/>
                    </a:cubicBezTo>
                    <a:cubicBezTo>
                      <a:pt x="1241812" y="1091715"/>
                      <a:pt x="1241312" y="1095719"/>
                      <a:pt x="1240895" y="1099307"/>
                    </a:cubicBezTo>
                    <a:cubicBezTo>
                      <a:pt x="1240895" y="1101058"/>
                      <a:pt x="1240477" y="1102810"/>
                      <a:pt x="1239976" y="1105063"/>
                    </a:cubicBezTo>
                    <a:cubicBezTo>
                      <a:pt x="1239559" y="1107315"/>
                      <a:pt x="1239059" y="1109484"/>
                      <a:pt x="1239059" y="1111236"/>
                    </a:cubicBezTo>
                    <a:cubicBezTo>
                      <a:pt x="1239059" y="1112987"/>
                      <a:pt x="1239059" y="1114739"/>
                      <a:pt x="1239059" y="1116575"/>
                    </a:cubicBezTo>
                    <a:cubicBezTo>
                      <a:pt x="1239059" y="1120078"/>
                      <a:pt x="1239059" y="1123665"/>
                      <a:pt x="1238642" y="1127169"/>
                    </a:cubicBezTo>
                    <a:cubicBezTo>
                      <a:pt x="1237307" y="1147523"/>
                      <a:pt x="1231133" y="1167961"/>
                      <a:pt x="1220955" y="1190485"/>
                    </a:cubicBezTo>
                    <a:cubicBezTo>
                      <a:pt x="1211611" y="1211340"/>
                      <a:pt x="1199681" y="1230360"/>
                      <a:pt x="1187751" y="1249380"/>
                    </a:cubicBezTo>
                    <a:cubicBezTo>
                      <a:pt x="1184665" y="1254218"/>
                      <a:pt x="1181995" y="1259140"/>
                      <a:pt x="1178909" y="1263979"/>
                    </a:cubicBezTo>
                    <a:cubicBezTo>
                      <a:pt x="1164309" y="1288338"/>
                      <a:pt x="1147456" y="1304771"/>
                      <a:pt x="1126600" y="1315783"/>
                    </a:cubicBezTo>
                    <a:cubicBezTo>
                      <a:pt x="1119091" y="1319787"/>
                      <a:pt x="1111499" y="1322874"/>
                      <a:pt x="1103991" y="1325960"/>
                    </a:cubicBezTo>
                    <a:cubicBezTo>
                      <a:pt x="1099986" y="1327712"/>
                      <a:pt x="1095565" y="1329464"/>
                      <a:pt x="1091561" y="1331299"/>
                    </a:cubicBezTo>
                    <a:cubicBezTo>
                      <a:pt x="1084469" y="1334385"/>
                      <a:pt x="1076961" y="1338390"/>
                      <a:pt x="1069870" y="1341893"/>
                    </a:cubicBezTo>
                    <a:cubicBezTo>
                      <a:pt x="1059274" y="1347232"/>
                      <a:pt x="1048179" y="1352988"/>
                      <a:pt x="1036666" y="1357410"/>
                    </a:cubicBezTo>
                    <a:cubicBezTo>
                      <a:pt x="1019813" y="1363583"/>
                      <a:pt x="995035" y="1368921"/>
                      <a:pt x="972427" y="1358744"/>
                    </a:cubicBezTo>
                    <a:cubicBezTo>
                      <a:pt x="967588" y="1356492"/>
                      <a:pt x="963083" y="1353906"/>
                      <a:pt x="959162" y="1351237"/>
                    </a:cubicBezTo>
                    <a:cubicBezTo>
                      <a:pt x="956909" y="1349902"/>
                      <a:pt x="954740" y="1348567"/>
                      <a:pt x="952488" y="1347232"/>
                    </a:cubicBezTo>
                    <a:cubicBezTo>
                      <a:pt x="944979" y="1343228"/>
                      <a:pt x="936971" y="1340141"/>
                      <a:pt x="928544" y="1338390"/>
                    </a:cubicBezTo>
                    <a:cubicBezTo>
                      <a:pt x="921870" y="1337055"/>
                      <a:pt x="915280" y="1336137"/>
                      <a:pt x="907687" y="1335720"/>
                    </a:cubicBezTo>
                    <a:cubicBezTo>
                      <a:pt x="893922" y="1334385"/>
                      <a:pt x="879322" y="1333051"/>
                      <a:pt x="866475" y="1325960"/>
                    </a:cubicBezTo>
                    <a:cubicBezTo>
                      <a:pt x="846953" y="1315366"/>
                      <a:pt x="836357" y="1295845"/>
                      <a:pt x="826179" y="1276825"/>
                    </a:cubicBezTo>
                    <a:cubicBezTo>
                      <a:pt x="824428" y="1273322"/>
                      <a:pt x="822175" y="1269735"/>
                      <a:pt x="820423" y="1266231"/>
                    </a:cubicBezTo>
                    <a:cubicBezTo>
                      <a:pt x="808493" y="1244959"/>
                      <a:pt x="793810" y="1226356"/>
                      <a:pt x="775706" y="1210005"/>
                    </a:cubicBezTo>
                    <a:cubicBezTo>
                      <a:pt x="772620" y="1206919"/>
                      <a:pt x="768198" y="1203832"/>
                      <a:pt x="765111" y="1203832"/>
                    </a:cubicBezTo>
                    <a:cubicBezTo>
                      <a:pt x="760272" y="1204249"/>
                      <a:pt x="756685" y="1212675"/>
                      <a:pt x="754933" y="1219349"/>
                    </a:cubicBezTo>
                    <a:cubicBezTo>
                      <a:pt x="751429" y="1232612"/>
                      <a:pt x="747842" y="1246794"/>
                      <a:pt x="746924" y="1260975"/>
                    </a:cubicBezTo>
                    <a:cubicBezTo>
                      <a:pt x="746924" y="1263228"/>
                      <a:pt x="746507" y="1265814"/>
                      <a:pt x="746006" y="1268483"/>
                    </a:cubicBezTo>
                    <a:cubicBezTo>
                      <a:pt x="745589" y="1271987"/>
                      <a:pt x="745089" y="1275157"/>
                      <a:pt x="745089" y="1278244"/>
                    </a:cubicBezTo>
                    <a:cubicBezTo>
                      <a:pt x="745089" y="1282248"/>
                      <a:pt x="746841" y="1287086"/>
                      <a:pt x="748592" y="1291507"/>
                    </a:cubicBezTo>
                    <a:cubicBezTo>
                      <a:pt x="749009" y="1292842"/>
                      <a:pt x="749510" y="1294177"/>
                      <a:pt x="749928" y="1295011"/>
                    </a:cubicBezTo>
                    <a:cubicBezTo>
                      <a:pt x="757436" y="1314949"/>
                      <a:pt x="760523" y="1338390"/>
                      <a:pt x="759689" y="1364083"/>
                    </a:cubicBezTo>
                    <a:cubicBezTo>
                      <a:pt x="758771" y="1387524"/>
                      <a:pt x="754849" y="1410632"/>
                      <a:pt x="750345" y="1431821"/>
                    </a:cubicBezTo>
                    <a:cubicBezTo>
                      <a:pt x="749427" y="1437160"/>
                      <a:pt x="748092" y="1443333"/>
                      <a:pt x="744588" y="1448671"/>
                    </a:cubicBezTo>
                    <a:cubicBezTo>
                      <a:pt x="734827" y="1463771"/>
                      <a:pt x="714054" y="1465940"/>
                      <a:pt x="702040" y="1466357"/>
                    </a:cubicBezTo>
                    <a:cubicBezTo>
                      <a:pt x="687858" y="1466357"/>
                      <a:pt x="673675" y="1467692"/>
                      <a:pt x="663914" y="1476117"/>
                    </a:cubicBezTo>
                    <a:cubicBezTo>
                      <a:pt x="653319" y="1485460"/>
                      <a:pt x="649731" y="1501393"/>
                      <a:pt x="647062" y="1515575"/>
                    </a:cubicBezTo>
                    <a:lnTo>
                      <a:pt x="646645" y="1517327"/>
                    </a:lnTo>
                    <a:cubicBezTo>
                      <a:pt x="643976" y="1533260"/>
                      <a:pt x="640889" y="1551029"/>
                      <a:pt x="628959" y="1564292"/>
                    </a:cubicBezTo>
                    <a:cubicBezTo>
                      <a:pt x="620115" y="1574053"/>
                      <a:pt x="608102" y="1579809"/>
                      <a:pt x="597507" y="1584230"/>
                    </a:cubicBezTo>
                    <a:cubicBezTo>
                      <a:pt x="589081" y="1587734"/>
                      <a:pt x="578903" y="1591738"/>
                      <a:pt x="568307" y="1593990"/>
                    </a:cubicBezTo>
                    <a:cubicBezTo>
                      <a:pt x="542195" y="1599329"/>
                      <a:pt x="514747" y="1595325"/>
                      <a:pt x="490803" y="1591321"/>
                    </a:cubicBezTo>
                    <a:cubicBezTo>
                      <a:pt x="484129" y="1590403"/>
                      <a:pt x="476621" y="1589068"/>
                      <a:pt x="469529" y="1585565"/>
                    </a:cubicBezTo>
                    <a:cubicBezTo>
                      <a:pt x="459352" y="1580726"/>
                      <a:pt x="452261" y="1571800"/>
                      <a:pt x="446087" y="1563875"/>
                    </a:cubicBezTo>
                    <a:cubicBezTo>
                      <a:pt x="442583" y="1559454"/>
                      <a:pt x="438078" y="1554115"/>
                      <a:pt x="435909" y="1547525"/>
                    </a:cubicBezTo>
                    <a:cubicBezTo>
                      <a:pt x="433656" y="1541352"/>
                      <a:pt x="433239" y="1535095"/>
                      <a:pt x="432822" y="1529339"/>
                    </a:cubicBezTo>
                    <a:cubicBezTo>
                      <a:pt x="431904" y="1511153"/>
                      <a:pt x="431904" y="1490382"/>
                      <a:pt x="437244" y="1472613"/>
                    </a:cubicBezTo>
                    <a:cubicBezTo>
                      <a:pt x="442583" y="1455762"/>
                      <a:pt x="445670" y="1442916"/>
                      <a:pt x="441665" y="1426982"/>
                    </a:cubicBezTo>
                    <a:cubicBezTo>
                      <a:pt x="440330" y="1421643"/>
                      <a:pt x="438578" y="1418140"/>
                      <a:pt x="435909" y="1415887"/>
                    </a:cubicBezTo>
                    <a:cubicBezTo>
                      <a:pt x="429235" y="1410549"/>
                      <a:pt x="417722" y="1414970"/>
                      <a:pt x="411548" y="1417639"/>
                    </a:cubicBezTo>
                    <a:cubicBezTo>
                      <a:pt x="368166" y="1437994"/>
                      <a:pt x="337132" y="1478786"/>
                      <a:pt x="307431" y="1521748"/>
                    </a:cubicBezTo>
                    <a:cubicBezTo>
                      <a:pt x="301258" y="1531091"/>
                      <a:pt x="294584" y="1540351"/>
                      <a:pt x="284823" y="1547441"/>
                    </a:cubicBezTo>
                    <a:cubicBezTo>
                      <a:pt x="272893" y="1555867"/>
                      <a:pt x="258711" y="1557619"/>
                      <a:pt x="247614" y="1552781"/>
                    </a:cubicBezTo>
                    <a:cubicBezTo>
                      <a:pt x="242776" y="1550528"/>
                      <a:pt x="239188" y="1547441"/>
                      <a:pt x="235684" y="1544355"/>
                    </a:cubicBezTo>
                    <a:cubicBezTo>
                      <a:pt x="234767" y="1543437"/>
                      <a:pt x="233933" y="1543020"/>
                      <a:pt x="233432" y="1542102"/>
                    </a:cubicBezTo>
                    <a:cubicBezTo>
                      <a:pt x="224088" y="1534595"/>
                      <a:pt x="213076" y="1528839"/>
                      <a:pt x="201563" y="1526169"/>
                    </a:cubicBezTo>
                    <a:cubicBezTo>
                      <a:pt x="201563" y="1526586"/>
                      <a:pt x="201563" y="1527504"/>
                      <a:pt x="201563" y="1528422"/>
                    </a:cubicBezTo>
                    <a:cubicBezTo>
                      <a:pt x="202481" y="1550528"/>
                      <a:pt x="190968" y="1572718"/>
                      <a:pt x="171863" y="1586899"/>
                    </a:cubicBezTo>
                    <a:cubicBezTo>
                      <a:pt x="166524" y="1590903"/>
                      <a:pt x="159933" y="1595742"/>
                      <a:pt x="152842" y="1597076"/>
                    </a:cubicBezTo>
                    <a:cubicBezTo>
                      <a:pt x="145333" y="1598411"/>
                      <a:pt x="138659" y="1596159"/>
                      <a:pt x="132485" y="1594407"/>
                    </a:cubicBezTo>
                    <a:lnTo>
                      <a:pt x="131568" y="1593990"/>
                    </a:lnTo>
                    <a:cubicBezTo>
                      <a:pt x="109877" y="1587317"/>
                      <a:pt x="86851" y="1587317"/>
                      <a:pt x="65160" y="1593072"/>
                    </a:cubicBezTo>
                    <a:cubicBezTo>
                      <a:pt x="50060" y="1597076"/>
                      <a:pt x="38130" y="1603250"/>
                      <a:pt x="29704" y="1612092"/>
                    </a:cubicBezTo>
                    <a:cubicBezTo>
                      <a:pt x="25699" y="1616514"/>
                      <a:pt x="22195" y="1621435"/>
                      <a:pt x="18607" y="1626274"/>
                    </a:cubicBezTo>
                    <a:lnTo>
                      <a:pt x="3090" y="1648881"/>
                    </a:lnTo>
                    <a:cubicBezTo>
                      <a:pt x="4842" y="1659058"/>
                      <a:pt x="3508" y="1668818"/>
                      <a:pt x="1756" y="1678578"/>
                    </a:cubicBezTo>
                    <a:cubicBezTo>
                      <a:pt x="421" y="1687421"/>
                      <a:pt x="-914" y="1696264"/>
                      <a:pt x="838" y="1704689"/>
                    </a:cubicBezTo>
                    <a:cubicBezTo>
                      <a:pt x="3090" y="1714449"/>
                      <a:pt x="8847" y="1719788"/>
                      <a:pt x="15938" y="1725961"/>
                    </a:cubicBezTo>
                    <a:cubicBezTo>
                      <a:pt x="21694" y="1731300"/>
                      <a:pt x="28369" y="1737056"/>
                      <a:pt x="32290" y="1745899"/>
                    </a:cubicBezTo>
                    <a:cubicBezTo>
                      <a:pt x="36294" y="1754324"/>
                      <a:pt x="37128" y="1762750"/>
                      <a:pt x="37629" y="1771175"/>
                    </a:cubicBezTo>
                    <a:cubicBezTo>
                      <a:pt x="38047" y="1779601"/>
                      <a:pt x="38547" y="1787526"/>
                      <a:pt x="42968" y="1794199"/>
                    </a:cubicBezTo>
                    <a:cubicBezTo>
                      <a:pt x="45638" y="1798621"/>
                      <a:pt x="50477" y="1802208"/>
                      <a:pt x="55399" y="1806629"/>
                    </a:cubicBezTo>
                    <a:cubicBezTo>
                      <a:pt x="66495" y="1815972"/>
                      <a:pt x="81094" y="1828318"/>
                      <a:pt x="72669" y="1849173"/>
                    </a:cubicBezTo>
                    <a:cubicBezTo>
                      <a:pt x="70916" y="1854512"/>
                      <a:pt x="67329" y="1858934"/>
                      <a:pt x="64242" y="1862437"/>
                    </a:cubicBezTo>
                    <a:cubicBezTo>
                      <a:pt x="62490" y="1865107"/>
                      <a:pt x="60238" y="1867276"/>
                      <a:pt x="58903" y="1869945"/>
                    </a:cubicBezTo>
                    <a:cubicBezTo>
                      <a:pt x="56651" y="1873949"/>
                      <a:pt x="54898" y="1877954"/>
                      <a:pt x="53564" y="1882375"/>
                    </a:cubicBezTo>
                    <a:cubicBezTo>
                      <a:pt x="51812" y="1886796"/>
                      <a:pt x="50060" y="1892135"/>
                      <a:pt x="47390" y="1896556"/>
                    </a:cubicBezTo>
                    <a:lnTo>
                      <a:pt x="46472" y="1897891"/>
                    </a:lnTo>
                    <a:cubicBezTo>
                      <a:pt x="41133" y="1907234"/>
                      <a:pt x="39381" y="1910321"/>
                      <a:pt x="42468" y="1919997"/>
                    </a:cubicBezTo>
                    <a:lnTo>
                      <a:pt x="43803" y="1924836"/>
                    </a:lnTo>
                    <a:cubicBezTo>
                      <a:pt x="46055" y="1932844"/>
                      <a:pt x="48224" y="1939017"/>
                      <a:pt x="46472" y="1950946"/>
                    </a:cubicBezTo>
                    <a:cubicBezTo>
                      <a:pt x="45555" y="1954450"/>
                      <a:pt x="45138" y="1957620"/>
                      <a:pt x="44220" y="1961124"/>
                    </a:cubicBezTo>
                    <a:cubicBezTo>
                      <a:pt x="40716" y="1977474"/>
                      <a:pt x="39381" y="1987735"/>
                      <a:pt x="50894" y="1993908"/>
                    </a:cubicBezTo>
                    <a:cubicBezTo>
                      <a:pt x="60655" y="1999247"/>
                      <a:pt x="70833" y="1995660"/>
                      <a:pt x="82763" y="1991238"/>
                    </a:cubicBezTo>
                    <a:cubicBezTo>
                      <a:pt x="90772" y="1988152"/>
                      <a:pt x="99114" y="1985482"/>
                      <a:pt x="108041" y="1985065"/>
                    </a:cubicBezTo>
                    <a:cubicBezTo>
                      <a:pt x="120889" y="1985065"/>
                      <a:pt x="131985" y="1989904"/>
                      <a:pt x="142997" y="1994826"/>
                    </a:cubicBezTo>
                    <a:cubicBezTo>
                      <a:pt x="151006" y="1998329"/>
                      <a:pt x="158514" y="2001916"/>
                      <a:pt x="166440" y="2002834"/>
                    </a:cubicBezTo>
                    <a:cubicBezTo>
                      <a:pt x="179288" y="2004586"/>
                      <a:pt x="191218" y="2003751"/>
                      <a:pt x="201396" y="2000165"/>
                    </a:cubicBezTo>
                    <a:cubicBezTo>
                      <a:pt x="203649" y="1999247"/>
                      <a:pt x="206235" y="1997912"/>
                      <a:pt x="208905" y="1996661"/>
                    </a:cubicBezTo>
                    <a:cubicBezTo>
                      <a:pt x="214243" y="1993574"/>
                      <a:pt x="219500" y="1990488"/>
                      <a:pt x="225256" y="1989987"/>
                    </a:cubicBezTo>
                    <a:cubicBezTo>
                      <a:pt x="227509" y="1989570"/>
                      <a:pt x="229677" y="1989570"/>
                      <a:pt x="231930" y="1989987"/>
                    </a:cubicBezTo>
                    <a:cubicBezTo>
                      <a:pt x="234600" y="1990404"/>
                      <a:pt x="236769" y="1991739"/>
                      <a:pt x="239021" y="1993074"/>
                    </a:cubicBezTo>
                    <a:cubicBezTo>
                      <a:pt x="247031" y="1997912"/>
                      <a:pt x="252287" y="2009007"/>
                      <a:pt x="256708" y="2017850"/>
                    </a:cubicBezTo>
                    <a:cubicBezTo>
                      <a:pt x="257625" y="2020519"/>
                      <a:pt x="258961" y="2023189"/>
                      <a:pt x="260212" y="2024941"/>
                    </a:cubicBezTo>
                    <a:cubicBezTo>
                      <a:pt x="273476" y="2047547"/>
                      <a:pt x="267303" y="2056807"/>
                      <a:pt x="255791" y="2069654"/>
                    </a:cubicBezTo>
                    <a:cubicBezTo>
                      <a:pt x="253121" y="2072323"/>
                      <a:pt x="250451" y="2075827"/>
                      <a:pt x="247364" y="2079414"/>
                    </a:cubicBezTo>
                    <a:cubicBezTo>
                      <a:pt x="242525" y="2085170"/>
                      <a:pt x="241191" y="2091844"/>
                      <a:pt x="242943" y="2095765"/>
                    </a:cubicBezTo>
                    <a:cubicBezTo>
                      <a:pt x="245195" y="2099769"/>
                      <a:pt x="251368" y="2100603"/>
                      <a:pt x="254872" y="2100603"/>
                    </a:cubicBezTo>
                    <a:cubicBezTo>
                      <a:pt x="255290" y="2100603"/>
                      <a:pt x="255290" y="2100603"/>
                      <a:pt x="255290" y="2100603"/>
                    </a:cubicBezTo>
                    <a:cubicBezTo>
                      <a:pt x="261046" y="2100603"/>
                      <a:pt x="266802" y="2099268"/>
                      <a:pt x="273476" y="2097934"/>
                    </a:cubicBezTo>
                    <a:cubicBezTo>
                      <a:pt x="283655" y="2095264"/>
                      <a:pt x="296086" y="2092594"/>
                      <a:pt x="308933" y="2097517"/>
                    </a:cubicBezTo>
                    <a:cubicBezTo>
                      <a:pt x="326619" y="2104190"/>
                      <a:pt x="337715" y="2120123"/>
                      <a:pt x="344806" y="2133387"/>
                    </a:cubicBezTo>
                    <a:cubicBezTo>
                      <a:pt x="349229" y="2140895"/>
                      <a:pt x="352816" y="2148903"/>
                      <a:pt x="355903" y="2156828"/>
                    </a:cubicBezTo>
                    <a:cubicBezTo>
                      <a:pt x="359406" y="2164837"/>
                      <a:pt x="362577" y="2172762"/>
                      <a:pt x="366998" y="2180269"/>
                    </a:cubicBezTo>
                    <a:cubicBezTo>
                      <a:pt x="368333" y="2182021"/>
                      <a:pt x="369668" y="2184274"/>
                      <a:pt x="371420" y="2186442"/>
                    </a:cubicBezTo>
                    <a:cubicBezTo>
                      <a:pt x="375841" y="2192199"/>
                      <a:pt x="380263" y="2198872"/>
                      <a:pt x="381181" y="2205963"/>
                    </a:cubicBezTo>
                    <a:cubicBezTo>
                      <a:pt x="382515" y="2216140"/>
                      <a:pt x="378094" y="2221896"/>
                      <a:pt x="374507" y="2226318"/>
                    </a:cubicBezTo>
                    <a:cubicBezTo>
                      <a:pt x="373589" y="2227653"/>
                      <a:pt x="372254" y="2228987"/>
                      <a:pt x="371003" y="2231156"/>
                    </a:cubicBezTo>
                    <a:cubicBezTo>
                      <a:pt x="364829" y="2242251"/>
                      <a:pt x="365663" y="2246672"/>
                      <a:pt x="366581" y="2248007"/>
                    </a:cubicBezTo>
                    <a:cubicBezTo>
                      <a:pt x="368333" y="2252011"/>
                      <a:pt x="379846" y="2253763"/>
                      <a:pt x="389607" y="2255098"/>
                    </a:cubicBezTo>
                    <a:cubicBezTo>
                      <a:pt x="401119" y="2256433"/>
                      <a:pt x="412633" y="2258184"/>
                      <a:pt x="421059" y="2263940"/>
                    </a:cubicBezTo>
                    <a:cubicBezTo>
                      <a:pt x="446337" y="2281208"/>
                      <a:pt x="437911" y="2304733"/>
                      <a:pt x="430820" y="2323753"/>
                    </a:cubicBezTo>
                    <a:cubicBezTo>
                      <a:pt x="424646" y="2342356"/>
                      <a:pt x="421059" y="2353868"/>
                      <a:pt x="429902" y="2364045"/>
                    </a:cubicBezTo>
                    <a:cubicBezTo>
                      <a:pt x="433406" y="2368883"/>
                      <a:pt x="437410" y="2372470"/>
                      <a:pt x="440998" y="2375974"/>
                    </a:cubicBezTo>
                    <a:cubicBezTo>
                      <a:pt x="450341" y="2384817"/>
                      <a:pt x="459602" y="2393242"/>
                      <a:pt x="464024" y="2410510"/>
                    </a:cubicBezTo>
                    <a:cubicBezTo>
                      <a:pt x="468028" y="2425109"/>
                      <a:pt x="472032" y="2431365"/>
                      <a:pt x="488384" y="2436204"/>
                    </a:cubicBezTo>
                    <a:cubicBezTo>
                      <a:pt x="491054" y="2436621"/>
                      <a:pt x="495059" y="2437121"/>
                      <a:pt x="499480" y="2437538"/>
                    </a:cubicBezTo>
                    <a:cubicBezTo>
                      <a:pt x="510576" y="2438456"/>
                      <a:pt x="524258" y="2439290"/>
                      <a:pt x="530932" y="2451303"/>
                    </a:cubicBezTo>
                    <a:cubicBezTo>
                      <a:pt x="538023" y="2463733"/>
                      <a:pt x="533602" y="2483670"/>
                      <a:pt x="530014" y="2501355"/>
                    </a:cubicBezTo>
                    <a:cubicBezTo>
                      <a:pt x="528679" y="2507528"/>
                      <a:pt x="527345" y="2513284"/>
                      <a:pt x="526928" y="2517705"/>
                    </a:cubicBezTo>
                    <a:cubicBezTo>
                      <a:pt x="526010" y="2530135"/>
                      <a:pt x="522923" y="2542481"/>
                      <a:pt x="520254" y="2554494"/>
                    </a:cubicBezTo>
                    <a:cubicBezTo>
                      <a:pt x="516750" y="2568675"/>
                      <a:pt x="513580" y="2582440"/>
                      <a:pt x="513162" y="2595704"/>
                    </a:cubicBezTo>
                    <a:cubicBezTo>
                      <a:pt x="513162" y="2605047"/>
                      <a:pt x="514497" y="2613889"/>
                      <a:pt x="516249" y="2623149"/>
                    </a:cubicBezTo>
                    <a:cubicBezTo>
                      <a:pt x="518918" y="2635996"/>
                      <a:pt x="521588" y="2649760"/>
                      <a:pt x="518501" y="2664359"/>
                    </a:cubicBezTo>
                    <a:cubicBezTo>
                      <a:pt x="515414" y="2678957"/>
                      <a:pt x="515414" y="2692305"/>
                      <a:pt x="515831" y="2706403"/>
                    </a:cubicBezTo>
                    <a:cubicBezTo>
                      <a:pt x="515831" y="2714411"/>
                      <a:pt x="515831" y="2722336"/>
                      <a:pt x="515414" y="2730761"/>
                    </a:cubicBezTo>
                    <a:cubicBezTo>
                      <a:pt x="514497" y="2750699"/>
                      <a:pt x="514497" y="2750699"/>
                      <a:pt x="531766" y="2761794"/>
                    </a:cubicBezTo>
                    <a:cubicBezTo>
                      <a:pt x="537940" y="2765798"/>
                      <a:pt x="542862" y="2771971"/>
                      <a:pt x="547701" y="2777727"/>
                    </a:cubicBezTo>
                    <a:cubicBezTo>
                      <a:pt x="553457" y="2785235"/>
                      <a:pt x="559213" y="2791909"/>
                      <a:pt x="566305" y="2793661"/>
                    </a:cubicBezTo>
                    <a:cubicBezTo>
                      <a:pt x="579570" y="2797164"/>
                      <a:pt x="601261" y="2785652"/>
                      <a:pt x="608352" y="2775058"/>
                    </a:cubicBezTo>
                    <a:cubicBezTo>
                      <a:pt x="610104" y="2772388"/>
                      <a:pt x="610605" y="2768384"/>
                      <a:pt x="611022" y="2763963"/>
                    </a:cubicBezTo>
                    <a:cubicBezTo>
                      <a:pt x="611939" y="2758207"/>
                      <a:pt x="612356" y="2751533"/>
                      <a:pt x="616778" y="2745777"/>
                    </a:cubicBezTo>
                    <a:cubicBezTo>
                      <a:pt x="622952" y="2737352"/>
                      <a:pt x="632713" y="2736017"/>
                      <a:pt x="640221" y="2734682"/>
                    </a:cubicBezTo>
                    <a:cubicBezTo>
                      <a:pt x="642474" y="2734265"/>
                      <a:pt x="644226" y="2733764"/>
                      <a:pt x="646394" y="2733347"/>
                    </a:cubicBezTo>
                    <a:cubicBezTo>
                      <a:pt x="662329" y="2729844"/>
                      <a:pt x="691612" y="2723170"/>
                      <a:pt x="706212" y="2709406"/>
                    </a:cubicBezTo>
                    <a:cubicBezTo>
                      <a:pt x="708881" y="2706319"/>
                      <a:pt x="711968" y="2700063"/>
                      <a:pt x="715055" y="2693890"/>
                    </a:cubicBezTo>
                    <a:cubicBezTo>
                      <a:pt x="722147" y="2679708"/>
                      <a:pt x="730572" y="2663358"/>
                      <a:pt x="745172" y="2664192"/>
                    </a:cubicBezTo>
                    <a:cubicBezTo>
                      <a:pt x="760689" y="2665527"/>
                      <a:pt x="771285" y="2680125"/>
                      <a:pt x="776624" y="2708071"/>
                    </a:cubicBezTo>
                    <a:lnTo>
                      <a:pt x="777041" y="2710740"/>
                    </a:lnTo>
                    <a:cubicBezTo>
                      <a:pt x="778793" y="2720084"/>
                      <a:pt x="780545" y="2723170"/>
                      <a:pt x="781880" y="2722670"/>
                    </a:cubicBezTo>
                    <a:cubicBezTo>
                      <a:pt x="784550" y="2722670"/>
                      <a:pt x="785384" y="2721335"/>
                      <a:pt x="787637" y="2717831"/>
                    </a:cubicBezTo>
                    <a:cubicBezTo>
                      <a:pt x="788554" y="2716497"/>
                      <a:pt x="788971" y="2715162"/>
                      <a:pt x="789889" y="2714328"/>
                    </a:cubicBezTo>
                    <a:cubicBezTo>
                      <a:pt x="796563" y="2704984"/>
                      <a:pt x="804071" y="2698811"/>
                      <a:pt x="812915" y="2692638"/>
                    </a:cubicBezTo>
                    <a:cubicBezTo>
                      <a:pt x="832436" y="2678874"/>
                      <a:pt x="837276" y="2674452"/>
                      <a:pt x="833271" y="2654098"/>
                    </a:cubicBezTo>
                    <a:cubicBezTo>
                      <a:pt x="827932" y="2627070"/>
                      <a:pt x="840362" y="2608467"/>
                      <a:pt x="852793" y="2590281"/>
                    </a:cubicBezTo>
                    <a:cubicBezTo>
                      <a:pt x="866058" y="2570344"/>
                      <a:pt x="874067" y="2551324"/>
                      <a:pt x="877154" y="2533138"/>
                    </a:cubicBezTo>
                    <a:cubicBezTo>
                      <a:pt x="881158" y="2509697"/>
                      <a:pt x="887332" y="2491929"/>
                      <a:pt x="895758" y="2471157"/>
                    </a:cubicBezTo>
                    <a:cubicBezTo>
                      <a:pt x="913027" y="2428612"/>
                      <a:pt x="932548" y="2412679"/>
                      <a:pt x="976348" y="2406005"/>
                    </a:cubicBezTo>
                    <a:cubicBezTo>
                      <a:pt x="1017144" y="2399332"/>
                      <a:pt x="1073374" y="2406422"/>
                      <a:pt x="1097734" y="2447215"/>
                    </a:cubicBezTo>
                    <a:cubicBezTo>
                      <a:pt x="1102156" y="2454723"/>
                      <a:pt x="1104825" y="2463566"/>
                      <a:pt x="1107495" y="2472492"/>
                    </a:cubicBezTo>
                    <a:cubicBezTo>
                      <a:pt x="1110999" y="2484421"/>
                      <a:pt x="1114586" y="2496433"/>
                      <a:pt x="1121677" y="2502189"/>
                    </a:cubicBezTo>
                    <a:cubicBezTo>
                      <a:pt x="1132773" y="2510198"/>
                      <a:pt x="1152212" y="2506611"/>
                      <a:pt x="1166895" y="2499103"/>
                    </a:cubicBezTo>
                    <a:cubicBezTo>
                      <a:pt x="1173569" y="2495599"/>
                      <a:pt x="1178408" y="2491094"/>
                      <a:pt x="1183246" y="2487173"/>
                    </a:cubicBezTo>
                    <a:cubicBezTo>
                      <a:pt x="1193841" y="2477831"/>
                      <a:pt x="1205354" y="2468154"/>
                      <a:pt x="1227129" y="2473409"/>
                    </a:cubicBezTo>
                    <a:cubicBezTo>
                      <a:pt x="1250155" y="2479165"/>
                      <a:pt x="1263920" y="2491595"/>
                      <a:pt x="1267424" y="2510615"/>
                    </a:cubicBezTo>
                    <a:lnTo>
                      <a:pt x="1267841" y="2513701"/>
                    </a:lnTo>
                    <a:cubicBezTo>
                      <a:pt x="1269593" y="2524796"/>
                      <a:pt x="1270094" y="2526965"/>
                      <a:pt x="1278019" y="2534974"/>
                    </a:cubicBezTo>
                    <a:lnTo>
                      <a:pt x="1282441" y="2539395"/>
                    </a:lnTo>
                    <a:cubicBezTo>
                      <a:pt x="1287781" y="2544734"/>
                      <a:pt x="1292202" y="2549155"/>
                      <a:pt x="1297041" y="2558915"/>
                    </a:cubicBezTo>
                    <a:cubicBezTo>
                      <a:pt x="1298792" y="2562419"/>
                      <a:pt x="1300545" y="2566006"/>
                      <a:pt x="1301879" y="2569092"/>
                    </a:cubicBezTo>
                    <a:cubicBezTo>
                      <a:pt x="1309388" y="2584192"/>
                      <a:pt x="1314727" y="2596121"/>
                      <a:pt x="1327992" y="2605380"/>
                    </a:cubicBezTo>
                    <a:cubicBezTo>
                      <a:pt x="1340423" y="2613806"/>
                      <a:pt x="1349683" y="2626236"/>
                      <a:pt x="1356774" y="2639916"/>
                    </a:cubicBezTo>
                    <a:lnTo>
                      <a:pt x="1362948" y="2652763"/>
                    </a:lnTo>
                    <a:cubicBezTo>
                      <a:pt x="1368287" y="2664692"/>
                      <a:pt x="1372292" y="2676705"/>
                      <a:pt x="1376213" y="2688634"/>
                    </a:cubicBezTo>
                    <a:cubicBezTo>
                      <a:pt x="1379299" y="2696142"/>
                      <a:pt x="1381552" y="2703233"/>
                      <a:pt x="1384222" y="2709906"/>
                    </a:cubicBezTo>
                    <a:cubicBezTo>
                      <a:pt x="1391313" y="2728926"/>
                      <a:pt x="1401074" y="2732513"/>
                      <a:pt x="1421847" y="2739103"/>
                    </a:cubicBezTo>
                    <a:cubicBezTo>
                      <a:pt x="1441786" y="2744860"/>
                      <a:pt x="1452382" y="2758123"/>
                      <a:pt x="1463477" y="2773640"/>
                    </a:cubicBezTo>
                    <a:cubicBezTo>
                      <a:pt x="1467899" y="2779813"/>
                      <a:pt x="1473655" y="2786069"/>
                      <a:pt x="1479828" y="2792242"/>
                    </a:cubicBezTo>
                    <a:cubicBezTo>
                      <a:pt x="1487838" y="2800251"/>
                      <a:pt x="1496181" y="2808593"/>
                      <a:pt x="1501519" y="2818353"/>
                    </a:cubicBezTo>
                    <a:cubicBezTo>
                      <a:pt x="1501937" y="2818770"/>
                      <a:pt x="1502438" y="2819271"/>
                      <a:pt x="1502438" y="2819688"/>
                    </a:cubicBezTo>
                    <a:cubicBezTo>
                      <a:pt x="1507776" y="2815266"/>
                      <a:pt x="1512616" y="2810345"/>
                      <a:pt x="1517037" y="2805506"/>
                    </a:cubicBezTo>
                    <a:cubicBezTo>
                      <a:pt x="1536976" y="2782065"/>
                      <a:pt x="1562672" y="2756789"/>
                      <a:pt x="1601632" y="2750115"/>
                    </a:cubicBezTo>
                    <a:cubicBezTo>
                      <a:pt x="1618484" y="2747445"/>
                      <a:pt x="1630414" y="2749698"/>
                      <a:pt x="1646349" y="2758123"/>
                    </a:cubicBezTo>
                    <a:cubicBezTo>
                      <a:pt x="1661866" y="2766966"/>
                      <a:pt x="1667623" y="2766132"/>
                      <a:pt x="1685810" y="2760793"/>
                    </a:cubicBezTo>
                    <a:cubicBezTo>
                      <a:pt x="1701744" y="2755954"/>
                      <a:pt x="1716845" y="2759875"/>
                      <a:pt x="1730526" y="2763045"/>
                    </a:cubicBezTo>
                    <a:cubicBezTo>
                      <a:pt x="1745627" y="2766549"/>
                      <a:pt x="1758474" y="2769719"/>
                      <a:pt x="1771322" y="2763045"/>
                    </a:cubicBezTo>
                    <a:cubicBezTo>
                      <a:pt x="1786839" y="2754620"/>
                      <a:pt x="1796100" y="2749781"/>
                      <a:pt x="1816039" y="2749281"/>
                    </a:cubicBezTo>
                    <a:cubicBezTo>
                      <a:pt x="1825383" y="2749281"/>
                      <a:pt x="1833308" y="2746611"/>
                      <a:pt x="1841318" y="2743942"/>
                    </a:cubicBezTo>
                    <a:cubicBezTo>
                      <a:pt x="1847074" y="2741689"/>
                      <a:pt x="1853748" y="2739938"/>
                      <a:pt x="1860839" y="2738603"/>
                    </a:cubicBezTo>
                    <a:cubicBezTo>
                      <a:pt x="1883448" y="2734599"/>
                      <a:pt x="1901635" y="2747445"/>
                      <a:pt x="1917069" y="2758958"/>
                    </a:cubicBezTo>
                    <a:cubicBezTo>
                      <a:pt x="1927664" y="2766465"/>
                      <a:pt x="1937425" y="2773556"/>
                      <a:pt x="1948104" y="2776225"/>
                    </a:cubicBezTo>
                    <a:cubicBezTo>
                      <a:pt x="1958699" y="2778895"/>
                      <a:pt x="1971547" y="2776643"/>
                      <a:pt x="1988399" y="2768217"/>
                    </a:cubicBezTo>
                    <a:cubicBezTo>
                      <a:pt x="1991069" y="2766883"/>
                      <a:pt x="1994572" y="2763379"/>
                      <a:pt x="1998160" y="2760209"/>
                    </a:cubicBezTo>
                    <a:cubicBezTo>
                      <a:pt x="2003916" y="2754870"/>
                      <a:pt x="2009673" y="2749614"/>
                      <a:pt x="2016764" y="2748280"/>
                    </a:cubicBezTo>
                    <a:cubicBezTo>
                      <a:pt x="2022520" y="2747362"/>
                      <a:pt x="2027860" y="2749614"/>
                      <a:pt x="2032281" y="2751366"/>
                    </a:cubicBezTo>
                    <a:cubicBezTo>
                      <a:pt x="2034951" y="2752701"/>
                      <a:pt x="2036703" y="2754036"/>
                      <a:pt x="2039790" y="2753619"/>
                    </a:cubicBezTo>
                    <a:cubicBezTo>
                      <a:pt x="2043294" y="2753619"/>
                      <a:pt x="2046464" y="2752284"/>
                      <a:pt x="2050885" y="2750115"/>
                    </a:cubicBezTo>
                    <a:cubicBezTo>
                      <a:pt x="2053138" y="2748780"/>
                      <a:pt x="2055725" y="2747028"/>
                      <a:pt x="2057976" y="2745694"/>
                    </a:cubicBezTo>
                    <a:cubicBezTo>
                      <a:pt x="2065485" y="2740355"/>
                      <a:pt x="2074829" y="2734182"/>
                      <a:pt x="2087176" y="2737685"/>
                    </a:cubicBezTo>
                    <a:cubicBezTo>
                      <a:pt x="2092933" y="2739437"/>
                      <a:pt x="2096520" y="2743024"/>
                      <a:pt x="2100024" y="2746111"/>
                    </a:cubicBezTo>
                    <a:cubicBezTo>
                      <a:pt x="2103528" y="2749197"/>
                      <a:pt x="2105781" y="2750949"/>
                      <a:pt x="2108867" y="2751450"/>
                    </a:cubicBezTo>
                    <a:cubicBezTo>
                      <a:pt x="2116375" y="2752785"/>
                      <a:pt x="2123467" y="2745694"/>
                      <a:pt x="2130141" y="2739020"/>
                    </a:cubicBezTo>
                    <a:cubicBezTo>
                      <a:pt x="2131893" y="2737268"/>
                      <a:pt x="2133645" y="2735016"/>
                      <a:pt x="2135480" y="2733681"/>
                    </a:cubicBezTo>
                    <a:cubicBezTo>
                      <a:pt x="2141237" y="2728843"/>
                      <a:pt x="2147410" y="2724338"/>
                      <a:pt x="2153667" y="2720834"/>
                    </a:cubicBezTo>
                    <a:cubicBezTo>
                      <a:pt x="2159841" y="2716830"/>
                      <a:pt x="2166098" y="2713326"/>
                      <a:pt x="2170937" y="2708405"/>
                    </a:cubicBezTo>
                    <a:cubicBezTo>
                      <a:pt x="2172271" y="2706653"/>
                      <a:pt x="2173189" y="2705318"/>
                      <a:pt x="2174441" y="2703984"/>
                    </a:cubicBezTo>
                    <a:cubicBezTo>
                      <a:pt x="2177528" y="2699979"/>
                      <a:pt x="2181115" y="2695975"/>
                      <a:pt x="2187288" y="2693389"/>
                    </a:cubicBezTo>
                    <a:cubicBezTo>
                      <a:pt x="2191293" y="2691637"/>
                      <a:pt x="2195715" y="2691137"/>
                      <a:pt x="2199219" y="2690719"/>
                    </a:cubicBezTo>
                    <a:cubicBezTo>
                      <a:pt x="2201888" y="2690719"/>
                      <a:pt x="2204057" y="2690719"/>
                      <a:pt x="2206310" y="2689802"/>
                    </a:cubicBezTo>
                    <a:cubicBezTo>
                      <a:pt x="2209813" y="2688050"/>
                      <a:pt x="2211649" y="2685798"/>
                      <a:pt x="2214319" y="2682711"/>
                    </a:cubicBezTo>
                    <a:cubicBezTo>
                      <a:pt x="2216070" y="2680042"/>
                      <a:pt x="2218323" y="2677372"/>
                      <a:pt x="2221410" y="2674703"/>
                    </a:cubicBezTo>
                    <a:cubicBezTo>
                      <a:pt x="2226249" y="2670699"/>
                      <a:pt x="2231588" y="2669364"/>
                      <a:pt x="2236010" y="2668029"/>
                    </a:cubicBezTo>
                    <a:cubicBezTo>
                      <a:pt x="2238262" y="2667112"/>
                      <a:pt x="2240431" y="2666694"/>
                      <a:pt x="2242684" y="2665777"/>
                    </a:cubicBezTo>
                    <a:cubicBezTo>
                      <a:pt x="2246688" y="2664025"/>
                      <a:pt x="2250192" y="2661773"/>
                      <a:pt x="2254197" y="2659103"/>
                    </a:cubicBezTo>
                    <a:cubicBezTo>
                      <a:pt x="2261288" y="2654682"/>
                      <a:pt x="2268379" y="2649760"/>
                      <a:pt x="2278140" y="2648509"/>
                    </a:cubicBezTo>
                    <a:cubicBezTo>
                      <a:pt x="2283897" y="2647591"/>
                      <a:pt x="2289653" y="2647591"/>
                      <a:pt x="2295410" y="2647174"/>
                    </a:cubicBezTo>
                    <a:cubicBezTo>
                      <a:pt x="2321105" y="2645839"/>
                      <a:pt x="2336205" y="2643670"/>
                      <a:pt x="2337456" y="2619228"/>
                    </a:cubicBezTo>
                    <a:cubicBezTo>
                      <a:pt x="2340126" y="2586027"/>
                      <a:pt x="2354726" y="2574515"/>
                      <a:pt x="2384843" y="2563420"/>
                    </a:cubicBezTo>
                    <a:cubicBezTo>
                      <a:pt x="2402112" y="2557247"/>
                      <a:pt x="2415878" y="2547070"/>
                      <a:pt x="2430060" y="2536809"/>
                    </a:cubicBezTo>
                    <a:cubicBezTo>
                      <a:pt x="2439404" y="2530135"/>
                      <a:pt x="2448665" y="2523545"/>
                      <a:pt x="2459260" y="2517288"/>
                    </a:cubicBezTo>
                    <a:cubicBezTo>
                      <a:pt x="2461512" y="2515953"/>
                      <a:pt x="2463265" y="2515036"/>
                      <a:pt x="2465433" y="2514202"/>
                    </a:cubicBezTo>
                    <a:cubicBezTo>
                      <a:pt x="2462764" y="2509363"/>
                      <a:pt x="2460595" y="2504859"/>
                      <a:pt x="2457925" y="2500438"/>
                    </a:cubicBezTo>
                    <a:cubicBezTo>
                      <a:pt x="2450834" y="2488008"/>
                      <a:pt x="2443743" y="2475662"/>
                      <a:pt x="2438904" y="2460145"/>
                    </a:cubicBezTo>
                    <a:cubicBezTo>
                      <a:pt x="2437569" y="2456642"/>
                      <a:pt x="2436234" y="2452637"/>
                      <a:pt x="2434482" y="2448216"/>
                    </a:cubicBezTo>
                    <a:cubicBezTo>
                      <a:pt x="2427391" y="2429613"/>
                      <a:pt x="2418547" y="2405672"/>
                      <a:pt x="2426974" y="2389321"/>
                    </a:cubicBezTo>
                    <a:cubicBezTo>
                      <a:pt x="2430477" y="2381313"/>
                      <a:pt x="2435817" y="2376058"/>
                      <a:pt x="2440739" y="2371636"/>
                    </a:cubicBezTo>
                    <a:cubicBezTo>
                      <a:pt x="2449582" y="2363211"/>
                      <a:pt x="2453170" y="2359707"/>
                      <a:pt x="2446913" y="2345943"/>
                    </a:cubicBezTo>
                    <a:cubicBezTo>
                      <a:pt x="2438487" y="2327340"/>
                      <a:pt x="2426557" y="2318914"/>
                      <a:pt x="2405700" y="2316245"/>
                    </a:cubicBezTo>
                    <a:lnTo>
                      <a:pt x="2401695" y="2315828"/>
                    </a:lnTo>
                    <a:cubicBezTo>
                      <a:pt x="2387095" y="2313576"/>
                      <a:pt x="2356478" y="2309655"/>
                      <a:pt x="2356979" y="2285296"/>
                    </a:cubicBezTo>
                    <a:cubicBezTo>
                      <a:pt x="2357396" y="2274702"/>
                      <a:pt x="2363653" y="2270197"/>
                      <a:pt x="2368074" y="2267611"/>
                    </a:cubicBezTo>
                    <a:cubicBezTo>
                      <a:pt x="2370744" y="2265859"/>
                      <a:pt x="2372496" y="2264941"/>
                      <a:pt x="2372913" y="2262272"/>
                    </a:cubicBezTo>
                    <a:cubicBezTo>
                      <a:pt x="2373831" y="2258768"/>
                      <a:pt x="2371995" y="2255181"/>
                      <a:pt x="2369410" y="2250343"/>
                    </a:cubicBezTo>
                    <a:cubicBezTo>
                      <a:pt x="2367657" y="2246839"/>
                      <a:pt x="2365404" y="2242835"/>
                      <a:pt x="2364570" y="2237913"/>
                    </a:cubicBezTo>
                    <a:cubicBezTo>
                      <a:pt x="2362818" y="2229488"/>
                      <a:pt x="2366323" y="2221062"/>
                      <a:pt x="2369910" y="2212637"/>
                    </a:cubicBezTo>
                    <a:cubicBezTo>
                      <a:pt x="2372580" y="2206880"/>
                      <a:pt x="2375249" y="2199790"/>
                      <a:pt x="2373914" y="2196703"/>
                    </a:cubicBezTo>
                    <a:cubicBezTo>
                      <a:pt x="2372997" y="2195786"/>
                      <a:pt x="2371661" y="2194451"/>
                      <a:pt x="2369493" y="2193617"/>
                    </a:cubicBezTo>
                    <a:cubicBezTo>
                      <a:pt x="2361067" y="2190113"/>
                      <a:pt x="2351306" y="2195869"/>
                      <a:pt x="2338959" y="2186943"/>
                    </a:cubicBezTo>
                    <a:cubicBezTo>
                      <a:pt x="2335455" y="2184274"/>
                      <a:pt x="2332785" y="2181604"/>
                      <a:pt x="2330115" y="2178518"/>
                    </a:cubicBezTo>
                    <a:cubicBezTo>
                      <a:pt x="2327028" y="2175431"/>
                      <a:pt x="2324359" y="2172762"/>
                      <a:pt x="2319937" y="2170509"/>
                    </a:cubicBezTo>
                    <a:cubicBezTo>
                      <a:pt x="2318602" y="2169592"/>
                      <a:pt x="2317268" y="2169175"/>
                      <a:pt x="2315098" y="2168758"/>
                    </a:cubicBezTo>
                    <a:cubicBezTo>
                      <a:pt x="2308007" y="2166505"/>
                      <a:pt x="2297412" y="2163419"/>
                      <a:pt x="2295160" y="2152824"/>
                    </a:cubicBezTo>
                    <a:cubicBezTo>
                      <a:pt x="2294743" y="2149320"/>
                      <a:pt x="2294241" y="2143981"/>
                      <a:pt x="2297412" y="2139977"/>
                    </a:cubicBezTo>
                    <a:cubicBezTo>
                      <a:pt x="2300498" y="2135556"/>
                      <a:pt x="2305421" y="2135556"/>
                      <a:pt x="2308508" y="2135139"/>
                    </a:cubicBezTo>
                    <a:cubicBezTo>
                      <a:pt x="2309842" y="2135139"/>
                      <a:pt x="2311177" y="2135139"/>
                      <a:pt x="2312011" y="2134722"/>
                    </a:cubicBezTo>
                    <a:cubicBezTo>
                      <a:pt x="2328363" y="2126714"/>
                      <a:pt x="2326611" y="2116119"/>
                      <a:pt x="2318185" y="2092177"/>
                    </a:cubicBezTo>
                    <a:cubicBezTo>
                      <a:pt x="2313764" y="2078913"/>
                      <a:pt x="2316433" y="2067402"/>
                      <a:pt x="2318602" y="2056724"/>
                    </a:cubicBezTo>
                    <a:cubicBezTo>
                      <a:pt x="2320354" y="2048298"/>
                      <a:pt x="2322106" y="2041208"/>
                      <a:pt x="2320855" y="2033700"/>
                    </a:cubicBezTo>
                    <a:cubicBezTo>
                      <a:pt x="2320438" y="2031030"/>
                      <a:pt x="2318185" y="2027526"/>
                      <a:pt x="2316016" y="2024357"/>
                    </a:cubicBezTo>
                    <a:cubicBezTo>
                      <a:pt x="2312011" y="2018183"/>
                      <a:pt x="2307590" y="2011510"/>
                      <a:pt x="2308508" y="2004002"/>
                    </a:cubicBezTo>
                    <a:cubicBezTo>
                      <a:pt x="2309425" y="1997328"/>
                      <a:pt x="2312011" y="1992907"/>
                      <a:pt x="2314681" y="1989820"/>
                    </a:cubicBezTo>
                    <a:cubicBezTo>
                      <a:pt x="2316934" y="1986317"/>
                      <a:pt x="2318685" y="1984065"/>
                      <a:pt x="2318185" y="1979643"/>
                    </a:cubicBezTo>
                    <a:cubicBezTo>
                      <a:pt x="2317768" y="1972552"/>
                      <a:pt x="2315515" y="1967213"/>
                      <a:pt x="2313347" y="1962375"/>
                    </a:cubicBezTo>
                    <a:cubicBezTo>
                      <a:pt x="2309342" y="1953032"/>
                      <a:pt x="2304920" y="1943772"/>
                      <a:pt x="2312929" y="1927422"/>
                    </a:cubicBezTo>
                    <a:lnTo>
                      <a:pt x="2315182" y="1923001"/>
                    </a:lnTo>
                    <a:cubicBezTo>
                      <a:pt x="2318685" y="1914992"/>
                      <a:pt x="2322691" y="1905732"/>
                      <a:pt x="2332451" y="1899559"/>
                    </a:cubicBezTo>
                    <a:cubicBezTo>
                      <a:pt x="2336456" y="1896890"/>
                      <a:pt x="2340877" y="1896056"/>
                      <a:pt x="2344882" y="1895138"/>
                    </a:cubicBezTo>
                    <a:cubicBezTo>
                      <a:pt x="2348386" y="1894721"/>
                      <a:pt x="2351556" y="1893803"/>
                      <a:pt x="2353725" y="1892051"/>
                    </a:cubicBezTo>
                    <a:cubicBezTo>
                      <a:pt x="2356394" y="1890300"/>
                      <a:pt x="2358147" y="1888047"/>
                      <a:pt x="2359899" y="1885378"/>
                    </a:cubicBezTo>
                    <a:cubicBezTo>
                      <a:pt x="2363403" y="1881374"/>
                      <a:pt x="2367407" y="1875618"/>
                      <a:pt x="2375833" y="1872948"/>
                    </a:cubicBezTo>
                    <a:cubicBezTo>
                      <a:pt x="2380672" y="1871196"/>
                      <a:pt x="2386011" y="1871613"/>
                      <a:pt x="2390432" y="1871613"/>
                    </a:cubicBezTo>
                    <a:cubicBezTo>
                      <a:pt x="2394438" y="1871613"/>
                      <a:pt x="2398859" y="1871613"/>
                      <a:pt x="2401028" y="1870279"/>
                    </a:cubicBezTo>
                    <a:cubicBezTo>
                      <a:pt x="2403698" y="1868527"/>
                      <a:pt x="2405449" y="1865440"/>
                      <a:pt x="2408119" y="1862271"/>
                    </a:cubicBezTo>
                    <a:cubicBezTo>
                      <a:pt x="2411206" y="1857432"/>
                      <a:pt x="2415628" y="1851175"/>
                      <a:pt x="2425389" y="1848089"/>
                    </a:cubicBezTo>
                    <a:cubicBezTo>
                      <a:pt x="2429393" y="1846754"/>
                      <a:pt x="2432897" y="1846337"/>
                      <a:pt x="2436484" y="1845837"/>
                    </a:cubicBezTo>
                    <a:cubicBezTo>
                      <a:pt x="2442241" y="1844919"/>
                      <a:pt x="2446245" y="1844085"/>
                      <a:pt x="2450250" y="1840498"/>
                    </a:cubicBezTo>
                    <a:cubicBezTo>
                      <a:pt x="2458676" y="1832990"/>
                      <a:pt x="2457341" y="1825899"/>
                      <a:pt x="2454254" y="1812552"/>
                    </a:cubicBezTo>
                    <a:cubicBezTo>
                      <a:pt x="2452919" y="1806379"/>
                      <a:pt x="2451585" y="1800122"/>
                      <a:pt x="2451168" y="1793032"/>
                    </a:cubicBezTo>
                    <a:cubicBezTo>
                      <a:pt x="2450751" y="1757578"/>
                      <a:pt x="2471523" y="1749653"/>
                      <a:pt x="2494133" y="1746066"/>
                    </a:cubicBezTo>
                    <a:cubicBezTo>
                      <a:pt x="2509233" y="1743813"/>
                      <a:pt x="2523832" y="1735889"/>
                      <a:pt x="2540184" y="1721707"/>
                    </a:cubicBezTo>
                    <a:cubicBezTo>
                      <a:pt x="2558371" y="1705774"/>
                      <a:pt x="2559206" y="1689840"/>
                      <a:pt x="2560123" y="1664564"/>
                    </a:cubicBezTo>
                    <a:lnTo>
                      <a:pt x="2560123" y="1657056"/>
                    </a:lnTo>
                    <a:cubicBezTo>
                      <a:pt x="2560123" y="1646879"/>
                      <a:pt x="2560123" y="1634449"/>
                      <a:pt x="2565880" y="1625606"/>
                    </a:cubicBezTo>
                    <a:cubicBezTo>
                      <a:pt x="2569884" y="1619433"/>
                      <a:pt x="2575223" y="1617181"/>
                      <a:pt x="2579645" y="1615012"/>
                    </a:cubicBezTo>
                    <a:cubicBezTo>
                      <a:pt x="2581897" y="1614095"/>
                      <a:pt x="2584067" y="1612760"/>
                      <a:pt x="2585818" y="1611508"/>
                    </a:cubicBezTo>
                    <a:cubicBezTo>
                      <a:pt x="2589322" y="1608839"/>
                      <a:pt x="2591158" y="1605753"/>
                      <a:pt x="2591158" y="1602666"/>
                    </a:cubicBezTo>
                    <a:cubicBezTo>
                      <a:pt x="2591158" y="1593323"/>
                      <a:pt x="2577893" y="1580977"/>
                      <a:pt x="2569884" y="1573469"/>
                    </a:cubicBezTo>
                    <a:cubicBezTo>
                      <a:pt x="2556119" y="1561039"/>
                      <a:pt x="2552197" y="1550862"/>
                      <a:pt x="2548193" y="1539767"/>
                    </a:cubicBezTo>
                    <a:cubicBezTo>
                      <a:pt x="2545940" y="1534928"/>
                      <a:pt x="2544189" y="1529589"/>
                      <a:pt x="2541102" y="1523833"/>
                    </a:cubicBezTo>
                    <a:cubicBezTo>
                      <a:pt x="2539349" y="1520747"/>
                      <a:pt x="2537598" y="1517160"/>
                      <a:pt x="2536263" y="1514490"/>
                    </a:cubicBezTo>
                    <a:cubicBezTo>
                      <a:pt x="2532759" y="1508317"/>
                      <a:pt x="2529172" y="1502561"/>
                      <a:pt x="2526502" y="1494553"/>
                    </a:cubicBezTo>
                    <a:cubicBezTo>
                      <a:pt x="2523832" y="1487879"/>
                      <a:pt x="2522498" y="1485210"/>
                      <a:pt x="2516324" y="1481706"/>
                    </a:cubicBezTo>
                    <a:cubicBezTo>
                      <a:pt x="2511902" y="1479036"/>
                      <a:pt x="2506563" y="1477285"/>
                      <a:pt x="2501224" y="1475533"/>
                    </a:cubicBezTo>
                    <a:cubicBezTo>
                      <a:pt x="2490629" y="1472446"/>
                      <a:pt x="2478615" y="1468442"/>
                      <a:pt x="2471106" y="1456013"/>
                    </a:cubicBezTo>
                    <a:cubicBezTo>
                      <a:pt x="2464015" y="1443166"/>
                      <a:pt x="2465768" y="1429401"/>
                      <a:pt x="2468854" y="1417472"/>
                    </a:cubicBezTo>
                    <a:lnTo>
                      <a:pt x="2469271" y="1414803"/>
                    </a:lnTo>
                    <a:cubicBezTo>
                      <a:pt x="2471523" y="1406795"/>
                      <a:pt x="2471523" y="1406795"/>
                      <a:pt x="2469271" y="1398870"/>
                    </a:cubicBezTo>
                    <a:lnTo>
                      <a:pt x="2468353" y="1396200"/>
                    </a:lnTo>
                    <a:cubicBezTo>
                      <a:pt x="2463014" y="1377597"/>
                      <a:pt x="2471023" y="1360746"/>
                      <a:pt x="2478532" y="1344813"/>
                    </a:cubicBezTo>
                    <a:cubicBezTo>
                      <a:pt x="2481201" y="1339057"/>
                      <a:pt x="2483870" y="1333301"/>
                      <a:pt x="2486040" y="1327128"/>
                    </a:cubicBezTo>
                    <a:cubicBezTo>
                      <a:pt x="2486957" y="1324041"/>
                      <a:pt x="2488293" y="1321372"/>
                      <a:pt x="2489127" y="1318703"/>
                    </a:cubicBezTo>
                    <a:cubicBezTo>
                      <a:pt x="2491796" y="1311195"/>
                      <a:pt x="2494883" y="1303603"/>
                      <a:pt x="2493966" y="1297013"/>
                    </a:cubicBezTo>
                    <a:cubicBezTo>
                      <a:pt x="2493548" y="1293926"/>
                      <a:pt x="2492213" y="1290840"/>
                      <a:pt x="2490879" y="1287670"/>
                    </a:cubicBezTo>
                    <a:cubicBezTo>
                      <a:pt x="2489127" y="1283666"/>
                      <a:pt x="2487375" y="1279661"/>
                      <a:pt x="2486457" y="1274823"/>
                    </a:cubicBezTo>
                    <a:cubicBezTo>
                      <a:pt x="2485539" y="1270819"/>
                      <a:pt x="2485539" y="1266815"/>
                      <a:pt x="2485539" y="1263311"/>
                    </a:cubicBezTo>
                    <a:cubicBezTo>
                      <a:pt x="2485539" y="1257972"/>
                      <a:pt x="2485956" y="1253968"/>
                      <a:pt x="2483287" y="1249547"/>
                    </a:cubicBezTo>
                    <a:cubicBezTo>
                      <a:pt x="2481952" y="1247795"/>
                      <a:pt x="2480617" y="1246460"/>
                      <a:pt x="2479282" y="1244708"/>
                    </a:cubicBezTo>
                    <a:cubicBezTo>
                      <a:pt x="2475779" y="1241205"/>
                      <a:pt x="2472191" y="1236700"/>
                      <a:pt x="2470856" y="1227858"/>
                    </a:cubicBezTo>
                    <a:cubicBezTo>
                      <a:pt x="2470439" y="1222518"/>
                      <a:pt x="2470856" y="1217263"/>
                      <a:pt x="2471774" y="1212341"/>
                    </a:cubicBezTo>
                    <a:cubicBezTo>
                      <a:pt x="2472191" y="1207003"/>
                      <a:pt x="2473109" y="1201747"/>
                      <a:pt x="2471356" y="1197242"/>
                    </a:cubicBezTo>
                    <a:cubicBezTo>
                      <a:pt x="2469605" y="1192738"/>
                      <a:pt x="2466018" y="1188817"/>
                      <a:pt x="2461596" y="1184395"/>
                    </a:cubicBezTo>
                    <a:cubicBezTo>
                      <a:pt x="2458092" y="1179974"/>
                      <a:pt x="2454088" y="1175970"/>
                      <a:pt x="2451418" y="1171132"/>
                    </a:cubicBezTo>
                    <a:cubicBezTo>
                      <a:pt x="2442574" y="1154781"/>
                      <a:pt x="2444327" y="1142351"/>
                      <a:pt x="2447414" y="1135261"/>
                    </a:cubicBezTo>
                    <a:cubicBezTo>
                      <a:pt x="2451835" y="1124166"/>
                      <a:pt x="2462013" y="1116241"/>
                      <a:pt x="2477113" y="1112237"/>
                    </a:cubicBezTo>
                    <a:cubicBezTo>
                      <a:pt x="2496134" y="1106898"/>
                      <a:pt x="2512987" y="1109984"/>
                      <a:pt x="2529422" y="1113154"/>
                    </a:cubicBezTo>
                    <a:cubicBezTo>
                      <a:pt x="2536096" y="1114072"/>
                      <a:pt x="2543605" y="1115407"/>
                      <a:pt x="2550696" y="1116241"/>
                    </a:cubicBezTo>
                    <a:cubicBezTo>
                      <a:pt x="2554200" y="1116241"/>
                      <a:pt x="2557370" y="1116658"/>
                      <a:pt x="2560874" y="1117576"/>
                    </a:cubicBezTo>
                    <a:cubicBezTo>
                      <a:pt x="2567047" y="1118910"/>
                      <a:pt x="2573721" y="1119828"/>
                      <a:pt x="2578143" y="1118493"/>
                    </a:cubicBezTo>
                    <a:cubicBezTo>
                      <a:pt x="2580396" y="1117576"/>
                      <a:pt x="2582565" y="1115407"/>
                      <a:pt x="2584817" y="1112737"/>
                    </a:cubicBezTo>
                    <a:cubicBezTo>
                      <a:pt x="2587487" y="1110068"/>
                      <a:pt x="2590157" y="1106981"/>
                      <a:pt x="2594161" y="1104729"/>
                    </a:cubicBezTo>
                    <a:cubicBezTo>
                      <a:pt x="2601669" y="1100725"/>
                      <a:pt x="2609262" y="1098973"/>
                      <a:pt x="2615852" y="1098055"/>
                    </a:cubicBezTo>
                    <a:cubicBezTo>
                      <a:pt x="2626030" y="1095803"/>
                      <a:pt x="2633539" y="1094551"/>
                      <a:pt x="2640630" y="1085208"/>
                    </a:cubicBezTo>
                    <a:cubicBezTo>
                      <a:pt x="2645051" y="1079452"/>
                      <a:pt x="2646804" y="1073279"/>
                      <a:pt x="2648638" y="1065688"/>
                    </a:cubicBezTo>
                    <a:cubicBezTo>
                      <a:pt x="2649557" y="1062184"/>
                      <a:pt x="2650391" y="1058597"/>
                      <a:pt x="2651308" y="1055511"/>
                    </a:cubicBezTo>
                    <a:cubicBezTo>
                      <a:pt x="2655730" y="1041329"/>
                      <a:pt x="2660152" y="1039160"/>
                      <a:pt x="2671248" y="1038243"/>
                    </a:cubicBezTo>
                    <a:cubicBezTo>
                      <a:pt x="2672999" y="1038243"/>
                      <a:pt x="2675252" y="1037825"/>
                      <a:pt x="2678339" y="1037325"/>
                    </a:cubicBezTo>
                    <a:cubicBezTo>
                      <a:pt x="2681843" y="1036908"/>
                      <a:pt x="2686348" y="1034656"/>
                      <a:pt x="2690269" y="1032487"/>
                    </a:cubicBezTo>
                    <a:cubicBezTo>
                      <a:pt x="2696443" y="1028983"/>
                      <a:pt x="2702700" y="1025813"/>
                      <a:pt x="2709290" y="1025813"/>
                    </a:cubicBezTo>
                    <a:lnTo>
                      <a:pt x="2710208" y="1025813"/>
                    </a:lnTo>
                    <a:cubicBezTo>
                      <a:pt x="2717299" y="1026230"/>
                      <a:pt x="2722138" y="1030234"/>
                      <a:pt x="2725308" y="1033321"/>
                    </a:cubicBezTo>
                    <a:cubicBezTo>
                      <a:pt x="2728395" y="1035990"/>
                      <a:pt x="2729730" y="1036407"/>
                      <a:pt x="2731065" y="1036824"/>
                    </a:cubicBezTo>
                    <a:cubicBezTo>
                      <a:pt x="2734151" y="1036824"/>
                      <a:pt x="2736404" y="1035907"/>
                      <a:pt x="2738156" y="1033738"/>
                    </a:cubicBezTo>
                    <a:cubicBezTo>
                      <a:pt x="2742578" y="1028900"/>
                      <a:pt x="2742995" y="1018639"/>
                      <a:pt x="2742160" y="1011632"/>
                    </a:cubicBezTo>
                    <a:cubicBezTo>
                      <a:pt x="2739908" y="995698"/>
                      <a:pt x="2738656" y="980182"/>
                      <a:pt x="2737739" y="964249"/>
                    </a:cubicBezTo>
                    <a:cubicBezTo>
                      <a:pt x="2737322" y="959827"/>
                      <a:pt x="2736821" y="954906"/>
                      <a:pt x="2736821" y="950067"/>
                    </a:cubicBezTo>
                    <a:cubicBezTo>
                      <a:pt x="2736821" y="947398"/>
                      <a:pt x="2736404" y="945229"/>
                      <a:pt x="2736404" y="942559"/>
                    </a:cubicBezTo>
                    <a:cubicBezTo>
                      <a:pt x="2735987" y="930630"/>
                      <a:pt x="2735987" y="927961"/>
                      <a:pt x="2729730" y="922622"/>
                    </a:cubicBezTo>
                    <a:cubicBezTo>
                      <a:pt x="2727978" y="921287"/>
                      <a:pt x="2726225" y="919952"/>
                      <a:pt x="2724391" y="919118"/>
                    </a:cubicBezTo>
                    <a:cubicBezTo>
                      <a:pt x="2720386" y="916866"/>
                      <a:pt x="2715547" y="914280"/>
                      <a:pt x="2712460" y="905354"/>
                    </a:cubicBezTo>
                    <a:cubicBezTo>
                      <a:pt x="2710208" y="899181"/>
                      <a:pt x="2710708" y="893425"/>
                      <a:pt x="2711126" y="888503"/>
                    </a:cubicBezTo>
                    <a:cubicBezTo>
                      <a:pt x="2711543" y="882747"/>
                      <a:pt x="2712043" y="879160"/>
                      <a:pt x="2709374" y="875656"/>
                    </a:cubicBezTo>
                    <a:cubicBezTo>
                      <a:pt x="2707121" y="872152"/>
                      <a:pt x="2702700" y="869483"/>
                      <a:pt x="2698277" y="866813"/>
                    </a:cubicBezTo>
                    <a:cubicBezTo>
                      <a:pt x="2696026" y="865062"/>
                      <a:pt x="2693856" y="863727"/>
                      <a:pt x="2691603" y="862392"/>
                    </a:cubicBezTo>
                    <a:cubicBezTo>
                      <a:pt x="2684095" y="857053"/>
                      <a:pt x="2677421" y="850880"/>
                      <a:pt x="2671248" y="845124"/>
                    </a:cubicBezTo>
                    <a:cubicBezTo>
                      <a:pt x="2661487" y="836282"/>
                      <a:pt x="2652644" y="828273"/>
                      <a:pt x="2640713" y="822100"/>
                    </a:cubicBezTo>
                    <a:cubicBezTo>
                      <a:pt x="2629200" y="816344"/>
                      <a:pt x="2626113" y="809670"/>
                      <a:pt x="2623027" y="802580"/>
                    </a:cubicBezTo>
                    <a:cubicBezTo>
                      <a:pt x="2622610" y="800828"/>
                      <a:pt x="2621275" y="798576"/>
                      <a:pt x="2619940" y="795906"/>
                    </a:cubicBezTo>
                    <a:cubicBezTo>
                      <a:pt x="2618188" y="792819"/>
                      <a:pt x="2616436" y="791485"/>
                      <a:pt x="2613766" y="789232"/>
                    </a:cubicBezTo>
                    <a:cubicBezTo>
                      <a:pt x="2611514" y="787481"/>
                      <a:pt x="2609345" y="785228"/>
                      <a:pt x="2607092" y="782559"/>
                    </a:cubicBezTo>
                    <a:cubicBezTo>
                      <a:pt x="2598666" y="773216"/>
                      <a:pt x="2596914" y="761286"/>
                      <a:pt x="2595162" y="748857"/>
                    </a:cubicBezTo>
                    <a:cubicBezTo>
                      <a:pt x="2592910" y="733758"/>
                      <a:pt x="2592910" y="733341"/>
                      <a:pt x="2584567" y="723163"/>
                    </a:cubicBezTo>
                    <a:lnTo>
                      <a:pt x="2582314" y="720911"/>
                    </a:lnTo>
                    <a:cubicBezTo>
                      <a:pt x="2574306" y="712485"/>
                      <a:pt x="2574306" y="709816"/>
                      <a:pt x="2576975" y="696969"/>
                    </a:cubicBezTo>
                    <a:cubicBezTo>
                      <a:pt x="2577893" y="693466"/>
                      <a:pt x="2578310" y="690296"/>
                      <a:pt x="2579228" y="687209"/>
                    </a:cubicBezTo>
                    <a:cubicBezTo>
                      <a:pt x="2581480" y="678367"/>
                      <a:pt x="2583232" y="671693"/>
                      <a:pt x="2581897" y="662433"/>
                    </a:cubicBezTo>
                    <a:cubicBezTo>
                      <a:pt x="2581480" y="659764"/>
                      <a:pt x="2580563" y="656677"/>
                      <a:pt x="2579645" y="653591"/>
                    </a:cubicBezTo>
                    <a:cubicBezTo>
                      <a:pt x="2576975" y="644748"/>
                      <a:pt x="2573471" y="634070"/>
                      <a:pt x="2580563" y="623893"/>
                    </a:cubicBezTo>
                    <a:cubicBezTo>
                      <a:pt x="2586319" y="615885"/>
                      <a:pt x="2594745" y="614550"/>
                      <a:pt x="2601419" y="613299"/>
                    </a:cubicBezTo>
                    <a:cubicBezTo>
                      <a:pt x="2604506" y="612381"/>
                      <a:pt x="2607593" y="611964"/>
                      <a:pt x="2609845" y="611046"/>
                    </a:cubicBezTo>
                    <a:cubicBezTo>
                      <a:pt x="2614267" y="608794"/>
                      <a:pt x="2615185" y="606625"/>
                      <a:pt x="2616519" y="602204"/>
                    </a:cubicBezTo>
                    <a:cubicBezTo>
                      <a:pt x="2617854" y="598700"/>
                      <a:pt x="2619189" y="594195"/>
                      <a:pt x="2622693" y="589774"/>
                    </a:cubicBezTo>
                    <a:cubicBezTo>
                      <a:pt x="2630201" y="580431"/>
                      <a:pt x="2640880" y="578262"/>
                      <a:pt x="2650641" y="577845"/>
                    </a:cubicBezTo>
                    <a:cubicBezTo>
                      <a:pt x="2660402" y="576927"/>
                      <a:pt x="2670998" y="576093"/>
                      <a:pt x="2674084" y="571672"/>
                    </a:cubicBezTo>
                    <a:cubicBezTo>
                      <a:pt x="2676753" y="568585"/>
                      <a:pt x="2675836" y="563246"/>
                      <a:pt x="2674501" y="558825"/>
                    </a:cubicBezTo>
                    <a:cubicBezTo>
                      <a:pt x="2671832" y="548648"/>
                      <a:pt x="2664323" y="545978"/>
                      <a:pt x="2652393" y="542475"/>
                    </a:cubicBezTo>
                    <a:cubicBezTo>
                      <a:pt x="2641297" y="539388"/>
                      <a:pt x="2628450" y="535384"/>
                      <a:pt x="2623193" y="521620"/>
                    </a:cubicBezTo>
                    <a:cubicBezTo>
                      <a:pt x="2614768" y="499513"/>
                      <a:pt x="2637376" y="488418"/>
                      <a:pt x="2651976" y="481327"/>
                    </a:cubicBezTo>
                    <a:cubicBezTo>
                      <a:pt x="2657732" y="478241"/>
                      <a:pt x="2663489" y="475571"/>
                      <a:pt x="2666575" y="472902"/>
                    </a:cubicBezTo>
                    <a:cubicBezTo>
                      <a:pt x="2676336" y="464059"/>
                      <a:pt x="2683428" y="454299"/>
                      <a:pt x="2686932" y="444122"/>
                    </a:cubicBezTo>
                    <a:cubicBezTo>
                      <a:pt x="2687849" y="440618"/>
                      <a:pt x="2688266" y="437031"/>
                      <a:pt x="2689184" y="433944"/>
                    </a:cubicBezTo>
                    <a:cubicBezTo>
                      <a:pt x="2690519" y="426437"/>
                      <a:pt x="2691854" y="418011"/>
                      <a:pt x="2698027" y="410920"/>
                    </a:cubicBezTo>
                    <a:cubicBezTo>
                      <a:pt x="2703784" y="403830"/>
                      <a:pt x="2709123" y="400743"/>
                      <a:pt x="2715297" y="400743"/>
                    </a:cubicBezTo>
                    <a:cubicBezTo>
                      <a:pt x="2715297" y="400743"/>
                      <a:pt x="2715297" y="400743"/>
                      <a:pt x="2715714" y="400743"/>
                    </a:cubicBezTo>
                    <a:cubicBezTo>
                      <a:pt x="2723723" y="400743"/>
                      <a:pt x="2729479" y="407417"/>
                      <a:pt x="2734318" y="412672"/>
                    </a:cubicBezTo>
                    <a:cubicBezTo>
                      <a:pt x="2737405" y="415759"/>
                      <a:pt x="2740492" y="419346"/>
                      <a:pt x="2743162" y="420681"/>
                    </a:cubicBezTo>
                    <a:cubicBezTo>
                      <a:pt x="2748000" y="422432"/>
                      <a:pt x="2767522" y="420264"/>
                      <a:pt x="2771944" y="417594"/>
                    </a:cubicBezTo>
                    <a:cubicBezTo>
                      <a:pt x="2776365" y="414507"/>
                      <a:pt x="2776365" y="412756"/>
                      <a:pt x="2774196" y="403830"/>
                    </a:cubicBezTo>
                    <a:cubicBezTo>
                      <a:pt x="2774196" y="402078"/>
                      <a:pt x="2773779" y="400326"/>
                      <a:pt x="2773279" y="398491"/>
                    </a:cubicBezTo>
                    <a:cubicBezTo>
                      <a:pt x="2770192" y="382557"/>
                      <a:pt x="2775531" y="372797"/>
                      <a:pt x="2780370" y="363538"/>
                    </a:cubicBezTo>
                    <a:cubicBezTo>
                      <a:pt x="2783040" y="357782"/>
                      <a:pt x="2786127" y="352443"/>
                      <a:pt x="2787461" y="345852"/>
                    </a:cubicBezTo>
                    <a:cubicBezTo>
                      <a:pt x="2787878" y="342766"/>
                      <a:pt x="2788378" y="340096"/>
                      <a:pt x="2788796" y="337010"/>
                    </a:cubicBezTo>
                    <a:cubicBezTo>
                      <a:pt x="2789714" y="329919"/>
                      <a:pt x="2791048" y="321494"/>
                      <a:pt x="2796304" y="313569"/>
                    </a:cubicBezTo>
                    <a:cubicBezTo>
                      <a:pt x="2799808" y="308730"/>
                      <a:pt x="2804313" y="305560"/>
                      <a:pt x="2808735" y="302474"/>
                    </a:cubicBezTo>
                    <a:cubicBezTo>
                      <a:pt x="2811822" y="300221"/>
                      <a:pt x="2814909" y="298053"/>
                      <a:pt x="2817161" y="295383"/>
                    </a:cubicBezTo>
                    <a:cubicBezTo>
                      <a:pt x="2823835" y="286040"/>
                      <a:pt x="2824252" y="260430"/>
                      <a:pt x="2817578" y="251504"/>
                    </a:cubicBezTo>
                    <a:cubicBezTo>
                      <a:pt x="2814075" y="247500"/>
                      <a:pt x="2810069" y="246165"/>
                      <a:pt x="2803395" y="244830"/>
                    </a:cubicBezTo>
                    <a:cubicBezTo>
                      <a:pt x="2799892" y="243912"/>
                      <a:pt x="2796304" y="243078"/>
                      <a:pt x="2792801" y="241744"/>
                    </a:cubicBezTo>
                    <a:cubicBezTo>
                      <a:pt x="2783457" y="237739"/>
                      <a:pt x="2777700" y="231566"/>
                      <a:pt x="2772444" y="225393"/>
                    </a:cubicBezTo>
                    <a:lnTo>
                      <a:pt x="2769774" y="222307"/>
                    </a:lnTo>
                    <a:cubicBezTo>
                      <a:pt x="2753840" y="205039"/>
                      <a:pt x="2740575" y="190440"/>
                      <a:pt x="2744996" y="161159"/>
                    </a:cubicBezTo>
                    <a:cubicBezTo>
                      <a:pt x="2749419" y="133714"/>
                      <a:pt x="2749419" y="127458"/>
                      <a:pt x="2729479" y="113359"/>
                    </a:cubicBezTo>
                    <a:cubicBezTo>
                      <a:pt x="2698444" y="90753"/>
                      <a:pt x="2700280" y="69063"/>
                      <a:pt x="2707371" y="54465"/>
                    </a:cubicBezTo>
                    <a:cubicBezTo>
                      <a:pt x="2710041" y="49626"/>
                      <a:pt x="2712711" y="45121"/>
                      <a:pt x="2715380" y="41618"/>
                    </a:cubicBezTo>
                    <a:cubicBezTo>
                      <a:pt x="2717633" y="38114"/>
                      <a:pt x="2720720" y="33192"/>
                      <a:pt x="2720219" y="31858"/>
                    </a:cubicBezTo>
                    <a:cubicBezTo>
                      <a:pt x="2720219" y="31858"/>
                      <a:pt x="2719301" y="29605"/>
                      <a:pt x="2710458" y="25184"/>
                    </a:cubicBezTo>
                    <a:cubicBezTo>
                      <a:pt x="2699363" y="19845"/>
                      <a:pt x="2693189" y="13672"/>
                      <a:pt x="2690936" y="5664"/>
                    </a:cubicBezTo>
                    <a:lnTo>
                      <a:pt x="2690936" y="5664"/>
                    </a:lnTo>
                    <a:cubicBezTo>
                      <a:pt x="2693272" y="5830"/>
                      <a:pt x="2689268" y="7582"/>
                      <a:pt x="2684846" y="933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74607063" name="Полилиния 442"/>
              <p:cNvSpPr/>
              <p:nvPr/>
            </p:nvSpPr>
            <p:spPr bwMode="auto">
              <a:xfrm>
                <a:off x="9310605" y="2038993"/>
                <a:ext cx="974836" cy="1328002"/>
              </a:xfrm>
              <a:custGeom>
                <a:avLst/>
                <a:gdLst>
                  <a:gd name="connsiteX0" fmla="*/ 617135 w 1094774"/>
                  <a:gd name="connsiteY0" fmla="*/ 39124 h 1491391"/>
                  <a:gd name="connsiteX1" fmla="*/ 594527 w 1094774"/>
                  <a:gd name="connsiteY1" fmla="*/ 54223 h 1491391"/>
                  <a:gd name="connsiteX2" fmla="*/ 567079 w 1094774"/>
                  <a:gd name="connsiteY2" fmla="*/ 58645 h 1491391"/>
                  <a:gd name="connsiteX3" fmla="*/ 559070 w 1094774"/>
                  <a:gd name="connsiteY3" fmla="*/ 59062 h 1491391"/>
                  <a:gd name="connsiteX4" fmla="*/ 523197 w 1094774"/>
                  <a:gd name="connsiteY4" fmla="*/ 67904 h 1491391"/>
                  <a:gd name="connsiteX5" fmla="*/ 508096 w 1094774"/>
                  <a:gd name="connsiteY5" fmla="*/ 78082 h 1491391"/>
                  <a:gd name="connsiteX6" fmla="*/ 504092 w 1094774"/>
                  <a:gd name="connsiteY6" fmla="*/ 84755 h 1491391"/>
                  <a:gd name="connsiteX7" fmla="*/ 499253 w 1094774"/>
                  <a:gd name="connsiteY7" fmla="*/ 92764 h 1491391"/>
                  <a:gd name="connsiteX8" fmla="*/ 447862 w 1094774"/>
                  <a:gd name="connsiteY8" fmla="*/ 109614 h 1491391"/>
                  <a:gd name="connsiteX9" fmla="*/ 443440 w 1094774"/>
                  <a:gd name="connsiteY9" fmla="*/ 109197 h 1491391"/>
                  <a:gd name="connsiteX10" fmla="*/ 417328 w 1094774"/>
                  <a:gd name="connsiteY10" fmla="*/ 110532 h 1491391"/>
                  <a:gd name="connsiteX11" fmla="*/ 402228 w 1094774"/>
                  <a:gd name="connsiteY11" fmla="*/ 118040 h 1491391"/>
                  <a:gd name="connsiteX12" fmla="*/ 372527 w 1094774"/>
                  <a:gd name="connsiteY12" fmla="*/ 135725 h 1491391"/>
                  <a:gd name="connsiteX13" fmla="*/ 346832 w 1094774"/>
                  <a:gd name="connsiteY13" fmla="*/ 145068 h 1491391"/>
                  <a:gd name="connsiteX14" fmla="*/ 342411 w 1094774"/>
                  <a:gd name="connsiteY14" fmla="*/ 144651 h 1491391"/>
                  <a:gd name="connsiteX15" fmla="*/ 316298 w 1094774"/>
                  <a:gd name="connsiteY15" fmla="*/ 124297 h 1491391"/>
                  <a:gd name="connsiteX16" fmla="*/ 306954 w 1094774"/>
                  <a:gd name="connsiteY16" fmla="*/ 113202 h 1491391"/>
                  <a:gd name="connsiteX17" fmla="*/ 271998 w 1094774"/>
                  <a:gd name="connsiteY17" fmla="*/ 104776 h 1491391"/>
                  <a:gd name="connsiteX18" fmla="*/ 248054 w 1094774"/>
                  <a:gd name="connsiteY18" fmla="*/ 111867 h 1491391"/>
                  <a:gd name="connsiteX19" fmla="*/ 257398 w 1094774"/>
                  <a:gd name="connsiteY19" fmla="*/ 115871 h 1491391"/>
                  <a:gd name="connsiteX20" fmla="*/ 258734 w 1094774"/>
                  <a:gd name="connsiteY20" fmla="*/ 117206 h 1491391"/>
                  <a:gd name="connsiteX21" fmla="*/ 262738 w 1094774"/>
                  <a:gd name="connsiteY21" fmla="*/ 120292 h 1491391"/>
                  <a:gd name="connsiteX22" fmla="*/ 271164 w 1094774"/>
                  <a:gd name="connsiteY22" fmla="*/ 127800 h 1491391"/>
                  <a:gd name="connsiteX23" fmla="*/ 276002 w 1094774"/>
                  <a:gd name="connsiteY23" fmla="*/ 137977 h 1491391"/>
                  <a:gd name="connsiteX24" fmla="*/ 267994 w 1094774"/>
                  <a:gd name="connsiteY24" fmla="*/ 161919 h 1491391"/>
                  <a:gd name="connsiteX25" fmla="*/ 264490 w 1094774"/>
                  <a:gd name="connsiteY25" fmla="*/ 170762 h 1491391"/>
                  <a:gd name="connsiteX26" fmla="*/ 261403 w 1094774"/>
                  <a:gd name="connsiteY26" fmla="*/ 179187 h 1491391"/>
                  <a:gd name="connsiteX27" fmla="*/ 257398 w 1094774"/>
                  <a:gd name="connsiteY27" fmla="*/ 196455 h 1491391"/>
                  <a:gd name="connsiteX28" fmla="*/ 259651 w 1094774"/>
                  <a:gd name="connsiteY28" fmla="*/ 206215 h 1491391"/>
                  <a:gd name="connsiteX29" fmla="*/ 259234 w 1094774"/>
                  <a:gd name="connsiteY29" fmla="*/ 234161 h 1491391"/>
                  <a:gd name="connsiteX30" fmla="*/ 226864 w 1094774"/>
                  <a:gd name="connsiteY30" fmla="*/ 241669 h 1491391"/>
                  <a:gd name="connsiteX31" fmla="*/ 204255 w 1094774"/>
                  <a:gd name="connsiteY31" fmla="*/ 246508 h 1491391"/>
                  <a:gd name="connsiteX32" fmla="*/ 203838 w 1094774"/>
                  <a:gd name="connsiteY32" fmla="*/ 255350 h 1491391"/>
                  <a:gd name="connsiteX33" fmla="*/ 201169 w 1094774"/>
                  <a:gd name="connsiteY33" fmla="*/ 273035 h 1491391"/>
                  <a:gd name="connsiteX34" fmla="*/ 183900 w 1094774"/>
                  <a:gd name="connsiteY34" fmla="*/ 288134 h 1491391"/>
                  <a:gd name="connsiteX35" fmla="*/ 177726 w 1094774"/>
                  <a:gd name="connsiteY35" fmla="*/ 291638 h 1491391"/>
                  <a:gd name="connsiteX36" fmla="*/ 126752 w 1094774"/>
                  <a:gd name="connsiteY36" fmla="*/ 339939 h 1491391"/>
                  <a:gd name="connsiteX37" fmla="*/ 116157 w 1094774"/>
                  <a:gd name="connsiteY37" fmla="*/ 361628 h 1491391"/>
                  <a:gd name="connsiteX38" fmla="*/ 127670 w 1094774"/>
                  <a:gd name="connsiteY38" fmla="*/ 371388 h 1491391"/>
                  <a:gd name="connsiteX39" fmla="*/ 144939 w 1094774"/>
                  <a:gd name="connsiteY39" fmla="*/ 386904 h 1491391"/>
                  <a:gd name="connsiteX40" fmla="*/ 138265 w 1094774"/>
                  <a:gd name="connsiteY40" fmla="*/ 408594 h 1491391"/>
                  <a:gd name="connsiteX41" fmla="*/ 131174 w 1094774"/>
                  <a:gd name="connsiteY41" fmla="*/ 420106 h 1491391"/>
                  <a:gd name="connsiteX42" fmla="*/ 148860 w 1094774"/>
                  <a:gd name="connsiteY42" fmla="*/ 461315 h 1491391"/>
                  <a:gd name="connsiteX43" fmla="*/ 170134 w 1094774"/>
                  <a:gd name="connsiteY43" fmla="*/ 522463 h 1491391"/>
                  <a:gd name="connsiteX44" fmla="*/ 191408 w 1094774"/>
                  <a:gd name="connsiteY44" fmla="*/ 572098 h 1491391"/>
                  <a:gd name="connsiteX45" fmla="*/ 194078 w 1094774"/>
                  <a:gd name="connsiteY45" fmla="*/ 575184 h 1491391"/>
                  <a:gd name="connsiteX46" fmla="*/ 209595 w 1094774"/>
                  <a:gd name="connsiteY46" fmla="*/ 587614 h 1491391"/>
                  <a:gd name="connsiteX47" fmla="*/ 218021 w 1094774"/>
                  <a:gd name="connsiteY47" fmla="*/ 590284 h 1491391"/>
                  <a:gd name="connsiteX48" fmla="*/ 240129 w 1094774"/>
                  <a:gd name="connsiteY48" fmla="*/ 602713 h 1491391"/>
                  <a:gd name="connsiteX49" fmla="*/ 239712 w 1094774"/>
                  <a:gd name="connsiteY49" fmla="*/ 662943 h 1491391"/>
                  <a:gd name="connsiteX50" fmla="*/ 228199 w 1094774"/>
                  <a:gd name="connsiteY50" fmla="*/ 673537 h 1491391"/>
                  <a:gd name="connsiteX51" fmla="*/ 219356 w 1094774"/>
                  <a:gd name="connsiteY51" fmla="*/ 681546 h 1491391"/>
                  <a:gd name="connsiteX52" fmla="*/ 214016 w 1094774"/>
                  <a:gd name="connsiteY52" fmla="*/ 699231 h 1491391"/>
                  <a:gd name="connsiteX53" fmla="*/ 212682 w 1094774"/>
                  <a:gd name="connsiteY53" fmla="*/ 709408 h 1491391"/>
                  <a:gd name="connsiteX54" fmla="*/ 203838 w 1094774"/>
                  <a:gd name="connsiteY54" fmla="*/ 730680 h 1491391"/>
                  <a:gd name="connsiteX55" fmla="*/ 198082 w 1094774"/>
                  <a:gd name="connsiteY55" fmla="*/ 756374 h 1491391"/>
                  <a:gd name="connsiteX56" fmla="*/ 199000 w 1094774"/>
                  <a:gd name="connsiteY56" fmla="*/ 760795 h 1491391"/>
                  <a:gd name="connsiteX57" fmla="*/ 190991 w 1094774"/>
                  <a:gd name="connsiteY57" fmla="*/ 789575 h 1491391"/>
                  <a:gd name="connsiteX58" fmla="*/ 148443 w 1094774"/>
                  <a:gd name="connsiteY58" fmla="*/ 793996 h 1491391"/>
                  <a:gd name="connsiteX59" fmla="*/ 134261 w 1094774"/>
                  <a:gd name="connsiteY59" fmla="*/ 782484 h 1491391"/>
                  <a:gd name="connsiteX60" fmla="*/ 126251 w 1094774"/>
                  <a:gd name="connsiteY60" fmla="*/ 775394 h 1491391"/>
                  <a:gd name="connsiteX61" fmla="*/ 125834 w 1094774"/>
                  <a:gd name="connsiteY61" fmla="*/ 775394 h 1491391"/>
                  <a:gd name="connsiteX62" fmla="*/ 119160 w 1094774"/>
                  <a:gd name="connsiteY62" fmla="*/ 780732 h 1491391"/>
                  <a:gd name="connsiteX63" fmla="*/ 113821 w 1094774"/>
                  <a:gd name="connsiteY63" fmla="*/ 796666 h 1491391"/>
                  <a:gd name="connsiteX64" fmla="*/ 110734 w 1094774"/>
                  <a:gd name="connsiteY64" fmla="*/ 808595 h 1491391"/>
                  <a:gd name="connsiteX65" fmla="*/ 86373 w 1094774"/>
                  <a:gd name="connsiteY65" fmla="*/ 843548 h 1491391"/>
                  <a:gd name="connsiteX66" fmla="*/ 68687 w 1094774"/>
                  <a:gd name="connsiteY66" fmla="*/ 853725 h 1491391"/>
                  <a:gd name="connsiteX67" fmla="*/ 46996 w 1094774"/>
                  <a:gd name="connsiteY67" fmla="*/ 875832 h 1491391"/>
                  <a:gd name="connsiteX68" fmla="*/ 66935 w 1094774"/>
                  <a:gd name="connsiteY68" fmla="*/ 888262 h 1491391"/>
                  <a:gd name="connsiteX69" fmla="*/ 98804 w 1094774"/>
                  <a:gd name="connsiteY69" fmla="*/ 914372 h 1491391"/>
                  <a:gd name="connsiteX70" fmla="*/ 96134 w 1094774"/>
                  <a:gd name="connsiteY70" fmla="*/ 939148 h 1491391"/>
                  <a:gd name="connsiteX71" fmla="*/ 62430 w 1094774"/>
                  <a:gd name="connsiteY71" fmla="*/ 951077 h 1491391"/>
                  <a:gd name="connsiteX72" fmla="*/ 44744 w 1094774"/>
                  <a:gd name="connsiteY72" fmla="*/ 957751 h 1491391"/>
                  <a:gd name="connsiteX73" fmla="*/ 41240 w 1094774"/>
                  <a:gd name="connsiteY73" fmla="*/ 965759 h 1491391"/>
                  <a:gd name="connsiteX74" fmla="*/ 27057 w 1094774"/>
                  <a:gd name="connsiteY74" fmla="*/ 983027 h 1491391"/>
                  <a:gd name="connsiteX75" fmla="*/ 15127 w 1094774"/>
                  <a:gd name="connsiteY75" fmla="*/ 986531 h 1491391"/>
                  <a:gd name="connsiteX76" fmla="*/ 3197 w 1094774"/>
                  <a:gd name="connsiteY76" fmla="*/ 991369 h 1491391"/>
                  <a:gd name="connsiteX77" fmla="*/ 4115 w 1094774"/>
                  <a:gd name="connsiteY77" fmla="*/ 1008637 h 1491391"/>
                  <a:gd name="connsiteX78" fmla="*/ 6785 w 1094774"/>
                  <a:gd name="connsiteY78" fmla="*/ 1019732 h 1491391"/>
                  <a:gd name="connsiteX79" fmla="*/ 3698 w 1094774"/>
                  <a:gd name="connsiteY79" fmla="*/ 1049847 h 1491391"/>
                  <a:gd name="connsiteX80" fmla="*/ 1445 w 1094774"/>
                  <a:gd name="connsiteY80" fmla="*/ 1058690 h 1491391"/>
                  <a:gd name="connsiteX81" fmla="*/ 110 w 1094774"/>
                  <a:gd name="connsiteY81" fmla="*/ 1066698 h 1491391"/>
                  <a:gd name="connsiteX82" fmla="*/ 3197 w 1094774"/>
                  <a:gd name="connsiteY82" fmla="*/ 1071119 h 1491391"/>
                  <a:gd name="connsiteX83" fmla="*/ 4949 w 1094774"/>
                  <a:gd name="connsiteY83" fmla="*/ 1073372 h 1491391"/>
                  <a:gd name="connsiteX84" fmla="*/ 19132 w 1094774"/>
                  <a:gd name="connsiteY84" fmla="*/ 1106156 h 1491391"/>
                  <a:gd name="connsiteX85" fmla="*/ 27557 w 1094774"/>
                  <a:gd name="connsiteY85" fmla="*/ 1133184 h 1491391"/>
                  <a:gd name="connsiteX86" fmla="*/ 32396 w 1094774"/>
                  <a:gd name="connsiteY86" fmla="*/ 1137605 h 1491391"/>
                  <a:gd name="connsiteX87" fmla="*/ 42157 w 1094774"/>
                  <a:gd name="connsiteY87" fmla="*/ 1148200 h 1491391"/>
                  <a:gd name="connsiteX88" fmla="*/ 45661 w 1094774"/>
                  <a:gd name="connsiteY88" fmla="*/ 1156208 h 1491391"/>
                  <a:gd name="connsiteX89" fmla="*/ 56757 w 1094774"/>
                  <a:gd name="connsiteY89" fmla="*/ 1169055 h 1491391"/>
                  <a:gd name="connsiteX90" fmla="*/ 89960 w 1094774"/>
                  <a:gd name="connsiteY90" fmla="*/ 1194331 h 1491391"/>
                  <a:gd name="connsiteX91" fmla="*/ 109483 w 1094774"/>
                  <a:gd name="connsiteY91" fmla="*/ 1210682 h 1491391"/>
                  <a:gd name="connsiteX92" fmla="*/ 114822 w 1094774"/>
                  <a:gd name="connsiteY92" fmla="*/ 1214186 h 1491391"/>
                  <a:gd name="connsiteX93" fmla="*/ 130339 w 1094774"/>
                  <a:gd name="connsiteY93" fmla="*/ 1227032 h 1491391"/>
                  <a:gd name="connsiteX94" fmla="*/ 134761 w 1094774"/>
                  <a:gd name="connsiteY94" fmla="*/ 1249139 h 1491391"/>
                  <a:gd name="connsiteX95" fmla="*/ 135178 w 1094774"/>
                  <a:gd name="connsiteY95" fmla="*/ 1260234 h 1491391"/>
                  <a:gd name="connsiteX96" fmla="*/ 140518 w 1094774"/>
                  <a:gd name="connsiteY96" fmla="*/ 1266407 h 1491391"/>
                  <a:gd name="connsiteX97" fmla="*/ 148526 w 1094774"/>
                  <a:gd name="connsiteY97" fmla="*/ 1271746 h 1491391"/>
                  <a:gd name="connsiteX98" fmla="*/ 160456 w 1094774"/>
                  <a:gd name="connsiteY98" fmla="*/ 1300109 h 1491391"/>
                  <a:gd name="connsiteX99" fmla="*/ 160873 w 1094774"/>
                  <a:gd name="connsiteY99" fmla="*/ 1308951 h 1491391"/>
                  <a:gd name="connsiteX100" fmla="*/ 182147 w 1094774"/>
                  <a:gd name="connsiteY100" fmla="*/ 1303612 h 1491391"/>
                  <a:gd name="connsiteX101" fmla="*/ 195412 w 1094774"/>
                  <a:gd name="connsiteY101" fmla="*/ 1293018 h 1491391"/>
                  <a:gd name="connsiteX102" fmla="*/ 200251 w 1094774"/>
                  <a:gd name="connsiteY102" fmla="*/ 1286344 h 1491391"/>
                  <a:gd name="connsiteX103" fmla="*/ 212181 w 1094774"/>
                  <a:gd name="connsiteY103" fmla="*/ 1272580 h 1491391"/>
                  <a:gd name="connsiteX104" fmla="*/ 252977 w 1094774"/>
                  <a:gd name="connsiteY104" fmla="*/ 1263737 h 1491391"/>
                  <a:gd name="connsiteX105" fmla="*/ 298612 w 1094774"/>
                  <a:gd name="connsiteY105" fmla="*/ 1270411 h 1491391"/>
                  <a:gd name="connsiteX106" fmla="*/ 327811 w 1094774"/>
                  <a:gd name="connsiteY106" fmla="*/ 1285009 h 1491391"/>
                  <a:gd name="connsiteX107" fmla="*/ 383623 w 1094774"/>
                  <a:gd name="connsiteY107" fmla="*/ 1325802 h 1491391"/>
                  <a:gd name="connsiteX108" fmla="*/ 395554 w 1094774"/>
                  <a:gd name="connsiteY108" fmla="*/ 1347992 h 1491391"/>
                  <a:gd name="connsiteX109" fmla="*/ 394218 w 1094774"/>
                  <a:gd name="connsiteY109" fmla="*/ 1354165 h 1491391"/>
                  <a:gd name="connsiteX110" fmla="*/ 393301 w 1094774"/>
                  <a:gd name="connsiteY110" fmla="*/ 1357252 h 1491391"/>
                  <a:gd name="connsiteX111" fmla="*/ 399975 w 1094774"/>
                  <a:gd name="connsiteY111" fmla="*/ 1367429 h 1491391"/>
                  <a:gd name="connsiteX112" fmla="*/ 410153 w 1094774"/>
                  <a:gd name="connsiteY112" fmla="*/ 1384697 h 1491391"/>
                  <a:gd name="connsiteX113" fmla="*/ 398640 w 1094774"/>
                  <a:gd name="connsiteY113" fmla="*/ 1411725 h 1491391"/>
                  <a:gd name="connsiteX114" fmla="*/ 396388 w 1094774"/>
                  <a:gd name="connsiteY114" fmla="*/ 1413978 h 1491391"/>
                  <a:gd name="connsiteX115" fmla="*/ 385793 w 1094774"/>
                  <a:gd name="connsiteY115" fmla="*/ 1460943 h 1491391"/>
                  <a:gd name="connsiteX116" fmla="*/ 403979 w 1094774"/>
                  <a:gd name="connsiteY116" fmla="*/ 1478629 h 1491391"/>
                  <a:gd name="connsiteX117" fmla="*/ 422583 w 1094774"/>
                  <a:gd name="connsiteY117" fmla="*/ 1477711 h 1491391"/>
                  <a:gd name="connsiteX118" fmla="*/ 436349 w 1094774"/>
                  <a:gd name="connsiteY118" fmla="*/ 1464447 h 1491391"/>
                  <a:gd name="connsiteX119" fmla="*/ 452701 w 1094774"/>
                  <a:gd name="connsiteY119" fmla="*/ 1448514 h 1491391"/>
                  <a:gd name="connsiteX120" fmla="*/ 486405 w 1094774"/>
                  <a:gd name="connsiteY120" fmla="*/ 1445844 h 1491391"/>
                  <a:gd name="connsiteX121" fmla="*/ 494414 w 1094774"/>
                  <a:gd name="connsiteY121" fmla="*/ 1449348 h 1491391"/>
                  <a:gd name="connsiteX122" fmla="*/ 506344 w 1094774"/>
                  <a:gd name="connsiteY122" fmla="*/ 1453769 h 1491391"/>
                  <a:gd name="connsiteX123" fmla="*/ 514353 w 1094774"/>
                  <a:gd name="connsiteY123" fmla="*/ 1449348 h 1491391"/>
                  <a:gd name="connsiteX124" fmla="*/ 521444 w 1094774"/>
                  <a:gd name="connsiteY124" fmla="*/ 1444510 h 1491391"/>
                  <a:gd name="connsiteX125" fmla="*/ 556400 w 1094774"/>
                  <a:gd name="connsiteY125" fmla="*/ 1447179 h 1491391"/>
                  <a:gd name="connsiteX126" fmla="*/ 579009 w 1094774"/>
                  <a:gd name="connsiteY126" fmla="*/ 1469286 h 1491391"/>
                  <a:gd name="connsiteX127" fmla="*/ 594110 w 1094774"/>
                  <a:gd name="connsiteY127" fmla="*/ 1491392 h 1491391"/>
                  <a:gd name="connsiteX128" fmla="*/ 598531 w 1094774"/>
                  <a:gd name="connsiteY128" fmla="*/ 1488305 h 1491391"/>
                  <a:gd name="connsiteX129" fmla="*/ 629065 w 1094774"/>
                  <a:gd name="connsiteY129" fmla="*/ 1470120 h 1491391"/>
                  <a:gd name="connsiteX130" fmla="*/ 637074 w 1094774"/>
                  <a:gd name="connsiteY130" fmla="*/ 1443091 h 1491391"/>
                  <a:gd name="connsiteX131" fmla="*/ 707486 w 1094774"/>
                  <a:gd name="connsiteY131" fmla="*/ 1390370 h 1491391"/>
                  <a:gd name="connsiteX132" fmla="*/ 696891 w 1094774"/>
                  <a:gd name="connsiteY132" fmla="*/ 1381944 h 1491391"/>
                  <a:gd name="connsiteX133" fmla="*/ 678704 w 1094774"/>
                  <a:gd name="connsiteY133" fmla="*/ 1377523 h 1491391"/>
                  <a:gd name="connsiteX134" fmla="*/ 679622 w 1094774"/>
                  <a:gd name="connsiteY134" fmla="*/ 1357168 h 1491391"/>
                  <a:gd name="connsiteX135" fmla="*/ 678704 w 1094774"/>
                  <a:gd name="connsiteY135" fmla="*/ 1327971 h 1491391"/>
                  <a:gd name="connsiteX136" fmla="*/ 773060 w 1094774"/>
                  <a:gd name="connsiteY136" fmla="*/ 1241130 h 1491391"/>
                  <a:gd name="connsiteX137" fmla="*/ 801008 w 1094774"/>
                  <a:gd name="connsiteY137" fmla="*/ 1199086 h 1491391"/>
                  <a:gd name="connsiteX138" fmla="*/ 853733 w 1094774"/>
                  <a:gd name="connsiteY138" fmla="*/ 1203925 h 1491391"/>
                  <a:gd name="connsiteX139" fmla="*/ 894529 w 1094774"/>
                  <a:gd name="connsiteY139" fmla="*/ 1185739 h 1491391"/>
                  <a:gd name="connsiteX140" fmla="*/ 861326 w 1094774"/>
                  <a:gd name="connsiteY140" fmla="*/ 1227783 h 1491391"/>
                  <a:gd name="connsiteX141" fmla="*/ 855986 w 1094774"/>
                  <a:gd name="connsiteY141" fmla="*/ 1270745 h 1491391"/>
                  <a:gd name="connsiteX142" fmla="*/ 906960 w 1094774"/>
                  <a:gd name="connsiteY142" fmla="*/ 1254811 h 1491391"/>
                  <a:gd name="connsiteX143" fmla="*/ 926899 w 1094774"/>
                  <a:gd name="connsiteY143" fmla="*/ 1230453 h 1491391"/>
                  <a:gd name="connsiteX144" fmla="*/ 926899 w 1094774"/>
                  <a:gd name="connsiteY144" fmla="*/ 1202507 h 1491391"/>
                  <a:gd name="connsiteX145" fmla="*/ 961438 w 1094774"/>
                  <a:gd name="connsiteY145" fmla="*/ 1171474 h 1491391"/>
                  <a:gd name="connsiteX146" fmla="*/ 961021 w 1094774"/>
                  <a:gd name="connsiteY146" fmla="*/ 1149785 h 1491391"/>
                  <a:gd name="connsiteX147" fmla="*/ 958351 w 1094774"/>
                  <a:gd name="connsiteY147" fmla="*/ 1141359 h 1491391"/>
                  <a:gd name="connsiteX148" fmla="*/ 963690 w 1094774"/>
                  <a:gd name="connsiteY148" fmla="*/ 1125426 h 1491391"/>
                  <a:gd name="connsiteX149" fmla="*/ 978790 w 1094774"/>
                  <a:gd name="connsiteY149" fmla="*/ 1081547 h 1491391"/>
                  <a:gd name="connsiteX150" fmla="*/ 1015581 w 1094774"/>
                  <a:gd name="connsiteY150" fmla="*/ 1063361 h 1491391"/>
                  <a:gd name="connsiteX151" fmla="*/ 1012078 w 1094774"/>
                  <a:gd name="connsiteY151" fmla="*/ 1042089 h 1491391"/>
                  <a:gd name="connsiteX152" fmla="*/ 1030682 w 1094774"/>
                  <a:gd name="connsiteY152" fmla="*/ 1019065 h 1491391"/>
                  <a:gd name="connsiteX153" fmla="*/ 989469 w 1094774"/>
                  <a:gd name="connsiteY153" fmla="*/ 981442 h 1491391"/>
                  <a:gd name="connsiteX154" fmla="*/ 975703 w 1094774"/>
                  <a:gd name="connsiteY154" fmla="*/ 996041 h 1491391"/>
                  <a:gd name="connsiteX155" fmla="*/ 980125 w 1094774"/>
                  <a:gd name="connsiteY155" fmla="*/ 1015561 h 1491391"/>
                  <a:gd name="connsiteX156" fmla="*/ 956682 w 1094774"/>
                  <a:gd name="connsiteY156" fmla="*/ 1029743 h 1491391"/>
                  <a:gd name="connsiteX157" fmla="*/ 942917 w 1094774"/>
                  <a:gd name="connsiteY157" fmla="*/ 1011140 h 1491391"/>
                  <a:gd name="connsiteX158" fmla="*/ 922977 w 1094774"/>
                  <a:gd name="connsiteY158" fmla="*/ 988116 h 1491391"/>
                  <a:gd name="connsiteX159" fmla="*/ 919891 w 1094774"/>
                  <a:gd name="connsiteY159" fmla="*/ 974852 h 1491391"/>
                  <a:gd name="connsiteX160" fmla="*/ 913717 w 1094774"/>
                  <a:gd name="connsiteY160" fmla="*/ 946906 h 1491391"/>
                  <a:gd name="connsiteX161" fmla="*/ 890275 w 1094774"/>
                  <a:gd name="connsiteY161" fmla="*/ 877333 h 1491391"/>
                  <a:gd name="connsiteX162" fmla="*/ 885435 w 1094774"/>
                  <a:gd name="connsiteY162" fmla="*/ 798084 h 1491391"/>
                  <a:gd name="connsiteX163" fmla="*/ 852232 w 1094774"/>
                  <a:gd name="connsiteY163" fmla="*/ 738272 h 1491391"/>
                  <a:gd name="connsiteX164" fmla="*/ 834045 w 1094774"/>
                  <a:gd name="connsiteY164" fmla="*/ 679794 h 1491391"/>
                  <a:gd name="connsiteX165" fmla="*/ 822532 w 1094774"/>
                  <a:gd name="connsiteY165" fmla="*/ 647010 h 1491391"/>
                  <a:gd name="connsiteX166" fmla="*/ 812771 w 1094774"/>
                  <a:gd name="connsiteY166" fmla="*/ 620899 h 1491391"/>
                  <a:gd name="connsiteX167" fmla="*/ 816275 w 1094774"/>
                  <a:gd name="connsiteY167" fmla="*/ 593871 h 1491391"/>
                  <a:gd name="connsiteX168" fmla="*/ 828205 w 1094774"/>
                  <a:gd name="connsiteY168" fmla="*/ 564173 h 1491391"/>
                  <a:gd name="connsiteX169" fmla="*/ 846392 w 1094774"/>
                  <a:gd name="connsiteY169" fmla="*/ 544235 h 1491391"/>
                  <a:gd name="connsiteX170" fmla="*/ 856987 w 1094774"/>
                  <a:gd name="connsiteY170" fmla="*/ 517207 h 1491391"/>
                  <a:gd name="connsiteX171" fmla="*/ 867583 w 1094774"/>
                  <a:gd name="connsiteY171" fmla="*/ 491097 h 1491391"/>
                  <a:gd name="connsiteX172" fmla="*/ 875091 w 1094774"/>
                  <a:gd name="connsiteY172" fmla="*/ 460064 h 1491391"/>
                  <a:gd name="connsiteX173" fmla="*/ 915386 w 1094774"/>
                  <a:gd name="connsiteY173" fmla="*/ 456560 h 1491391"/>
                  <a:gd name="connsiteX174" fmla="*/ 929151 w 1094774"/>
                  <a:gd name="connsiteY174" fmla="*/ 438375 h 1491391"/>
                  <a:gd name="connsiteX175" fmla="*/ 916720 w 1094774"/>
                  <a:gd name="connsiteY175" fmla="*/ 414016 h 1491391"/>
                  <a:gd name="connsiteX176" fmla="*/ 941081 w 1094774"/>
                  <a:gd name="connsiteY176" fmla="*/ 400752 h 1491391"/>
                  <a:gd name="connsiteX177" fmla="*/ 951677 w 1094774"/>
                  <a:gd name="connsiteY177" fmla="*/ 418938 h 1491391"/>
                  <a:gd name="connsiteX178" fmla="*/ 968946 w 1094774"/>
                  <a:gd name="connsiteY178" fmla="*/ 441545 h 1491391"/>
                  <a:gd name="connsiteX179" fmla="*/ 1007072 w 1094774"/>
                  <a:gd name="connsiteY179" fmla="*/ 486759 h 1491391"/>
                  <a:gd name="connsiteX180" fmla="*/ 1027428 w 1094774"/>
                  <a:gd name="connsiteY180" fmla="*/ 496519 h 1491391"/>
                  <a:gd name="connsiteX181" fmla="*/ 1037606 w 1094774"/>
                  <a:gd name="connsiteY181" fmla="*/ 478834 h 1491391"/>
                  <a:gd name="connsiteX182" fmla="*/ 1077484 w 1094774"/>
                  <a:gd name="connsiteY182" fmla="*/ 500523 h 1491391"/>
                  <a:gd name="connsiteX183" fmla="*/ 1089915 w 1094774"/>
                  <a:gd name="connsiteY183" fmla="*/ 481503 h 1491391"/>
                  <a:gd name="connsiteX184" fmla="*/ 1093002 w 1094774"/>
                  <a:gd name="connsiteY184" fmla="*/ 447801 h 1491391"/>
                  <a:gd name="connsiteX185" fmla="*/ 1083241 w 1094774"/>
                  <a:gd name="connsiteY185" fmla="*/ 421691 h 1491391"/>
                  <a:gd name="connsiteX186" fmla="*/ 1066889 w 1094774"/>
                  <a:gd name="connsiteY186" fmla="*/ 352118 h 1491391"/>
                  <a:gd name="connsiteX187" fmla="*/ 1060215 w 1094774"/>
                  <a:gd name="connsiteY187" fmla="*/ 318917 h 1491391"/>
                  <a:gd name="connsiteX188" fmla="*/ 1046449 w 1094774"/>
                  <a:gd name="connsiteY188" fmla="*/ 292806 h 1491391"/>
                  <a:gd name="connsiteX189" fmla="*/ 1043780 w 1094774"/>
                  <a:gd name="connsiteY189" fmla="*/ 284798 h 1491391"/>
                  <a:gd name="connsiteX190" fmla="*/ 1010576 w 1094774"/>
                  <a:gd name="connsiteY190" fmla="*/ 267530 h 1491391"/>
                  <a:gd name="connsiteX191" fmla="*/ 995059 w 1094774"/>
                  <a:gd name="connsiteY191" fmla="*/ 264443 h 1491391"/>
                  <a:gd name="connsiteX192" fmla="*/ 991554 w 1094774"/>
                  <a:gd name="connsiteY192" fmla="*/ 266695 h 1491391"/>
                  <a:gd name="connsiteX193" fmla="*/ 973368 w 1094774"/>
                  <a:gd name="connsiteY193" fmla="*/ 269782 h 1491391"/>
                  <a:gd name="connsiteX194" fmla="*/ 964024 w 1094774"/>
                  <a:gd name="connsiteY194" fmla="*/ 234328 h 1491391"/>
                  <a:gd name="connsiteX195" fmla="*/ 965359 w 1094774"/>
                  <a:gd name="connsiteY195" fmla="*/ 221481 h 1491391"/>
                  <a:gd name="connsiteX196" fmla="*/ 925063 w 1094774"/>
                  <a:gd name="connsiteY196" fmla="*/ 194453 h 1491391"/>
                  <a:gd name="connsiteX197" fmla="*/ 889190 w 1094774"/>
                  <a:gd name="connsiteY197" fmla="*/ 197123 h 1491391"/>
                  <a:gd name="connsiteX198" fmla="*/ 881181 w 1094774"/>
                  <a:gd name="connsiteY198" fmla="*/ 199375 h 1491391"/>
                  <a:gd name="connsiteX199" fmla="*/ 844390 w 1094774"/>
                  <a:gd name="connsiteY199" fmla="*/ 179021 h 1491391"/>
                  <a:gd name="connsiteX200" fmla="*/ 840385 w 1094774"/>
                  <a:gd name="connsiteY200" fmla="*/ 161335 h 1491391"/>
                  <a:gd name="connsiteX201" fmla="*/ 830625 w 1094774"/>
                  <a:gd name="connsiteY201" fmla="*/ 141815 h 1491391"/>
                  <a:gd name="connsiteX202" fmla="*/ 826202 w 1094774"/>
                  <a:gd name="connsiteY202" fmla="*/ 139145 h 1491391"/>
                  <a:gd name="connsiteX203" fmla="*/ 812020 w 1094774"/>
                  <a:gd name="connsiteY203" fmla="*/ 125381 h 1491391"/>
                  <a:gd name="connsiteX204" fmla="*/ 808516 w 1094774"/>
                  <a:gd name="connsiteY204" fmla="*/ 115204 h 1491391"/>
                  <a:gd name="connsiteX205" fmla="*/ 802760 w 1094774"/>
                  <a:gd name="connsiteY205" fmla="*/ 106361 h 1491391"/>
                  <a:gd name="connsiteX206" fmla="*/ 788577 w 1094774"/>
                  <a:gd name="connsiteY206" fmla="*/ 105026 h 1491391"/>
                  <a:gd name="connsiteX207" fmla="*/ 773060 w 1094774"/>
                  <a:gd name="connsiteY207" fmla="*/ 104109 h 1491391"/>
                  <a:gd name="connsiteX208" fmla="*/ 755791 w 1094774"/>
                  <a:gd name="connsiteY208" fmla="*/ 93014 h 1491391"/>
                  <a:gd name="connsiteX209" fmla="*/ 752704 w 1094774"/>
                  <a:gd name="connsiteY209" fmla="*/ 89927 h 1491391"/>
                  <a:gd name="connsiteX210" fmla="*/ 737187 w 1094774"/>
                  <a:gd name="connsiteY210" fmla="*/ 81085 h 1491391"/>
                  <a:gd name="connsiteX211" fmla="*/ 712826 w 1094774"/>
                  <a:gd name="connsiteY211" fmla="*/ 62899 h 1491391"/>
                  <a:gd name="connsiteX212" fmla="*/ 713743 w 1094774"/>
                  <a:gd name="connsiteY212" fmla="*/ 43379 h 1491391"/>
                  <a:gd name="connsiteX213" fmla="*/ 717747 w 1094774"/>
                  <a:gd name="connsiteY213" fmla="*/ 31867 h 1491391"/>
                  <a:gd name="connsiteX214" fmla="*/ 715078 w 1094774"/>
                  <a:gd name="connsiteY214" fmla="*/ 28363 h 1491391"/>
                  <a:gd name="connsiteX215" fmla="*/ 710656 w 1094774"/>
                  <a:gd name="connsiteY215" fmla="*/ 23525 h 1491391"/>
                  <a:gd name="connsiteX216" fmla="*/ 705818 w 1094774"/>
                  <a:gd name="connsiteY216" fmla="*/ 16434 h 1491391"/>
                  <a:gd name="connsiteX217" fmla="*/ 686296 w 1094774"/>
                  <a:gd name="connsiteY217" fmla="*/ 2252 h 1491391"/>
                  <a:gd name="connsiteX218" fmla="*/ 682792 w 1094774"/>
                  <a:gd name="connsiteY218" fmla="*/ 2669 h 1491391"/>
                  <a:gd name="connsiteX219" fmla="*/ 658848 w 1094774"/>
                  <a:gd name="connsiteY219" fmla="*/ 1335 h 1491391"/>
                  <a:gd name="connsiteX220" fmla="*/ 652675 w 1094774"/>
                  <a:gd name="connsiteY220" fmla="*/ 0 h 1491391"/>
                  <a:gd name="connsiteX221" fmla="*/ 617135 w 1094774"/>
                  <a:gd name="connsiteY221" fmla="*/ 39124 h 1491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094774" h="1491391" extrusionOk="0">
                    <a:moveTo>
                      <a:pt x="617135" y="39124"/>
                    </a:moveTo>
                    <a:cubicBezTo>
                      <a:pt x="610461" y="44463"/>
                      <a:pt x="603370" y="50636"/>
                      <a:pt x="594527" y="54223"/>
                    </a:cubicBezTo>
                    <a:cubicBezTo>
                      <a:pt x="585683" y="57727"/>
                      <a:pt x="576339" y="58228"/>
                      <a:pt x="567079" y="58645"/>
                    </a:cubicBezTo>
                    <a:cubicBezTo>
                      <a:pt x="564409" y="58645"/>
                      <a:pt x="561739" y="59062"/>
                      <a:pt x="559070" y="59062"/>
                    </a:cubicBezTo>
                    <a:cubicBezTo>
                      <a:pt x="546639" y="59979"/>
                      <a:pt x="534709" y="63066"/>
                      <a:pt x="523197" y="67904"/>
                    </a:cubicBezTo>
                    <a:cubicBezTo>
                      <a:pt x="518357" y="70157"/>
                      <a:pt x="512100" y="73243"/>
                      <a:pt x="508096" y="78082"/>
                    </a:cubicBezTo>
                    <a:cubicBezTo>
                      <a:pt x="506761" y="79833"/>
                      <a:pt x="505426" y="82086"/>
                      <a:pt x="504092" y="84755"/>
                    </a:cubicBezTo>
                    <a:cubicBezTo>
                      <a:pt x="502757" y="87425"/>
                      <a:pt x="501422" y="90094"/>
                      <a:pt x="499253" y="92764"/>
                    </a:cubicBezTo>
                    <a:cubicBezTo>
                      <a:pt x="489492" y="105610"/>
                      <a:pt x="473141" y="110949"/>
                      <a:pt x="447862" y="109614"/>
                    </a:cubicBezTo>
                    <a:lnTo>
                      <a:pt x="443440" y="109197"/>
                    </a:lnTo>
                    <a:cubicBezTo>
                      <a:pt x="434096" y="108780"/>
                      <a:pt x="425253" y="107863"/>
                      <a:pt x="417328" y="110532"/>
                    </a:cubicBezTo>
                    <a:cubicBezTo>
                      <a:pt x="412489" y="112284"/>
                      <a:pt x="407567" y="114954"/>
                      <a:pt x="402228" y="118040"/>
                    </a:cubicBezTo>
                    <a:lnTo>
                      <a:pt x="372527" y="135725"/>
                    </a:lnTo>
                    <a:cubicBezTo>
                      <a:pt x="366354" y="139729"/>
                      <a:pt x="357010" y="145068"/>
                      <a:pt x="346832" y="145068"/>
                    </a:cubicBezTo>
                    <a:cubicBezTo>
                      <a:pt x="345498" y="145068"/>
                      <a:pt x="343745" y="145068"/>
                      <a:pt x="342411" y="144651"/>
                    </a:cubicBezTo>
                    <a:cubicBezTo>
                      <a:pt x="329980" y="142399"/>
                      <a:pt x="322888" y="132722"/>
                      <a:pt x="316298" y="124297"/>
                    </a:cubicBezTo>
                    <a:cubicBezTo>
                      <a:pt x="313211" y="120292"/>
                      <a:pt x="310124" y="116288"/>
                      <a:pt x="306954" y="113202"/>
                    </a:cubicBezTo>
                    <a:cubicBezTo>
                      <a:pt x="298528" y="105694"/>
                      <a:pt x="286097" y="102607"/>
                      <a:pt x="271998" y="104776"/>
                    </a:cubicBezTo>
                    <a:cubicBezTo>
                      <a:pt x="263989" y="106111"/>
                      <a:pt x="256064" y="108780"/>
                      <a:pt x="248054" y="111867"/>
                    </a:cubicBezTo>
                    <a:lnTo>
                      <a:pt x="257398" y="115871"/>
                    </a:lnTo>
                    <a:cubicBezTo>
                      <a:pt x="257815" y="116288"/>
                      <a:pt x="258317" y="116789"/>
                      <a:pt x="258734" y="117206"/>
                    </a:cubicBezTo>
                    <a:cubicBezTo>
                      <a:pt x="259651" y="118124"/>
                      <a:pt x="260986" y="118958"/>
                      <a:pt x="262738" y="120292"/>
                    </a:cubicBezTo>
                    <a:cubicBezTo>
                      <a:pt x="265408" y="122545"/>
                      <a:pt x="268911" y="124714"/>
                      <a:pt x="271164" y="127800"/>
                    </a:cubicBezTo>
                    <a:cubicBezTo>
                      <a:pt x="273416" y="130887"/>
                      <a:pt x="275585" y="133973"/>
                      <a:pt x="276002" y="137977"/>
                    </a:cubicBezTo>
                    <a:cubicBezTo>
                      <a:pt x="276419" y="142816"/>
                      <a:pt x="272916" y="150824"/>
                      <a:pt x="267994" y="161919"/>
                    </a:cubicBezTo>
                    <a:cubicBezTo>
                      <a:pt x="266659" y="165923"/>
                      <a:pt x="264907" y="169010"/>
                      <a:pt x="264490" y="170762"/>
                    </a:cubicBezTo>
                    <a:cubicBezTo>
                      <a:pt x="263572" y="173848"/>
                      <a:pt x="262237" y="176518"/>
                      <a:pt x="261403" y="179187"/>
                    </a:cubicBezTo>
                    <a:cubicBezTo>
                      <a:pt x="259151" y="185360"/>
                      <a:pt x="256981" y="190282"/>
                      <a:pt x="257398" y="196455"/>
                    </a:cubicBezTo>
                    <a:cubicBezTo>
                      <a:pt x="257398" y="199125"/>
                      <a:pt x="258734" y="202628"/>
                      <a:pt x="259651" y="206215"/>
                    </a:cubicBezTo>
                    <a:cubicBezTo>
                      <a:pt x="262321" y="214641"/>
                      <a:pt x="265408" y="225235"/>
                      <a:pt x="259234" y="234161"/>
                    </a:cubicBezTo>
                    <a:cubicBezTo>
                      <a:pt x="251225" y="245673"/>
                      <a:pt x="237960" y="243504"/>
                      <a:pt x="226864" y="241669"/>
                    </a:cubicBezTo>
                    <a:cubicBezTo>
                      <a:pt x="214016" y="239417"/>
                      <a:pt x="207843" y="239000"/>
                      <a:pt x="204255" y="246508"/>
                    </a:cubicBezTo>
                    <a:cubicBezTo>
                      <a:pt x="203338" y="248760"/>
                      <a:pt x="203338" y="251846"/>
                      <a:pt x="203838" y="255350"/>
                    </a:cubicBezTo>
                    <a:cubicBezTo>
                      <a:pt x="204255" y="260689"/>
                      <a:pt x="204255" y="266862"/>
                      <a:pt x="201169" y="273035"/>
                    </a:cubicBezTo>
                    <a:cubicBezTo>
                      <a:pt x="197164" y="280126"/>
                      <a:pt x="190073" y="284547"/>
                      <a:pt x="183900" y="288134"/>
                    </a:cubicBezTo>
                    <a:cubicBezTo>
                      <a:pt x="181647" y="289052"/>
                      <a:pt x="179478" y="290387"/>
                      <a:pt x="177726" y="291638"/>
                    </a:cubicBezTo>
                    <a:cubicBezTo>
                      <a:pt x="158204" y="305820"/>
                      <a:pt x="139599" y="323505"/>
                      <a:pt x="126752" y="339939"/>
                    </a:cubicBezTo>
                    <a:cubicBezTo>
                      <a:pt x="121413" y="346612"/>
                      <a:pt x="114822" y="356289"/>
                      <a:pt x="116157" y="361628"/>
                    </a:cubicBezTo>
                    <a:cubicBezTo>
                      <a:pt x="117074" y="364714"/>
                      <a:pt x="120995" y="368302"/>
                      <a:pt x="127670" y="371388"/>
                    </a:cubicBezTo>
                    <a:cubicBezTo>
                      <a:pt x="138265" y="376227"/>
                      <a:pt x="143187" y="380731"/>
                      <a:pt x="144939" y="386904"/>
                    </a:cubicBezTo>
                    <a:cubicBezTo>
                      <a:pt x="147192" y="394913"/>
                      <a:pt x="142686" y="401503"/>
                      <a:pt x="138265" y="408594"/>
                    </a:cubicBezTo>
                    <a:cubicBezTo>
                      <a:pt x="136012" y="411680"/>
                      <a:pt x="133426" y="415684"/>
                      <a:pt x="131174" y="420106"/>
                    </a:cubicBezTo>
                    <a:cubicBezTo>
                      <a:pt x="127169" y="429449"/>
                      <a:pt x="124082" y="443130"/>
                      <a:pt x="148860" y="461315"/>
                    </a:cubicBezTo>
                    <a:cubicBezTo>
                      <a:pt x="175473" y="480335"/>
                      <a:pt x="174556" y="493683"/>
                      <a:pt x="170134" y="522463"/>
                    </a:cubicBezTo>
                    <a:cubicBezTo>
                      <a:pt x="167047" y="544152"/>
                      <a:pt x="174973" y="554329"/>
                      <a:pt x="191408" y="572098"/>
                    </a:cubicBezTo>
                    <a:lnTo>
                      <a:pt x="194078" y="575184"/>
                    </a:lnTo>
                    <a:cubicBezTo>
                      <a:pt x="199417" y="580523"/>
                      <a:pt x="203421" y="584945"/>
                      <a:pt x="209595" y="587614"/>
                    </a:cubicBezTo>
                    <a:cubicBezTo>
                      <a:pt x="212265" y="588949"/>
                      <a:pt x="215352" y="589366"/>
                      <a:pt x="218021" y="590284"/>
                    </a:cubicBezTo>
                    <a:cubicBezTo>
                      <a:pt x="225112" y="592035"/>
                      <a:pt x="233956" y="593787"/>
                      <a:pt x="240129" y="602713"/>
                    </a:cubicBezTo>
                    <a:cubicBezTo>
                      <a:pt x="250724" y="616895"/>
                      <a:pt x="250307" y="648344"/>
                      <a:pt x="239712" y="662943"/>
                    </a:cubicBezTo>
                    <a:cubicBezTo>
                      <a:pt x="236626" y="667781"/>
                      <a:pt x="231703" y="670951"/>
                      <a:pt x="228199" y="673537"/>
                    </a:cubicBezTo>
                    <a:cubicBezTo>
                      <a:pt x="224695" y="676207"/>
                      <a:pt x="221525" y="678376"/>
                      <a:pt x="219356" y="681546"/>
                    </a:cubicBezTo>
                    <a:cubicBezTo>
                      <a:pt x="215852" y="686884"/>
                      <a:pt x="214935" y="692641"/>
                      <a:pt x="214016" y="699231"/>
                    </a:cubicBezTo>
                    <a:cubicBezTo>
                      <a:pt x="213599" y="702734"/>
                      <a:pt x="213599" y="705904"/>
                      <a:pt x="212682" y="709408"/>
                    </a:cubicBezTo>
                    <a:cubicBezTo>
                      <a:pt x="210429" y="718251"/>
                      <a:pt x="206925" y="724924"/>
                      <a:pt x="203838" y="730680"/>
                    </a:cubicBezTo>
                    <a:cubicBezTo>
                      <a:pt x="199417" y="739106"/>
                      <a:pt x="195829" y="745279"/>
                      <a:pt x="198082" y="756374"/>
                    </a:cubicBezTo>
                    <a:cubicBezTo>
                      <a:pt x="198082" y="757709"/>
                      <a:pt x="198499" y="759460"/>
                      <a:pt x="199000" y="760795"/>
                    </a:cubicBezTo>
                    <a:cubicBezTo>
                      <a:pt x="201252" y="769638"/>
                      <a:pt x="203421" y="780732"/>
                      <a:pt x="190991" y="789575"/>
                    </a:cubicBezTo>
                    <a:cubicBezTo>
                      <a:pt x="182981" y="794914"/>
                      <a:pt x="158204" y="798001"/>
                      <a:pt x="148443" y="793996"/>
                    </a:cubicBezTo>
                    <a:cubicBezTo>
                      <a:pt x="142686" y="791327"/>
                      <a:pt x="138265" y="786906"/>
                      <a:pt x="134261" y="782484"/>
                    </a:cubicBezTo>
                    <a:cubicBezTo>
                      <a:pt x="131591" y="779815"/>
                      <a:pt x="128087" y="775394"/>
                      <a:pt x="126251" y="775394"/>
                    </a:cubicBezTo>
                    <a:lnTo>
                      <a:pt x="125834" y="775394"/>
                    </a:lnTo>
                    <a:cubicBezTo>
                      <a:pt x="125417" y="775394"/>
                      <a:pt x="123165" y="775811"/>
                      <a:pt x="119160" y="780732"/>
                    </a:cubicBezTo>
                    <a:cubicBezTo>
                      <a:pt x="116074" y="784737"/>
                      <a:pt x="114738" y="790493"/>
                      <a:pt x="113821" y="796666"/>
                    </a:cubicBezTo>
                    <a:cubicBezTo>
                      <a:pt x="112903" y="800670"/>
                      <a:pt x="112069" y="805091"/>
                      <a:pt x="110734" y="808595"/>
                    </a:cubicBezTo>
                    <a:cubicBezTo>
                      <a:pt x="106313" y="821442"/>
                      <a:pt x="97886" y="833371"/>
                      <a:pt x="86373" y="843548"/>
                    </a:cubicBezTo>
                    <a:cubicBezTo>
                      <a:pt x="81535" y="847052"/>
                      <a:pt x="75278" y="850639"/>
                      <a:pt x="68687" y="853725"/>
                    </a:cubicBezTo>
                    <a:cubicBezTo>
                      <a:pt x="50500" y="862568"/>
                      <a:pt x="43910" y="867490"/>
                      <a:pt x="46996" y="875832"/>
                    </a:cubicBezTo>
                    <a:cubicBezTo>
                      <a:pt x="49665" y="882923"/>
                      <a:pt x="56340" y="885175"/>
                      <a:pt x="66935" y="888262"/>
                    </a:cubicBezTo>
                    <a:cubicBezTo>
                      <a:pt x="78865" y="891348"/>
                      <a:pt x="94383" y="896270"/>
                      <a:pt x="98804" y="914372"/>
                    </a:cubicBezTo>
                    <a:cubicBezTo>
                      <a:pt x="101474" y="924967"/>
                      <a:pt x="100556" y="932975"/>
                      <a:pt x="96134" y="939148"/>
                    </a:cubicBezTo>
                    <a:cubicBezTo>
                      <a:pt x="89460" y="948908"/>
                      <a:pt x="74861" y="950243"/>
                      <a:pt x="62430" y="951077"/>
                    </a:cubicBezTo>
                    <a:cubicBezTo>
                      <a:pt x="55755" y="951494"/>
                      <a:pt x="48664" y="952829"/>
                      <a:pt x="44744" y="957751"/>
                    </a:cubicBezTo>
                    <a:cubicBezTo>
                      <a:pt x="42491" y="960420"/>
                      <a:pt x="42074" y="962589"/>
                      <a:pt x="41240" y="965759"/>
                    </a:cubicBezTo>
                    <a:cubicBezTo>
                      <a:pt x="39487" y="971098"/>
                      <a:pt x="37235" y="978189"/>
                      <a:pt x="27057" y="983027"/>
                    </a:cubicBezTo>
                    <a:cubicBezTo>
                      <a:pt x="23053" y="984779"/>
                      <a:pt x="19048" y="985697"/>
                      <a:pt x="15127" y="986531"/>
                    </a:cubicBezTo>
                    <a:cubicBezTo>
                      <a:pt x="9370" y="987866"/>
                      <a:pt x="5366" y="988783"/>
                      <a:pt x="3197" y="991369"/>
                    </a:cubicBezTo>
                    <a:cubicBezTo>
                      <a:pt x="528" y="995791"/>
                      <a:pt x="1445" y="1000713"/>
                      <a:pt x="4115" y="1008637"/>
                    </a:cubicBezTo>
                    <a:cubicBezTo>
                      <a:pt x="5449" y="1012141"/>
                      <a:pt x="6367" y="1016145"/>
                      <a:pt x="6785" y="1019732"/>
                    </a:cubicBezTo>
                    <a:cubicBezTo>
                      <a:pt x="8119" y="1031661"/>
                      <a:pt x="6367" y="1040087"/>
                      <a:pt x="3698" y="1049847"/>
                    </a:cubicBezTo>
                    <a:cubicBezTo>
                      <a:pt x="2779" y="1052517"/>
                      <a:pt x="2362" y="1055603"/>
                      <a:pt x="1445" y="1058690"/>
                    </a:cubicBezTo>
                    <a:cubicBezTo>
                      <a:pt x="528" y="1062193"/>
                      <a:pt x="-307" y="1065781"/>
                      <a:pt x="110" y="1066698"/>
                    </a:cubicBezTo>
                    <a:cubicBezTo>
                      <a:pt x="110" y="1067616"/>
                      <a:pt x="1862" y="1069367"/>
                      <a:pt x="3197" y="1071119"/>
                    </a:cubicBezTo>
                    <a:lnTo>
                      <a:pt x="4949" y="1073372"/>
                    </a:lnTo>
                    <a:cubicBezTo>
                      <a:pt x="16045" y="1086219"/>
                      <a:pt x="16879" y="1089722"/>
                      <a:pt x="19132" y="1106156"/>
                    </a:cubicBezTo>
                    <a:cubicBezTo>
                      <a:pt x="20466" y="1117251"/>
                      <a:pt x="22219" y="1126511"/>
                      <a:pt x="27557" y="1133184"/>
                    </a:cubicBezTo>
                    <a:cubicBezTo>
                      <a:pt x="29310" y="1134936"/>
                      <a:pt x="30644" y="1136271"/>
                      <a:pt x="32396" y="1137605"/>
                    </a:cubicBezTo>
                    <a:cubicBezTo>
                      <a:pt x="35483" y="1139858"/>
                      <a:pt x="39487" y="1142945"/>
                      <a:pt x="42157" y="1148200"/>
                    </a:cubicBezTo>
                    <a:cubicBezTo>
                      <a:pt x="43492" y="1151287"/>
                      <a:pt x="44827" y="1153539"/>
                      <a:pt x="45661" y="1156208"/>
                    </a:cubicBezTo>
                    <a:cubicBezTo>
                      <a:pt x="48331" y="1162882"/>
                      <a:pt x="49665" y="1165551"/>
                      <a:pt x="56757" y="1169055"/>
                    </a:cubicBezTo>
                    <a:cubicBezTo>
                      <a:pt x="70022" y="1176146"/>
                      <a:pt x="80200" y="1185405"/>
                      <a:pt x="89960" y="1194331"/>
                    </a:cubicBezTo>
                    <a:cubicBezTo>
                      <a:pt x="95717" y="1200088"/>
                      <a:pt x="102391" y="1205844"/>
                      <a:pt x="109483" y="1210682"/>
                    </a:cubicBezTo>
                    <a:cubicBezTo>
                      <a:pt x="111234" y="1211599"/>
                      <a:pt x="112570" y="1212934"/>
                      <a:pt x="114822" y="1214186"/>
                    </a:cubicBezTo>
                    <a:cubicBezTo>
                      <a:pt x="120161" y="1217272"/>
                      <a:pt x="126335" y="1221276"/>
                      <a:pt x="130339" y="1227032"/>
                    </a:cubicBezTo>
                    <a:cubicBezTo>
                      <a:pt x="135679" y="1235041"/>
                      <a:pt x="135178" y="1242966"/>
                      <a:pt x="134761" y="1249139"/>
                    </a:cubicBezTo>
                    <a:cubicBezTo>
                      <a:pt x="134344" y="1253143"/>
                      <a:pt x="133844" y="1257147"/>
                      <a:pt x="135178" y="1260234"/>
                    </a:cubicBezTo>
                    <a:cubicBezTo>
                      <a:pt x="136513" y="1263737"/>
                      <a:pt x="137431" y="1264655"/>
                      <a:pt x="140518" y="1266407"/>
                    </a:cubicBezTo>
                    <a:cubicBezTo>
                      <a:pt x="142770" y="1267741"/>
                      <a:pt x="145356" y="1269076"/>
                      <a:pt x="148526" y="1271746"/>
                    </a:cubicBezTo>
                    <a:cubicBezTo>
                      <a:pt x="159622" y="1281506"/>
                      <a:pt x="160039" y="1289014"/>
                      <a:pt x="160456" y="1300109"/>
                    </a:cubicBezTo>
                    <a:cubicBezTo>
                      <a:pt x="160456" y="1302778"/>
                      <a:pt x="160873" y="1305865"/>
                      <a:pt x="160873" y="1308951"/>
                    </a:cubicBezTo>
                    <a:cubicBezTo>
                      <a:pt x="168382" y="1308534"/>
                      <a:pt x="175473" y="1306699"/>
                      <a:pt x="182147" y="1303612"/>
                    </a:cubicBezTo>
                    <a:cubicBezTo>
                      <a:pt x="186987" y="1300943"/>
                      <a:pt x="191908" y="1297439"/>
                      <a:pt x="195412" y="1293018"/>
                    </a:cubicBezTo>
                    <a:cubicBezTo>
                      <a:pt x="197164" y="1290766"/>
                      <a:pt x="198916" y="1288597"/>
                      <a:pt x="200251" y="1286344"/>
                    </a:cubicBezTo>
                    <a:cubicBezTo>
                      <a:pt x="203755" y="1281506"/>
                      <a:pt x="207342" y="1276584"/>
                      <a:pt x="212181" y="1272580"/>
                    </a:cubicBezTo>
                    <a:cubicBezTo>
                      <a:pt x="224111" y="1262820"/>
                      <a:pt x="240963" y="1263237"/>
                      <a:pt x="252977" y="1263737"/>
                    </a:cubicBezTo>
                    <a:cubicBezTo>
                      <a:pt x="267159" y="1264154"/>
                      <a:pt x="283094" y="1265072"/>
                      <a:pt x="298612" y="1270411"/>
                    </a:cubicBezTo>
                    <a:cubicBezTo>
                      <a:pt x="309707" y="1273915"/>
                      <a:pt x="319468" y="1280171"/>
                      <a:pt x="327811" y="1285009"/>
                    </a:cubicBezTo>
                    <a:cubicBezTo>
                      <a:pt x="350419" y="1299191"/>
                      <a:pt x="368106" y="1312038"/>
                      <a:pt x="383623" y="1325802"/>
                    </a:cubicBezTo>
                    <a:cubicBezTo>
                      <a:pt x="387628" y="1329306"/>
                      <a:pt x="396471" y="1336897"/>
                      <a:pt x="395554" y="1347992"/>
                    </a:cubicBezTo>
                    <a:cubicBezTo>
                      <a:pt x="395554" y="1350662"/>
                      <a:pt x="395137" y="1352413"/>
                      <a:pt x="394218" y="1354165"/>
                    </a:cubicBezTo>
                    <a:cubicBezTo>
                      <a:pt x="393801" y="1355083"/>
                      <a:pt x="393801" y="1356418"/>
                      <a:pt x="393301" y="1357252"/>
                    </a:cubicBezTo>
                    <a:cubicBezTo>
                      <a:pt x="393301" y="1360338"/>
                      <a:pt x="395554" y="1363008"/>
                      <a:pt x="399975" y="1367429"/>
                    </a:cubicBezTo>
                    <a:cubicBezTo>
                      <a:pt x="403979" y="1372267"/>
                      <a:pt x="408818" y="1377189"/>
                      <a:pt x="410153" y="1384697"/>
                    </a:cubicBezTo>
                    <a:cubicBezTo>
                      <a:pt x="411905" y="1395792"/>
                      <a:pt x="404814" y="1404635"/>
                      <a:pt x="398640" y="1411725"/>
                    </a:cubicBezTo>
                    <a:lnTo>
                      <a:pt x="396388" y="1413978"/>
                    </a:lnTo>
                    <a:cubicBezTo>
                      <a:pt x="384457" y="1428159"/>
                      <a:pt x="380453" y="1446762"/>
                      <a:pt x="385793" y="1460943"/>
                    </a:cubicBezTo>
                    <a:cubicBezTo>
                      <a:pt x="388462" y="1468952"/>
                      <a:pt x="395554" y="1475542"/>
                      <a:pt x="403979" y="1478629"/>
                    </a:cubicBezTo>
                    <a:cubicBezTo>
                      <a:pt x="410654" y="1480881"/>
                      <a:pt x="417245" y="1480881"/>
                      <a:pt x="422583" y="1477711"/>
                    </a:cubicBezTo>
                    <a:cubicBezTo>
                      <a:pt x="427923" y="1474624"/>
                      <a:pt x="431927" y="1469703"/>
                      <a:pt x="436349" y="1464447"/>
                    </a:cubicBezTo>
                    <a:cubicBezTo>
                      <a:pt x="441187" y="1458691"/>
                      <a:pt x="446110" y="1452935"/>
                      <a:pt x="452701" y="1448514"/>
                    </a:cubicBezTo>
                    <a:cubicBezTo>
                      <a:pt x="462461" y="1442341"/>
                      <a:pt x="475727" y="1441423"/>
                      <a:pt x="486405" y="1445844"/>
                    </a:cubicBezTo>
                    <a:cubicBezTo>
                      <a:pt x="489492" y="1446762"/>
                      <a:pt x="491745" y="1448097"/>
                      <a:pt x="494414" y="1449348"/>
                    </a:cubicBezTo>
                    <a:cubicBezTo>
                      <a:pt x="499253" y="1452018"/>
                      <a:pt x="503257" y="1454186"/>
                      <a:pt x="506344" y="1453769"/>
                    </a:cubicBezTo>
                    <a:cubicBezTo>
                      <a:pt x="509014" y="1453352"/>
                      <a:pt x="511183" y="1451517"/>
                      <a:pt x="514353" y="1449348"/>
                    </a:cubicBezTo>
                    <a:cubicBezTo>
                      <a:pt x="516606" y="1447596"/>
                      <a:pt x="518774" y="1445844"/>
                      <a:pt x="521444" y="1444510"/>
                    </a:cubicBezTo>
                    <a:cubicBezTo>
                      <a:pt x="532040" y="1439171"/>
                      <a:pt x="545388" y="1440505"/>
                      <a:pt x="556400" y="1447179"/>
                    </a:cubicBezTo>
                    <a:cubicBezTo>
                      <a:pt x="565744" y="1452518"/>
                      <a:pt x="572752" y="1460943"/>
                      <a:pt x="579009" y="1469286"/>
                    </a:cubicBezTo>
                    <a:cubicBezTo>
                      <a:pt x="584348" y="1476376"/>
                      <a:pt x="589187" y="1483467"/>
                      <a:pt x="594110" y="1491392"/>
                    </a:cubicBezTo>
                    <a:cubicBezTo>
                      <a:pt x="595444" y="1490474"/>
                      <a:pt x="597196" y="1489140"/>
                      <a:pt x="598531" y="1488305"/>
                    </a:cubicBezTo>
                    <a:cubicBezTo>
                      <a:pt x="608709" y="1482549"/>
                      <a:pt x="619388" y="1477210"/>
                      <a:pt x="629065" y="1470120"/>
                    </a:cubicBezTo>
                    <a:cubicBezTo>
                      <a:pt x="643665" y="1459525"/>
                      <a:pt x="639243" y="1457690"/>
                      <a:pt x="637074" y="1443091"/>
                    </a:cubicBezTo>
                    <a:cubicBezTo>
                      <a:pt x="630900" y="1394374"/>
                      <a:pt x="697725" y="1427992"/>
                      <a:pt x="707486" y="1390370"/>
                    </a:cubicBezTo>
                    <a:cubicBezTo>
                      <a:pt x="710573" y="1378440"/>
                      <a:pt x="703982" y="1382361"/>
                      <a:pt x="696891" y="1381944"/>
                    </a:cubicBezTo>
                    <a:cubicBezTo>
                      <a:pt x="687548" y="1381944"/>
                      <a:pt x="686713" y="1389452"/>
                      <a:pt x="678704" y="1377523"/>
                    </a:cubicBezTo>
                    <a:cubicBezTo>
                      <a:pt x="672531" y="1368180"/>
                      <a:pt x="676451" y="1365594"/>
                      <a:pt x="679622" y="1357168"/>
                    </a:cubicBezTo>
                    <a:cubicBezTo>
                      <a:pt x="685378" y="1342069"/>
                      <a:pt x="683125" y="1343904"/>
                      <a:pt x="678704" y="1327971"/>
                    </a:cubicBezTo>
                    <a:cubicBezTo>
                      <a:pt x="663604" y="1271746"/>
                      <a:pt x="746947" y="1269493"/>
                      <a:pt x="773060" y="1241130"/>
                    </a:cubicBezTo>
                    <a:cubicBezTo>
                      <a:pt x="784573" y="1228284"/>
                      <a:pt x="786324" y="1208763"/>
                      <a:pt x="801008" y="1199086"/>
                    </a:cubicBezTo>
                    <a:cubicBezTo>
                      <a:pt x="820947" y="1185823"/>
                      <a:pt x="834212" y="1207929"/>
                      <a:pt x="853733" y="1203925"/>
                    </a:cubicBezTo>
                    <a:cubicBezTo>
                      <a:pt x="864329" y="1201672"/>
                      <a:pt x="883434" y="1169806"/>
                      <a:pt x="894529" y="1185739"/>
                    </a:cubicBezTo>
                    <a:cubicBezTo>
                      <a:pt x="906042" y="1202090"/>
                      <a:pt x="869251" y="1219441"/>
                      <a:pt x="861326" y="1227783"/>
                    </a:cubicBezTo>
                    <a:cubicBezTo>
                      <a:pt x="850730" y="1238378"/>
                      <a:pt x="841803" y="1258816"/>
                      <a:pt x="855986" y="1270745"/>
                    </a:cubicBezTo>
                    <a:cubicBezTo>
                      <a:pt x="874173" y="1286261"/>
                      <a:pt x="895447" y="1268492"/>
                      <a:pt x="906960" y="1254811"/>
                    </a:cubicBezTo>
                    <a:cubicBezTo>
                      <a:pt x="912716" y="1247721"/>
                      <a:pt x="922894" y="1239295"/>
                      <a:pt x="926899" y="1230453"/>
                    </a:cubicBezTo>
                    <a:cubicBezTo>
                      <a:pt x="931737" y="1219858"/>
                      <a:pt x="925564" y="1213185"/>
                      <a:pt x="926899" y="1202507"/>
                    </a:cubicBezTo>
                    <a:cubicBezTo>
                      <a:pt x="930403" y="1182152"/>
                      <a:pt x="952594" y="1186156"/>
                      <a:pt x="961438" y="1171474"/>
                    </a:cubicBezTo>
                    <a:cubicBezTo>
                      <a:pt x="965859" y="1163466"/>
                      <a:pt x="961438" y="1157710"/>
                      <a:pt x="961021" y="1149785"/>
                    </a:cubicBezTo>
                    <a:cubicBezTo>
                      <a:pt x="961021" y="1147116"/>
                      <a:pt x="958351" y="1144446"/>
                      <a:pt x="958351" y="1141359"/>
                    </a:cubicBezTo>
                    <a:cubicBezTo>
                      <a:pt x="958351" y="1135603"/>
                      <a:pt x="963189" y="1131599"/>
                      <a:pt x="963690" y="1125426"/>
                    </a:cubicBezTo>
                    <a:cubicBezTo>
                      <a:pt x="964608" y="1105906"/>
                      <a:pt x="949508" y="1085968"/>
                      <a:pt x="978790" y="1081547"/>
                    </a:cubicBezTo>
                    <a:cubicBezTo>
                      <a:pt x="994307" y="1079295"/>
                      <a:pt x="1012495" y="1084633"/>
                      <a:pt x="1015581" y="1063361"/>
                    </a:cubicBezTo>
                    <a:cubicBezTo>
                      <a:pt x="1016917" y="1055853"/>
                      <a:pt x="1011160" y="1048763"/>
                      <a:pt x="1012078" y="1042089"/>
                    </a:cubicBezTo>
                    <a:cubicBezTo>
                      <a:pt x="1013412" y="1032329"/>
                      <a:pt x="1024508" y="1025739"/>
                      <a:pt x="1030682" y="1019065"/>
                    </a:cubicBezTo>
                    <a:cubicBezTo>
                      <a:pt x="1065220" y="982277"/>
                      <a:pt x="1024008" y="950827"/>
                      <a:pt x="989469" y="981442"/>
                    </a:cubicBezTo>
                    <a:cubicBezTo>
                      <a:pt x="985464" y="984529"/>
                      <a:pt x="976622" y="990785"/>
                      <a:pt x="975703" y="996041"/>
                    </a:cubicBezTo>
                    <a:cubicBezTo>
                      <a:pt x="974369" y="1003549"/>
                      <a:pt x="982378" y="1008470"/>
                      <a:pt x="980125" y="1015561"/>
                    </a:cubicBezTo>
                    <a:cubicBezTo>
                      <a:pt x="977039" y="1024904"/>
                      <a:pt x="963773" y="1032412"/>
                      <a:pt x="956682" y="1029743"/>
                    </a:cubicBezTo>
                    <a:cubicBezTo>
                      <a:pt x="950925" y="1027073"/>
                      <a:pt x="946504" y="1016479"/>
                      <a:pt x="942917" y="1011140"/>
                    </a:cubicBezTo>
                    <a:cubicBezTo>
                      <a:pt x="937160" y="1002715"/>
                      <a:pt x="928317" y="996041"/>
                      <a:pt x="922977" y="988116"/>
                    </a:cubicBezTo>
                    <a:cubicBezTo>
                      <a:pt x="917639" y="980108"/>
                      <a:pt x="920308" y="982360"/>
                      <a:pt x="919891" y="974852"/>
                    </a:cubicBezTo>
                    <a:cubicBezTo>
                      <a:pt x="918973" y="963340"/>
                      <a:pt x="919474" y="958001"/>
                      <a:pt x="913717" y="946906"/>
                    </a:cubicBezTo>
                    <a:cubicBezTo>
                      <a:pt x="901286" y="923882"/>
                      <a:pt x="893778" y="903528"/>
                      <a:pt x="890275" y="877333"/>
                    </a:cubicBezTo>
                    <a:cubicBezTo>
                      <a:pt x="886771" y="852057"/>
                      <a:pt x="892527" y="822443"/>
                      <a:pt x="885435" y="798084"/>
                    </a:cubicBezTo>
                    <a:cubicBezTo>
                      <a:pt x="878761" y="772808"/>
                      <a:pt x="854901" y="766217"/>
                      <a:pt x="852232" y="738272"/>
                    </a:cubicBezTo>
                    <a:cubicBezTo>
                      <a:pt x="849562" y="712161"/>
                      <a:pt x="853984" y="698396"/>
                      <a:pt x="834045" y="679794"/>
                    </a:cubicBezTo>
                    <a:cubicBezTo>
                      <a:pt x="821614" y="668699"/>
                      <a:pt x="824284" y="661608"/>
                      <a:pt x="822532" y="647010"/>
                    </a:cubicBezTo>
                    <a:cubicBezTo>
                      <a:pt x="821197" y="636415"/>
                      <a:pt x="814523" y="630659"/>
                      <a:pt x="812771" y="620899"/>
                    </a:cubicBezTo>
                    <a:cubicBezTo>
                      <a:pt x="811019" y="612056"/>
                      <a:pt x="815441" y="602713"/>
                      <a:pt x="816275" y="593871"/>
                    </a:cubicBezTo>
                    <a:cubicBezTo>
                      <a:pt x="817610" y="581441"/>
                      <a:pt x="818528" y="573933"/>
                      <a:pt x="828205" y="564173"/>
                    </a:cubicBezTo>
                    <a:cubicBezTo>
                      <a:pt x="835296" y="556665"/>
                      <a:pt x="841470" y="553996"/>
                      <a:pt x="846392" y="544235"/>
                    </a:cubicBezTo>
                    <a:cubicBezTo>
                      <a:pt x="850396" y="534892"/>
                      <a:pt x="851731" y="526050"/>
                      <a:pt x="856987" y="517207"/>
                    </a:cubicBezTo>
                    <a:cubicBezTo>
                      <a:pt x="862744" y="507447"/>
                      <a:pt x="866748" y="503026"/>
                      <a:pt x="867583" y="491097"/>
                    </a:cubicBezTo>
                    <a:cubicBezTo>
                      <a:pt x="868500" y="480002"/>
                      <a:pt x="865330" y="468490"/>
                      <a:pt x="875091" y="460064"/>
                    </a:cubicBezTo>
                    <a:cubicBezTo>
                      <a:pt x="890608" y="446300"/>
                      <a:pt x="899035" y="468490"/>
                      <a:pt x="915386" y="456560"/>
                    </a:cubicBezTo>
                    <a:cubicBezTo>
                      <a:pt x="920225" y="453057"/>
                      <a:pt x="928651" y="445048"/>
                      <a:pt x="929151" y="438375"/>
                    </a:cubicBezTo>
                    <a:cubicBezTo>
                      <a:pt x="930069" y="428615"/>
                      <a:pt x="918973" y="422858"/>
                      <a:pt x="916720" y="414016"/>
                    </a:cubicBezTo>
                    <a:cubicBezTo>
                      <a:pt x="913217" y="396331"/>
                      <a:pt x="928234" y="391826"/>
                      <a:pt x="941081" y="400752"/>
                    </a:cubicBezTo>
                    <a:cubicBezTo>
                      <a:pt x="949508" y="406925"/>
                      <a:pt x="946838" y="411847"/>
                      <a:pt x="951677" y="418938"/>
                    </a:cubicBezTo>
                    <a:cubicBezTo>
                      <a:pt x="957851" y="427363"/>
                      <a:pt x="964108" y="431785"/>
                      <a:pt x="968946" y="441545"/>
                    </a:cubicBezTo>
                    <a:cubicBezTo>
                      <a:pt x="977789" y="460148"/>
                      <a:pt x="988885" y="476081"/>
                      <a:pt x="1007072" y="486759"/>
                    </a:cubicBezTo>
                    <a:cubicBezTo>
                      <a:pt x="1010158" y="489011"/>
                      <a:pt x="1022589" y="497854"/>
                      <a:pt x="1027428" y="496519"/>
                    </a:cubicBezTo>
                    <a:cubicBezTo>
                      <a:pt x="1034102" y="494767"/>
                      <a:pt x="1033602" y="483255"/>
                      <a:pt x="1037606" y="478834"/>
                    </a:cubicBezTo>
                    <a:cubicBezTo>
                      <a:pt x="1052206" y="460231"/>
                      <a:pt x="1066806" y="490763"/>
                      <a:pt x="1077484" y="500523"/>
                    </a:cubicBezTo>
                    <a:cubicBezTo>
                      <a:pt x="1099592" y="520460"/>
                      <a:pt x="1089915" y="497019"/>
                      <a:pt x="1089915" y="481503"/>
                    </a:cubicBezTo>
                    <a:cubicBezTo>
                      <a:pt x="1089915" y="467739"/>
                      <a:pt x="1098341" y="462483"/>
                      <a:pt x="1093002" y="447801"/>
                    </a:cubicBezTo>
                    <a:cubicBezTo>
                      <a:pt x="1088997" y="438959"/>
                      <a:pt x="1084575" y="432285"/>
                      <a:pt x="1083241" y="421691"/>
                    </a:cubicBezTo>
                    <a:cubicBezTo>
                      <a:pt x="1080154" y="398249"/>
                      <a:pt x="1076150" y="374308"/>
                      <a:pt x="1066889" y="352118"/>
                    </a:cubicBezTo>
                    <a:cubicBezTo>
                      <a:pt x="1061133" y="338354"/>
                      <a:pt x="1062467" y="333098"/>
                      <a:pt x="1060215" y="318917"/>
                    </a:cubicBezTo>
                    <a:cubicBezTo>
                      <a:pt x="1058880" y="307822"/>
                      <a:pt x="1051372" y="302566"/>
                      <a:pt x="1046449" y="292806"/>
                    </a:cubicBezTo>
                    <a:cubicBezTo>
                      <a:pt x="1045115" y="289719"/>
                      <a:pt x="1044197" y="287050"/>
                      <a:pt x="1043780" y="284798"/>
                    </a:cubicBezTo>
                    <a:cubicBezTo>
                      <a:pt x="1032267" y="282128"/>
                      <a:pt x="1022506" y="276372"/>
                      <a:pt x="1010576" y="267530"/>
                    </a:cubicBezTo>
                    <a:cubicBezTo>
                      <a:pt x="1003484" y="262191"/>
                      <a:pt x="1002150" y="262191"/>
                      <a:pt x="995059" y="264443"/>
                    </a:cubicBezTo>
                    <a:cubicBezTo>
                      <a:pt x="994141" y="264860"/>
                      <a:pt x="992806" y="265778"/>
                      <a:pt x="991554" y="266695"/>
                    </a:cubicBezTo>
                    <a:cubicBezTo>
                      <a:pt x="988050" y="269365"/>
                      <a:pt x="981793" y="273786"/>
                      <a:pt x="973368" y="269782"/>
                    </a:cubicBezTo>
                    <a:cubicBezTo>
                      <a:pt x="958268" y="263108"/>
                      <a:pt x="961855" y="245423"/>
                      <a:pt x="964024" y="234328"/>
                    </a:cubicBezTo>
                    <a:cubicBezTo>
                      <a:pt x="964942" y="229490"/>
                      <a:pt x="965776" y="224151"/>
                      <a:pt x="965359" y="221481"/>
                    </a:cubicBezTo>
                    <a:cubicBezTo>
                      <a:pt x="962689" y="211721"/>
                      <a:pt x="939246" y="198040"/>
                      <a:pt x="925063" y="194453"/>
                    </a:cubicBezTo>
                    <a:cubicBezTo>
                      <a:pt x="910881" y="190449"/>
                      <a:pt x="902038" y="193118"/>
                      <a:pt x="889190" y="197123"/>
                    </a:cubicBezTo>
                    <a:lnTo>
                      <a:pt x="881181" y="199375"/>
                    </a:lnTo>
                    <a:cubicBezTo>
                      <a:pt x="863911" y="204213"/>
                      <a:pt x="851481" y="197123"/>
                      <a:pt x="844390" y="179021"/>
                    </a:cubicBezTo>
                    <a:cubicBezTo>
                      <a:pt x="841720" y="172347"/>
                      <a:pt x="841303" y="166591"/>
                      <a:pt x="840385" y="161335"/>
                    </a:cubicBezTo>
                    <a:cubicBezTo>
                      <a:pt x="839050" y="152493"/>
                      <a:pt x="838633" y="146737"/>
                      <a:pt x="830625" y="141815"/>
                    </a:cubicBezTo>
                    <a:cubicBezTo>
                      <a:pt x="828872" y="140480"/>
                      <a:pt x="827538" y="140063"/>
                      <a:pt x="826202" y="139145"/>
                    </a:cubicBezTo>
                    <a:cubicBezTo>
                      <a:pt x="820863" y="136059"/>
                      <a:pt x="816442" y="133389"/>
                      <a:pt x="812020" y="125381"/>
                    </a:cubicBezTo>
                    <a:cubicBezTo>
                      <a:pt x="810268" y="121377"/>
                      <a:pt x="809351" y="117873"/>
                      <a:pt x="808516" y="115204"/>
                    </a:cubicBezTo>
                    <a:cubicBezTo>
                      <a:pt x="807181" y="110782"/>
                      <a:pt x="806764" y="108530"/>
                      <a:pt x="802760" y="106361"/>
                    </a:cubicBezTo>
                    <a:cubicBezTo>
                      <a:pt x="799256" y="104609"/>
                      <a:pt x="793917" y="104609"/>
                      <a:pt x="788577" y="105026"/>
                    </a:cubicBezTo>
                    <a:cubicBezTo>
                      <a:pt x="783238" y="105026"/>
                      <a:pt x="777982" y="105443"/>
                      <a:pt x="773060" y="104109"/>
                    </a:cubicBezTo>
                    <a:cubicBezTo>
                      <a:pt x="764216" y="101857"/>
                      <a:pt x="760212" y="97435"/>
                      <a:pt x="755791" y="93014"/>
                    </a:cubicBezTo>
                    <a:cubicBezTo>
                      <a:pt x="754872" y="92096"/>
                      <a:pt x="754038" y="90762"/>
                      <a:pt x="752704" y="89927"/>
                    </a:cubicBezTo>
                    <a:cubicBezTo>
                      <a:pt x="749617" y="86841"/>
                      <a:pt x="743360" y="84171"/>
                      <a:pt x="737187" y="81085"/>
                    </a:cubicBezTo>
                    <a:cubicBezTo>
                      <a:pt x="727008" y="76663"/>
                      <a:pt x="716830" y="71742"/>
                      <a:pt x="712826" y="62899"/>
                    </a:cubicBezTo>
                    <a:cubicBezTo>
                      <a:pt x="709322" y="55808"/>
                      <a:pt x="711908" y="48717"/>
                      <a:pt x="713743" y="43379"/>
                    </a:cubicBezTo>
                    <a:cubicBezTo>
                      <a:pt x="715078" y="40292"/>
                      <a:pt x="716413" y="37206"/>
                      <a:pt x="717747" y="31867"/>
                    </a:cubicBezTo>
                    <a:cubicBezTo>
                      <a:pt x="717747" y="30532"/>
                      <a:pt x="717330" y="29614"/>
                      <a:pt x="715078" y="28363"/>
                    </a:cubicBezTo>
                    <a:cubicBezTo>
                      <a:pt x="713743" y="27028"/>
                      <a:pt x="711991" y="25694"/>
                      <a:pt x="710656" y="23525"/>
                    </a:cubicBezTo>
                    <a:cubicBezTo>
                      <a:pt x="708905" y="21272"/>
                      <a:pt x="707153" y="18686"/>
                      <a:pt x="705818" y="16434"/>
                    </a:cubicBezTo>
                    <a:cubicBezTo>
                      <a:pt x="699143" y="6674"/>
                      <a:pt x="696474" y="2252"/>
                      <a:pt x="686296" y="2252"/>
                    </a:cubicBezTo>
                    <a:lnTo>
                      <a:pt x="682792" y="2669"/>
                    </a:lnTo>
                    <a:cubicBezTo>
                      <a:pt x="674783" y="3087"/>
                      <a:pt x="666440" y="3587"/>
                      <a:pt x="658848" y="1335"/>
                    </a:cubicBezTo>
                    <a:lnTo>
                      <a:pt x="652675" y="0"/>
                    </a:lnTo>
                    <a:cubicBezTo>
                      <a:pt x="644583" y="14765"/>
                      <a:pt x="631318" y="27195"/>
                      <a:pt x="617135" y="3912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  <a:alpha val="30000"/>
                </a:scheme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  <p:grpSp>
          <p:nvGrpSpPr>
            <p:cNvPr id="728493970" name="Группа 2"/>
            <p:cNvGrpSpPr/>
            <p:nvPr/>
          </p:nvGrpSpPr>
          <p:grpSpPr bwMode="auto">
            <a:xfrm>
              <a:off x="2275120" y="375825"/>
              <a:ext cx="8343499" cy="4393270"/>
              <a:chOff x="2275120" y="375825"/>
              <a:chExt cx="8343499" cy="4393270"/>
            </a:xfrm>
          </p:grpSpPr>
          <p:sp>
            <p:nvSpPr>
              <p:cNvPr id="1838044931" name="Полилиния 444"/>
              <p:cNvSpPr/>
              <p:nvPr/>
            </p:nvSpPr>
            <p:spPr bwMode="auto">
              <a:xfrm>
                <a:off x="7800539" y="2607787"/>
                <a:ext cx="41213" cy="31621"/>
              </a:xfrm>
              <a:custGeom>
                <a:avLst/>
                <a:gdLst>
                  <a:gd name="connsiteX0" fmla="*/ 8988 w 46285"/>
                  <a:gd name="connsiteY0" fmla="*/ 10320 h 35513"/>
                  <a:gd name="connsiteX1" fmla="*/ 16496 w 46285"/>
                  <a:gd name="connsiteY1" fmla="*/ 12990 h 35513"/>
                  <a:gd name="connsiteX2" fmla="*/ 18249 w 46285"/>
                  <a:gd name="connsiteY2" fmla="*/ 16493 h 35513"/>
                  <a:gd name="connsiteX3" fmla="*/ 22670 w 46285"/>
                  <a:gd name="connsiteY3" fmla="*/ 19997 h 35513"/>
                  <a:gd name="connsiteX4" fmla="*/ 25340 w 46285"/>
                  <a:gd name="connsiteY4" fmla="*/ 26671 h 35513"/>
                  <a:gd name="connsiteX5" fmla="*/ 29344 w 46285"/>
                  <a:gd name="connsiteY5" fmla="*/ 33344 h 35513"/>
                  <a:gd name="connsiteX6" fmla="*/ 36853 w 46285"/>
                  <a:gd name="connsiteY6" fmla="*/ 35096 h 35513"/>
                  <a:gd name="connsiteX7" fmla="*/ 39940 w 46285"/>
                  <a:gd name="connsiteY7" fmla="*/ 35513 h 35513"/>
                  <a:gd name="connsiteX8" fmla="*/ 43026 w 46285"/>
                  <a:gd name="connsiteY8" fmla="*/ 35513 h 35513"/>
                  <a:gd name="connsiteX9" fmla="*/ 46113 w 46285"/>
                  <a:gd name="connsiteY9" fmla="*/ 32010 h 35513"/>
                  <a:gd name="connsiteX10" fmla="*/ 45695 w 46285"/>
                  <a:gd name="connsiteY10" fmla="*/ 27171 h 35513"/>
                  <a:gd name="connsiteX11" fmla="*/ 43443 w 46285"/>
                  <a:gd name="connsiteY11" fmla="*/ 24502 h 35513"/>
                  <a:gd name="connsiteX12" fmla="*/ 41191 w 46285"/>
                  <a:gd name="connsiteY12" fmla="*/ 24502 h 35513"/>
                  <a:gd name="connsiteX13" fmla="*/ 34100 w 46285"/>
                  <a:gd name="connsiteY13" fmla="*/ 22750 h 35513"/>
                  <a:gd name="connsiteX14" fmla="*/ 30095 w 46285"/>
                  <a:gd name="connsiteY14" fmla="*/ 16577 h 35513"/>
                  <a:gd name="connsiteX15" fmla="*/ 29677 w 46285"/>
                  <a:gd name="connsiteY15" fmla="*/ 14324 h 35513"/>
                  <a:gd name="connsiteX16" fmla="*/ 27926 w 46285"/>
                  <a:gd name="connsiteY16" fmla="*/ 12990 h 35513"/>
                  <a:gd name="connsiteX17" fmla="*/ 25673 w 46285"/>
                  <a:gd name="connsiteY17" fmla="*/ 11238 h 35513"/>
                  <a:gd name="connsiteX18" fmla="*/ 23921 w 46285"/>
                  <a:gd name="connsiteY18" fmla="*/ 10821 h 35513"/>
                  <a:gd name="connsiteX19" fmla="*/ 12409 w 46285"/>
                  <a:gd name="connsiteY19" fmla="*/ 5065 h 35513"/>
                  <a:gd name="connsiteX20" fmla="*/ 7986 w 46285"/>
                  <a:gd name="connsiteY20" fmla="*/ 1061 h 35513"/>
                  <a:gd name="connsiteX21" fmla="*/ 2648 w 46285"/>
                  <a:gd name="connsiteY21" fmla="*/ 643 h 35513"/>
                  <a:gd name="connsiteX22" fmla="*/ 8988 w 46285"/>
                  <a:gd name="connsiteY22" fmla="*/ 10320 h 35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6285" h="35513" extrusionOk="0">
                    <a:moveTo>
                      <a:pt x="8988" y="10320"/>
                    </a:moveTo>
                    <a:cubicBezTo>
                      <a:pt x="11657" y="10737"/>
                      <a:pt x="14744" y="10737"/>
                      <a:pt x="16496" y="12990"/>
                    </a:cubicBezTo>
                    <a:cubicBezTo>
                      <a:pt x="17414" y="13907"/>
                      <a:pt x="17831" y="15242"/>
                      <a:pt x="18249" y="16493"/>
                    </a:cubicBezTo>
                    <a:cubicBezTo>
                      <a:pt x="19583" y="18245"/>
                      <a:pt x="21335" y="18746"/>
                      <a:pt x="22670" y="19997"/>
                    </a:cubicBezTo>
                    <a:cubicBezTo>
                      <a:pt x="24005" y="21332"/>
                      <a:pt x="24422" y="24418"/>
                      <a:pt x="25340" y="26671"/>
                    </a:cubicBezTo>
                    <a:cubicBezTo>
                      <a:pt x="26257" y="29340"/>
                      <a:pt x="27091" y="31509"/>
                      <a:pt x="29344" y="33344"/>
                    </a:cubicBezTo>
                    <a:cubicBezTo>
                      <a:pt x="31597" y="34679"/>
                      <a:pt x="34183" y="35096"/>
                      <a:pt x="36853" y="35096"/>
                    </a:cubicBezTo>
                    <a:cubicBezTo>
                      <a:pt x="37770" y="35096"/>
                      <a:pt x="39105" y="35096"/>
                      <a:pt x="39940" y="35513"/>
                    </a:cubicBezTo>
                    <a:cubicBezTo>
                      <a:pt x="40857" y="35513"/>
                      <a:pt x="41691" y="35513"/>
                      <a:pt x="43026" y="35513"/>
                    </a:cubicBezTo>
                    <a:cubicBezTo>
                      <a:pt x="44778" y="35096"/>
                      <a:pt x="45695" y="33261"/>
                      <a:pt x="46113" y="32010"/>
                    </a:cubicBezTo>
                    <a:cubicBezTo>
                      <a:pt x="46530" y="30258"/>
                      <a:pt x="46113" y="28506"/>
                      <a:pt x="45695" y="27171"/>
                    </a:cubicBezTo>
                    <a:cubicBezTo>
                      <a:pt x="45278" y="25836"/>
                      <a:pt x="44361" y="24919"/>
                      <a:pt x="43443" y="24502"/>
                    </a:cubicBezTo>
                    <a:cubicBezTo>
                      <a:pt x="42525" y="24502"/>
                      <a:pt x="42108" y="24502"/>
                      <a:pt x="41191" y="24502"/>
                    </a:cubicBezTo>
                    <a:cubicBezTo>
                      <a:pt x="38521" y="24919"/>
                      <a:pt x="36352" y="24085"/>
                      <a:pt x="34100" y="22750"/>
                    </a:cubicBezTo>
                    <a:cubicBezTo>
                      <a:pt x="31847" y="21415"/>
                      <a:pt x="30596" y="19246"/>
                      <a:pt x="30095" y="16577"/>
                    </a:cubicBezTo>
                    <a:cubicBezTo>
                      <a:pt x="30095" y="15659"/>
                      <a:pt x="29677" y="15242"/>
                      <a:pt x="29677" y="14324"/>
                    </a:cubicBezTo>
                    <a:cubicBezTo>
                      <a:pt x="29260" y="13407"/>
                      <a:pt x="28760" y="13407"/>
                      <a:pt x="27926" y="12990"/>
                    </a:cubicBezTo>
                    <a:cubicBezTo>
                      <a:pt x="27008" y="12573"/>
                      <a:pt x="26591" y="11655"/>
                      <a:pt x="25673" y="11238"/>
                    </a:cubicBezTo>
                    <a:cubicBezTo>
                      <a:pt x="25256" y="10821"/>
                      <a:pt x="24339" y="10821"/>
                      <a:pt x="23921" y="10821"/>
                    </a:cubicBezTo>
                    <a:cubicBezTo>
                      <a:pt x="19500" y="9903"/>
                      <a:pt x="15912" y="8151"/>
                      <a:pt x="12409" y="5065"/>
                    </a:cubicBezTo>
                    <a:cubicBezTo>
                      <a:pt x="11073" y="3730"/>
                      <a:pt x="9739" y="2395"/>
                      <a:pt x="7986" y="1061"/>
                    </a:cubicBezTo>
                    <a:cubicBezTo>
                      <a:pt x="6235" y="-274"/>
                      <a:pt x="3982" y="-274"/>
                      <a:pt x="2648" y="643"/>
                    </a:cubicBezTo>
                    <a:cubicBezTo>
                      <a:pt x="-4778" y="4147"/>
                      <a:pt x="5400" y="9903"/>
                      <a:pt x="8988" y="1032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88925878" name="Полилиния 445"/>
              <p:cNvSpPr/>
              <p:nvPr/>
            </p:nvSpPr>
            <p:spPr bwMode="auto">
              <a:xfrm>
                <a:off x="3505761" y="2802384"/>
                <a:ext cx="1218603" cy="733779"/>
              </a:xfrm>
              <a:custGeom>
                <a:avLst/>
                <a:gdLst>
                  <a:gd name="connsiteX0" fmla="*/ 6174 w 1368533"/>
                  <a:gd name="connsiteY0" fmla="*/ 348114 h 824058"/>
                  <a:gd name="connsiteX1" fmla="*/ 0 w 1368533"/>
                  <a:gd name="connsiteY1" fmla="*/ 321086 h 824058"/>
                  <a:gd name="connsiteX2" fmla="*/ 13265 w 1368533"/>
                  <a:gd name="connsiteY2" fmla="*/ 313077 h 824058"/>
                  <a:gd name="connsiteX3" fmla="*/ 50890 w 1368533"/>
                  <a:gd name="connsiteY3" fmla="*/ 225819 h 824058"/>
                  <a:gd name="connsiteX4" fmla="*/ 48221 w 1368533"/>
                  <a:gd name="connsiteY4" fmla="*/ 192618 h 824058"/>
                  <a:gd name="connsiteX5" fmla="*/ 86764 w 1368533"/>
                  <a:gd name="connsiteY5" fmla="*/ 166925 h 824058"/>
                  <a:gd name="connsiteX6" fmla="*/ 121303 w 1368533"/>
                  <a:gd name="connsiteY6" fmla="*/ 135475 h 824058"/>
                  <a:gd name="connsiteX7" fmla="*/ 155007 w 1368533"/>
                  <a:gd name="connsiteY7" fmla="*/ 108030 h 824058"/>
                  <a:gd name="connsiteX8" fmla="*/ 174946 w 1368533"/>
                  <a:gd name="connsiteY8" fmla="*/ 70824 h 824058"/>
                  <a:gd name="connsiteX9" fmla="*/ 165185 w 1368533"/>
                  <a:gd name="connsiteY9" fmla="*/ 36288 h 824058"/>
                  <a:gd name="connsiteX10" fmla="*/ 164768 w 1368533"/>
                  <a:gd name="connsiteY10" fmla="*/ 4838 h 824058"/>
                  <a:gd name="connsiteX11" fmla="*/ 186459 w 1368533"/>
                  <a:gd name="connsiteY11" fmla="*/ 10177 h 824058"/>
                  <a:gd name="connsiteX12" fmla="*/ 201559 w 1368533"/>
                  <a:gd name="connsiteY12" fmla="*/ 43379 h 824058"/>
                  <a:gd name="connsiteX13" fmla="*/ 238350 w 1368533"/>
                  <a:gd name="connsiteY13" fmla="*/ 63316 h 824058"/>
                  <a:gd name="connsiteX14" fmla="*/ 270220 w 1368533"/>
                  <a:gd name="connsiteY14" fmla="*/ 97018 h 824058"/>
                  <a:gd name="connsiteX15" fmla="*/ 270637 w 1368533"/>
                  <a:gd name="connsiteY15" fmla="*/ 136476 h 824058"/>
                  <a:gd name="connsiteX16" fmla="*/ 275976 w 1368533"/>
                  <a:gd name="connsiteY16" fmla="*/ 180355 h 824058"/>
                  <a:gd name="connsiteX17" fmla="*/ 260459 w 1368533"/>
                  <a:gd name="connsiteY17" fmla="*/ 216226 h 824058"/>
                  <a:gd name="connsiteX18" fmla="*/ 240520 w 1368533"/>
                  <a:gd name="connsiteY18" fmla="*/ 233911 h 824058"/>
                  <a:gd name="connsiteX19" fmla="*/ 228089 w 1368533"/>
                  <a:gd name="connsiteY19" fmla="*/ 219313 h 824058"/>
                  <a:gd name="connsiteX20" fmla="*/ 205981 w 1368533"/>
                  <a:gd name="connsiteY20" fmla="*/ 211304 h 824058"/>
                  <a:gd name="connsiteX21" fmla="*/ 163433 w 1368533"/>
                  <a:gd name="connsiteY21" fmla="*/ 205965 h 824058"/>
                  <a:gd name="connsiteX22" fmla="*/ 128477 w 1368533"/>
                  <a:gd name="connsiteY22" fmla="*/ 218395 h 824058"/>
                  <a:gd name="connsiteX23" fmla="*/ 124473 w 1368533"/>
                  <a:gd name="connsiteY23" fmla="*/ 260439 h 824058"/>
                  <a:gd name="connsiteX24" fmla="*/ 125808 w 1368533"/>
                  <a:gd name="connsiteY24" fmla="*/ 295392 h 824058"/>
                  <a:gd name="connsiteX25" fmla="*/ 144829 w 1368533"/>
                  <a:gd name="connsiteY25" fmla="*/ 366717 h 824058"/>
                  <a:gd name="connsiteX26" fmla="*/ 198890 w 1368533"/>
                  <a:gd name="connsiteY26" fmla="*/ 385319 h 824058"/>
                  <a:gd name="connsiteX27" fmla="*/ 239185 w 1368533"/>
                  <a:gd name="connsiteY27" fmla="*/ 374225 h 824058"/>
                  <a:gd name="connsiteX28" fmla="*/ 310098 w 1368533"/>
                  <a:gd name="connsiteY28" fmla="*/ 311325 h 824058"/>
                  <a:gd name="connsiteX29" fmla="*/ 343302 w 1368533"/>
                  <a:gd name="connsiteY29" fmla="*/ 326842 h 824058"/>
                  <a:gd name="connsiteX30" fmla="*/ 354397 w 1368533"/>
                  <a:gd name="connsiteY30" fmla="*/ 335684 h 824058"/>
                  <a:gd name="connsiteX31" fmla="*/ 357067 w 1368533"/>
                  <a:gd name="connsiteY31" fmla="*/ 325090 h 824058"/>
                  <a:gd name="connsiteX32" fmla="*/ 369498 w 1368533"/>
                  <a:gd name="connsiteY32" fmla="*/ 297644 h 824058"/>
                  <a:gd name="connsiteX33" fmla="*/ 378341 w 1368533"/>
                  <a:gd name="connsiteY33" fmla="*/ 310491 h 824058"/>
                  <a:gd name="connsiteX34" fmla="*/ 393858 w 1368533"/>
                  <a:gd name="connsiteY34" fmla="*/ 317165 h 824058"/>
                  <a:gd name="connsiteX35" fmla="*/ 444832 w 1368533"/>
                  <a:gd name="connsiteY35" fmla="*/ 314495 h 824058"/>
                  <a:gd name="connsiteX36" fmla="*/ 491384 w 1368533"/>
                  <a:gd name="connsiteY36" fmla="*/ 305653 h 824058"/>
                  <a:gd name="connsiteX37" fmla="*/ 515328 w 1368533"/>
                  <a:gd name="connsiteY37" fmla="*/ 304318 h 824058"/>
                  <a:gd name="connsiteX38" fmla="*/ 530845 w 1368533"/>
                  <a:gd name="connsiteY38" fmla="*/ 311409 h 824058"/>
                  <a:gd name="connsiteX39" fmla="*/ 555206 w 1368533"/>
                  <a:gd name="connsiteY39" fmla="*/ 312744 h 824058"/>
                  <a:gd name="connsiteX40" fmla="*/ 580484 w 1368533"/>
                  <a:gd name="connsiteY40" fmla="*/ 315830 h 824058"/>
                  <a:gd name="connsiteX41" fmla="*/ 607931 w 1368533"/>
                  <a:gd name="connsiteY41" fmla="*/ 332180 h 824058"/>
                  <a:gd name="connsiteX42" fmla="*/ 600840 w 1368533"/>
                  <a:gd name="connsiteY42" fmla="*/ 359209 h 824058"/>
                  <a:gd name="connsiteX43" fmla="*/ 624784 w 1368533"/>
                  <a:gd name="connsiteY43" fmla="*/ 340189 h 824058"/>
                  <a:gd name="connsiteX44" fmla="*/ 652732 w 1368533"/>
                  <a:gd name="connsiteY44" fmla="*/ 309657 h 824058"/>
                  <a:gd name="connsiteX45" fmla="*/ 748005 w 1368533"/>
                  <a:gd name="connsiteY45" fmla="*/ 312744 h 824058"/>
                  <a:gd name="connsiteX46" fmla="*/ 765692 w 1368533"/>
                  <a:gd name="connsiteY46" fmla="*/ 325173 h 824058"/>
                  <a:gd name="connsiteX47" fmla="*/ 740413 w 1368533"/>
                  <a:gd name="connsiteY47" fmla="*/ 317665 h 824058"/>
                  <a:gd name="connsiteX48" fmla="*/ 699200 w 1368533"/>
                  <a:gd name="connsiteY48" fmla="*/ 367301 h 824058"/>
                  <a:gd name="connsiteX49" fmla="*/ 680596 w 1368533"/>
                  <a:gd name="connsiteY49" fmla="*/ 395246 h 824058"/>
                  <a:gd name="connsiteX50" fmla="*/ 653149 w 1368533"/>
                  <a:gd name="connsiteY50" fmla="*/ 390825 h 824058"/>
                  <a:gd name="connsiteX51" fmla="*/ 709378 w 1368533"/>
                  <a:gd name="connsiteY51" fmla="*/ 439543 h 824058"/>
                  <a:gd name="connsiteX52" fmla="*/ 786048 w 1368533"/>
                  <a:gd name="connsiteY52" fmla="*/ 415184 h 824058"/>
                  <a:gd name="connsiteX53" fmla="*/ 874230 w 1368533"/>
                  <a:gd name="connsiteY53" fmla="*/ 461733 h 824058"/>
                  <a:gd name="connsiteX54" fmla="*/ 911856 w 1368533"/>
                  <a:gd name="connsiteY54" fmla="*/ 458646 h 824058"/>
                  <a:gd name="connsiteX55" fmla="*/ 930042 w 1368533"/>
                  <a:gd name="connsiteY55" fmla="*/ 458229 h 824058"/>
                  <a:gd name="connsiteX56" fmla="*/ 947312 w 1368533"/>
                  <a:gd name="connsiteY56" fmla="*/ 451555 h 824058"/>
                  <a:gd name="connsiteX57" fmla="*/ 953986 w 1368533"/>
                  <a:gd name="connsiteY57" fmla="*/ 463484 h 824058"/>
                  <a:gd name="connsiteX58" fmla="*/ 954903 w 1368533"/>
                  <a:gd name="connsiteY58" fmla="*/ 468323 h 824058"/>
                  <a:gd name="connsiteX59" fmla="*/ 955821 w 1368533"/>
                  <a:gd name="connsiteY59" fmla="*/ 471827 h 824058"/>
                  <a:gd name="connsiteX60" fmla="*/ 956238 w 1368533"/>
                  <a:gd name="connsiteY60" fmla="*/ 473161 h 824058"/>
                  <a:gd name="connsiteX61" fmla="*/ 958908 w 1368533"/>
                  <a:gd name="connsiteY61" fmla="*/ 474079 h 824058"/>
                  <a:gd name="connsiteX62" fmla="*/ 963330 w 1368533"/>
                  <a:gd name="connsiteY62" fmla="*/ 468740 h 824058"/>
                  <a:gd name="connsiteX63" fmla="*/ 967751 w 1368533"/>
                  <a:gd name="connsiteY63" fmla="*/ 459397 h 824058"/>
                  <a:gd name="connsiteX64" fmla="*/ 974843 w 1368533"/>
                  <a:gd name="connsiteY64" fmla="*/ 447468 h 824058"/>
                  <a:gd name="connsiteX65" fmla="*/ 1009799 w 1368533"/>
                  <a:gd name="connsiteY65" fmla="*/ 453641 h 824058"/>
                  <a:gd name="connsiteX66" fmla="*/ 1018642 w 1368533"/>
                  <a:gd name="connsiteY66" fmla="*/ 492181 h 824058"/>
                  <a:gd name="connsiteX67" fmla="*/ 988525 w 1368533"/>
                  <a:gd name="connsiteY67" fmla="*/ 522713 h 824058"/>
                  <a:gd name="connsiteX68" fmla="*/ 993363 w 1368533"/>
                  <a:gd name="connsiteY68" fmla="*/ 560336 h 824058"/>
                  <a:gd name="connsiteX69" fmla="*/ 1038581 w 1368533"/>
                  <a:gd name="connsiteY69" fmla="*/ 533307 h 824058"/>
                  <a:gd name="connsiteX70" fmla="*/ 1081546 w 1368533"/>
                  <a:gd name="connsiteY70" fmla="*/ 528886 h 824058"/>
                  <a:gd name="connsiteX71" fmla="*/ 1117002 w 1368533"/>
                  <a:gd name="connsiteY71" fmla="*/ 501858 h 824058"/>
                  <a:gd name="connsiteX72" fmla="*/ 1122758 w 1368533"/>
                  <a:gd name="connsiteY72" fmla="*/ 466404 h 824058"/>
                  <a:gd name="connsiteX73" fmla="*/ 1118754 w 1368533"/>
                  <a:gd name="connsiteY73" fmla="*/ 415434 h 824058"/>
                  <a:gd name="connsiteX74" fmla="*/ 1139110 w 1368533"/>
                  <a:gd name="connsiteY74" fmla="*/ 379980 h 824058"/>
                  <a:gd name="connsiteX75" fmla="*/ 1157714 w 1368533"/>
                  <a:gd name="connsiteY75" fmla="*/ 373307 h 824058"/>
                  <a:gd name="connsiteX76" fmla="*/ 1174984 w 1368533"/>
                  <a:gd name="connsiteY76" fmla="*/ 363130 h 824058"/>
                  <a:gd name="connsiteX77" fmla="*/ 1215279 w 1368533"/>
                  <a:gd name="connsiteY77" fmla="*/ 394162 h 824058"/>
                  <a:gd name="connsiteX78" fmla="*/ 1264000 w 1368533"/>
                  <a:gd name="connsiteY78" fmla="*/ 425611 h 824058"/>
                  <a:gd name="connsiteX79" fmla="*/ 1344590 w 1368533"/>
                  <a:gd name="connsiteY79" fmla="*/ 496519 h 824058"/>
                  <a:gd name="connsiteX80" fmla="*/ 1362778 w 1368533"/>
                  <a:gd name="connsiteY80" fmla="*/ 524465 h 824058"/>
                  <a:gd name="connsiteX81" fmla="*/ 1364112 w 1368533"/>
                  <a:gd name="connsiteY81" fmla="*/ 538229 h 824058"/>
                  <a:gd name="connsiteX82" fmla="*/ 1368534 w 1368533"/>
                  <a:gd name="connsiteY82" fmla="*/ 551076 h 824058"/>
                  <a:gd name="connsiteX83" fmla="*/ 1357939 w 1368533"/>
                  <a:gd name="connsiteY83" fmla="*/ 559501 h 824058"/>
                  <a:gd name="connsiteX84" fmla="*/ 1349512 w 1368533"/>
                  <a:gd name="connsiteY84" fmla="*/ 565257 h 824058"/>
                  <a:gd name="connsiteX85" fmla="*/ 1323817 w 1368533"/>
                  <a:gd name="connsiteY85" fmla="*/ 591869 h 824058"/>
                  <a:gd name="connsiteX86" fmla="*/ 1340169 w 1368533"/>
                  <a:gd name="connsiteY86" fmla="*/ 623318 h 824058"/>
                  <a:gd name="connsiteX87" fmla="*/ 1343255 w 1368533"/>
                  <a:gd name="connsiteY87" fmla="*/ 625070 h 824058"/>
                  <a:gd name="connsiteX88" fmla="*/ 1358773 w 1368533"/>
                  <a:gd name="connsiteY88" fmla="*/ 650764 h 824058"/>
                  <a:gd name="connsiteX89" fmla="*/ 1351264 w 1368533"/>
                  <a:gd name="connsiteY89" fmla="*/ 690639 h 824058"/>
                  <a:gd name="connsiteX90" fmla="*/ 1345091 w 1368533"/>
                  <a:gd name="connsiteY90" fmla="*/ 689304 h 824058"/>
                  <a:gd name="connsiteX91" fmla="*/ 1282187 w 1368533"/>
                  <a:gd name="connsiteY91" fmla="*/ 693308 h 824058"/>
                  <a:gd name="connsiteX92" fmla="*/ 1270674 w 1368533"/>
                  <a:gd name="connsiteY92" fmla="*/ 704820 h 824058"/>
                  <a:gd name="connsiteX93" fmla="*/ 1253405 w 1368533"/>
                  <a:gd name="connsiteY93" fmla="*/ 717667 h 824058"/>
                  <a:gd name="connsiteX94" fmla="*/ 1218866 w 1368533"/>
                  <a:gd name="connsiteY94" fmla="*/ 746030 h 824058"/>
                  <a:gd name="connsiteX95" fmla="*/ 1184327 w 1368533"/>
                  <a:gd name="connsiteY95" fmla="*/ 759794 h 824058"/>
                  <a:gd name="connsiteX96" fmla="*/ 1145784 w 1368533"/>
                  <a:gd name="connsiteY96" fmla="*/ 768637 h 824058"/>
                  <a:gd name="connsiteX97" fmla="*/ 1127597 w 1368533"/>
                  <a:gd name="connsiteY97" fmla="*/ 787239 h 824058"/>
                  <a:gd name="connsiteX98" fmla="*/ 1114749 w 1368533"/>
                  <a:gd name="connsiteY98" fmla="*/ 801421 h 824058"/>
                  <a:gd name="connsiteX99" fmla="*/ 1085049 w 1368533"/>
                  <a:gd name="connsiteY99" fmla="*/ 807594 h 824058"/>
                  <a:gd name="connsiteX100" fmla="*/ 1072202 w 1368533"/>
                  <a:gd name="connsiteY100" fmla="*/ 808512 h 824058"/>
                  <a:gd name="connsiteX101" fmla="*/ 1044754 w 1368533"/>
                  <a:gd name="connsiteY101" fmla="*/ 817354 h 824058"/>
                  <a:gd name="connsiteX102" fmla="*/ 1032824 w 1368533"/>
                  <a:gd name="connsiteY102" fmla="*/ 822693 h 824058"/>
                  <a:gd name="connsiteX103" fmla="*/ 995199 w 1368533"/>
                  <a:gd name="connsiteY103" fmla="*/ 812516 h 824058"/>
                  <a:gd name="connsiteX104" fmla="*/ 985438 w 1368533"/>
                  <a:gd name="connsiteY104" fmla="*/ 807177 h 824058"/>
                  <a:gd name="connsiteX105" fmla="*/ 867639 w 1368533"/>
                  <a:gd name="connsiteY105" fmla="*/ 746947 h 824058"/>
                  <a:gd name="connsiteX106" fmla="*/ 784379 w 1368533"/>
                  <a:gd name="connsiteY106" fmla="*/ 705738 h 824058"/>
                  <a:gd name="connsiteX107" fmla="*/ 647058 w 1368533"/>
                  <a:gd name="connsiteY107" fmla="*/ 636665 h 824058"/>
                  <a:gd name="connsiteX108" fmla="*/ 629372 w 1368533"/>
                  <a:gd name="connsiteY108" fmla="*/ 626905 h 824058"/>
                  <a:gd name="connsiteX109" fmla="*/ 550117 w 1368533"/>
                  <a:gd name="connsiteY109" fmla="*/ 577771 h 824058"/>
                  <a:gd name="connsiteX110" fmla="*/ 537269 w 1368533"/>
                  <a:gd name="connsiteY110" fmla="*/ 566258 h 824058"/>
                  <a:gd name="connsiteX111" fmla="*/ 461100 w 1368533"/>
                  <a:gd name="connsiteY111" fmla="*/ 532557 h 824058"/>
                  <a:gd name="connsiteX112" fmla="*/ 431901 w 1368533"/>
                  <a:gd name="connsiteY112" fmla="*/ 542734 h 824058"/>
                  <a:gd name="connsiteX113" fmla="*/ 400449 w 1368533"/>
                  <a:gd name="connsiteY113" fmla="*/ 552494 h 824058"/>
                  <a:gd name="connsiteX114" fmla="*/ 368997 w 1368533"/>
                  <a:gd name="connsiteY114" fmla="*/ 552911 h 824058"/>
                  <a:gd name="connsiteX115" fmla="*/ 353062 w 1368533"/>
                  <a:gd name="connsiteY115" fmla="*/ 552494 h 824058"/>
                  <a:gd name="connsiteX116" fmla="*/ 319358 w 1368533"/>
                  <a:gd name="connsiteY116" fmla="*/ 552077 h 824058"/>
                  <a:gd name="connsiteX117" fmla="*/ 250281 w 1368533"/>
                  <a:gd name="connsiteY117" fmla="*/ 552494 h 824058"/>
                  <a:gd name="connsiteX118" fmla="*/ 231259 w 1368533"/>
                  <a:gd name="connsiteY118" fmla="*/ 556915 h 824058"/>
                  <a:gd name="connsiteX119" fmla="*/ 215325 w 1368533"/>
                  <a:gd name="connsiteY119" fmla="*/ 540565 h 824058"/>
                  <a:gd name="connsiteX120" fmla="*/ 147582 w 1368533"/>
                  <a:gd name="connsiteY120" fmla="*/ 525966 h 824058"/>
                  <a:gd name="connsiteX121" fmla="*/ 135652 w 1368533"/>
                  <a:gd name="connsiteY121" fmla="*/ 533474 h 824058"/>
                  <a:gd name="connsiteX122" fmla="*/ 118383 w 1368533"/>
                  <a:gd name="connsiteY122" fmla="*/ 541483 h 824058"/>
                  <a:gd name="connsiteX123" fmla="*/ 117966 w 1368533"/>
                  <a:gd name="connsiteY123" fmla="*/ 541483 h 824058"/>
                  <a:gd name="connsiteX124" fmla="*/ 96275 w 1368533"/>
                  <a:gd name="connsiteY124" fmla="*/ 521962 h 824058"/>
                  <a:gd name="connsiteX125" fmla="*/ 83844 w 1368533"/>
                  <a:gd name="connsiteY125" fmla="*/ 496686 h 824058"/>
                  <a:gd name="connsiteX126" fmla="*/ 64823 w 1368533"/>
                  <a:gd name="connsiteY126" fmla="*/ 459480 h 824058"/>
                  <a:gd name="connsiteX127" fmla="*/ 59984 w 1368533"/>
                  <a:gd name="connsiteY127" fmla="*/ 452389 h 824058"/>
                  <a:gd name="connsiteX128" fmla="*/ 49806 w 1368533"/>
                  <a:gd name="connsiteY128" fmla="*/ 436039 h 824058"/>
                  <a:gd name="connsiteX129" fmla="*/ 46302 w 1368533"/>
                  <a:gd name="connsiteY129" fmla="*/ 427197 h 824058"/>
                  <a:gd name="connsiteX130" fmla="*/ 40546 w 1368533"/>
                  <a:gd name="connsiteY130" fmla="*/ 413432 h 824058"/>
                  <a:gd name="connsiteX131" fmla="*/ 23276 w 1368533"/>
                  <a:gd name="connsiteY131" fmla="*/ 392160 h 824058"/>
                  <a:gd name="connsiteX132" fmla="*/ 6424 w 1368533"/>
                  <a:gd name="connsiteY132" fmla="*/ 369136 h 824058"/>
                  <a:gd name="connsiteX133" fmla="*/ 5089 w 1368533"/>
                  <a:gd name="connsiteY133" fmla="*/ 353620 h 824058"/>
                  <a:gd name="connsiteX134" fmla="*/ 6174 w 1368533"/>
                  <a:gd name="connsiteY134" fmla="*/ 348114 h 82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368533" h="824058" extrusionOk="0">
                    <a:moveTo>
                      <a:pt x="6174" y="348114"/>
                    </a:moveTo>
                    <a:cubicBezTo>
                      <a:pt x="5757" y="338771"/>
                      <a:pt x="3504" y="329511"/>
                      <a:pt x="0" y="321086"/>
                    </a:cubicBezTo>
                    <a:cubicBezTo>
                      <a:pt x="4422" y="318833"/>
                      <a:pt x="8843" y="316247"/>
                      <a:pt x="13265" y="313077"/>
                    </a:cubicBezTo>
                    <a:cubicBezTo>
                      <a:pt x="39878" y="294892"/>
                      <a:pt x="65991" y="259021"/>
                      <a:pt x="50890" y="225819"/>
                    </a:cubicBezTo>
                    <a:cubicBezTo>
                      <a:pt x="44216" y="210303"/>
                      <a:pt x="34956" y="208134"/>
                      <a:pt x="48221" y="192618"/>
                    </a:cubicBezTo>
                    <a:cubicBezTo>
                      <a:pt x="58399" y="180689"/>
                      <a:pt x="72581" y="174432"/>
                      <a:pt x="86764" y="166925"/>
                    </a:cubicBezTo>
                    <a:cubicBezTo>
                      <a:pt x="103116" y="158499"/>
                      <a:pt x="110207" y="149239"/>
                      <a:pt x="121303" y="135475"/>
                    </a:cubicBezTo>
                    <a:cubicBezTo>
                      <a:pt x="131481" y="123045"/>
                      <a:pt x="145663" y="120376"/>
                      <a:pt x="155007" y="108030"/>
                    </a:cubicBezTo>
                    <a:cubicBezTo>
                      <a:pt x="163016" y="96935"/>
                      <a:pt x="175363" y="85006"/>
                      <a:pt x="174946" y="70824"/>
                    </a:cubicBezTo>
                    <a:cubicBezTo>
                      <a:pt x="174946" y="59312"/>
                      <a:pt x="168272" y="46882"/>
                      <a:pt x="165185" y="36288"/>
                    </a:cubicBezTo>
                    <a:cubicBezTo>
                      <a:pt x="162516" y="27445"/>
                      <a:pt x="157677" y="12847"/>
                      <a:pt x="164768" y="4838"/>
                    </a:cubicBezTo>
                    <a:cubicBezTo>
                      <a:pt x="173611" y="-4922"/>
                      <a:pt x="181620" y="1752"/>
                      <a:pt x="186459" y="10177"/>
                    </a:cubicBezTo>
                    <a:cubicBezTo>
                      <a:pt x="192633" y="21272"/>
                      <a:pt x="191798" y="33619"/>
                      <a:pt x="201559" y="43379"/>
                    </a:cubicBezTo>
                    <a:cubicBezTo>
                      <a:pt x="211737" y="53139"/>
                      <a:pt x="227255" y="55308"/>
                      <a:pt x="238350" y="63316"/>
                    </a:cubicBezTo>
                    <a:cubicBezTo>
                      <a:pt x="250781" y="72159"/>
                      <a:pt x="262294" y="84171"/>
                      <a:pt x="270220" y="97018"/>
                    </a:cubicBezTo>
                    <a:cubicBezTo>
                      <a:pt x="280397" y="112952"/>
                      <a:pt x="272889" y="120042"/>
                      <a:pt x="270637" y="136476"/>
                    </a:cubicBezTo>
                    <a:cubicBezTo>
                      <a:pt x="267967" y="151992"/>
                      <a:pt x="279063" y="165256"/>
                      <a:pt x="275976" y="180355"/>
                    </a:cubicBezTo>
                    <a:cubicBezTo>
                      <a:pt x="273306" y="192785"/>
                      <a:pt x="264046" y="203796"/>
                      <a:pt x="260459" y="216226"/>
                    </a:cubicBezTo>
                    <a:cubicBezTo>
                      <a:pt x="257372" y="226821"/>
                      <a:pt x="253784" y="241002"/>
                      <a:pt x="240520" y="233911"/>
                    </a:cubicBezTo>
                    <a:cubicBezTo>
                      <a:pt x="235681" y="231242"/>
                      <a:pt x="232511" y="222816"/>
                      <a:pt x="228089" y="219313"/>
                    </a:cubicBezTo>
                    <a:cubicBezTo>
                      <a:pt x="221915" y="214891"/>
                      <a:pt x="212989" y="213974"/>
                      <a:pt x="205981" y="211304"/>
                    </a:cubicBezTo>
                    <a:cubicBezTo>
                      <a:pt x="187377" y="205131"/>
                      <a:pt x="180703" y="195371"/>
                      <a:pt x="163433" y="205965"/>
                    </a:cubicBezTo>
                    <a:cubicBezTo>
                      <a:pt x="151503" y="213473"/>
                      <a:pt x="139490" y="210804"/>
                      <a:pt x="128477" y="218395"/>
                    </a:cubicBezTo>
                    <a:cubicBezTo>
                      <a:pt x="111208" y="230825"/>
                      <a:pt x="114712" y="245423"/>
                      <a:pt x="124473" y="260439"/>
                    </a:cubicBezTo>
                    <a:cubicBezTo>
                      <a:pt x="134234" y="275955"/>
                      <a:pt x="129812" y="279959"/>
                      <a:pt x="125808" y="295392"/>
                    </a:cubicBezTo>
                    <a:cubicBezTo>
                      <a:pt x="117799" y="322837"/>
                      <a:pt x="116964" y="351617"/>
                      <a:pt x="144829" y="366717"/>
                    </a:cubicBezTo>
                    <a:cubicBezTo>
                      <a:pt x="159929" y="375142"/>
                      <a:pt x="182037" y="379980"/>
                      <a:pt x="198890" y="385319"/>
                    </a:cubicBezTo>
                    <a:cubicBezTo>
                      <a:pt x="215241" y="390658"/>
                      <a:pt x="228089" y="388406"/>
                      <a:pt x="239185" y="374225"/>
                    </a:cubicBezTo>
                    <a:cubicBezTo>
                      <a:pt x="254702" y="354704"/>
                      <a:pt x="281232" y="311325"/>
                      <a:pt x="310098" y="311325"/>
                    </a:cubicBezTo>
                    <a:cubicBezTo>
                      <a:pt x="322945" y="311325"/>
                      <a:pt x="334041" y="318833"/>
                      <a:pt x="343302" y="326842"/>
                    </a:cubicBezTo>
                    <a:cubicBezTo>
                      <a:pt x="346388" y="329511"/>
                      <a:pt x="349475" y="336185"/>
                      <a:pt x="354397" y="335684"/>
                    </a:cubicBezTo>
                    <a:cubicBezTo>
                      <a:pt x="363241" y="334767"/>
                      <a:pt x="356650" y="328594"/>
                      <a:pt x="357067" y="325090"/>
                    </a:cubicBezTo>
                    <a:cubicBezTo>
                      <a:pt x="358402" y="317999"/>
                      <a:pt x="359736" y="296310"/>
                      <a:pt x="369498" y="297644"/>
                    </a:cubicBezTo>
                    <a:cubicBezTo>
                      <a:pt x="373919" y="298562"/>
                      <a:pt x="375671" y="307822"/>
                      <a:pt x="378341" y="310491"/>
                    </a:cubicBezTo>
                    <a:cubicBezTo>
                      <a:pt x="382762" y="313995"/>
                      <a:pt x="388519" y="315830"/>
                      <a:pt x="393858" y="317165"/>
                    </a:cubicBezTo>
                    <a:cubicBezTo>
                      <a:pt x="410710" y="320669"/>
                      <a:pt x="428397" y="318500"/>
                      <a:pt x="444832" y="314495"/>
                    </a:cubicBezTo>
                    <a:cubicBezTo>
                      <a:pt x="460349" y="310992"/>
                      <a:pt x="476701" y="311409"/>
                      <a:pt x="491384" y="305653"/>
                    </a:cubicBezTo>
                    <a:cubicBezTo>
                      <a:pt x="504232" y="300814"/>
                      <a:pt x="503815" y="298979"/>
                      <a:pt x="515328" y="304318"/>
                    </a:cubicBezTo>
                    <a:cubicBezTo>
                      <a:pt x="521501" y="306987"/>
                      <a:pt x="522836" y="310491"/>
                      <a:pt x="530845" y="311409"/>
                    </a:cubicBezTo>
                    <a:cubicBezTo>
                      <a:pt x="539271" y="312327"/>
                      <a:pt x="546780" y="310491"/>
                      <a:pt x="555206" y="312744"/>
                    </a:cubicBezTo>
                    <a:cubicBezTo>
                      <a:pt x="564549" y="314495"/>
                      <a:pt x="571140" y="315830"/>
                      <a:pt x="580484" y="315830"/>
                    </a:cubicBezTo>
                    <a:cubicBezTo>
                      <a:pt x="592914" y="315413"/>
                      <a:pt x="614605" y="313161"/>
                      <a:pt x="607931" y="332180"/>
                    </a:cubicBezTo>
                    <a:cubicBezTo>
                      <a:pt x="604428" y="341524"/>
                      <a:pt x="582653" y="350366"/>
                      <a:pt x="600840" y="359209"/>
                    </a:cubicBezTo>
                    <a:cubicBezTo>
                      <a:pt x="614605" y="365382"/>
                      <a:pt x="620362" y="349449"/>
                      <a:pt x="624784" y="340189"/>
                    </a:cubicBezTo>
                    <a:cubicBezTo>
                      <a:pt x="631875" y="326925"/>
                      <a:pt x="638549" y="316247"/>
                      <a:pt x="652732" y="309657"/>
                    </a:cubicBezTo>
                    <a:cubicBezTo>
                      <a:pt x="681514" y="297227"/>
                      <a:pt x="718305" y="308322"/>
                      <a:pt x="748005" y="312744"/>
                    </a:cubicBezTo>
                    <a:cubicBezTo>
                      <a:pt x="752844" y="313661"/>
                      <a:pt x="771949" y="315830"/>
                      <a:pt x="765692" y="325173"/>
                    </a:cubicBezTo>
                    <a:cubicBezTo>
                      <a:pt x="760352" y="332681"/>
                      <a:pt x="745753" y="319000"/>
                      <a:pt x="740413" y="317665"/>
                    </a:cubicBezTo>
                    <a:cubicBezTo>
                      <a:pt x="719140" y="311492"/>
                      <a:pt x="702788" y="349532"/>
                      <a:pt x="699200" y="367301"/>
                    </a:cubicBezTo>
                    <a:cubicBezTo>
                      <a:pt x="696531" y="379230"/>
                      <a:pt x="697866" y="396998"/>
                      <a:pt x="680596" y="395246"/>
                    </a:cubicBezTo>
                    <a:cubicBezTo>
                      <a:pt x="670835" y="394329"/>
                      <a:pt x="662409" y="379313"/>
                      <a:pt x="653149" y="390825"/>
                    </a:cubicBezTo>
                    <a:cubicBezTo>
                      <a:pt x="642553" y="404589"/>
                      <a:pt x="699200" y="434704"/>
                      <a:pt x="709378" y="439543"/>
                    </a:cubicBezTo>
                    <a:cubicBezTo>
                      <a:pt x="739078" y="454141"/>
                      <a:pt x="754596" y="412932"/>
                      <a:pt x="786048" y="415184"/>
                    </a:cubicBezTo>
                    <a:cubicBezTo>
                      <a:pt x="825509" y="417853"/>
                      <a:pt x="845448" y="438208"/>
                      <a:pt x="874230" y="461733"/>
                    </a:cubicBezTo>
                    <a:cubicBezTo>
                      <a:pt x="892834" y="477249"/>
                      <a:pt x="894169" y="464819"/>
                      <a:pt x="911856" y="458646"/>
                    </a:cubicBezTo>
                    <a:cubicBezTo>
                      <a:pt x="918530" y="456394"/>
                      <a:pt x="923368" y="459981"/>
                      <a:pt x="930042" y="458229"/>
                    </a:cubicBezTo>
                    <a:cubicBezTo>
                      <a:pt x="936216" y="456894"/>
                      <a:pt x="940638" y="449386"/>
                      <a:pt x="947312" y="451555"/>
                    </a:cubicBezTo>
                    <a:cubicBezTo>
                      <a:pt x="951733" y="452890"/>
                      <a:pt x="952651" y="459564"/>
                      <a:pt x="953986" y="463484"/>
                    </a:cubicBezTo>
                    <a:cubicBezTo>
                      <a:pt x="954403" y="464819"/>
                      <a:pt x="954903" y="466571"/>
                      <a:pt x="954903" y="468323"/>
                    </a:cubicBezTo>
                    <a:cubicBezTo>
                      <a:pt x="955321" y="469657"/>
                      <a:pt x="955821" y="470992"/>
                      <a:pt x="955821" y="471827"/>
                    </a:cubicBezTo>
                    <a:cubicBezTo>
                      <a:pt x="956238" y="472244"/>
                      <a:pt x="956238" y="472744"/>
                      <a:pt x="956238" y="473161"/>
                    </a:cubicBezTo>
                    <a:cubicBezTo>
                      <a:pt x="956655" y="474079"/>
                      <a:pt x="957990" y="474496"/>
                      <a:pt x="958908" y="474079"/>
                    </a:cubicBezTo>
                    <a:cubicBezTo>
                      <a:pt x="961995" y="473662"/>
                      <a:pt x="962412" y="470992"/>
                      <a:pt x="963330" y="468740"/>
                    </a:cubicBezTo>
                    <a:cubicBezTo>
                      <a:pt x="964665" y="465653"/>
                      <a:pt x="966417" y="462567"/>
                      <a:pt x="967751" y="459397"/>
                    </a:cubicBezTo>
                    <a:cubicBezTo>
                      <a:pt x="970004" y="455893"/>
                      <a:pt x="971756" y="450554"/>
                      <a:pt x="974843" y="447468"/>
                    </a:cubicBezTo>
                    <a:cubicBezTo>
                      <a:pt x="987690" y="434621"/>
                      <a:pt x="1002791" y="437290"/>
                      <a:pt x="1009799" y="453641"/>
                    </a:cubicBezTo>
                    <a:cubicBezTo>
                      <a:pt x="1014220" y="463818"/>
                      <a:pt x="1023981" y="481086"/>
                      <a:pt x="1018642" y="492181"/>
                    </a:cubicBezTo>
                    <a:cubicBezTo>
                      <a:pt x="1012468" y="505028"/>
                      <a:pt x="995616" y="508532"/>
                      <a:pt x="988525" y="522713"/>
                    </a:cubicBezTo>
                    <a:cubicBezTo>
                      <a:pt x="980516" y="538646"/>
                      <a:pt x="985855" y="547072"/>
                      <a:pt x="993363" y="560336"/>
                    </a:cubicBezTo>
                    <a:cubicBezTo>
                      <a:pt x="1016389" y="600628"/>
                      <a:pt x="1024815" y="546154"/>
                      <a:pt x="1038581" y="533307"/>
                    </a:cubicBezTo>
                    <a:cubicBezTo>
                      <a:pt x="1051846" y="521378"/>
                      <a:pt x="1066529" y="532390"/>
                      <a:pt x="1081546" y="528886"/>
                    </a:cubicBezTo>
                    <a:cubicBezTo>
                      <a:pt x="1095311" y="525800"/>
                      <a:pt x="1107658" y="512035"/>
                      <a:pt x="1117002" y="501858"/>
                    </a:cubicBezTo>
                    <a:cubicBezTo>
                      <a:pt x="1129433" y="488094"/>
                      <a:pt x="1129850" y="481503"/>
                      <a:pt x="1122758" y="466404"/>
                    </a:cubicBezTo>
                    <a:cubicBezTo>
                      <a:pt x="1116084" y="452223"/>
                      <a:pt x="1119671" y="431451"/>
                      <a:pt x="1118754" y="415434"/>
                    </a:cubicBezTo>
                    <a:cubicBezTo>
                      <a:pt x="1117836" y="396831"/>
                      <a:pt x="1121006" y="385737"/>
                      <a:pt x="1139110" y="379980"/>
                    </a:cubicBezTo>
                    <a:cubicBezTo>
                      <a:pt x="1146201" y="377728"/>
                      <a:pt x="1151541" y="377311"/>
                      <a:pt x="1157714" y="373307"/>
                    </a:cubicBezTo>
                    <a:cubicBezTo>
                      <a:pt x="1163471" y="369803"/>
                      <a:pt x="1167475" y="363547"/>
                      <a:pt x="1174984" y="363130"/>
                    </a:cubicBezTo>
                    <a:cubicBezTo>
                      <a:pt x="1192253" y="361378"/>
                      <a:pt x="1204684" y="383484"/>
                      <a:pt x="1215279" y="394162"/>
                    </a:cubicBezTo>
                    <a:cubicBezTo>
                      <a:pt x="1229461" y="407926"/>
                      <a:pt x="1246731" y="415851"/>
                      <a:pt x="1264000" y="425611"/>
                    </a:cubicBezTo>
                    <a:cubicBezTo>
                      <a:pt x="1293700" y="442880"/>
                      <a:pt x="1322065" y="470325"/>
                      <a:pt x="1344590" y="496519"/>
                    </a:cubicBezTo>
                    <a:cubicBezTo>
                      <a:pt x="1351682" y="504944"/>
                      <a:pt x="1359190" y="513787"/>
                      <a:pt x="1362778" y="524465"/>
                    </a:cubicBezTo>
                    <a:cubicBezTo>
                      <a:pt x="1364529" y="529303"/>
                      <a:pt x="1364112" y="533307"/>
                      <a:pt x="1364112" y="538229"/>
                    </a:cubicBezTo>
                    <a:cubicBezTo>
                      <a:pt x="1364529" y="542233"/>
                      <a:pt x="1366365" y="547572"/>
                      <a:pt x="1368534" y="551076"/>
                    </a:cubicBezTo>
                    <a:cubicBezTo>
                      <a:pt x="1365030" y="553745"/>
                      <a:pt x="1361443" y="556415"/>
                      <a:pt x="1357939" y="559501"/>
                    </a:cubicBezTo>
                    <a:cubicBezTo>
                      <a:pt x="1355686" y="561253"/>
                      <a:pt x="1353100" y="563005"/>
                      <a:pt x="1349512" y="565257"/>
                    </a:cubicBezTo>
                    <a:cubicBezTo>
                      <a:pt x="1339752" y="571931"/>
                      <a:pt x="1327404" y="579856"/>
                      <a:pt x="1323817" y="591869"/>
                    </a:cubicBezTo>
                    <a:cubicBezTo>
                      <a:pt x="1318478" y="610054"/>
                      <a:pt x="1330908" y="617562"/>
                      <a:pt x="1340169" y="623318"/>
                    </a:cubicBezTo>
                    <a:lnTo>
                      <a:pt x="1343255" y="625070"/>
                    </a:lnTo>
                    <a:cubicBezTo>
                      <a:pt x="1353016" y="631243"/>
                      <a:pt x="1356521" y="636999"/>
                      <a:pt x="1358773" y="650764"/>
                    </a:cubicBezTo>
                    <a:cubicBezTo>
                      <a:pt x="1361443" y="666697"/>
                      <a:pt x="1357855" y="679126"/>
                      <a:pt x="1351264" y="690639"/>
                    </a:cubicBezTo>
                    <a:cubicBezTo>
                      <a:pt x="1349012" y="690221"/>
                      <a:pt x="1346843" y="689721"/>
                      <a:pt x="1345091" y="689304"/>
                    </a:cubicBezTo>
                    <a:cubicBezTo>
                      <a:pt x="1325152" y="683965"/>
                      <a:pt x="1302126" y="677375"/>
                      <a:pt x="1282187" y="693308"/>
                    </a:cubicBezTo>
                    <a:cubicBezTo>
                      <a:pt x="1277348" y="697312"/>
                      <a:pt x="1273761" y="701316"/>
                      <a:pt x="1270674" y="704820"/>
                    </a:cubicBezTo>
                    <a:cubicBezTo>
                      <a:pt x="1265835" y="710993"/>
                      <a:pt x="1261831" y="714997"/>
                      <a:pt x="1253405" y="717667"/>
                    </a:cubicBezTo>
                    <a:cubicBezTo>
                      <a:pt x="1233883" y="723423"/>
                      <a:pt x="1227292" y="726092"/>
                      <a:pt x="1218866" y="746030"/>
                    </a:cubicBezTo>
                    <a:cubicBezTo>
                      <a:pt x="1214027" y="757542"/>
                      <a:pt x="1202932" y="758876"/>
                      <a:pt x="1184327" y="759794"/>
                    </a:cubicBezTo>
                    <a:cubicBezTo>
                      <a:pt x="1171897" y="760712"/>
                      <a:pt x="1157297" y="761129"/>
                      <a:pt x="1145784" y="768637"/>
                    </a:cubicBezTo>
                    <a:cubicBezTo>
                      <a:pt x="1137358" y="773475"/>
                      <a:pt x="1132019" y="781066"/>
                      <a:pt x="1127597" y="787239"/>
                    </a:cubicBezTo>
                    <a:cubicBezTo>
                      <a:pt x="1123593" y="792578"/>
                      <a:pt x="1120089" y="797834"/>
                      <a:pt x="1114749" y="801421"/>
                    </a:cubicBezTo>
                    <a:cubicBezTo>
                      <a:pt x="1106740" y="806760"/>
                      <a:pt x="1096145" y="807177"/>
                      <a:pt x="1085049" y="807594"/>
                    </a:cubicBezTo>
                    <a:cubicBezTo>
                      <a:pt x="1080628" y="807594"/>
                      <a:pt x="1076206" y="808011"/>
                      <a:pt x="1072202" y="808512"/>
                    </a:cubicBezTo>
                    <a:cubicBezTo>
                      <a:pt x="1061106" y="809846"/>
                      <a:pt x="1052680" y="813850"/>
                      <a:pt x="1044754" y="817354"/>
                    </a:cubicBezTo>
                    <a:cubicBezTo>
                      <a:pt x="1041250" y="819607"/>
                      <a:pt x="1036745" y="820858"/>
                      <a:pt x="1032824" y="822693"/>
                    </a:cubicBezTo>
                    <a:cubicBezTo>
                      <a:pt x="1020394" y="827115"/>
                      <a:pt x="1008046" y="820024"/>
                      <a:pt x="995199" y="812516"/>
                    </a:cubicBezTo>
                    <a:cubicBezTo>
                      <a:pt x="992112" y="810764"/>
                      <a:pt x="988525" y="809012"/>
                      <a:pt x="985438" y="807177"/>
                    </a:cubicBezTo>
                    <a:cubicBezTo>
                      <a:pt x="946478" y="786822"/>
                      <a:pt x="907017" y="766885"/>
                      <a:pt x="867639" y="746947"/>
                    </a:cubicBezTo>
                    <a:cubicBezTo>
                      <a:pt x="840192" y="732766"/>
                      <a:pt x="812244" y="719502"/>
                      <a:pt x="784379" y="705738"/>
                    </a:cubicBezTo>
                    <a:cubicBezTo>
                      <a:pt x="739162" y="684048"/>
                      <a:pt x="692276" y="661024"/>
                      <a:pt x="647058" y="636665"/>
                    </a:cubicBezTo>
                    <a:cubicBezTo>
                      <a:pt x="641302" y="633579"/>
                      <a:pt x="635129" y="630492"/>
                      <a:pt x="629372" y="626905"/>
                    </a:cubicBezTo>
                    <a:cubicBezTo>
                      <a:pt x="602342" y="612724"/>
                      <a:pt x="573977" y="597708"/>
                      <a:pt x="550117" y="577771"/>
                    </a:cubicBezTo>
                    <a:cubicBezTo>
                      <a:pt x="545695" y="574267"/>
                      <a:pt x="541273" y="570263"/>
                      <a:pt x="537269" y="566258"/>
                    </a:cubicBezTo>
                    <a:cubicBezTo>
                      <a:pt x="516913" y="547656"/>
                      <a:pt x="493887" y="526801"/>
                      <a:pt x="461100" y="532557"/>
                    </a:cubicBezTo>
                    <a:cubicBezTo>
                      <a:pt x="450505" y="534308"/>
                      <a:pt x="441161" y="538730"/>
                      <a:pt x="431901" y="542734"/>
                    </a:cubicBezTo>
                    <a:cubicBezTo>
                      <a:pt x="421723" y="547572"/>
                      <a:pt x="411962" y="552494"/>
                      <a:pt x="400449" y="552494"/>
                    </a:cubicBezTo>
                    <a:cubicBezTo>
                      <a:pt x="389854" y="552911"/>
                      <a:pt x="379175" y="552911"/>
                      <a:pt x="368997" y="552911"/>
                    </a:cubicBezTo>
                    <a:lnTo>
                      <a:pt x="353062" y="552494"/>
                    </a:lnTo>
                    <a:cubicBezTo>
                      <a:pt x="341967" y="552494"/>
                      <a:pt x="330954" y="552077"/>
                      <a:pt x="319358" y="552077"/>
                    </a:cubicBezTo>
                    <a:cubicBezTo>
                      <a:pt x="296749" y="551660"/>
                      <a:pt x="273306" y="551159"/>
                      <a:pt x="250281" y="552494"/>
                    </a:cubicBezTo>
                    <a:cubicBezTo>
                      <a:pt x="243189" y="552911"/>
                      <a:pt x="237016" y="554746"/>
                      <a:pt x="231259" y="556915"/>
                    </a:cubicBezTo>
                    <a:cubicBezTo>
                      <a:pt x="226421" y="551159"/>
                      <a:pt x="221081" y="545820"/>
                      <a:pt x="215325" y="540565"/>
                    </a:cubicBezTo>
                    <a:cubicBezTo>
                      <a:pt x="199390" y="526383"/>
                      <a:pt x="171442" y="513954"/>
                      <a:pt x="147582" y="525966"/>
                    </a:cubicBezTo>
                    <a:cubicBezTo>
                      <a:pt x="143578" y="528219"/>
                      <a:pt x="139573" y="530805"/>
                      <a:pt x="135652" y="533474"/>
                    </a:cubicBezTo>
                    <a:cubicBezTo>
                      <a:pt x="129478" y="537896"/>
                      <a:pt x="124556" y="541483"/>
                      <a:pt x="118383" y="541483"/>
                    </a:cubicBezTo>
                    <a:cubicBezTo>
                      <a:pt x="118383" y="541483"/>
                      <a:pt x="118383" y="541483"/>
                      <a:pt x="117966" y="541483"/>
                    </a:cubicBezTo>
                    <a:cubicBezTo>
                      <a:pt x="108622" y="541483"/>
                      <a:pt x="100696" y="530888"/>
                      <a:pt x="96275" y="521962"/>
                    </a:cubicBezTo>
                    <a:cubicBezTo>
                      <a:pt x="91853" y="513537"/>
                      <a:pt x="87848" y="505111"/>
                      <a:pt x="83844" y="496686"/>
                    </a:cubicBezTo>
                    <a:cubicBezTo>
                      <a:pt x="78505" y="484256"/>
                      <a:pt x="72331" y="471409"/>
                      <a:pt x="64823" y="459480"/>
                    </a:cubicBezTo>
                    <a:cubicBezTo>
                      <a:pt x="63488" y="457228"/>
                      <a:pt x="61736" y="454642"/>
                      <a:pt x="59984" y="452389"/>
                    </a:cubicBezTo>
                    <a:cubicBezTo>
                      <a:pt x="55979" y="447051"/>
                      <a:pt x="52476" y="441795"/>
                      <a:pt x="49806" y="436039"/>
                    </a:cubicBezTo>
                    <a:cubicBezTo>
                      <a:pt x="48471" y="433370"/>
                      <a:pt x="47136" y="430283"/>
                      <a:pt x="46302" y="427197"/>
                    </a:cubicBezTo>
                    <a:cubicBezTo>
                      <a:pt x="44550" y="422358"/>
                      <a:pt x="43215" y="417853"/>
                      <a:pt x="40546" y="413432"/>
                    </a:cubicBezTo>
                    <a:cubicBezTo>
                      <a:pt x="36124" y="405007"/>
                      <a:pt x="29950" y="398834"/>
                      <a:pt x="23276" y="392160"/>
                    </a:cubicBezTo>
                    <a:cubicBezTo>
                      <a:pt x="16185" y="385069"/>
                      <a:pt x="9094" y="377978"/>
                      <a:pt x="6424" y="369136"/>
                    </a:cubicBezTo>
                    <a:cubicBezTo>
                      <a:pt x="5089" y="364297"/>
                      <a:pt x="5089" y="358959"/>
                      <a:pt x="5089" y="353620"/>
                    </a:cubicBezTo>
                    <a:cubicBezTo>
                      <a:pt x="6591" y="352618"/>
                      <a:pt x="6591" y="350366"/>
                      <a:pt x="6174" y="34811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64846845" name="Полилиния 446"/>
              <p:cNvSpPr/>
              <p:nvPr/>
            </p:nvSpPr>
            <p:spPr bwMode="auto">
              <a:xfrm>
                <a:off x="4354630" y="2826617"/>
                <a:ext cx="1418025" cy="1728437"/>
              </a:xfrm>
              <a:custGeom>
                <a:avLst/>
                <a:gdLst>
                  <a:gd name="connsiteX0" fmla="*/ 414140 w 1592490"/>
                  <a:gd name="connsiteY0" fmla="*/ 544633 h 1941092"/>
                  <a:gd name="connsiteX1" fmla="*/ 424318 w 1592490"/>
                  <a:gd name="connsiteY1" fmla="*/ 536625 h 1941092"/>
                  <a:gd name="connsiteX2" fmla="*/ 434079 w 1592490"/>
                  <a:gd name="connsiteY2" fmla="*/ 544133 h 1941092"/>
                  <a:gd name="connsiteX3" fmla="*/ 455770 w 1592490"/>
                  <a:gd name="connsiteY3" fmla="*/ 568074 h 1941092"/>
                  <a:gd name="connsiteX4" fmla="*/ 477878 w 1592490"/>
                  <a:gd name="connsiteY4" fmla="*/ 603028 h 1941092"/>
                  <a:gd name="connsiteX5" fmla="*/ 508913 w 1592490"/>
                  <a:gd name="connsiteY5" fmla="*/ 638898 h 1941092"/>
                  <a:gd name="connsiteX6" fmla="*/ 527100 w 1592490"/>
                  <a:gd name="connsiteY6" fmla="*/ 694290 h 1941092"/>
                  <a:gd name="connsiteX7" fmla="*/ 548374 w 1592490"/>
                  <a:gd name="connsiteY7" fmla="*/ 725739 h 1941092"/>
                  <a:gd name="connsiteX8" fmla="*/ 550126 w 1592490"/>
                  <a:gd name="connsiteY8" fmla="*/ 747428 h 1941092"/>
                  <a:gd name="connsiteX9" fmla="*/ 568313 w 1592490"/>
                  <a:gd name="connsiteY9" fmla="*/ 749681 h 1941092"/>
                  <a:gd name="connsiteX10" fmla="*/ 596261 w 1592490"/>
                  <a:gd name="connsiteY10" fmla="*/ 712058 h 1941092"/>
                  <a:gd name="connsiteX11" fmla="*/ 623291 w 1592490"/>
                  <a:gd name="connsiteY11" fmla="*/ 666844 h 1941092"/>
                  <a:gd name="connsiteX12" fmla="*/ 600682 w 1592490"/>
                  <a:gd name="connsiteY12" fmla="*/ 644738 h 1941092"/>
                  <a:gd name="connsiteX13" fmla="*/ 591339 w 1592490"/>
                  <a:gd name="connsiteY13" fmla="*/ 601776 h 1941092"/>
                  <a:gd name="connsiteX14" fmla="*/ 592256 w 1592490"/>
                  <a:gd name="connsiteY14" fmla="*/ 576500 h 1941092"/>
                  <a:gd name="connsiteX15" fmla="*/ 603769 w 1592490"/>
                  <a:gd name="connsiteY15" fmla="*/ 561401 h 1941092"/>
                  <a:gd name="connsiteX16" fmla="*/ 587418 w 1592490"/>
                  <a:gd name="connsiteY16" fmla="*/ 534790 h 1941092"/>
                  <a:gd name="connsiteX17" fmla="*/ 563974 w 1592490"/>
                  <a:gd name="connsiteY17" fmla="*/ 510431 h 1941092"/>
                  <a:gd name="connsiteX18" fmla="*/ 533440 w 1592490"/>
                  <a:gd name="connsiteY18" fmla="*/ 512183 h 1941092"/>
                  <a:gd name="connsiteX19" fmla="*/ 535693 w 1592490"/>
                  <a:gd name="connsiteY19" fmla="*/ 484737 h 1941092"/>
                  <a:gd name="connsiteX20" fmla="*/ 558719 w 1592490"/>
                  <a:gd name="connsiteY20" fmla="*/ 451536 h 1941092"/>
                  <a:gd name="connsiteX21" fmla="*/ 588419 w 1592490"/>
                  <a:gd name="connsiteY21" fmla="*/ 428929 h 1941092"/>
                  <a:gd name="connsiteX22" fmla="*/ 592840 w 1592490"/>
                  <a:gd name="connsiteY22" fmla="*/ 400983 h 1941092"/>
                  <a:gd name="connsiteX23" fmla="*/ 605688 w 1592490"/>
                  <a:gd name="connsiteY23" fmla="*/ 386384 h 1941092"/>
                  <a:gd name="connsiteX24" fmla="*/ 611444 w 1592490"/>
                  <a:gd name="connsiteY24" fmla="*/ 362443 h 1941092"/>
                  <a:gd name="connsiteX25" fmla="*/ 624292 w 1592490"/>
                  <a:gd name="connsiteY25" fmla="*/ 342922 h 1941092"/>
                  <a:gd name="connsiteX26" fmla="*/ 625627 w 1592490"/>
                  <a:gd name="connsiteY26" fmla="*/ 331410 h 1941092"/>
                  <a:gd name="connsiteX27" fmla="*/ 618953 w 1592490"/>
                  <a:gd name="connsiteY27" fmla="*/ 317229 h 1941092"/>
                  <a:gd name="connsiteX28" fmla="*/ 595009 w 1592490"/>
                  <a:gd name="connsiteY28" fmla="*/ 307052 h 1941092"/>
                  <a:gd name="connsiteX29" fmla="*/ 612696 w 1592490"/>
                  <a:gd name="connsiteY29" fmla="*/ 276019 h 1941092"/>
                  <a:gd name="connsiteX30" fmla="*/ 615783 w 1592490"/>
                  <a:gd name="connsiteY30" fmla="*/ 258751 h 1941092"/>
                  <a:gd name="connsiteX31" fmla="*/ 633052 w 1592490"/>
                  <a:gd name="connsiteY31" fmla="*/ 242818 h 1941092"/>
                  <a:gd name="connsiteX32" fmla="*/ 679104 w 1592490"/>
                  <a:gd name="connsiteY32" fmla="*/ 226467 h 1941092"/>
                  <a:gd name="connsiteX33" fmla="*/ 727408 w 1592490"/>
                  <a:gd name="connsiteY33" fmla="*/ 196770 h 1941092"/>
                  <a:gd name="connsiteX34" fmla="*/ 781886 w 1592490"/>
                  <a:gd name="connsiteY34" fmla="*/ 106842 h 1941092"/>
                  <a:gd name="connsiteX35" fmla="*/ 805829 w 1592490"/>
                  <a:gd name="connsiteY35" fmla="*/ 57207 h 1941092"/>
                  <a:gd name="connsiteX36" fmla="*/ 828438 w 1592490"/>
                  <a:gd name="connsiteY36" fmla="*/ 28010 h 1941092"/>
                  <a:gd name="connsiteX37" fmla="*/ 850546 w 1592490"/>
                  <a:gd name="connsiteY37" fmla="*/ 64 h 1941092"/>
                  <a:gd name="connsiteX38" fmla="*/ 880663 w 1592490"/>
                  <a:gd name="connsiteY38" fmla="*/ 22170 h 1941092"/>
                  <a:gd name="connsiteX39" fmla="*/ 940897 w 1592490"/>
                  <a:gd name="connsiteY39" fmla="*/ 35017 h 1941092"/>
                  <a:gd name="connsiteX40" fmla="*/ 962588 w 1592490"/>
                  <a:gd name="connsiteY40" fmla="*/ 57207 h 1941092"/>
                  <a:gd name="connsiteX41" fmla="*/ 999379 w 1592490"/>
                  <a:gd name="connsiteY41" fmla="*/ 75393 h 1941092"/>
                  <a:gd name="connsiteX42" fmla="*/ 998462 w 1592490"/>
                  <a:gd name="connsiteY42" fmla="*/ 122359 h 1941092"/>
                  <a:gd name="connsiteX43" fmla="*/ 955914 w 1592490"/>
                  <a:gd name="connsiteY43" fmla="*/ 221128 h 1941092"/>
                  <a:gd name="connsiteX44" fmla="*/ 935975 w 1592490"/>
                  <a:gd name="connsiteY44" fmla="*/ 254830 h 1941092"/>
                  <a:gd name="connsiteX45" fmla="*/ 909862 w 1592490"/>
                  <a:gd name="connsiteY45" fmla="*/ 280524 h 1941092"/>
                  <a:gd name="connsiteX46" fmla="*/ 929801 w 1592490"/>
                  <a:gd name="connsiteY46" fmla="*/ 356687 h 1941092"/>
                  <a:gd name="connsiteX47" fmla="*/ 912115 w 1592490"/>
                  <a:gd name="connsiteY47" fmla="*/ 456791 h 1941092"/>
                  <a:gd name="connsiteX48" fmla="*/ 887337 w 1592490"/>
                  <a:gd name="connsiteY48" fmla="*/ 491745 h 1941092"/>
                  <a:gd name="connsiteX49" fmla="*/ 882498 w 1592490"/>
                  <a:gd name="connsiteY49" fmla="*/ 539545 h 1941092"/>
                  <a:gd name="connsiteX50" fmla="*/ 868733 w 1592490"/>
                  <a:gd name="connsiteY50" fmla="*/ 601109 h 1941092"/>
                  <a:gd name="connsiteX51" fmla="*/ 854968 w 1592490"/>
                  <a:gd name="connsiteY51" fmla="*/ 649827 h 1941092"/>
                  <a:gd name="connsiteX52" fmla="*/ 832359 w 1592490"/>
                  <a:gd name="connsiteY52" fmla="*/ 689284 h 1941092"/>
                  <a:gd name="connsiteX53" fmla="*/ 846958 w 1592490"/>
                  <a:gd name="connsiteY53" fmla="*/ 737084 h 1941092"/>
                  <a:gd name="connsiteX54" fmla="*/ 866897 w 1592490"/>
                  <a:gd name="connsiteY54" fmla="*/ 810161 h 1941092"/>
                  <a:gd name="connsiteX55" fmla="*/ 832359 w 1592490"/>
                  <a:gd name="connsiteY55" fmla="*/ 855375 h 1941092"/>
                  <a:gd name="connsiteX56" fmla="*/ 821263 w 1592490"/>
                  <a:gd name="connsiteY56" fmla="*/ 900588 h 1941092"/>
                  <a:gd name="connsiteX57" fmla="*/ 813254 w 1592490"/>
                  <a:gd name="connsiteY57" fmla="*/ 920943 h 1941092"/>
                  <a:gd name="connsiteX58" fmla="*/ 795067 w 1592490"/>
                  <a:gd name="connsiteY58" fmla="*/ 927116 h 1941092"/>
                  <a:gd name="connsiteX59" fmla="*/ 760111 w 1592490"/>
                  <a:gd name="connsiteY59" fmla="*/ 962570 h 1941092"/>
                  <a:gd name="connsiteX60" fmla="*/ 683943 w 1592490"/>
                  <a:gd name="connsiteY60" fmla="*/ 1027221 h 1941092"/>
                  <a:gd name="connsiteX61" fmla="*/ 631634 w 1592490"/>
                  <a:gd name="connsiteY61" fmla="*/ 1037398 h 1941092"/>
                  <a:gd name="connsiteX62" fmla="*/ 592173 w 1592490"/>
                  <a:gd name="connsiteY62" fmla="*/ 1039651 h 1941092"/>
                  <a:gd name="connsiteX63" fmla="*/ 577573 w 1592490"/>
                  <a:gd name="connsiteY63" fmla="*/ 1022382 h 1941092"/>
                  <a:gd name="connsiteX64" fmla="*/ 562974 w 1592490"/>
                  <a:gd name="connsiteY64" fmla="*/ 1020130 h 1941092"/>
                  <a:gd name="connsiteX65" fmla="*/ 539948 w 1592490"/>
                  <a:gd name="connsiteY65" fmla="*/ 1005949 h 1941092"/>
                  <a:gd name="connsiteX66" fmla="*/ 475292 w 1592490"/>
                  <a:gd name="connsiteY66" fmla="*/ 1005949 h 1941092"/>
                  <a:gd name="connsiteX67" fmla="*/ 493479 w 1592490"/>
                  <a:gd name="connsiteY67" fmla="*/ 1030724 h 1941092"/>
                  <a:gd name="connsiteX68" fmla="*/ 538196 w 1592490"/>
                  <a:gd name="connsiteY68" fmla="*/ 1048910 h 1941092"/>
                  <a:gd name="connsiteX69" fmla="*/ 568730 w 1592490"/>
                  <a:gd name="connsiteY69" fmla="*/ 1060839 h 1941092"/>
                  <a:gd name="connsiteX70" fmla="*/ 568730 w 1592490"/>
                  <a:gd name="connsiteY70" fmla="*/ 1085198 h 1941092"/>
                  <a:gd name="connsiteX71" fmla="*/ 605938 w 1592490"/>
                  <a:gd name="connsiteY71" fmla="*/ 1102466 h 1941092"/>
                  <a:gd name="connsiteX72" fmla="*/ 658247 w 1592490"/>
                  <a:gd name="connsiteY72" fmla="*/ 1124155 h 1941092"/>
                  <a:gd name="connsiteX73" fmla="*/ 690617 w 1592490"/>
                  <a:gd name="connsiteY73" fmla="*/ 1147597 h 1941092"/>
                  <a:gd name="connsiteX74" fmla="*/ 713642 w 1592490"/>
                  <a:gd name="connsiteY74" fmla="*/ 1120151 h 1941092"/>
                  <a:gd name="connsiteX75" fmla="*/ 742007 w 1592490"/>
                  <a:gd name="connsiteY75" fmla="*/ 1098045 h 1941092"/>
                  <a:gd name="connsiteX76" fmla="*/ 827520 w 1592490"/>
                  <a:gd name="connsiteY76" fmla="*/ 1052831 h 1941092"/>
                  <a:gd name="connsiteX77" fmla="*/ 854550 w 1592490"/>
                  <a:gd name="connsiteY77" fmla="*/ 1013373 h 1941092"/>
                  <a:gd name="connsiteX78" fmla="*/ 858972 w 1592490"/>
                  <a:gd name="connsiteY78" fmla="*/ 989932 h 1941092"/>
                  <a:gd name="connsiteX79" fmla="*/ 877993 w 1592490"/>
                  <a:gd name="connsiteY79" fmla="*/ 979337 h 1941092"/>
                  <a:gd name="connsiteX80" fmla="*/ 916536 w 1592490"/>
                  <a:gd name="connsiteY80" fmla="*/ 946136 h 1941092"/>
                  <a:gd name="connsiteX81" fmla="*/ 931136 w 1592490"/>
                  <a:gd name="connsiteY81" fmla="*/ 894332 h 1941092"/>
                  <a:gd name="connsiteX82" fmla="*/ 920958 w 1592490"/>
                  <a:gd name="connsiteY82" fmla="*/ 844280 h 1941092"/>
                  <a:gd name="connsiteX83" fmla="*/ 931136 w 1592490"/>
                  <a:gd name="connsiteY83" fmla="*/ 802653 h 1941092"/>
                  <a:gd name="connsiteX84" fmla="*/ 960335 w 1592490"/>
                  <a:gd name="connsiteY84" fmla="*/ 767700 h 1941092"/>
                  <a:gd name="connsiteX85" fmla="*/ 985113 w 1592490"/>
                  <a:gd name="connsiteY85" fmla="*/ 765447 h 1941092"/>
                  <a:gd name="connsiteX86" fmla="*/ 1005970 w 1592490"/>
                  <a:gd name="connsiteY86" fmla="*/ 755270 h 1941092"/>
                  <a:gd name="connsiteX87" fmla="*/ 1055609 w 1592490"/>
                  <a:gd name="connsiteY87" fmla="*/ 753935 h 1941092"/>
                  <a:gd name="connsiteX88" fmla="*/ 1073796 w 1592490"/>
                  <a:gd name="connsiteY88" fmla="*/ 781381 h 1941092"/>
                  <a:gd name="connsiteX89" fmla="*/ 1095904 w 1592490"/>
                  <a:gd name="connsiteY89" fmla="*/ 827429 h 1941092"/>
                  <a:gd name="connsiteX90" fmla="*/ 1098991 w 1592490"/>
                  <a:gd name="connsiteY90" fmla="*/ 869973 h 1941092"/>
                  <a:gd name="connsiteX91" fmla="*/ 1087478 w 1592490"/>
                  <a:gd name="connsiteY91" fmla="*/ 922278 h 1941092"/>
                  <a:gd name="connsiteX92" fmla="*/ 1071960 w 1592490"/>
                  <a:gd name="connsiteY92" fmla="*/ 966574 h 1941092"/>
                  <a:gd name="connsiteX93" fmla="*/ 1148630 w 1592490"/>
                  <a:gd name="connsiteY93" fmla="*/ 1017961 h 1941092"/>
                  <a:gd name="connsiteX94" fmla="*/ 1180082 w 1592490"/>
                  <a:gd name="connsiteY94" fmla="*/ 1011288 h 1941092"/>
                  <a:gd name="connsiteX95" fmla="*/ 1150382 w 1592490"/>
                  <a:gd name="connsiteY95" fmla="*/ 1000192 h 1941092"/>
                  <a:gd name="connsiteX96" fmla="*/ 1092817 w 1592490"/>
                  <a:gd name="connsiteY96" fmla="*/ 954979 h 1941092"/>
                  <a:gd name="connsiteX97" fmla="*/ 1132695 w 1592490"/>
                  <a:gd name="connsiteY97" fmla="*/ 896084 h 1941092"/>
                  <a:gd name="connsiteX98" fmla="*/ 1140704 w 1592490"/>
                  <a:gd name="connsiteY98" fmla="*/ 863717 h 1941092"/>
                  <a:gd name="connsiteX99" fmla="*/ 1138452 w 1592490"/>
                  <a:gd name="connsiteY99" fmla="*/ 815416 h 1941092"/>
                  <a:gd name="connsiteX100" fmla="*/ 1127356 w 1592490"/>
                  <a:gd name="connsiteY100" fmla="*/ 774623 h 1941092"/>
                  <a:gd name="connsiteX101" fmla="*/ 1100743 w 1592490"/>
                  <a:gd name="connsiteY101" fmla="*/ 751599 h 1941092"/>
                  <a:gd name="connsiteX102" fmla="*/ 1052439 w 1592490"/>
                  <a:gd name="connsiteY102" fmla="*/ 714811 h 1941092"/>
                  <a:gd name="connsiteX103" fmla="*/ 1012978 w 1592490"/>
                  <a:gd name="connsiteY103" fmla="*/ 707303 h 1941092"/>
                  <a:gd name="connsiteX104" fmla="*/ 971765 w 1592490"/>
                  <a:gd name="connsiteY104" fmla="*/ 721902 h 1941092"/>
                  <a:gd name="connsiteX105" fmla="*/ 938561 w 1592490"/>
                  <a:gd name="connsiteY105" fmla="*/ 709055 h 1941092"/>
                  <a:gd name="connsiteX106" fmla="*/ 930135 w 1592490"/>
                  <a:gd name="connsiteY106" fmla="*/ 645739 h 1941092"/>
                  <a:gd name="connsiteX107" fmla="*/ 923961 w 1592490"/>
                  <a:gd name="connsiteY107" fmla="*/ 599691 h 1941092"/>
                  <a:gd name="connsiteX108" fmla="*/ 942983 w 1592490"/>
                  <a:gd name="connsiteY108" fmla="*/ 563403 h 1941092"/>
                  <a:gd name="connsiteX109" fmla="*/ 960669 w 1592490"/>
                  <a:gd name="connsiteY109" fmla="*/ 526197 h 1941092"/>
                  <a:gd name="connsiteX110" fmla="*/ 984613 w 1592490"/>
                  <a:gd name="connsiteY110" fmla="*/ 487240 h 1941092"/>
                  <a:gd name="connsiteX111" fmla="*/ 1003217 w 1592490"/>
                  <a:gd name="connsiteY111" fmla="*/ 448700 h 1941092"/>
                  <a:gd name="connsiteX112" fmla="*/ 986865 w 1592490"/>
                  <a:gd name="connsiteY112" fmla="*/ 401734 h 1941092"/>
                  <a:gd name="connsiteX113" fmla="*/ 984613 w 1592490"/>
                  <a:gd name="connsiteY113" fmla="*/ 345926 h 1941092"/>
                  <a:gd name="connsiteX114" fmla="*/ 966926 w 1592490"/>
                  <a:gd name="connsiteY114" fmla="*/ 314893 h 1941092"/>
                  <a:gd name="connsiteX115" fmla="*/ 991704 w 1592490"/>
                  <a:gd name="connsiteY115" fmla="*/ 280357 h 1941092"/>
                  <a:gd name="connsiteX116" fmla="*/ 1013812 w 1592490"/>
                  <a:gd name="connsiteY116" fmla="*/ 244069 h 1941092"/>
                  <a:gd name="connsiteX117" fmla="*/ 1064285 w 1592490"/>
                  <a:gd name="connsiteY117" fmla="*/ 230805 h 1941092"/>
                  <a:gd name="connsiteX118" fmla="*/ 1101077 w 1592490"/>
                  <a:gd name="connsiteY118" fmla="*/ 202442 h 1941092"/>
                  <a:gd name="connsiteX119" fmla="*/ 1106416 w 1592490"/>
                  <a:gd name="connsiteY119" fmla="*/ 159898 h 1941092"/>
                  <a:gd name="connsiteX120" fmla="*/ 1111755 w 1592490"/>
                  <a:gd name="connsiteY120" fmla="*/ 135956 h 1941092"/>
                  <a:gd name="connsiteX121" fmla="*/ 1110837 w 1592490"/>
                  <a:gd name="connsiteY121" fmla="*/ 108928 h 1941092"/>
                  <a:gd name="connsiteX122" fmla="*/ 1132946 w 1592490"/>
                  <a:gd name="connsiteY122" fmla="*/ 100502 h 1941092"/>
                  <a:gd name="connsiteX123" fmla="*/ 1141372 w 1592490"/>
                  <a:gd name="connsiteY123" fmla="*/ 132369 h 1941092"/>
                  <a:gd name="connsiteX124" fmla="*/ 1141789 w 1592490"/>
                  <a:gd name="connsiteY124" fmla="*/ 172244 h 1941092"/>
                  <a:gd name="connsiteX125" fmla="*/ 1129358 w 1592490"/>
                  <a:gd name="connsiteY125" fmla="*/ 207197 h 1941092"/>
                  <a:gd name="connsiteX126" fmla="*/ 1119180 w 1592490"/>
                  <a:gd name="connsiteY126" fmla="*/ 233808 h 1941092"/>
                  <a:gd name="connsiteX127" fmla="*/ 1104080 w 1592490"/>
                  <a:gd name="connsiteY127" fmla="*/ 252411 h 1941092"/>
                  <a:gd name="connsiteX128" fmla="*/ 1100576 w 1592490"/>
                  <a:gd name="connsiteY128" fmla="*/ 303798 h 1941092"/>
                  <a:gd name="connsiteX129" fmla="*/ 1106750 w 1592490"/>
                  <a:gd name="connsiteY129" fmla="*/ 369367 h 1941092"/>
                  <a:gd name="connsiteX130" fmla="*/ 1148379 w 1592490"/>
                  <a:gd name="connsiteY130" fmla="*/ 384883 h 1941092"/>
                  <a:gd name="connsiteX131" fmla="*/ 1164314 w 1592490"/>
                  <a:gd name="connsiteY131" fmla="*/ 408324 h 1941092"/>
                  <a:gd name="connsiteX132" fmla="*/ 1178497 w 1592490"/>
                  <a:gd name="connsiteY132" fmla="*/ 402985 h 1941092"/>
                  <a:gd name="connsiteX133" fmla="*/ 1196684 w 1592490"/>
                  <a:gd name="connsiteY133" fmla="*/ 402068 h 1941092"/>
                  <a:gd name="connsiteX134" fmla="*/ 1216206 w 1592490"/>
                  <a:gd name="connsiteY134" fmla="*/ 433100 h 1941092"/>
                  <a:gd name="connsiteX135" fmla="*/ 1268013 w 1592490"/>
                  <a:gd name="connsiteY135" fmla="*/ 459211 h 1941092"/>
                  <a:gd name="connsiteX136" fmla="*/ 1260005 w 1592490"/>
                  <a:gd name="connsiteY136" fmla="*/ 442860 h 1941092"/>
                  <a:gd name="connsiteX137" fmla="*/ 1241818 w 1592490"/>
                  <a:gd name="connsiteY137" fmla="*/ 445112 h 1941092"/>
                  <a:gd name="connsiteX138" fmla="*/ 1247157 w 1592490"/>
                  <a:gd name="connsiteY138" fmla="*/ 425592 h 1941092"/>
                  <a:gd name="connsiteX139" fmla="*/ 1240983 w 1592490"/>
                  <a:gd name="connsiteY139" fmla="*/ 405238 h 1941092"/>
                  <a:gd name="connsiteX140" fmla="*/ 1206028 w 1592490"/>
                  <a:gd name="connsiteY140" fmla="*/ 374706 h 1941092"/>
                  <a:gd name="connsiteX141" fmla="*/ 1144876 w 1592490"/>
                  <a:gd name="connsiteY141" fmla="*/ 317563 h 1941092"/>
                  <a:gd name="connsiteX142" fmla="*/ 1160393 w 1592490"/>
                  <a:gd name="connsiteY142" fmla="*/ 248907 h 1941092"/>
                  <a:gd name="connsiteX143" fmla="*/ 1223714 w 1592490"/>
                  <a:gd name="connsiteY143" fmla="*/ 287448 h 1941092"/>
                  <a:gd name="connsiteX144" fmla="*/ 1252496 w 1592490"/>
                  <a:gd name="connsiteY144" fmla="*/ 256415 h 1941092"/>
                  <a:gd name="connsiteX145" fmla="*/ 1226801 w 1592490"/>
                  <a:gd name="connsiteY145" fmla="*/ 225383 h 1941092"/>
                  <a:gd name="connsiteX146" fmla="*/ 1287953 w 1592490"/>
                  <a:gd name="connsiteY146" fmla="*/ 202359 h 1941092"/>
                  <a:gd name="connsiteX147" fmla="*/ 1293709 w 1592490"/>
                  <a:gd name="connsiteY147" fmla="*/ 233391 h 1941092"/>
                  <a:gd name="connsiteX148" fmla="*/ 1328248 w 1592490"/>
                  <a:gd name="connsiteY148" fmla="*/ 280357 h 1941092"/>
                  <a:gd name="connsiteX149" fmla="*/ 1339343 w 1592490"/>
                  <a:gd name="connsiteY149" fmla="*/ 285696 h 1941092"/>
                  <a:gd name="connsiteX150" fmla="*/ 1364121 w 1592490"/>
                  <a:gd name="connsiteY150" fmla="*/ 310055 h 1941092"/>
                  <a:gd name="connsiteX151" fmla="*/ 1338843 w 1592490"/>
                  <a:gd name="connsiteY151" fmla="*/ 348178 h 1941092"/>
                  <a:gd name="connsiteX152" fmla="*/ 1335756 w 1592490"/>
                  <a:gd name="connsiteY152" fmla="*/ 350430 h 1941092"/>
                  <a:gd name="connsiteX153" fmla="*/ 1299466 w 1592490"/>
                  <a:gd name="connsiteY153" fmla="*/ 395144 h 1941092"/>
                  <a:gd name="connsiteX154" fmla="*/ 1332252 w 1592490"/>
                  <a:gd name="connsiteY154" fmla="*/ 437688 h 1941092"/>
                  <a:gd name="connsiteX155" fmla="*/ 1337592 w 1592490"/>
                  <a:gd name="connsiteY155" fmla="*/ 440775 h 1941092"/>
                  <a:gd name="connsiteX156" fmla="*/ 1363704 w 1592490"/>
                  <a:gd name="connsiteY156" fmla="*/ 528033 h 1941092"/>
                  <a:gd name="connsiteX157" fmla="*/ 1334004 w 1592490"/>
                  <a:gd name="connsiteY157" fmla="*/ 563486 h 1941092"/>
                  <a:gd name="connsiteX158" fmla="*/ 1275522 w 1592490"/>
                  <a:gd name="connsiteY158" fmla="*/ 603361 h 1941092"/>
                  <a:gd name="connsiteX159" fmla="*/ 1245822 w 1592490"/>
                  <a:gd name="connsiteY159" fmla="*/ 662757 h 1941092"/>
                  <a:gd name="connsiteX160" fmla="*/ 1261339 w 1592490"/>
                  <a:gd name="connsiteY160" fmla="*/ 689785 h 1941092"/>
                  <a:gd name="connsiteX161" fmla="*/ 1273270 w 1592490"/>
                  <a:gd name="connsiteY161" fmla="*/ 709305 h 1941092"/>
                  <a:gd name="connsiteX162" fmla="*/ 1314482 w 1592490"/>
                  <a:gd name="connsiteY162" fmla="*/ 749180 h 1941092"/>
                  <a:gd name="connsiteX163" fmla="*/ 1329583 w 1592490"/>
                  <a:gd name="connsiteY163" fmla="*/ 760692 h 1941092"/>
                  <a:gd name="connsiteX164" fmla="*/ 1363287 w 1592490"/>
                  <a:gd name="connsiteY164" fmla="*/ 775791 h 1941092"/>
                  <a:gd name="connsiteX165" fmla="*/ 1380557 w 1592490"/>
                  <a:gd name="connsiteY165" fmla="*/ 768283 h 1941092"/>
                  <a:gd name="connsiteX166" fmla="*/ 1398744 w 1592490"/>
                  <a:gd name="connsiteY166" fmla="*/ 761610 h 1941092"/>
                  <a:gd name="connsiteX167" fmla="*/ 1401830 w 1592490"/>
                  <a:gd name="connsiteY167" fmla="*/ 768283 h 1941092"/>
                  <a:gd name="connsiteX168" fmla="*/ 1403582 w 1592490"/>
                  <a:gd name="connsiteY168" fmla="*/ 776292 h 1941092"/>
                  <a:gd name="connsiteX169" fmla="*/ 1413760 w 1592490"/>
                  <a:gd name="connsiteY169" fmla="*/ 790890 h 1941092"/>
                  <a:gd name="connsiteX170" fmla="*/ 1417765 w 1592490"/>
                  <a:gd name="connsiteY170" fmla="*/ 794394 h 1941092"/>
                  <a:gd name="connsiteX171" fmla="*/ 1422187 w 1592490"/>
                  <a:gd name="connsiteY171" fmla="*/ 797898 h 1941092"/>
                  <a:gd name="connsiteX172" fmla="*/ 1425273 w 1592490"/>
                  <a:gd name="connsiteY172" fmla="*/ 802319 h 1941092"/>
                  <a:gd name="connsiteX173" fmla="*/ 1428360 w 1592490"/>
                  <a:gd name="connsiteY173" fmla="*/ 816084 h 1941092"/>
                  <a:gd name="connsiteX174" fmla="*/ 1431447 w 1592490"/>
                  <a:gd name="connsiteY174" fmla="*/ 830682 h 1941092"/>
                  <a:gd name="connsiteX175" fmla="*/ 1438121 w 1592490"/>
                  <a:gd name="connsiteY175" fmla="*/ 845281 h 1941092"/>
                  <a:gd name="connsiteX176" fmla="*/ 1442125 w 1592490"/>
                  <a:gd name="connsiteY176" fmla="*/ 877147 h 1941092"/>
                  <a:gd name="connsiteX177" fmla="*/ 1438621 w 1592490"/>
                  <a:gd name="connsiteY177" fmla="*/ 881569 h 1941092"/>
                  <a:gd name="connsiteX178" fmla="*/ 1429778 w 1592490"/>
                  <a:gd name="connsiteY178" fmla="*/ 894415 h 1941092"/>
                  <a:gd name="connsiteX179" fmla="*/ 1431113 w 1592490"/>
                  <a:gd name="connsiteY179" fmla="*/ 913936 h 1941092"/>
                  <a:gd name="connsiteX180" fmla="*/ 1432448 w 1592490"/>
                  <a:gd name="connsiteY180" fmla="*/ 919692 h 1941092"/>
                  <a:gd name="connsiteX181" fmla="*/ 1429361 w 1592490"/>
                  <a:gd name="connsiteY181" fmla="*/ 934290 h 1941092"/>
                  <a:gd name="connsiteX182" fmla="*/ 1424522 w 1592490"/>
                  <a:gd name="connsiteY182" fmla="*/ 941798 h 1941092"/>
                  <a:gd name="connsiteX183" fmla="*/ 1421436 w 1592490"/>
                  <a:gd name="connsiteY183" fmla="*/ 946637 h 1941092"/>
                  <a:gd name="connsiteX184" fmla="*/ 1414762 w 1592490"/>
                  <a:gd name="connsiteY184" fmla="*/ 960818 h 1941092"/>
                  <a:gd name="connsiteX185" fmla="*/ 1407253 w 1592490"/>
                  <a:gd name="connsiteY185" fmla="*/ 975000 h 1941092"/>
                  <a:gd name="connsiteX186" fmla="*/ 1393071 w 1592490"/>
                  <a:gd name="connsiteY186" fmla="*/ 983425 h 1941092"/>
                  <a:gd name="connsiteX187" fmla="*/ 1370963 w 1592490"/>
                  <a:gd name="connsiteY187" fmla="*/ 1016626 h 1941092"/>
                  <a:gd name="connsiteX188" fmla="*/ 1381557 w 1592490"/>
                  <a:gd name="connsiteY188" fmla="*/ 1041903 h 1941092"/>
                  <a:gd name="connsiteX189" fmla="*/ 1389567 w 1592490"/>
                  <a:gd name="connsiteY189" fmla="*/ 1074270 h 1941092"/>
                  <a:gd name="connsiteX190" fmla="*/ 1387314 w 1592490"/>
                  <a:gd name="connsiteY190" fmla="*/ 1084030 h 1941092"/>
                  <a:gd name="connsiteX191" fmla="*/ 1392153 w 1592490"/>
                  <a:gd name="connsiteY191" fmla="*/ 1134499 h 1941092"/>
                  <a:gd name="connsiteX192" fmla="*/ 1409839 w 1592490"/>
                  <a:gd name="connsiteY192" fmla="*/ 1155772 h 1941092"/>
                  <a:gd name="connsiteX193" fmla="*/ 1432865 w 1592490"/>
                  <a:gd name="connsiteY193" fmla="*/ 1187639 h 1941092"/>
                  <a:gd name="connsiteX194" fmla="*/ 1435118 w 1592490"/>
                  <a:gd name="connsiteY194" fmla="*/ 1213332 h 1941092"/>
                  <a:gd name="connsiteX195" fmla="*/ 1431113 w 1592490"/>
                  <a:gd name="connsiteY195" fmla="*/ 1223092 h 1941092"/>
                  <a:gd name="connsiteX196" fmla="*/ 1426274 w 1592490"/>
                  <a:gd name="connsiteY196" fmla="*/ 1245199 h 1941092"/>
                  <a:gd name="connsiteX197" fmla="*/ 1436035 w 1592490"/>
                  <a:gd name="connsiteY197" fmla="*/ 1264719 h 1941092"/>
                  <a:gd name="connsiteX198" fmla="*/ 1442209 w 1592490"/>
                  <a:gd name="connsiteY198" fmla="*/ 1274896 h 1941092"/>
                  <a:gd name="connsiteX199" fmla="*/ 1441291 w 1592490"/>
                  <a:gd name="connsiteY199" fmla="*/ 1301007 h 1941092"/>
                  <a:gd name="connsiteX200" fmla="*/ 1440874 w 1592490"/>
                  <a:gd name="connsiteY200" fmla="*/ 1303259 h 1941092"/>
                  <a:gd name="connsiteX201" fmla="*/ 1473244 w 1592490"/>
                  <a:gd name="connsiteY201" fmla="*/ 1372331 h 1941092"/>
                  <a:gd name="connsiteX202" fmla="*/ 1502443 w 1592490"/>
                  <a:gd name="connsiteY202" fmla="*/ 1402863 h 1941092"/>
                  <a:gd name="connsiteX203" fmla="*/ 1501108 w 1592490"/>
                  <a:gd name="connsiteY203" fmla="*/ 1455168 h 1941092"/>
                  <a:gd name="connsiteX204" fmla="*/ 1499356 w 1592490"/>
                  <a:gd name="connsiteY204" fmla="*/ 1458672 h 1941092"/>
                  <a:gd name="connsiteX205" fmla="*/ 1496687 w 1592490"/>
                  <a:gd name="connsiteY205" fmla="*/ 1516732 h 1941092"/>
                  <a:gd name="connsiteX206" fmla="*/ 1510869 w 1592490"/>
                  <a:gd name="connsiteY206" fmla="*/ 1518985 h 1941092"/>
                  <a:gd name="connsiteX207" fmla="*/ 1514874 w 1592490"/>
                  <a:gd name="connsiteY207" fmla="*/ 1518568 h 1941092"/>
                  <a:gd name="connsiteX208" fmla="*/ 1534396 w 1592490"/>
                  <a:gd name="connsiteY208" fmla="*/ 1528328 h 1941092"/>
                  <a:gd name="connsiteX209" fmla="*/ 1560508 w 1592490"/>
                  <a:gd name="connsiteY209" fmla="*/ 1541174 h 1941092"/>
                  <a:gd name="connsiteX210" fmla="*/ 1571103 w 1592490"/>
                  <a:gd name="connsiteY210" fmla="*/ 1540257 h 1941092"/>
                  <a:gd name="connsiteX211" fmla="*/ 1583951 w 1592490"/>
                  <a:gd name="connsiteY211" fmla="*/ 1542009 h 1941092"/>
                  <a:gd name="connsiteX212" fmla="*/ 1590625 w 1592490"/>
                  <a:gd name="connsiteY212" fmla="*/ 1573041 h 1941092"/>
                  <a:gd name="connsiteX213" fmla="*/ 1590625 w 1592490"/>
                  <a:gd name="connsiteY213" fmla="*/ 1581467 h 1941092"/>
                  <a:gd name="connsiteX214" fmla="*/ 1591543 w 1592490"/>
                  <a:gd name="connsiteY214" fmla="*/ 1596065 h 1941092"/>
                  <a:gd name="connsiteX215" fmla="*/ 1587121 w 1592490"/>
                  <a:gd name="connsiteY215" fmla="*/ 1649705 h 1941092"/>
                  <a:gd name="connsiteX216" fmla="*/ 1568934 w 1592490"/>
                  <a:gd name="connsiteY216" fmla="*/ 1670059 h 1941092"/>
                  <a:gd name="connsiteX217" fmla="*/ 1548578 w 1592490"/>
                  <a:gd name="connsiteY217" fmla="*/ 1690414 h 1941092"/>
                  <a:gd name="connsiteX218" fmla="*/ 1540569 w 1592490"/>
                  <a:gd name="connsiteY218" fmla="*/ 1701509 h 1941092"/>
                  <a:gd name="connsiteX219" fmla="*/ 1528639 w 1592490"/>
                  <a:gd name="connsiteY219" fmla="*/ 1753313 h 1941092"/>
                  <a:gd name="connsiteX220" fmla="*/ 1540569 w 1592490"/>
                  <a:gd name="connsiteY220" fmla="*/ 1768829 h 1941092"/>
                  <a:gd name="connsiteX221" fmla="*/ 1548995 w 1592490"/>
                  <a:gd name="connsiteY221" fmla="*/ 1794523 h 1941092"/>
                  <a:gd name="connsiteX222" fmla="*/ 1547660 w 1592490"/>
                  <a:gd name="connsiteY222" fmla="*/ 1810456 h 1941092"/>
                  <a:gd name="connsiteX223" fmla="*/ 1545908 w 1592490"/>
                  <a:gd name="connsiteY223" fmla="*/ 1828642 h 1941092"/>
                  <a:gd name="connsiteX224" fmla="*/ 1530391 w 1592490"/>
                  <a:gd name="connsiteY224" fmla="*/ 1854335 h 1941092"/>
                  <a:gd name="connsiteX225" fmla="*/ 1527721 w 1592490"/>
                  <a:gd name="connsiteY225" fmla="*/ 1857839 h 1941092"/>
                  <a:gd name="connsiteX226" fmla="*/ 1509117 w 1592490"/>
                  <a:gd name="connsiteY226" fmla="*/ 1883950 h 1941092"/>
                  <a:gd name="connsiteX227" fmla="*/ 1489595 w 1592490"/>
                  <a:gd name="connsiteY227" fmla="*/ 1911395 h 1941092"/>
                  <a:gd name="connsiteX228" fmla="*/ 1480752 w 1592490"/>
                  <a:gd name="connsiteY228" fmla="*/ 1921155 h 1941092"/>
                  <a:gd name="connsiteX229" fmla="*/ 1464401 w 1592490"/>
                  <a:gd name="connsiteY229" fmla="*/ 1941093 h 1941092"/>
                  <a:gd name="connsiteX230" fmla="*/ 1460896 w 1592490"/>
                  <a:gd name="connsiteY230" fmla="*/ 1937589 h 1941092"/>
                  <a:gd name="connsiteX231" fmla="*/ 1452470 w 1592490"/>
                  <a:gd name="connsiteY231" fmla="*/ 1925159 h 1941092"/>
                  <a:gd name="connsiteX232" fmla="*/ 1421936 w 1592490"/>
                  <a:gd name="connsiteY232" fmla="*/ 1898131 h 1941092"/>
                  <a:gd name="connsiteX233" fmla="*/ 1402414 w 1592490"/>
                  <a:gd name="connsiteY233" fmla="*/ 1895879 h 1941092"/>
                  <a:gd name="connsiteX234" fmla="*/ 1381557 w 1592490"/>
                  <a:gd name="connsiteY234" fmla="*/ 1892792 h 1941092"/>
                  <a:gd name="connsiteX235" fmla="*/ 1353610 w 1592490"/>
                  <a:gd name="connsiteY235" fmla="*/ 1871937 h 1941092"/>
                  <a:gd name="connsiteX236" fmla="*/ 1343432 w 1592490"/>
                  <a:gd name="connsiteY236" fmla="*/ 1862177 h 1941092"/>
                  <a:gd name="connsiteX237" fmla="*/ 1287202 w 1592490"/>
                  <a:gd name="connsiteY237" fmla="*/ 1844909 h 1941092"/>
                  <a:gd name="connsiteX238" fmla="*/ 1247741 w 1592490"/>
                  <a:gd name="connsiteY238" fmla="*/ 1823636 h 1941092"/>
                  <a:gd name="connsiteX239" fmla="*/ 1238397 w 1592490"/>
                  <a:gd name="connsiteY239" fmla="*/ 1808537 h 1941092"/>
                  <a:gd name="connsiteX240" fmla="*/ 1199437 w 1592490"/>
                  <a:gd name="connsiteY240" fmla="*/ 1769997 h 1941092"/>
                  <a:gd name="connsiteX241" fmla="*/ 1171072 w 1592490"/>
                  <a:gd name="connsiteY241" fmla="*/ 1786348 h 1941092"/>
                  <a:gd name="connsiteX242" fmla="*/ 1147128 w 1592490"/>
                  <a:gd name="connsiteY242" fmla="*/ 1807620 h 1941092"/>
                  <a:gd name="connsiteX243" fmla="*/ 1137367 w 1592490"/>
                  <a:gd name="connsiteY243" fmla="*/ 1814711 h 1941092"/>
                  <a:gd name="connsiteX244" fmla="*/ 1131193 w 1592490"/>
                  <a:gd name="connsiteY244" fmla="*/ 1819549 h 1941092"/>
                  <a:gd name="connsiteX245" fmla="*/ 1087311 w 1592490"/>
                  <a:gd name="connsiteY245" fmla="*/ 1839486 h 1941092"/>
                  <a:gd name="connsiteX246" fmla="*/ 1043429 w 1592490"/>
                  <a:gd name="connsiteY246" fmla="*/ 1841739 h 1941092"/>
                  <a:gd name="connsiteX247" fmla="*/ 1021738 w 1592490"/>
                  <a:gd name="connsiteY247" fmla="*/ 1842657 h 1941092"/>
                  <a:gd name="connsiteX248" fmla="*/ 973434 w 1592490"/>
                  <a:gd name="connsiteY248" fmla="*/ 1827140 h 1941092"/>
                  <a:gd name="connsiteX249" fmla="*/ 931386 w 1592490"/>
                  <a:gd name="connsiteY249" fmla="*/ 1777088 h 1941092"/>
                  <a:gd name="connsiteX250" fmla="*/ 883583 w 1592490"/>
                  <a:gd name="connsiteY250" fmla="*/ 1743386 h 1941092"/>
                  <a:gd name="connsiteX251" fmla="*/ 859639 w 1592490"/>
                  <a:gd name="connsiteY251" fmla="*/ 1729205 h 1941092"/>
                  <a:gd name="connsiteX252" fmla="*/ 843705 w 1592490"/>
                  <a:gd name="connsiteY252" fmla="*/ 1717275 h 1941092"/>
                  <a:gd name="connsiteX253" fmla="*/ 798988 w 1592490"/>
                  <a:gd name="connsiteY253" fmla="*/ 1708433 h 1941092"/>
                  <a:gd name="connsiteX254" fmla="*/ 776880 w 1592490"/>
                  <a:gd name="connsiteY254" fmla="*/ 1707098 h 1941092"/>
                  <a:gd name="connsiteX255" fmla="*/ 734833 w 1592490"/>
                  <a:gd name="connsiteY255" fmla="*/ 1687577 h 1941092"/>
                  <a:gd name="connsiteX256" fmla="*/ 700711 w 1592490"/>
                  <a:gd name="connsiteY256" fmla="*/ 1671227 h 1941092"/>
                  <a:gd name="connsiteX257" fmla="*/ 684360 w 1592490"/>
                  <a:gd name="connsiteY257" fmla="*/ 1664554 h 1941092"/>
                  <a:gd name="connsiteX258" fmla="*/ 668008 w 1592490"/>
                  <a:gd name="connsiteY258" fmla="*/ 1646368 h 1941092"/>
                  <a:gd name="connsiteX259" fmla="*/ 655160 w 1592490"/>
                  <a:gd name="connsiteY259" fmla="*/ 1626847 h 1941092"/>
                  <a:gd name="connsiteX260" fmla="*/ 612613 w 1592490"/>
                  <a:gd name="connsiteY260" fmla="*/ 1624178 h 1941092"/>
                  <a:gd name="connsiteX261" fmla="*/ 605104 w 1592490"/>
                  <a:gd name="connsiteY261" fmla="*/ 1627265 h 1941092"/>
                  <a:gd name="connsiteX262" fmla="*/ 562556 w 1592490"/>
                  <a:gd name="connsiteY262" fmla="*/ 1625012 h 1941092"/>
                  <a:gd name="connsiteX263" fmla="*/ 552795 w 1592490"/>
                  <a:gd name="connsiteY263" fmla="*/ 1593146 h 1941092"/>
                  <a:gd name="connsiteX264" fmla="*/ 553713 w 1592490"/>
                  <a:gd name="connsiteY264" fmla="*/ 1580716 h 1941092"/>
                  <a:gd name="connsiteX265" fmla="*/ 526683 w 1592490"/>
                  <a:gd name="connsiteY265" fmla="*/ 1532415 h 1941092"/>
                  <a:gd name="connsiteX266" fmla="*/ 512500 w 1592490"/>
                  <a:gd name="connsiteY266" fmla="*/ 1492958 h 1941092"/>
                  <a:gd name="connsiteX267" fmla="*/ 518674 w 1592490"/>
                  <a:gd name="connsiteY267" fmla="*/ 1478776 h 1941092"/>
                  <a:gd name="connsiteX268" fmla="*/ 522178 w 1592490"/>
                  <a:gd name="connsiteY268" fmla="*/ 1441988 h 1941092"/>
                  <a:gd name="connsiteX269" fmla="*/ 481883 w 1592490"/>
                  <a:gd name="connsiteY269" fmla="*/ 1407869 h 1941092"/>
                  <a:gd name="connsiteX270" fmla="*/ 475208 w 1592490"/>
                  <a:gd name="connsiteY270" fmla="*/ 1404365 h 1941092"/>
                  <a:gd name="connsiteX271" fmla="*/ 459691 w 1592490"/>
                  <a:gd name="connsiteY271" fmla="*/ 1394188 h 1941092"/>
                  <a:gd name="connsiteX272" fmla="*/ 422065 w 1592490"/>
                  <a:gd name="connsiteY272" fmla="*/ 1373833 h 1941092"/>
                  <a:gd name="connsiteX273" fmla="*/ 387944 w 1592490"/>
                  <a:gd name="connsiteY273" fmla="*/ 1384928 h 1941092"/>
                  <a:gd name="connsiteX274" fmla="*/ 376431 w 1592490"/>
                  <a:gd name="connsiteY274" fmla="*/ 1393771 h 1941092"/>
                  <a:gd name="connsiteX275" fmla="*/ 368923 w 1592490"/>
                  <a:gd name="connsiteY275" fmla="*/ 1392436 h 1941092"/>
                  <a:gd name="connsiteX276" fmla="*/ 359162 w 1592490"/>
                  <a:gd name="connsiteY276" fmla="*/ 1389766 h 1941092"/>
                  <a:gd name="connsiteX277" fmla="*/ 336553 w 1592490"/>
                  <a:gd name="connsiteY277" fmla="*/ 1394188 h 1941092"/>
                  <a:gd name="connsiteX278" fmla="*/ 329044 w 1592490"/>
                  <a:gd name="connsiteY278" fmla="*/ 1396857 h 1941092"/>
                  <a:gd name="connsiteX279" fmla="*/ 283827 w 1592490"/>
                  <a:gd name="connsiteY279" fmla="*/ 1395940 h 1941092"/>
                  <a:gd name="connsiteX280" fmla="*/ 259884 w 1592490"/>
                  <a:gd name="connsiteY280" fmla="*/ 1364490 h 1941092"/>
                  <a:gd name="connsiteX281" fmla="*/ 262553 w 1592490"/>
                  <a:gd name="connsiteY281" fmla="*/ 1344970 h 1941092"/>
                  <a:gd name="connsiteX282" fmla="*/ 248788 w 1592490"/>
                  <a:gd name="connsiteY282" fmla="*/ 1304177 h 1941092"/>
                  <a:gd name="connsiteX283" fmla="*/ 235940 w 1592490"/>
                  <a:gd name="connsiteY283" fmla="*/ 1295752 h 1941092"/>
                  <a:gd name="connsiteX284" fmla="*/ 176123 w 1592490"/>
                  <a:gd name="connsiteY284" fmla="*/ 1267806 h 1941092"/>
                  <a:gd name="connsiteX285" fmla="*/ 135828 w 1592490"/>
                  <a:gd name="connsiteY285" fmla="*/ 1270892 h 1941092"/>
                  <a:gd name="connsiteX286" fmla="*/ 110132 w 1592490"/>
                  <a:gd name="connsiteY286" fmla="*/ 1273979 h 1941092"/>
                  <a:gd name="connsiteX287" fmla="*/ 99955 w 1592490"/>
                  <a:gd name="connsiteY287" fmla="*/ 1274896 h 1941092"/>
                  <a:gd name="connsiteX288" fmla="*/ 37968 w 1592490"/>
                  <a:gd name="connsiteY288" fmla="*/ 1266888 h 1941092"/>
                  <a:gd name="connsiteX289" fmla="*/ 31294 w 1592490"/>
                  <a:gd name="connsiteY289" fmla="*/ 1249620 h 1941092"/>
                  <a:gd name="connsiteX290" fmla="*/ 10020 w 1592490"/>
                  <a:gd name="connsiteY290" fmla="*/ 1219088 h 1941092"/>
                  <a:gd name="connsiteX291" fmla="*/ 3346 w 1592490"/>
                  <a:gd name="connsiteY291" fmla="*/ 1216836 h 1941092"/>
                  <a:gd name="connsiteX292" fmla="*/ 1094 w 1592490"/>
                  <a:gd name="connsiteY292" fmla="*/ 1215918 h 1941092"/>
                  <a:gd name="connsiteX293" fmla="*/ 176 w 1592490"/>
                  <a:gd name="connsiteY293" fmla="*/ 1212415 h 1941092"/>
                  <a:gd name="connsiteX294" fmla="*/ 8185 w 1592490"/>
                  <a:gd name="connsiteY294" fmla="*/ 1197816 h 1941092"/>
                  <a:gd name="connsiteX295" fmla="*/ 15276 w 1592490"/>
                  <a:gd name="connsiteY295" fmla="*/ 1190308 h 1941092"/>
                  <a:gd name="connsiteX296" fmla="*/ 28124 w 1592490"/>
                  <a:gd name="connsiteY296" fmla="*/ 1155772 h 1941092"/>
                  <a:gd name="connsiteX297" fmla="*/ 34298 w 1592490"/>
                  <a:gd name="connsiteY297" fmla="*/ 1133665 h 1941092"/>
                  <a:gd name="connsiteX298" fmla="*/ 39136 w 1592490"/>
                  <a:gd name="connsiteY298" fmla="*/ 1125240 h 1941092"/>
                  <a:gd name="connsiteX299" fmla="*/ 48480 w 1592490"/>
                  <a:gd name="connsiteY299" fmla="*/ 1103968 h 1941092"/>
                  <a:gd name="connsiteX300" fmla="*/ 42724 w 1592490"/>
                  <a:gd name="connsiteY300" fmla="*/ 1078274 h 1941092"/>
                  <a:gd name="connsiteX301" fmla="*/ 38302 w 1592490"/>
                  <a:gd name="connsiteY301" fmla="*/ 1065427 h 1941092"/>
                  <a:gd name="connsiteX302" fmla="*/ 34798 w 1592490"/>
                  <a:gd name="connsiteY302" fmla="*/ 1019379 h 1941092"/>
                  <a:gd name="connsiteX303" fmla="*/ 40555 w 1592490"/>
                  <a:gd name="connsiteY303" fmla="*/ 1018462 h 1941092"/>
                  <a:gd name="connsiteX304" fmla="*/ 77763 w 1592490"/>
                  <a:gd name="connsiteY304" fmla="*/ 1010036 h 1941092"/>
                  <a:gd name="connsiteX305" fmla="*/ 113219 w 1592490"/>
                  <a:gd name="connsiteY305" fmla="*/ 979921 h 1941092"/>
                  <a:gd name="connsiteX306" fmla="*/ 136245 w 1592490"/>
                  <a:gd name="connsiteY306" fmla="*/ 956480 h 1941092"/>
                  <a:gd name="connsiteX307" fmla="*/ 229683 w 1592490"/>
                  <a:gd name="connsiteY307" fmla="*/ 922361 h 1941092"/>
                  <a:gd name="connsiteX308" fmla="*/ 238526 w 1592490"/>
                  <a:gd name="connsiteY308" fmla="*/ 921026 h 1941092"/>
                  <a:gd name="connsiteX309" fmla="*/ 284578 w 1592490"/>
                  <a:gd name="connsiteY309" fmla="*/ 907262 h 1941092"/>
                  <a:gd name="connsiteX310" fmla="*/ 300513 w 1592490"/>
                  <a:gd name="connsiteY310" fmla="*/ 890912 h 1941092"/>
                  <a:gd name="connsiteX311" fmla="*/ 312443 w 1592490"/>
                  <a:gd name="connsiteY311" fmla="*/ 878065 h 1941092"/>
                  <a:gd name="connsiteX312" fmla="*/ 340391 w 1592490"/>
                  <a:gd name="connsiteY312" fmla="*/ 864801 h 1941092"/>
                  <a:gd name="connsiteX313" fmla="*/ 390030 w 1592490"/>
                  <a:gd name="connsiteY313" fmla="*/ 827178 h 1941092"/>
                  <a:gd name="connsiteX314" fmla="*/ 390947 w 1592490"/>
                  <a:gd name="connsiteY314" fmla="*/ 818336 h 1941092"/>
                  <a:gd name="connsiteX315" fmla="*/ 393617 w 1592490"/>
                  <a:gd name="connsiteY315" fmla="*/ 811245 h 1941092"/>
                  <a:gd name="connsiteX316" fmla="*/ 396704 w 1592490"/>
                  <a:gd name="connsiteY316" fmla="*/ 807742 h 1941092"/>
                  <a:gd name="connsiteX317" fmla="*/ 403378 w 1592490"/>
                  <a:gd name="connsiteY317" fmla="*/ 797981 h 1941092"/>
                  <a:gd name="connsiteX318" fmla="*/ 398039 w 1592490"/>
                  <a:gd name="connsiteY318" fmla="*/ 750599 h 1941092"/>
                  <a:gd name="connsiteX319" fmla="*/ 383856 w 1592490"/>
                  <a:gd name="connsiteY319" fmla="*/ 743925 h 1941092"/>
                  <a:gd name="connsiteX320" fmla="*/ 374095 w 1592490"/>
                  <a:gd name="connsiteY320" fmla="*/ 739086 h 1941092"/>
                  <a:gd name="connsiteX321" fmla="*/ 382938 w 1592490"/>
                  <a:gd name="connsiteY321" fmla="*/ 709389 h 1941092"/>
                  <a:gd name="connsiteX322" fmla="*/ 383856 w 1592490"/>
                  <a:gd name="connsiteY322" fmla="*/ 707637 h 1941092"/>
                  <a:gd name="connsiteX323" fmla="*/ 395786 w 1592490"/>
                  <a:gd name="connsiteY323" fmla="*/ 690369 h 1941092"/>
                  <a:gd name="connsiteX324" fmla="*/ 404629 w 1592490"/>
                  <a:gd name="connsiteY324" fmla="*/ 677939 h 1941092"/>
                  <a:gd name="connsiteX325" fmla="*/ 412638 w 1592490"/>
                  <a:gd name="connsiteY325" fmla="*/ 665093 h 1941092"/>
                  <a:gd name="connsiteX326" fmla="*/ 419730 w 1592490"/>
                  <a:gd name="connsiteY326" fmla="*/ 619461 h 1941092"/>
                  <a:gd name="connsiteX327" fmla="*/ 397621 w 1592490"/>
                  <a:gd name="connsiteY327" fmla="*/ 584008 h 1941092"/>
                  <a:gd name="connsiteX328" fmla="*/ 394535 w 1592490"/>
                  <a:gd name="connsiteY328" fmla="*/ 581755 h 1941092"/>
                  <a:gd name="connsiteX329" fmla="*/ 384357 w 1592490"/>
                  <a:gd name="connsiteY329" fmla="*/ 567157 h 1941092"/>
                  <a:gd name="connsiteX330" fmla="*/ 404296 w 1592490"/>
                  <a:gd name="connsiteY330" fmla="*/ 548137 h 1941092"/>
                  <a:gd name="connsiteX331" fmla="*/ 414140 w 1592490"/>
                  <a:gd name="connsiteY331" fmla="*/ 544633 h 1941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</a:cxnLst>
                <a:rect l="l" t="t" r="r" b="b"/>
                <a:pathLst>
                  <a:path w="1592490" h="1941092" extrusionOk="0">
                    <a:moveTo>
                      <a:pt x="414140" y="544633"/>
                    </a:moveTo>
                    <a:cubicBezTo>
                      <a:pt x="417227" y="541964"/>
                      <a:pt x="420814" y="539294"/>
                      <a:pt x="424318" y="536625"/>
                    </a:cubicBezTo>
                    <a:cubicBezTo>
                      <a:pt x="427405" y="539294"/>
                      <a:pt x="430492" y="541964"/>
                      <a:pt x="434079" y="544133"/>
                    </a:cubicBezTo>
                    <a:cubicBezTo>
                      <a:pt x="442505" y="550806"/>
                      <a:pt x="450430" y="558731"/>
                      <a:pt x="455770" y="568074"/>
                    </a:cubicBezTo>
                    <a:cubicBezTo>
                      <a:pt x="462861" y="580504"/>
                      <a:pt x="467283" y="591515"/>
                      <a:pt x="477878" y="603028"/>
                    </a:cubicBezTo>
                    <a:cubicBezTo>
                      <a:pt x="488974" y="614957"/>
                      <a:pt x="503156" y="622965"/>
                      <a:pt x="508913" y="638898"/>
                    </a:cubicBezTo>
                    <a:cubicBezTo>
                      <a:pt x="515086" y="657501"/>
                      <a:pt x="517756" y="676521"/>
                      <a:pt x="527100" y="694290"/>
                    </a:cubicBezTo>
                    <a:cubicBezTo>
                      <a:pt x="533274" y="705384"/>
                      <a:pt x="546622" y="712892"/>
                      <a:pt x="548374" y="725739"/>
                    </a:cubicBezTo>
                    <a:cubicBezTo>
                      <a:pt x="549291" y="733247"/>
                      <a:pt x="543535" y="739920"/>
                      <a:pt x="550126" y="747428"/>
                    </a:cubicBezTo>
                    <a:cubicBezTo>
                      <a:pt x="555465" y="754102"/>
                      <a:pt x="561222" y="753602"/>
                      <a:pt x="568313" y="749681"/>
                    </a:cubicBezTo>
                    <a:cubicBezTo>
                      <a:pt x="579408" y="742590"/>
                      <a:pt x="587835" y="722236"/>
                      <a:pt x="596261" y="712058"/>
                    </a:cubicBezTo>
                    <a:cubicBezTo>
                      <a:pt x="608191" y="698294"/>
                      <a:pt x="618870" y="685030"/>
                      <a:pt x="623291" y="666844"/>
                    </a:cubicBezTo>
                    <a:cubicBezTo>
                      <a:pt x="629465" y="643403"/>
                      <a:pt x="611778" y="656250"/>
                      <a:pt x="600682" y="644738"/>
                    </a:cubicBezTo>
                    <a:cubicBezTo>
                      <a:pt x="593174" y="636730"/>
                      <a:pt x="592256" y="612371"/>
                      <a:pt x="591339" y="601776"/>
                    </a:cubicBezTo>
                    <a:cubicBezTo>
                      <a:pt x="590922" y="594268"/>
                      <a:pt x="590004" y="584091"/>
                      <a:pt x="592256" y="576500"/>
                    </a:cubicBezTo>
                    <a:cubicBezTo>
                      <a:pt x="594509" y="569826"/>
                      <a:pt x="602434" y="565905"/>
                      <a:pt x="603769" y="561401"/>
                    </a:cubicBezTo>
                    <a:cubicBezTo>
                      <a:pt x="607273" y="549472"/>
                      <a:pt x="596261" y="542381"/>
                      <a:pt x="587418" y="534790"/>
                    </a:cubicBezTo>
                    <a:cubicBezTo>
                      <a:pt x="578991" y="527699"/>
                      <a:pt x="572317" y="516604"/>
                      <a:pt x="563974" y="510431"/>
                    </a:cubicBezTo>
                    <a:cubicBezTo>
                      <a:pt x="550209" y="499336"/>
                      <a:pt x="542701" y="519273"/>
                      <a:pt x="533440" y="512183"/>
                    </a:cubicBezTo>
                    <a:cubicBezTo>
                      <a:pt x="526766" y="506844"/>
                      <a:pt x="533023" y="490910"/>
                      <a:pt x="535693" y="484737"/>
                    </a:cubicBezTo>
                    <a:cubicBezTo>
                      <a:pt x="539697" y="474560"/>
                      <a:pt x="548541" y="457292"/>
                      <a:pt x="558719" y="451536"/>
                    </a:cubicBezTo>
                    <a:cubicBezTo>
                      <a:pt x="573318" y="443528"/>
                      <a:pt x="585332" y="451953"/>
                      <a:pt x="588419" y="428929"/>
                    </a:cubicBezTo>
                    <a:cubicBezTo>
                      <a:pt x="589753" y="418752"/>
                      <a:pt x="587084" y="410743"/>
                      <a:pt x="592840" y="400983"/>
                    </a:cubicBezTo>
                    <a:cubicBezTo>
                      <a:pt x="596344" y="395227"/>
                      <a:pt x="602601" y="392140"/>
                      <a:pt x="605688" y="386384"/>
                    </a:cubicBezTo>
                    <a:cubicBezTo>
                      <a:pt x="609192" y="378877"/>
                      <a:pt x="608775" y="370451"/>
                      <a:pt x="611444" y="362443"/>
                    </a:cubicBezTo>
                    <a:cubicBezTo>
                      <a:pt x="614114" y="354017"/>
                      <a:pt x="620788" y="350013"/>
                      <a:pt x="624292" y="342922"/>
                    </a:cubicBezTo>
                    <a:cubicBezTo>
                      <a:pt x="629131" y="333162"/>
                      <a:pt x="627796" y="340253"/>
                      <a:pt x="625627" y="331410"/>
                    </a:cubicBezTo>
                    <a:cubicBezTo>
                      <a:pt x="625210" y="331410"/>
                      <a:pt x="618953" y="318564"/>
                      <a:pt x="618953" y="317229"/>
                    </a:cubicBezTo>
                    <a:cubicBezTo>
                      <a:pt x="610944" y="312391"/>
                      <a:pt x="595510" y="322985"/>
                      <a:pt x="595009" y="307052"/>
                    </a:cubicBezTo>
                    <a:cubicBezTo>
                      <a:pt x="594592" y="297291"/>
                      <a:pt x="610527" y="285779"/>
                      <a:pt x="612696" y="276019"/>
                    </a:cubicBezTo>
                    <a:cubicBezTo>
                      <a:pt x="614448" y="268928"/>
                      <a:pt x="610443" y="266676"/>
                      <a:pt x="615783" y="258751"/>
                    </a:cubicBezTo>
                    <a:cubicBezTo>
                      <a:pt x="619287" y="253412"/>
                      <a:pt x="627295" y="246322"/>
                      <a:pt x="633052" y="242818"/>
                    </a:cubicBezTo>
                    <a:cubicBezTo>
                      <a:pt x="646818" y="233975"/>
                      <a:pt x="664504" y="233475"/>
                      <a:pt x="679104" y="226467"/>
                    </a:cubicBezTo>
                    <a:cubicBezTo>
                      <a:pt x="695455" y="218459"/>
                      <a:pt x="714560" y="210117"/>
                      <a:pt x="727408" y="196770"/>
                    </a:cubicBezTo>
                    <a:cubicBezTo>
                      <a:pt x="750016" y="173746"/>
                      <a:pt x="768621" y="135622"/>
                      <a:pt x="781886" y="106842"/>
                    </a:cubicBezTo>
                    <a:cubicBezTo>
                      <a:pt x="789895" y="89991"/>
                      <a:pt x="800490" y="74976"/>
                      <a:pt x="805829" y="57207"/>
                    </a:cubicBezTo>
                    <a:cubicBezTo>
                      <a:pt x="810668" y="40857"/>
                      <a:pt x="815590" y="37687"/>
                      <a:pt x="828438" y="28010"/>
                    </a:cubicBezTo>
                    <a:cubicBezTo>
                      <a:pt x="836447" y="21837"/>
                      <a:pt x="840868" y="1899"/>
                      <a:pt x="850546" y="64"/>
                    </a:cubicBezTo>
                    <a:cubicBezTo>
                      <a:pt x="858972" y="-1271"/>
                      <a:pt x="872654" y="18667"/>
                      <a:pt x="880663" y="22170"/>
                    </a:cubicBezTo>
                    <a:cubicBezTo>
                      <a:pt x="900185" y="31514"/>
                      <a:pt x="921876" y="27009"/>
                      <a:pt x="940897" y="35017"/>
                    </a:cubicBezTo>
                    <a:cubicBezTo>
                      <a:pt x="951993" y="39439"/>
                      <a:pt x="953745" y="49616"/>
                      <a:pt x="962588" y="57207"/>
                    </a:cubicBezTo>
                    <a:cubicBezTo>
                      <a:pt x="973183" y="66967"/>
                      <a:pt x="990536" y="63380"/>
                      <a:pt x="999379" y="75393"/>
                    </a:cubicBezTo>
                    <a:cubicBezTo>
                      <a:pt x="1009974" y="89157"/>
                      <a:pt x="1000714" y="107259"/>
                      <a:pt x="998462" y="122359"/>
                    </a:cubicBezTo>
                    <a:cubicBezTo>
                      <a:pt x="993122" y="158646"/>
                      <a:pt x="980775" y="193683"/>
                      <a:pt x="955914" y="221128"/>
                    </a:cubicBezTo>
                    <a:cubicBezTo>
                      <a:pt x="946570" y="231306"/>
                      <a:pt x="944818" y="244153"/>
                      <a:pt x="935975" y="254830"/>
                    </a:cubicBezTo>
                    <a:cubicBezTo>
                      <a:pt x="927966" y="264591"/>
                      <a:pt x="916453" y="270346"/>
                      <a:pt x="909862" y="280524"/>
                    </a:cubicBezTo>
                    <a:cubicBezTo>
                      <a:pt x="888588" y="311973"/>
                      <a:pt x="928883" y="327072"/>
                      <a:pt x="929801" y="356687"/>
                    </a:cubicBezTo>
                    <a:cubicBezTo>
                      <a:pt x="930719" y="390389"/>
                      <a:pt x="926297" y="425342"/>
                      <a:pt x="912115" y="456791"/>
                    </a:cubicBezTo>
                    <a:cubicBezTo>
                      <a:pt x="905941" y="470055"/>
                      <a:pt x="892176" y="477646"/>
                      <a:pt x="887337" y="491745"/>
                    </a:cubicBezTo>
                    <a:cubicBezTo>
                      <a:pt x="882498" y="505843"/>
                      <a:pt x="883333" y="524946"/>
                      <a:pt x="882498" y="539545"/>
                    </a:cubicBezTo>
                    <a:cubicBezTo>
                      <a:pt x="881163" y="561234"/>
                      <a:pt x="875407" y="580337"/>
                      <a:pt x="868733" y="601109"/>
                    </a:cubicBezTo>
                    <a:cubicBezTo>
                      <a:pt x="863393" y="617042"/>
                      <a:pt x="862559" y="635645"/>
                      <a:pt x="854968" y="649827"/>
                    </a:cubicBezTo>
                    <a:cubicBezTo>
                      <a:pt x="847459" y="664008"/>
                      <a:pt x="834111" y="671933"/>
                      <a:pt x="832359" y="689284"/>
                    </a:cubicBezTo>
                    <a:cubicBezTo>
                      <a:pt x="830607" y="705635"/>
                      <a:pt x="837698" y="723820"/>
                      <a:pt x="846958" y="737084"/>
                    </a:cubicBezTo>
                    <a:cubicBezTo>
                      <a:pt x="864228" y="761443"/>
                      <a:pt x="892176" y="781381"/>
                      <a:pt x="866897" y="810161"/>
                    </a:cubicBezTo>
                    <a:cubicBezTo>
                      <a:pt x="854467" y="824342"/>
                      <a:pt x="837698" y="835854"/>
                      <a:pt x="832359" y="855375"/>
                    </a:cubicBezTo>
                    <a:cubicBezTo>
                      <a:pt x="827937" y="871308"/>
                      <a:pt x="827020" y="885072"/>
                      <a:pt x="821263" y="900588"/>
                    </a:cubicBezTo>
                    <a:cubicBezTo>
                      <a:pt x="818176" y="909014"/>
                      <a:pt x="821680" y="915187"/>
                      <a:pt x="813254" y="920943"/>
                    </a:cubicBezTo>
                    <a:cubicBezTo>
                      <a:pt x="808415" y="924447"/>
                      <a:pt x="800406" y="924030"/>
                      <a:pt x="795067" y="927116"/>
                    </a:cubicBezTo>
                    <a:cubicBezTo>
                      <a:pt x="781301" y="935124"/>
                      <a:pt x="772959" y="952393"/>
                      <a:pt x="760111" y="962570"/>
                    </a:cubicBezTo>
                    <a:cubicBezTo>
                      <a:pt x="733999" y="983842"/>
                      <a:pt x="719816" y="1021048"/>
                      <a:pt x="683943" y="1027221"/>
                    </a:cubicBezTo>
                    <a:cubicBezTo>
                      <a:pt x="666256" y="1030307"/>
                      <a:pt x="648986" y="1033394"/>
                      <a:pt x="631634" y="1037398"/>
                    </a:cubicBezTo>
                    <a:cubicBezTo>
                      <a:pt x="615699" y="1040902"/>
                      <a:pt x="608608" y="1049327"/>
                      <a:pt x="592173" y="1039651"/>
                    </a:cubicBezTo>
                    <a:cubicBezTo>
                      <a:pt x="585082" y="1035229"/>
                      <a:pt x="583330" y="1026804"/>
                      <a:pt x="577573" y="1022382"/>
                    </a:cubicBezTo>
                    <a:cubicBezTo>
                      <a:pt x="570482" y="1017044"/>
                      <a:pt x="570899" y="1021048"/>
                      <a:pt x="562974" y="1020130"/>
                    </a:cubicBezTo>
                    <a:cubicBezTo>
                      <a:pt x="552378" y="1018795"/>
                      <a:pt x="550126" y="1011288"/>
                      <a:pt x="539948" y="1005949"/>
                    </a:cubicBezTo>
                    <a:cubicBezTo>
                      <a:pt x="519592" y="994854"/>
                      <a:pt x="496065" y="995354"/>
                      <a:pt x="475292" y="1005949"/>
                    </a:cubicBezTo>
                    <a:cubicBezTo>
                      <a:pt x="444257" y="1021882"/>
                      <a:pt x="477961" y="1026804"/>
                      <a:pt x="493479" y="1030724"/>
                    </a:cubicBezTo>
                    <a:cubicBezTo>
                      <a:pt x="509413" y="1035146"/>
                      <a:pt x="523179" y="1043571"/>
                      <a:pt x="538196" y="1048910"/>
                    </a:cubicBezTo>
                    <a:cubicBezTo>
                      <a:pt x="545704" y="1051580"/>
                      <a:pt x="566978" y="1051580"/>
                      <a:pt x="568730" y="1060839"/>
                    </a:cubicBezTo>
                    <a:cubicBezTo>
                      <a:pt x="571399" y="1075438"/>
                      <a:pt x="554965" y="1069682"/>
                      <a:pt x="568730" y="1085198"/>
                    </a:cubicBezTo>
                    <a:cubicBezTo>
                      <a:pt x="580660" y="1098963"/>
                      <a:pt x="587334" y="1100714"/>
                      <a:pt x="605938" y="1102466"/>
                    </a:cubicBezTo>
                    <a:cubicBezTo>
                      <a:pt x="624960" y="1104218"/>
                      <a:pt x="643564" y="1111809"/>
                      <a:pt x="658247" y="1124155"/>
                    </a:cubicBezTo>
                    <a:cubicBezTo>
                      <a:pt x="667591" y="1132581"/>
                      <a:pt x="676434" y="1147597"/>
                      <a:pt x="690617" y="1147597"/>
                    </a:cubicBezTo>
                    <a:cubicBezTo>
                      <a:pt x="706551" y="1147180"/>
                      <a:pt x="708303" y="1131663"/>
                      <a:pt x="713642" y="1120151"/>
                    </a:cubicBezTo>
                    <a:cubicBezTo>
                      <a:pt x="720316" y="1104635"/>
                      <a:pt x="726490" y="1102466"/>
                      <a:pt x="742007" y="1098045"/>
                    </a:cubicBezTo>
                    <a:cubicBezTo>
                      <a:pt x="771707" y="1088702"/>
                      <a:pt x="803159" y="1071934"/>
                      <a:pt x="827520" y="1052831"/>
                    </a:cubicBezTo>
                    <a:cubicBezTo>
                      <a:pt x="840368" y="1042654"/>
                      <a:pt x="850129" y="1029807"/>
                      <a:pt x="854550" y="1013373"/>
                    </a:cubicBezTo>
                    <a:cubicBezTo>
                      <a:pt x="856302" y="1006282"/>
                      <a:pt x="855468" y="996105"/>
                      <a:pt x="858972" y="989932"/>
                    </a:cubicBezTo>
                    <a:cubicBezTo>
                      <a:pt x="863810" y="981923"/>
                      <a:pt x="870902" y="983258"/>
                      <a:pt x="877993" y="979337"/>
                    </a:cubicBezTo>
                    <a:cubicBezTo>
                      <a:pt x="890841" y="973164"/>
                      <a:pt x="907693" y="957231"/>
                      <a:pt x="916536" y="946136"/>
                    </a:cubicBezTo>
                    <a:cubicBezTo>
                      <a:pt x="926715" y="933289"/>
                      <a:pt x="928466" y="910682"/>
                      <a:pt x="931136" y="894332"/>
                    </a:cubicBezTo>
                    <a:cubicBezTo>
                      <a:pt x="934640" y="873477"/>
                      <a:pt x="927632" y="862883"/>
                      <a:pt x="920958" y="844280"/>
                    </a:cubicBezTo>
                    <a:cubicBezTo>
                      <a:pt x="914784" y="827929"/>
                      <a:pt x="927132" y="818169"/>
                      <a:pt x="931136" y="802653"/>
                    </a:cubicBezTo>
                    <a:cubicBezTo>
                      <a:pt x="935558" y="784467"/>
                      <a:pt x="939562" y="772121"/>
                      <a:pt x="960335" y="767700"/>
                    </a:cubicBezTo>
                    <a:cubicBezTo>
                      <a:pt x="968345" y="765948"/>
                      <a:pt x="976687" y="767283"/>
                      <a:pt x="985113" y="765447"/>
                    </a:cubicBezTo>
                    <a:cubicBezTo>
                      <a:pt x="993539" y="763195"/>
                      <a:pt x="998378" y="758356"/>
                      <a:pt x="1005970" y="755270"/>
                    </a:cubicBezTo>
                    <a:cubicBezTo>
                      <a:pt x="1018401" y="749931"/>
                      <a:pt x="1041427" y="749931"/>
                      <a:pt x="1055609" y="753935"/>
                    </a:cubicBezTo>
                    <a:cubicBezTo>
                      <a:pt x="1070209" y="757939"/>
                      <a:pt x="1070709" y="768117"/>
                      <a:pt x="1073796" y="781381"/>
                    </a:cubicBezTo>
                    <a:cubicBezTo>
                      <a:pt x="1078217" y="799566"/>
                      <a:pt x="1085309" y="812413"/>
                      <a:pt x="1095904" y="827429"/>
                    </a:cubicBezTo>
                    <a:cubicBezTo>
                      <a:pt x="1107000" y="842945"/>
                      <a:pt x="1110504" y="853539"/>
                      <a:pt x="1098991" y="869973"/>
                    </a:cubicBezTo>
                    <a:cubicBezTo>
                      <a:pt x="1087061" y="887241"/>
                      <a:pt x="1093234" y="903175"/>
                      <a:pt x="1087478" y="922278"/>
                    </a:cubicBezTo>
                    <a:cubicBezTo>
                      <a:pt x="1083056" y="936042"/>
                      <a:pt x="1069792" y="951976"/>
                      <a:pt x="1071960" y="966574"/>
                    </a:cubicBezTo>
                    <a:cubicBezTo>
                      <a:pt x="1076382" y="995354"/>
                      <a:pt x="1124269" y="1013957"/>
                      <a:pt x="1148630" y="1017961"/>
                    </a:cubicBezTo>
                    <a:cubicBezTo>
                      <a:pt x="1156639" y="1019296"/>
                      <a:pt x="1190677" y="1025970"/>
                      <a:pt x="1180082" y="1011288"/>
                    </a:cubicBezTo>
                    <a:cubicBezTo>
                      <a:pt x="1174742" y="1003780"/>
                      <a:pt x="1158391" y="1002445"/>
                      <a:pt x="1150382" y="1000192"/>
                    </a:cubicBezTo>
                    <a:cubicBezTo>
                      <a:pt x="1127773" y="993519"/>
                      <a:pt x="1095904" y="982007"/>
                      <a:pt x="1092817" y="954979"/>
                    </a:cubicBezTo>
                    <a:cubicBezTo>
                      <a:pt x="1089313" y="924447"/>
                      <a:pt x="1108752" y="906678"/>
                      <a:pt x="1132695" y="896084"/>
                    </a:cubicBezTo>
                    <a:cubicBezTo>
                      <a:pt x="1148213" y="888993"/>
                      <a:pt x="1143791" y="879733"/>
                      <a:pt x="1140704" y="863717"/>
                    </a:cubicBezTo>
                    <a:cubicBezTo>
                      <a:pt x="1137618" y="847700"/>
                      <a:pt x="1138452" y="831850"/>
                      <a:pt x="1138452" y="815416"/>
                    </a:cubicBezTo>
                    <a:cubicBezTo>
                      <a:pt x="1138035" y="800317"/>
                      <a:pt x="1138869" y="785719"/>
                      <a:pt x="1127356" y="774623"/>
                    </a:cubicBezTo>
                    <a:cubicBezTo>
                      <a:pt x="1118513" y="766198"/>
                      <a:pt x="1109169" y="760025"/>
                      <a:pt x="1100743" y="751599"/>
                    </a:cubicBezTo>
                    <a:cubicBezTo>
                      <a:pt x="1086143" y="737835"/>
                      <a:pt x="1069708" y="725906"/>
                      <a:pt x="1052439" y="714811"/>
                    </a:cubicBezTo>
                    <a:cubicBezTo>
                      <a:pt x="1032917" y="702882"/>
                      <a:pt x="1029413" y="699295"/>
                      <a:pt x="1012978" y="707303"/>
                    </a:cubicBezTo>
                    <a:cubicBezTo>
                      <a:pt x="1000547" y="713476"/>
                      <a:pt x="985030" y="726824"/>
                      <a:pt x="971765" y="721902"/>
                    </a:cubicBezTo>
                    <a:cubicBezTo>
                      <a:pt x="958000" y="717063"/>
                      <a:pt x="954496" y="708138"/>
                      <a:pt x="938561" y="709055"/>
                    </a:cubicBezTo>
                    <a:cubicBezTo>
                      <a:pt x="888505" y="710390"/>
                      <a:pt x="922626" y="671433"/>
                      <a:pt x="930135" y="645739"/>
                    </a:cubicBezTo>
                    <a:cubicBezTo>
                      <a:pt x="935474" y="628054"/>
                      <a:pt x="922126" y="616542"/>
                      <a:pt x="923961" y="599691"/>
                    </a:cubicBezTo>
                    <a:cubicBezTo>
                      <a:pt x="924879" y="586844"/>
                      <a:pt x="938144" y="575332"/>
                      <a:pt x="942983" y="563403"/>
                    </a:cubicBezTo>
                    <a:cubicBezTo>
                      <a:pt x="949156" y="549638"/>
                      <a:pt x="951409" y="538126"/>
                      <a:pt x="960669" y="526197"/>
                    </a:cubicBezTo>
                    <a:cubicBezTo>
                      <a:pt x="970430" y="513768"/>
                      <a:pt x="974435" y="498752"/>
                      <a:pt x="984613" y="487240"/>
                    </a:cubicBezTo>
                    <a:cubicBezTo>
                      <a:pt x="995208" y="474810"/>
                      <a:pt x="1007222" y="467719"/>
                      <a:pt x="1003217" y="448700"/>
                    </a:cubicBezTo>
                    <a:cubicBezTo>
                      <a:pt x="1000130" y="431849"/>
                      <a:pt x="988116" y="419919"/>
                      <a:pt x="986865" y="401734"/>
                    </a:cubicBezTo>
                    <a:cubicBezTo>
                      <a:pt x="985948" y="383131"/>
                      <a:pt x="989952" y="364528"/>
                      <a:pt x="984613" y="345926"/>
                    </a:cubicBezTo>
                    <a:cubicBezTo>
                      <a:pt x="981109" y="333079"/>
                      <a:pt x="971765" y="325988"/>
                      <a:pt x="966926" y="314893"/>
                    </a:cubicBezTo>
                    <a:cubicBezTo>
                      <a:pt x="959835" y="297208"/>
                      <a:pt x="981526" y="290952"/>
                      <a:pt x="991704" y="280357"/>
                    </a:cubicBezTo>
                    <a:cubicBezTo>
                      <a:pt x="1001882" y="269763"/>
                      <a:pt x="1004135" y="254664"/>
                      <a:pt x="1013812" y="244069"/>
                    </a:cubicBezTo>
                    <a:cubicBezTo>
                      <a:pt x="1027578" y="229888"/>
                      <a:pt x="1047517" y="236978"/>
                      <a:pt x="1064285" y="230805"/>
                    </a:cubicBezTo>
                    <a:cubicBezTo>
                      <a:pt x="1077133" y="225967"/>
                      <a:pt x="1093485" y="214455"/>
                      <a:pt x="1101077" y="202442"/>
                    </a:cubicBezTo>
                    <a:cubicBezTo>
                      <a:pt x="1109920" y="188678"/>
                      <a:pt x="1103746" y="174496"/>
                      <a:pt x="1106416" y="159898"/>
                    </a:cubicBezTo>
                    <a:cubicBezTo>
                      <a:pt x="1107751" y="151889"/>
                      <a:pt x="1111255" y="144382"/>
                      <a:pt x="1111755" y="135956"/>
                    </a:cubicBezTo>
                    <a:cubicBezTo>
                      <a:pt x="1112673" y="127113"/>
                      <a:pt x="1109503" y="117770"/>
                      <a:pt x="1110837" y="108928"/>
                    </a:cubicBezTo>
                    <a:cubicBezTo>
                      <a:pt x="1112589" y="94746"/>
                      <a:pt x="1121016" y="87656"/>
                      <a:pt x="1132946" y="100502"/>
                    </a:cubicBezTo>
                    <a:cubicBezTo>
                      <a:pt x="1140037" y="108511"/>
                      <a:pt x="1140955" y="122192"/>
                      <a:pt x="1141372" y="132369"/>
                    </a:cubicBezTo>
                    <a:cubicBezTo>
                      <a:pt x="1141789" y="145633"/>
                      <a:pt x="1141789" y="158980"/>
                      <a:pt x="1141789" y="172244"/>
                    </a:cubicBezTo>
                    <a:cubicBezTo>
                      <a:pt x="1142206" y="188177"/>
                      <a:pt x="1136032" y="193516"/>
                      <a:pt x="1129358" y="207197"/>
                    </a:cubicBezTo>
                    <a:cubicBezTo>
                      <a:pt x="1124936" y="215623"/>
                      <a:pt x="1124019" y="225383"/>
                      <a:pt x="1119180" y="233808"/>
                    </a:cubicBezTo>
                    <a:cubicBezTo>
                      <a:pt x="1115176" y="240899"/>
                      <a:pt x="1109002" y="246238"/>
                      <a:pt x="1104080" y="252411"/>
                    </a:cubicBezTo>
                    <a:cubicBezTo>
                      <a:pt x="1090815" y="270096"/>
                      <a:pt x="1101410" y="283861"/>
                      <a:pt x="1100576" y="303798"/>
                    </a:cubicBezTo>
                    <a:cubicBezTo>
                      <a:pt x="1098824" y="335248"/>
                      <a:pt x="1068206" y="346343"/>
                      <a:pt x="1106750" y="369367"/>
                    </a:cubicBezTo>
                    <a:cubicBezTo>
                      <a:pt x="1120014" y="377375"/>
                      <a:pt x="1135949" y="378209"/>
                      <a:pt x="1148379" y="384883"/>
                    </a:cubicBezTo>
                    <a:cubicBezTo>
                      <a:pt x="1157223" y="389721"/>
                      <a:pt x="1156389" y="405738"/>
                      <a:pt x="1164314" y="408324"/>
                    </a:cubicBezTo>
                    <a:cubicBezTo>
                      <a:pt x="1165649" y="408741"/>
                      <a:pt x="1177162" y="403486"/>
                      <a:pt x="1178497" y="402985"/>
                    </a:cubicBezTo>
                    <a:cubicBezTo>
                      <a:pt x="1185171" y="400733"/>
                      <a:pt x="1190009" y="399481"/>
                      <a:pt x="1196684" y="402068"/>
                    </a:cubicBezTo>
                    <a:cubicBezTo>
                      <a:pt x="1208614" y="406906"/>
                      <a:pt x="1212201" y="422005"/>
                      <a:pt x="1216206" y="433100"/>
                    </a:cubicBezTo>
                    <a:cubicBezTo>
                      <a:pt x="1223297" y="452620"/>
                      <a:pt x="1244154" y="481400"/>
                      <a:pt x="1268013" y="459211"/>
                    </a:cubicBezTo>
                    <a:cubicBezTo>
                      <a:pt x="1276857" y="450785"/>
                      <a:pt x="1272852" y="438856"/>
                      <a:pt x="1260005" y="442860"/>
                    </a:cubicBezTo>
                    <a:cubicBezTo>
                      <a:pt x="1252914" y="445112"/>
                      <a:pt x="1245822" y="458794"/>
                      <a:pt x="1241818" y="445112"/>
                    </a:cubicBezTo>
                    <a:cubicBezTo>
                      <a:pt x="1240483" y="440274"/>
                      <a:pt x="1246657" y="430931"/>
                      <a:pt x="1247157" y="425592"/>
                    </a:cubicBezTo>
                    <a:cubicBezTo>
                      <a:pt x="1247157" y="418501"/>
                      <a:pt x="1243653" y="411411"/>
                      <a:pt x="1240983" y="405238"/>
                    </a:cubicBezTo>
                    <a:cubicBezTo>
                      <a:pt x="1232974" y="383965"/>
                      <a:pt x="1227218" y="381796"/>
                      <a:pt x="1206028" y="374706"/>
                    </a:cubicBezTo>
                    <a:cubicBezTo>
                      <a:pt x="1182084" y="366697"/>
                      <a:pt x="1153302" y="341921"/>
                      <a:pt x="1144876" y="317563"/>
                    </a:cubicBezTo>
                    <a:cubicBezTo>
                      <a:pt x="1137785" y="295456"/>
                      <a:pt x="1132028" y="258167"/>
                      <a:pt x="1160393" y="248907"/>
                    </a:cubicBezTo>
                    <a:cubicBezTo>
                      <a:pt x="1195849" y="237395"/>
                      <a:pt x="1201189" y="273266"/>
                      <a:pt x="1223714" y="287448"/>
                    </a:cubicBezTo>
                    <a:cubicBezTo>
                      <a:pt x="1241901" y="298543"/>
                      <a:pt x="1271518" y="268845"/>
                      <a:pt x="1252496" y="256415"/>
                    </a:cubicBezTo>
                    <a:cubicBezTo>
                      <a:pt x="1239231" y="247990"/>
                      <a:pt x="1205110" y="251076"/>
                      <a:pt x="1226801" y="225383"/>
                    </a:cubicBezTo>
                    <a:cubicBezTo>
                      <a:pt x="1242318" y="207197"/>
                      <a:pt x="1265344" y="198772"/>
                      <a:pt x="1287953" y="202359"/>
                    </a:cubicBezTo>
                    <a:cubicBezTo>
                      <a:pt x="1287536" y="212119"/>
                      <a:pt x="1289287" y="221879"/>
                      <a:pt x="1293709" y="233391"/>
                    </a:cubicBezTo>
                    <a:cubicBezTo>
                      <a:pt x="1300800" y="251577"/>
                      <a:pt x="1307892" y="268344"/>
                      <a:pt x="1328248" y="280357"/>
                    </a:cubicBezTo>
                    <a:cubicBezTo>
                      <a:pt x="1331752" y="282609"/>
                      <a:pt x="1335339" y="283861"/>
                      <a:pt x="1339343" y="285696"/>
                    </a:cubicBezTo>
                    <a:cubicBezTo>
                      <a:pt x="1353943" y="292787"/>
                      <a:pt x="1362786" y="297625"/>
                      <a:pt x="1364121" y="310055"/>
                    </a:cubicBezTo>
                    <a:cubicBezTo>
                      <a:pt x="1365456" y="324653"/>
                      <a:pt x="1357447" y="336666"/>
                      <a:pt x="1338843" y="348178"/>
                    </a:cubicBezTo>
                    <a:lnTo>
                      <a:pt x="1335756" y="350430"/>
                    </a:lnTo>
                    <a:cubicBezTo>
                      <a:pt x="1320239" y="360191"/>
                      <a:pt x="1300800" y="372119"/>
                      <a:pt x="1299466" y="395144"/>
                    </a:cubicBezTo>
                    <a:cubicBezTo>
                      <a:pt x="1298131" y="418168"/>
                      <a:pt x="1317652" y="429263"/>
                      <a:pt x="1332252" y="437688"/>
                    </a:cubicBezTo>
                    <a:lnTo>
                      <a:pt x="1337592" y="440775"/>
                    </a:lnTo>
                    <a:cubicBezTo>
                      <a:pt x="1370378" y="460295"/>
                      <a:pt x="1372548" y="498835"/>
                      <a:pt x="1363704" y="528033"/>
                    </a:cubicBezTo>
                    <a:cubicBezTo>
                      <a:pt x="1358866" y="544383"/>
                      <a:pt x="1350439" y="554644"/>
                      <a:pt x="1334004" y="563486"/>
                    </a:cubicBezTo>
                    <a:cubicBezTo>
                      <a:pt x="1312313" y="575415"/>
                      <a:pt x="1293709" y="585176"/>
                      <a:pt x="1275522" y="603361"/>
                    </a:cubicBezTo>
                    <a:cubicBezTo>
                      <a:pt x="1263091" y="615290"/>
                      <a:pt x="1240066" y="637897"/>
                      <a:pt x="1245822" y="662757"/>
                    </a:cubicBezTo>
                    <a:cubicBezTo>
                      <a:pt x="1248492" y="672934"/>
                      <a:pt x="1254665" y="681360"/>
                      <a:pt x="1261339" y="689785"/>
                    </a:cubicBezTo>
                    <a:cubicBezTo>
                      <a:pt x="1266178" y="696459"/>
                      <a:pt x="1271100" y="702632"/>
                      <a:pt x="1273270" y="709305"/>
                    </a:cubicBezTo>
                    <a:cubicBezTo>
                      <a:pt x="1283030" y="734999"/>
                      <a:pt x="1291457" y="739837"/>
                      <a:pt x="1314482" y="749180"/>
                    </a:cubicBezTo>
                    <a:cubicBezTo>
                      <a:pt x="1319822" y="751433"/>
                      <a:pt x="1324661" y="755854"/>
                      <a:pt x="1329583" y="760692"/>
                    </a:cubicBezTo>
                    <a:cubicBezTo>
                      <a:pt x="1338426" y="769118"/>
                      <a:pt x="1348187" y="778377"/>
                      <a:pt x="1363287" y="775791"/>
                    </a:cubicBezTo>
                    <a:cubicBezTo>
                      <a:pt x="1369043" y="774874"/>
                      <a:pt x="1374383" y="771787"/>
                      <a:pt x="1380557" y="768283"/>
                    </a:cubicBezTo>
                    <a:cubicBezTo>
                      <a:pt x="1387231" y="764279"/>
                      <a:pt x="1394739" y="759858"/>
                      <a:pt x="1398744" y="761610"/>
                    </a:cubicBezTo>
                    <a:cubicBezTo>
                      <a:pt x="1400496" y="762527"/>
                      <a:pt x="1400996" y="762945"/>
                      <a:pt x="1401830" y="768283"/>
                    </a:cubicBezTo>
                    <a:cubicBezTo>
                      <a:pt x="1402248" y="770536"/>
                      <a:pt x="1402748" y="773122"/>
                      <a:pt x="1403582" y="776292"/>
                    </a:cubicBezTo>
                    <a:cubicBezTo>
                      <a:pt x="1406669" y="784717"/>
                      <a:pt x="1408922" y="786886"/>
                      <a:pt x="1413760" y="790890"/>
                    </a:cubicBezTo>
                    <a:cubicBezTo>
                      <a:pt x="1414678" y="791808"/>
                      <a:pt x="1416430" y="793143"/>
                      <a:pt x="1417765" y="794394"/>
                    </a:cubicBezTo>
                    <a:cubicBezTo>
                      <a:pt x="1420017" y="796646"/>
                      <a:pt x="1420852" y="797481"/>
                      <a:pt x="1422187" y="797898"/>
                    </a:cubicBezTo>
                    <a:cubicBezTo>
                      <a:pt x="1423521" y="798815"/>
                      <a:pt x="1423521" y="799233"/>
                      <a:pt x="1425273" y="802319"/>
                    </a:cubicBezTo>
                    <a:cubicBezTo>
                      <a:pt x="1427025" y="805406"/>
                      <a:pt x="1427943" y="810745"/>
                      <a:pt x="1428360" y="816084"/>
                    </a:cubicBezTo>
                    <a:cubicBezTo>
                      <a:pt x="1429278" y="820922"/>
                      <a:pt x="1429695" y="826261"/>
                      <a:pt x="1431447" y="830682"/>
                    </a:cubicBezTo>
                    <a:cubicBezTo>
                      <a:pt x="1433199" y="835520"/>
                      <a:pt x="1435868" y="840859"/>
                      <a:pt x="1438121" y="845281"/>
                    </a:cubicBezTo>
                    <a:cubicBezTo>
                      <a:pt x="1445212" y="859045"/>
                      <a:pt x="1448716" y="867888"/>
                      <a:pt x="1442125" y="877147"/>
                    </a:cubicBezTo>
                    <a:cubicBezTo>
                      <a:pt x="1440791" y="878899"/>
                      <a:pt x="1439456" y="880234"/>
                      <a:pt x="1438621" y="881569"/>
                    </a:cubicBezTo>
                    <a:cubicBezTo>
                      <a:pt x="1435535" y="884655"/>
                      <a:pt x="1431530" y="888242"/>
                      <a:pt x="1429778" y="894415"/>
                    </a:cubicBezTo>
                    <a:cubicBezTo>
                      <a:pt x="1427526" y="901506"/>
                      <a:pt x="1429361" y="908180"/>
                      <a:pt x="1431113" y="913936"/>
                    </a:cubicBezTo>
                    <a:cubicBezTo>
                      <a:pt x="1431530" y="916188"/>
                      <a:pt x="1432031" y="917940"/>
                      <a:pt x="1432448" y="919692"/>
                    </a:cubicBezTo>
                    <a:lnTo>
                      <a:pt x="1429361" y="934290"/>
                    </a:lnTo>
                    <a:cubicBezTo>
                      <a:pt x="1428026" y="936960"/>
                      <a:pt x="1426691" y="939129"/>
                      <a:pt x="1424522" y="941798"/>
                    </a:cubicBezTo>
                    <a:lnTo>
                      <a:pt x="1421436" y="946637"/>
                    </a:lnTo>
                    <a:cubicBezTo>
                      <a:pt x="1418766" y="951058"/>
                      <a:pt x="1416597" y="956397"/>
                      <a:pt x="1414762" y="960818"/>
                    </a:cubicBezTo>
                    <a:cubicBezTo>
                      <a:pt x="1412509" y="966157"/>
                      <a:pt x="1410340" y="971412"/>
                      <a:pt x="1407253" y="975000"/>
                    </a:cubicBezTo>
                    <a:cubicBezTo>
                      <a:pt x="1404166" y="978503"/>
                      <a:pt x="1398827" y="981173"/>
                      <a:pt x="1393071" y="983425"/>
                    </a:cubicBezTo>
                    <a:cubicBezTo>
                      <a:pt x="1381975" y="988263"/>
                      <a:pt x="1366958" y="994937"/>
                      <a:pt x="1370963" y="1016626"/>
                    </a:cubicBezTo>
                    <a:cubicBezTo>
                      <a:pt x="1373215" y="1026804"/>
                      <a:pt x="1377637" y="1034812"/>
                      <a:pt x="1381557" y="1041903"/>
                    </a:cubicBezTo>
                    <a:cubicBezTo>
                      <a:pt x="1387731" y="1052080"/>
                      <a:pt x="1392654" y="1060506"/>
                      <a:pt x="1389567" y="1074270"/>
                    </a:cubicBezTo>
                    <a:cubicBezTo>
                      <a:pt x="1388649" y="1077356"/>
                      <a:pt x="1388232" y="1080944"/>
                      <a:pt x="1387314" y="1084030"/>
                    </a:cubicBezTo>
                    <a:cubicBezTo>
                      <a:pt x="1382892" y="1100381"/>
                      <a:pt x="1379305" y="1115897"/>
                      <a:pt x="1392153" y="1134499"/>
                    </a:cubicBezTo>
                    <a:cubicBezTo>
                      <a:pt x="1397492" y="1142508"/>
                      <a:pt x="1404083" y="1149098"/>
                      <a:pt x="1409839" y="1155772"/>
                    </a:cubicBezTo>
                    <a:cubicBezTo>
                      <a:pt x="1419600" y="1165949"/>
                      <a:pt x="1428444" y="1175292"/>
                      <a:pt x="1432865" y="1187639"/>
                    </a:cubicBezTo>
                    <a:cubicBezTo>
                      <a:pt x="1435952" y="1196481"/>
                      <a:pt x="1436870" y="1205324"/>
                      <a:pt x="1435118" y="1213332"/>
                    </a:cubicBezTo>
                    <a:cubicBezTo>
                      <a:pt x="1434200" y="1216419"/>
                      <a:pt x="1432865" y="1220006"/>
                      <a:pt x="1431113" y="1223092"/>
                    </a:cubicBezTo>
                    <a:cubicBezTo>
                      <a:pt x="1428444" y="1229265"/>
                      <a:pt x="1424939" y="1236356"/>
                      <a:pt x="1426274" y="1245199"/>
                    </a:cubicBezTo>
                    <a:cubicBezTo>
                      <a:pt x="1427192" y="1252707"/>
                      <a:pt x="1431614" y="1258963"/>
                      <a:pt x="1436035" y="1264719"/>
                    </a:cubicBezTo>
                    <a:cubicBezTo>
                      <a:pt x="1438705" y="1268223"/>
                      <a:pt x="1440874" y="1271393"/>
                      <a:pt x="1442209" y="1274896"/>
                    </a:cubicBezTo>
                    <a:cubicBezTo>
                      <a:pt x="1446213" y="1285074"/>
                      <a:pt x="1444878" y="1289996"/>
                      <a:pt x="1441291" y="1301007"/>
                    </a:cubicBezTo>
                    <a:lnTo>
                      <a:pt x="1440874" y="1303259"/>
                    </a:lnTo>
                    <a:cubicBezTo>
                      <a:pt x="1430696" y="1338213"/>
                      <a:pt x="1453305" y="1355981"/>
                      <a:pt x="1473244" y="1372331"/>
                    </a:cubicBezTo>
                    <a:cubicBezTo>
                      <a:pt x="1484340" y="1381675"/>
                      <a:pt x="1496269" y="1390934"/>
                      <a:pt x="1502443" y="1402863"/>
                    </a:cubicBezTo>
                    <a:cubicBezTo>
                      <a:pt x="1512204" y="1421049"/>
                      <a:pt x="1511787" y="1434730"/>
                      <a:pt x="1501108" y="1455168"/>
                    </a:cubicBezTo>
                    <a:lnTo>
                      <a:pt x="1499356" y="1458672"/>
                    </a:lnTo>
                    <a:cubicBezTo>
                      <a:pt x="1491347" y="1473270"/>
                      <a:pt x="1475413" y="1503886"/>
                      <a:pt x="1496687" y="1516732"/>
                    </a:cubicBezTo>
                    <a:cubicBezTo>
                      <a:pt x="1501108" y="1519402"/>
                      <a:pt x="1506448" y="1519402"/>
                      <a:pt x="1510869" y="1518985"/>
                    </a:cubicBezTo>
                    <a:cubicBezTo>
                      <a:pt x="1512204" y="1518568"/>
                      <a:pt x="1513539" y="1518568"/>
                      <a:pt x="1514874" y="1518568"/>
                    </a:cubicBezTo>
                    <a:cubicBezTo>
                      <a:pt x="1524635" y="1519485"/>
                      <a:pt x="1526387" y="1521237"/>
                      <a:pt x="1534396" y="1528328"/>
                    </a:cubicBezTo>
                    <a:cubicBezTo>
                      <a:pt x="1541487" y="1535001"/>
                      <a:pt x="1548161" y="1540757"/>
                      <a:pt x="1560508" y="1541174"/>
                    </a:cubicBezTo>
                    <a:cubicBezTo>
                      <a:pt x="1564012" y="1541592"/>
                      <a:pt x="1568016" y="1540757"/>
                      <a:pt x="1571103" y="1540257"/>
                    </a:cubicBezTo>
                    <a:cubicBezTo>
                      <a:pt x="1577778" y="1539339"/>
                      <a:pt x="1580864" y="1538922"/>
                      <a:pt x="1583951" y="1542009"/>
                    </a:cubicBezTo>
                    <a:cubicBezTo>
                      <a:pt x="1590625" y="1547765"/>
                      <a:pt x="1590625" y="1561947"/>
                      <a:pt x="1590625" y="1573041"/>
                    </a:cubicBezTo>
                    <a:lnTo>
                      <a:pt x="1590625" y="1581467"/>
                    </a:lnTo>
                    <a:cubicBezTo>
                      <a:pt x="1591042" y="1586305"/>
                      <a:pt x="1591042" y="1591644"/>
                      <a:pt x="1591543" y="1596065"/>
                    </a:cubicBezTo>
                    <a:cubicBezTo>
                      <a:pt x="1592878" y="1614668"/>
                      <a:pt x="1593795" y="1631019"/>
                      <a:pt x="1587121" y="1649705"/>
                    </a:cubicBezTo>
                    <a:cubicBezTo>
                      <a:pt x="1584035" y="1659465"/>
                      <a:pt x="1576943" y="1664303"/>
                      <a:pt x="1568934" y="1670059"/>
                    </a:cubicBezTo>
                    <a:cubicBezTo>
                      <a:pt x="1561843" y="1674898"/>
                      <a:pt x="1554335" y="1681154"/>
                      <a:pt x="1548578" y="1690414"/>
                    </a:cubicBezTo>
                    <a:cubicBezTo>
                      <a:pt x="1546325" y="1693918"/>
                      <a:pt x="1543239" y="1697922"/>
                      <a:pt x="1540569" y="1701509"/>
                    </a:cubicBezTo>
                    <a:cubicBezTo>
                      <a:pt x="1529974" y="1715690"/>
                      <a:pt x="1517126" y="1732959"/>
                      <a:pt x="1528639" y="1753313"/>
                    </a:cubicBezTo>
                    <a:cubicBezTo>
                      <a:pt x="1532644" y="1760404"/>
                      <a:pt x="1537065" y="1765242"/>
                      <a:pt x="1540569" y="1768829"/>
                    </a:cubicBezTo>
                    <a:cubicBezTo>
                      <a:pt x="1547660" y="1776837"/>
                      <a:pt x="1551164" y="1780758"/>
                      <a:pt x="1548995" y="1794523"/>
                    </a:cubicBezTo>
                    <a:cubicBezTo>
                      <a:pt x="1548078" y="1799361"/>
                      <a:pt x="1548078" y="1805117"/>
                      <a:pt x="1547660" y="1810456"/>
                    </a:cubicBezTo>
                    <a:cubicBezTo>
                      <a:pt x="1547660" y="1817130"/>
                      <a:pt x="1547243" y="1822886"/>
                      <a:pt x="1545908" y="1828642"/>
                    </a:cubicBezTo>
                    <a:cubicBezTo>
                      <a:pt x="1543239" y="1838819"/>
                      <a:pt x="1537482" y="1845910"/>
                      <a:pt x="1530391" y="1854335"/>
                    </a:cubicBezTo>
                    <a:lnTo>
                      <a:pt x="1527721" y="1857839"/>
                    </a:lnTo>
                    <a:cubicBezTo>
                      <a:pt x="1521047" y="1866264"/>
                      <a:pt x="1514874" y="1875524"/>
                      <a:pt x="1509117" y="1883950"/>
                    </a:cubicBezTo>
                    <a:cubicBezTo>
                      <a:pt x="1502944" y="1893293"/>
                      <a:pt x="1496687" y="1902552"/>
                      <a:pt x="1489595" y="1911395"/>
                    </a:cubicBezTo>
                    <a:cubicBezTo>
                      <a:pt x="1486926" y="1914481"/>
                      <a:pt x="1483422" y="1918069"/>
                      <a:pt x="1480752" y="1921155"/>
                    </a:cubicBezTo>
                    <a:cubicBezTo>
                      <a:pt x="1474996" y="1927328"/>
                      <a:pt x="1468822" y="1933585"/>
                      <a:pt x="1464401" y="1941093"/>
                    </a:cubicBezTo>
                    <a:cubicBezTo>
                      <a:pt x="1463066" y="1940175"/>
                      <a:pt x="1461731" y="1938840"/>
                      <a:pt x="1460896" y="1937589"/>
                    </a:cubicBezTo>
                    <a:cubicBezTo>
                      <a:pt x="1457810" y="1934085"/>
                      <a:pt x="1455140" y="1929580"/>
                      <a:pt x="1452470" y="1925159"/>
                    </a:cubicBezTo>
                    <a:cubicBezTo>
                      <a:pt x="1446297" y="1914565"/>
                      <a:pt x="1439623" y="1903053"/>
                      <a:pt x="1421936" y="1898131"/>
                    </a:cubicBezTo>
                    <a:cubicBezTo>
                      <a:pt x="1414845" y="1896379"/>
                      <a:pt x="1408671" y="1896379"/>
                      <a:pt x="1402414" y="1895879"/>
                    </a:cubicBezTo>
                    <a:cubicBezTo>
                      <a:pt x="1395323" y="1895879"/>
                      <a:pt x="1388649" y="1895462"/>
                      <a:pt x="1381557" y="1892792"/>
                    </a:cubicBezTo>
                    <a:cubicBezTo>
                      <a:pt x="1369628" y="1887954"/>
                      <a:pt x="1362036" y="1880362"/>
                      <a:pt x="1353610" y="1871937"/>
                    </a:cubicBezTo>
                    <a:cubicBezTo>
                      <a:pt x="1350523" y="1868850"/>
                      <a:pt x="1346935" y="1865263"/>
                      <a:pt x="1343432" y="1862177"/>
                    </a:cubicBezTo>
                    <a:cubicBezTo>
                      <a:pt x="1323492" y="1843991"/>
                      <a:pt x="1311980" y="1842239"/>
                      <a:pt x="1287202" y="1844909"/>
                    </a:cubicBezTo>
                    <a:cubicBezTo>
                      <a:pt x="1271685" y="1846661"/>
                      <a:pt x="1260171" y="1840487"/>
                      <a:pt x="1247741" y="1823636"/>
                    </a:cubicBezTo>
                    <a:cubicBezTo>
                      <a:pt x="1245071" y="1820133"/>
                      <a:pt x="1241567" y="1814294"/>
                      <a:pt x="1238397" y="1808537"/>
                    </a:cubicBezTo>
                    <a:cubicBezTo>
                      <a:pt x="1228219" y="1790852"/>
                      <a:pt x="1216706" y="1771332"/>
                      <a:pt x="1199437" y="1769997"/>
                    </a:cubicBezTo>
                    <a:cubicBezTo>
                      <a:pt x="1189676" y="1769079"/>
                      <a:pt x="1180415" y="1774835"/>
                      <a:pt x="1171072" y="1786348"/>
                    </a:cubicBezTo>
                    <a:cubicBezTo>
                      <a:pt x="1163563" y="1796108"/>
                      <a:pt x="1156472" y="1800946"/>
                      <a:pt x="1147128" y="1807620"/>
                    </a:cubicBezTo>
                    <a:cubicBezTo>
                      <a:pt x="1144042" y="1809872"/>
                      <a:pt x="1140955" y="1812041"/>
                      <a:pt x="1137367" y="1814711"/>
                    </a:cubicBezTo>
                    <a:lnTo>
                      <a:pt x="1131193" y="1819549"/>
                    </a:lnTo>
                    <a:cubicBezTo>
                      <a:pt x="1116594" y="1831061"/>
                      <a:pt x="1107250" y="1838151"/>
                      <a:pt x="1087311" y="1839486"/>
                    </a:cubicBezTo>
                    <a:cubicBezTo>
                      <a:pt x="1072712" y="1840821"/>
                      <a:pt x="1058112" y="1841238"/>
                      <a:pt x="1043429" y="1841739"/>
                    </a:cubicBezTo>
                    <a:cubicBezTo>
                      <a:pt x="1036337" y="1841739"/>
                      <a:pt x="1028829" y="1842156"/>
                      <a:pt x="1021738" y="1842657"/>
                    </a:cubicBezTo>
                    <a:cubicBezTo>
                      <a:pt x="997794" y="1843574"/>
                      <a:pt x="989868" y="1842239"/>
                      <a:pt x="973434" y="1827140"/>
                    </a:cubicBezTo>
                    <a:cubicBezTo>
                      <a:pt x="955747" y="1811207"/>
                      <a:pt x="942399" y="1795691"/>
                      <a:pt x="931386" y="1777088"/>
                    </a:cubicBezTo>
                    <a:cubicBezTo>
                      <a:pt x="918121" y="1755399"/>
                      <a:pt x="907443" y="1749142"/>
                      <a:pt x="883583" y="1743386"/>
                    </a:cubicBezTo>
                    <a:cubicBezTo>
                      <a:pt x="873405" y="1741134"/>
                      <a:pt x="867231" y="1735378"/>
                      <a:pt x="859639" y="1729205"/>
                    </a:cubicBezTo>
                    <a:cubicBezTo>
                      <a:pt x="854801" y="1725200"/>
                      <a:pt x="849878" y="1720779"/>
                      <a:pt x="843705" y="1717275"/>
                    </a:cubicBezTo>
                    <a:cubicBezTo>
                      <a:pt x="829522" y="1708850"/>
                      <a:pt x="814005" y="1708433"/>
                      <a:pt x="798988" y="1708433"/>
                    </a:cubicBezTo>
                    <a:cubicBezTo>
                      <a:pt x="790979" y="1708433"/>
                      <a:pt x="783471" y="1708433"/>
                      <a:pt x="776880" y="1707098"/>
                    </a:cubicBezTo>
                    <a:cubicBezTo>
                      <a:pt x="765784" y="1704846"/>
                      <a:pt x="750767" y="1698256"/>
                      <a:pt x="734833" y="1687577"/>
                    </a:cubicBezTo>
                    <a:cubicBezTo>
                      <a:pt x="722903" y="1679569"/>
                      <a:pt x="712224" y="1675648"/>
                      <a:pt x="700711" y="1671227"/>
                    </a:cubicBezTo>
                    <a:cubicBezTo>
                      <a:pt x="695372" y="1668975"/>
                      <a:pt x="690116" y="1666806"/>
                      <a:pt x="684360" y="1664554"/>
                    </a:cubicBezTo>
                    <a:cubicBezTo>
                      <a:pt x="674599" y="1660132"/>
                      <a:pt x="671929" y="1654376"/>
                      <a:pt x="668008" y="1646368"/>
                    </a:cubicBezTo>
                    <a:cubicBezTo>
                      <a:pt x="665338" y="1640195"/>
                      <a:pt x="661834" y="1633521"/>
                      <a:pt x="655160" y="1626847"/>
                    </a:cubicBezTo>
                    <a:cubicBezTo>
                      <a:pt x="639226" y="1612249"/>
                      <a:pt x="624626" y="1618839"/>
                      <a:pt x="612613" y="1624178"/>
                    </a:cubicBezTo>
                    <a:cubicBezTo>
                      <a:pt x="609943" y="1625096"/>
                      <a:pt x="607774" y="1626430"/>
                      <a:pt x="605104" y="1627265"/>
                    </a:cubicBezTo>
                    <a:cubicBezTo>
                      <a:pt x="593174" y="1632103"/>
                      <a:pt x="574570" y="1632603"/>
                      <a:pt x="562556" y="1625012"/>
                    </a:cubicBezTo>
                    <a:cubicBezTo>
                      <a:pt x="551460" y="1617921"/>
                      <a:pt x="551460" y="1608662"/>
                      <a:pt x="552795" y="1593146"/>
                    </a:cubicBezTo>
                    <a:cubicBezTo>
                      <a:pt x="553213" y="1589141"/>
                      <a:pt x="553713" y="1584720"/>
                      <a:pt x="553713" y="1580716"/>
                    </a:cubicBezTo>
                    <a:cubicBezTo>
                      <a:pt x="554130" y="1560361"/>
                      <a:pt x="545287" y="1544428"/>
                      <a:pt x="526683" y="1532415"/>
                    </a:cubicBezTo>
                    <a:cubicBezTo>
                      <a:pt x="510748" y="1521821"/>
                      <a:pt x="507661" y="1512895"/>
                      <a:pt x="512500" y="1492958"/>
                    </a:cubicBezTo>
                    <a:cubicBezTo>
                      <a:pt x="513835" y="1488119"/>
                      <a:pt x="516004" y="1483197"/>
                      <a:pt x="518674" y="1478776"/>
                    </a:cubicBezTo>
                    <a:cubicBezTo>
                      <a:pt x="524013" y="1468599"/>
                      <a:pt x="529769" y="1457087"/>
                      <a:pt x="522178" y="1441988"/>
                    </a:cubicBezTo>
                    <a:cubicBezTo>
                      <a:pt x="513752" y="1425637"/>
                      <a:pt x="496899" y="1416294"/>
                      <a:pt x="481883" y="1407869"/>
                    </a:cubicBezTo>
                    <a:lnTo>
                      <a:pt x="475208" y="1404365"/>
                    </a:lnTo>
                    <a:cubicBezTo>
                      <a:pt x="470370" y="1401279"/>
                      <a:pt x="465030" y="1397691"/>
                      <a:pt x="459691" y="1394188"/>
                    </a:cubicBezTo>
                    <a:cubicBezTo>
                      <a:pt x="447761" y="1386179"/>
                      <a:pt x="435331" y="1377337"/>
                      <a:pt x="422065" y="1373833"/>
                    </a:cubicBezTo>
                    <a:cubicBezTo>
                      <a:pt x="402544" y="1368494"/>
                      <a:pt x="394117" y="1377837"/>
                      <a:pt x="387944" y="1384928"/>
                    </a:cubicBezTo>
                    <a:cubicBezTo>
                      <a:pt x="384440" y="1388932"/>
                      <a:pt x="381270" y="1392436"/>
                      <a:pt x="376431" y="1393771"/>
                    </a:cubicBezTo>
                    <a:cubicBezTo>
                      <a:pt x="374178" y="1394688"/>
                      <a:pt x="372426" y="1393771"/>
                      <a:pt x="368923" y="1392436"/>
                    </a:cubicBezTo>
                    <a:cubicBezTo>
                      <a:pt x="366253" y="1391518"/>
                      <a:pt x="363166" y="1390183"/>
                      <a:pt x="359162" y="1389766"/>
                    </a:cubicBezTo>
                    <a:cubicBezTo>
                      <a:pt x="350735" y="1388849"/>
                      <a:pt x="343227" y="1392019"/>
                      <a:pt x="336553" y="1394188"/>
                    </a:cubicBezTo>
                    <a:lnTo>
                      <a:pt x="329044" y="1396857"/>
                    </a:lnTo>
                    <a:cubicBezTo>
                      <a:pt x="311775" y="1402613"/>
                      <a:pt x="297176" y="1407452"/>
                      <a:pt x="283827" y="1395940"/>
                    </a:cubicBezTo>
                    <a:cubicBezTo>
                      <a:pt x="273232" y="1386596"/>
                      <a:pt x="260801" y="1371581"/>
                      <a:pt x="259884" y="1364490"/>
                    </a:cubicBezTo>
                    <a:cubicBezTo>
                      <a:pt x="258966" y="1357399"/>
                      <a:pt x="260801" y="1351226"/>
                      <a:pt x="262553" y="1344970"/>
                    </a:cubicBezTo>
                    <a:cubicBezTo>
                      <a:pt x="266057" y="1332540"/>
                      <a:pt x="270980" y="1317524"/>
                      <a:pt x="248788" y="1304177"/>
                    </a:cubicBezTo>
                    <a:cubicBezTo>
                      <a:pt x="244783" y="1301508"/>
                      <a:pt x="240362" y="1298838"/>
                      <a:pt x="235940" y="1295752"/>
                    </a:cubicBezTo>
                    <a:cubicBezTo>
                      <a:pt x="217753" y="1283322"/>
                      <a:pt x="197397" y="1269641"/>
                      <a:pt x="176123" y="1267806"/>
                    </a:cubicBezTo>
                    <a:cubicBezTo>
                      <a:pt x="162358" y="1266888"/>
                      <a:pt x="149093" y="1269141"/>
                      <a:pt x="135828" y="1270892"/>
                    </a:cubicBezTo>
                    <a:cubicBezTo>
                      <a:pt x="126985" y="1272227"/>
                      <a:pt x="118559" y="1273562"/>
                      <a:pt x="110132" y="1273979"/>
                    </a:cubicBezTo>
                    <a:cubicBezTo>
                      <a:pt x="107046" y="1274396"/>
                      <a:pt x="103959" y="1274396"/>
                      <a:pt x="99955" y="1274896"/>
                    </a:cubicBezTo>
                    <a:cubicBezTo>
                      <a:pt x="80432" y="1276231"/>
                      <a:pt x="48147" y="1278400"/>
                      <a:pt x="37968" y="1266888"/>
                    </a:cubicBezTo>
                    <a:cubicBezTo>
                      <a:pt x="33130" y="1261549"/>
                      <a:pt x="32629" y="1256293"/>
                      <a:pt x="31294" y="1249620"/>
                    </a:cubicBezTo>
                    <a:cubicBezTo>
                      <a:pt x="29959" y="1239443"/>
                      <a:pt x="28625" y="1226596"/>
                      <a:pt x="10020" y="1219088"/>
                    </a:cubicBezTo>
                    <a:cubicBezTo>
                      <a:pt x="7351" y="1218171"/>
                      <a:pt x="5182" y="1217753"/>
                      <a:pt x="3346" y="1216836"/>
                    </a:cubicBezTo>
                    <a:cubicBezTo>
                      <a:pt x="2428" y="1216419"/>
                      <a:pt x="1094" y="1215918"/>
                      <a:pt x="1094" y="1215918"/>
                    </a:cubicBezTo>
                    <a:cubicBezTo>
                      <a:pt x="1094" y="1215918"/>
                      <a:pt x="677" y="1215000"/>
                      <a:pt x="176" y="1212415"/>
                    </a:cubicBezTo>
                    <a:cubicBezTo>
                      <a:pt x="-742" y="1205741"/>
                      <a:pt x="1928" y="1203572"/>
                      <a:pt x="8185" y="1197816"/>
                    </a:cubicBezTo>
                    <a:cubicBezTo>
                      <a:pt x="10855" y="1195563"/>
                      <a:pt x="13024" y="1192977"/>
                      <a:pt x="15276" y="1190308"/>
                    </a:cubicBezTo>
                    <a:cubicBezTo>
                      <a:pt x="23285" y="1179714"/>
                      <a:pt x="25871" y="1167284"/>
                      <a:pt x="28124" y="1155772"/>
                    </a:cubicBezTo>
                    <a:cubicBezTo>
                      <a:pt x="29459" y="1147764"/>
                      <a:pt x="31211" y="1140256"/>
                      <a:pt x="34298" y="1133665"/>
                    </a:cubicBezTo>
                    <a:cubicBezTo>
                      <a:pt x="35632" y="1130579"/>
                      <a:pt x="37385" y="1127909"/>
                      <a:pt x="39136" y="1125240"/>
                    </a:cubicBezTo>
                    <a:cubicBezTo>
                      <a:pt x="43141" y="1119067"/>
                      <a:pt x="47562" y="1112393"/>
                      <a:pt x="48480" y="1103968"/>
                    </a:cubicBezTo>
                    <a:cubicBezTo>
                      <a:pt x="49398" y="1094208"/>
                      <a:pt x="45810" y="1085782"/>
                      <a:pt x="42724" y="1078274"/>
                    </a:cubicBezTo>
                    <a:cubicBezTo>
                      <a:pt x="40972" y="1073853"/>
                      <a:pt x="39220" y="1069431"/>
                      <a:pt x="38302" y="1065427"/>
                    </a:cubicBezTo>
                    <a:cubicBezTo>
                      <a:pt x="35632" y="1051663"/>
                      <a:pt x="35215" y="1034895"/>
                      <a:pt x="34798" y="1019379"/>
                    </a:cubicBezTo>
                    <a:cubicBezTo>
                      <a:pt x="36550" y="1018962"/>
                      <a:pt x="38302" y="1018462"/>
                      <a:pt x="40555" y="1018462"/>
                    </a:cubicBezTo>
                    <a:cubicBezTo>
                      <a:pt x="52484" y="1016209"/>
                      <a:pt x="64915" y="1014457"/>
                      <a:pt x="77763" y="1010036"/>
                    </a:cubicBezTo>
                    <a:cubicBezTo>
                      <a:pt x="94115" y="1005198"/>
                      <a:pt x="103458" y="992351"/>
                      <a:pt x="113219" y="979921"/>
                    </a:cubicBezTo>
                    <a:cubicBezTo>
                      <a:pt x="120311" y="970578"/>
                      <a:pt x="126985" y="961736"/>
                      <a:pt x="136245" y="956480"/>
                    </a:cubicBezTo>
                    <a:cubicBezTo>
                      <a:pt x="161941" y="940547"/>
                      <a:pt x="197397" y="927700"/>
                      <a:pt x="229683" y="922361"/>
                    </a:cubicBezTo>
                    <a:lnTo>
                      <a:pt x="238526" y="921026"/>
                    </a:lnTo>
                    <a:cubicBezTo>
                      <a:pt x="254044" y="918774"/>
                      <a:pt x="271313" y="916605"/>
                      <a:pt x="284578" y="907262"/>
                    </a:cubicBezTo>
                    <a:cubicBezTo>
                      <a:pt x="291252" y="902841"/>
                      <a:pt x="296091" y="896668"/>
                      <a:pt x="300513" y="890912"/>
                    </a:cubicBezTo>
                    <a:cubicBezTo>
                      <a:pt x="304016" y="886073"/>
                      <a:pt x="307604" y="881152"/>
                      <a:pt x="312443" y="878065"/>
                    </a:cubicBezTo>
                    <a:cubicBezTo>
                      <a:pt x="319117" y="873227"/>
                      <a:pt x="329712" y="869222"/>
                      <a:pt x="340391" y="864801"/>
                    </a:cubicBezTo>
                    <a:cubicBezTo>
                      <a:pt x="361247" y="856793"/>
                      <a:pt x="384690" y="847533"/>
                      <a:pt x="390030" y="827178"/>
                    </a:cubicBezTo>
                    <a:cubicBezTo>
                      <a:pt x="390947" y="822757"/>
                      <a:pt x="390947" y="820088"/>
                      <a:pt x="390947" y="818336"/>
                    </a:cubicBezTo>
                    <a:cubicBezTo>
                      <a:pt x="391364" y="815667"/>
                      <a:pt x="391364" y="815249"/>
                      <a:pt x="393617" y="811245"/>
                    </a:cubicBezTo>
                    <a:cubicBezTo>
                      <a:pt x="394535" y="809911"/>
                      <a:pt x="395869" y="808576"/>
                      <a:pt x="396704" y="807742"/>
                    </a:cubicBezTo>
                    <a:cubicBezTo>
                      <a:pt x="398956" y="805072"/>
                      <a:pt x="401543" y="802403"/>
                      <a:pt x="403378" y="797981"/>
                    </a:cubicBezTo>
                    <a:cubicBezTo>
                      <a:pt x="410469" y="783383"/>
                      <a:pt x="410886" y="761693"/>
                      <a:pt x="398039" y="750599"/>
                    </a:cubicBezTo>
                    <a:cubicBezTo>
                      <a:pt x="393617" y="746594"/>
                      <a:pt x="388277" y="745260"/>
                      <a:pt x="383856" y="743925"/>
                    </a:cubicBezTo>
                    <a:cubicBezTo>
                      <a:pt x="379017" y="742590"/>
                      <a:pt x="375847" y="741672"/>
                      <a:pt x="374095" y="739086"/>
                    </a:cubicBezTo>
                    <a:cubicBezTo>
                      <a:pt x="368756" y="731078"/>
                      <a:pt x="376765" y="718732"/>
                      <a:pt x="382938" y="709389"/>
                    </a:cubicBezTo>
                    <a:lnTo>
                      <a:pt x="383856" y="707637"/>
                    </a:lnTo>
                    <a:cubicBezTo>
                      <a:pt x="387860" y="701464"/>
                      <a:pt x="391865" y="696125"/>
                      <a:pt x="395786" y="690369"/>
                    </a:cubicBezTo>
                    <a:cubicBezTo>
                      <a:pt x="398873" y="685948"/>
                      <a:pt x="401960" y="681943"/>
                      <a:pt x="404629" y="677939"/>
                    </a:cubicBezTo>
                    <a:cubicBezTo>
                      <a:pt x="407299" y="673518"/>
                      <a:pt x="409968" y="669514"/>
                      <a:pt x="412638" y="665093"/>
                    </a:cubicBezTo>
                    <a:cubicBezTo>
                      <a:pt x="419312" y="652246"/>
                      <a:pt x="422817" y="637647"/>
                      <a:pt x="419730" y="619461"/>
                    </a:cubicBezTo>
                    <a:cubicBezTo>
                      <a:pt x="417477" y="604863"/>
                      <a:pt x="412638" y="593768"/>
                      <a:pt x="397621" y="584008"/>
                    </a:cubicBezTo>
                    <a:lnTo>
                      <a:pt x="394535" y="581755"/>
                    </a:lnTo>
                    <a:cubicBezTo>
                      <a:pt x="384357" y="575582"/>
                      <a:pt x="382104" y="573330"/>
                      <a:pt x="384357" y="567157"/>
                    </a:cubicBezTo>
                    <a:cubicBezTo>
                      <a:pt x="386609" y="560066"/>
                      <a:pt x="396287" y="553392"/>
                      <a:pt x="404296" y="548137"/>
                    </a:cubicBezTo>
                    <a:cubicBezTo>
                      <a:pt x="408383" y="548637"/>
                      <a:pt x="411554" y="546385"/>
                      <a:pt x="414140" y="54463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2751073" name="Полилиния 447"/>
              <p:cNvSpPr/>
              <p:nvPr/>
            </p:nvSpPr>
            <p:spPr bwMode="auto">
              <a:xfrm>
                <a:off x="9307928" y="642603"/>
                <a:ext cx="111265" cy="197100"/>
              </a:xfrm>
              <a:custGeom>
                <a:avLst/>
                <a:gdLst>
                  <a:gd name="connsiteX0" fmla="*/ 124417 w 124955"/>
                  <a:gd name="connsiteY0" fmla="*/ 67623 h 221350"/>
                  <a:gd name="connsiteX1" fmla="*/ 116909 w 124955"/>
                  <a:gd name="connsiteY1" fmla="*/ 37926 h 221350"/>
                  <a:gd name="connsiteX2" fmla="*/ 114656 w 124955"/>
                  <a:gd name="connsiteY2" fmla="*/ 18405 h 221350"/>
                  <a:gd name="connsiteX3" fmla="*/ 105813 w 124955"/>
                  <a:gd name="connsiteY3" fmla="*/ 2055 h 221350"/>
                  <a:gd name="connsiteX4" fmla="*/ 80118 w 124955"/>
                  <a:gd name="connsiteY4" fmla="*/ 5141 h 221350"/>
                  <a:gd name="connsiteX5" fmla="*/ 63265 w 124955"/>
                  <a:gd name="connsiteY5" fmla="*/ 13150 h 221350"/>
                  <a:gd name="connsiteX6" fmla="*/ 43326 w 124955"/>
                  <a:gd name="connsiteY6" fmla="*/ 23744 h 221350"/>
                  <a:gd name="connsiteX7" fmla="*/ 32231 w 124955"/>
                  <a:gd name="connsiteY7" fmla="*/ 33504 h 221350"/>
                  <a:gd name="connsiteX8" fmla="*/ 20301 w 124955"/>
                  <a:gd name="connsiteY8" fmla="*/ 44599 h 221350"/>
                  <a:gd name="connsiteX9" fmla="*/ 12792 w 124955"/>
                  <a:gd name="connsiteY9" fmla="*/ 53442 h 221350"/>
                  <a:gd name="connsiteX10" fmla="*/ 9288 w 124955"/>
                  <a:gd name="connsiteY10" fmla="*/ 82222 h 221350"/>
                  <a:gd name="connsiteX11" fmla="*/ 1780 w 124955"/>
                  <a:gd name="connsiteY11" fmla="*/ 94151 h 221350"/>
                  <a:gd name="connsiteX12" fmla="*/ 2698 w 124955"/>
                  <a:gd name="connsiteY12" fmla="*/ 116758 h 221350"/>
                  <a:gd name="connsiteX13" fmla="*/ 11124 w 124955"/>
                  <a:gd name="connsiteY13" fmla="*/ 138030 h 221350"/>
                  <a:gd name="connsiteX14" fmla="*/ 16880 w 124955"/>
                  <a:gd name="connsiteY14" fmla="*/ 156633 h 221350"/>
                  <a:gd name="connsiteX15" fmla="*/ 24889 w 124955"/>
                  <a:gd name="connsiteY15" fmla="*/ 163307 h 221350"/>
                  <a:gd name="connsiteX16" fmla="*/ 35985 w 124955"/>
                  <a:gd name="connsiteY16" fmla="*/ 183661 h 221350"/>
                  <a:gd name="connsiteX17" fmla="*/ 50584 w 124955"/>
                  <a:gd name="connsiteY17" fmla="*/ 200929 h 221350"/>
                  <a:gd name="connsiteX18" fmla="*/ 57676 w 124955"/>
                  <a:gd name="connsiteY18" fmla="*/ 203182 h 221350"/>
                  <a:gd name="connsiteX19" fmla="*/ 65184 w 124955"/>
                  <a:gd name="connsiteY19" fmla="*/ 212942 h 221350"/>
                  <a:gd name="connsiteX20" fmla="*/ 75779 w 124955"/>
                  <a:gd name="connsiteY20" fmla="*/ 219616 h 221350"/>
                  <a:gd name="connsiteX21" fmla="*/ 94801 w 124955"/>
                  <a:gd name="connsiteY21" fmla="*/ 218698 h 221350"/>
                  <a:gd name="connsiteX22" fmla="*/ 105396 w 124955"/>
                  <a:gd name="connsiteY22" fmla="*/ 201013 h 221350"/>
                  <a:gd name="connsiteX23" fmla="*/ 109817 w 124955"/>
                  <a:gd name="connsiteY23" fmla="*/ 178906 h 221350"/>
                  <a:gd name="connsiteX24" fmla="*/ 103143 w 124955"/>
                  <a:gd name="connsiteY24" fmla="*/ 155882 h 221350"/>
                  <a:gd name="connsiteX25" fmla="*/ 103143 w 124955"/>
                  <a:gd name="connsiteY25" fmla="*/ 131523 h 221350"/>
                  <a:gd name="connsiteX26" fmla="*/ 115073 w 124955"/>
                  <a:gd name="connsiteY26" fmla="*/ 116007 h 221350"/>
                  <a:gd name="connsiteX27" fmla="*/ 119495 w 124955"/>
                  <a:gd name="connsiteY27" fmla="*/ 97404 h 221350"/>
                  <a:gd name="connsiteX28" fmla="*/ 119495 w 124955"/>
                  <a:gd name="connsiteY28" fmla="*/ 81888 h 221350"/>
                  <a:gd name="connsiteX29" fmla="*/ 124417 w 124955"/>
                  <a:gd name="connsiteY29" fmla="*/ 67623 h 22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24955" h="221350" extrusionOk="0">
                    <a:moveTo>
                      <a:pt x="124417" y="67623"/>
                    </a:moveTo>
                    <a:cubicBezTo>
                      <a:pt x="127087" y="57446"/>
                      <a:pt x="119078" y="48103"/>
                      <a:pt x="116909" y="37926"/>
                    </a:cubicBezTo>
                    <a:cubicBezTo>
                      <a:pt x="115157" y="31753"/>
                      <a:pt x="115574" y="25079"/>
                      <a:pt x="114656" y="18405"/>
                    </a:cubicBezTo>
                    <a:cubicBezTo>
                      <a:pt x="113739" y="12232"/>
                      <a:pt x="111153" y="5141"/>
                      <a:pt x="105813" y="2055"/>
                    </a:cubicBezTo>
                    <a:cubicBezTo>
                      <a:pt x="98305" y="-2366"/>
                      <a:pt x="88544" y="1137"/>
                      <a:pt x="80118" y="5141"/>
                    </a:cubicBezTo>
                    <a:cubicBezTo>
                      <a:pt x="74361" y="7811"/>
                      <a:pt x="69022" y="10480"/>
                      <a:pt x="63265" y="13150"/>
                    </a:cubicBezTo>
                    <a:cubicBezTo>
                      <a:pt x="56591" y="16236"/>
                      <a:pt x="49500" y="19323"/>
                      <a:pt x="43326" y="23744"/>
                    </a:cubicBezTo>
                    <a:cubicBezTo>
                      <a:pt x="39322" y="26831"/>
                      <a:pt x="35818" y="29917"/>
                      <a:pt x="32231" y="33504"/>
                    </a:cubicBezTo>
                    <a:cubicBezTo>
                      <a:pt x="28226" y="37008"/>
                      <a:pt x="24222" y="41012"/>
                      <a:pt x="20301" y="44599"/>
                    </a:cubicBezTo>
                    <a:cubicBezTo>
                      <a:pt x="17631" y="47269"/>
                      <a:pt x="14544" y="49938"/>
                      <a:pt x="12792" y="53442"/>
                    </a:cubicBezTo>
                    <a:cubicBezTo>
                      <a:pt x="8371" y="62284"/>
                      <a:pt x="12792" y="73379"/>
                      <a:pt x="9288" y="82222"/>
                    </a:cubicBezTo>
                    <a:cubicBezTo>
                      <a:pt x="7536" y="86643"/>
                      <a:pt x="3949" y="89730"/>
                      <a:pt x="1780" y="94151"/>
                    </a:cubicBezTo>
                    <a:cubicBezTo>
                      <a:pt x="-1307" y="101242"/>
                      <a:pt x="28" y="109250"/>
                      <a:pt x="2698" y="116758"/>
                    </a:cubicBezTo>
                    <a:cubicBezTo>
                      <a:pt x="5367" y="123849"/>
                      <a:pt x="9372" y="130939"/>
                      <a:pt x="11124" y="138030"/>
                    </a:cubicBezTo>
                    <a:cubicBezTo>
                      <a:pt x="12458" y="144704"/>
                      <a:pt x="12875" y="151795"/>
                      <a:pt x="16880" y="156633"/>
                    </a:cubicBezTo>
                    <a:cubicBezTo>
                      <a:pt x="19132" y="159302"/>
                      <a:pt x="22219" y="161054"/>
                      <a:pt x="24889" y="163307"/>
                    </a:cubicBezTo>
                    <a:cubicBezTo>
                      <a:pt x="30646" y="168646"/>
                      <a:pt x="33315" y="176153"/>
                      <a:pt x="35985" y="183661"/>
                    </a:cubicBezTo>
                    <a:cubicBezTo>
                      <a:pt x="38655" y="190752"/>
                      <a:pt x="43076" y="198260"/>
                      <a:pt x="50584" y="200929"/>
                    </a:cubicBezTo>
                    <a:cubicBezTo>
                      <a:pt x="52837" y="201847"/>
                      <a:pt x="55423" y="201847"/>
                      <a:pt x="57676" y="203182"/>
                    </a:cubicBezTo>
                    <a:cubicBezTo>
                      <a:pt x="61180" y="205434"/>
                      <a:pt x="62514" y="209855"/>
                      <a:pt x="65184" y="212942"/>
                    </a:cubicBezTo>
                    <a:cubicBezTo>
                      <a:pt x="67854" y="216028"/>
                      <a:pt x="71858" y="218281"/>
                      <a:pt x="75779" y="219616"/>
                    </a:cubicBezTo>
                    <a:cubicBezTo>
                      <a:pt x="81953" y="221868"/>
                      <a:pt x="89045" y="222285"/>
                      <a:pt x="94801" y="218698"/>
                    </a:cubicBezTo>
                    <a:cubicBezTo>
                      <a:pt x="100975" y="215194"/>
                      <a:pt x="103227" y="207603"/>
                      <a:pt x="105396" y="201013"/>
                    </a:cubicBezTo>
                    <a:cubicBezTo>
                      <a:pt x="107649" y="193922"/>
                      <a:pt x="109817" y="186414"/>
                      <a:pt x="109817" y="178906"/>
                    </a:cubicBezTo>
                    <a:cubicBezTo>
                      <a:pt x="109817" y="170898"/>
                      <a:pt x="107565" y="162556"/>
                      <a:pt x="103143" y="155882"/>
                    </a:cubicBezTo>
                    <a:cubicBezTo>
                      <a:pt x="97387" y="146539"/>
                      <a:pt x="96970" y="140783"/>
                      <a:pt x="103143" y="131523"/>
                    </a:cubicBezTo>
                    <a:cubicBezTo>
                      <a:pt x="106647" y="126185"/>
                      <a:pt x="111570" y="121346"/>
                      <a:pt x="115073" y="116007"/>
                    </a:cubicBezTo>
                    <a:cubicBezTo>
                      <a:pt x="118577" y="110251"/>
                      <a:pt x="119495" y="104078"/>
                      <a:pt x="119495" y="97404"/>
                    </a:cubicBezTo>
                    <a:cubicBezTo>
                      <a:pt x="119495" y="92066"/>
                      <a:pt x="119078" y="86810"/>
                      <a:pt x="119495" y="81888"/>
                    </a:cubicBezTo>
                    <a:cubicBezTo>
                      <a:pt x="120413" y="76466"/>
                      <a:pt x="123083" y="72462"/>
                      <a:pt x="124417" y="676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82198487" name="Полилиния 448"/>
              <p:cNvSpPr/>
              <p:nvPr/>
            </p:nvSpPr>
            <p:spPr bwMode="auto">
              <a:xfrm>
                <a:off x="9310930" y="1335074"/>
                <a:ext cx="81995" cy="77631"/>
              </a:xfrm>
              <a:custGeom>
                <a:avLst/>
                <a:gdLst>
                  <a:gd name="connsiteX0" fmla="*/ 82920 w 92084"/>
                  <a:gd name="connsiteY0" fmla="*/ 56674 h 87183"/>
                  <a:gd name="connsiteX1" fmla="*/ 91347 w 92084"/>
                  <a:gd name="connsiteY1" fmla="*/ 32732 h 87183"/>
                  <a:gd name="connsiteX2" fmla="*/ 90429 w 92084"/>
                  <a:gd name="connsiteY2" fmla="*/ 23389 h 87183"/>
                  <a:gd name="connsiteX3" fmla="*/ 83338 w 92084"/>
                  <a:gd name="connsiteY3" fmla="*/ 19885 h 87183"/>
                  <a:gd name="connsiteX4" fmla="*/ 75829 w 92084"/>
                  <a:gd name="connsiteY4" fmla="*/ 12377 h 87183"/>
                  <a:gd name="connsiteX5" fmla="*/ 65235 w 92084"/>
                  <a:gd name="connsiteY5" fmla="*/ 1282 h 87183"/>
                  <a:gd name="connsiteX6" fmla="*/ 43544 w 92084"/>
                  <a:gd name="connsiteY6" fmla="*/ 7956 h 87183"/>
                  <a:gd name="connsiteX7" fmla="*/ 36869 w 92084"/>
                  <a:gd name="connsiteY7" fmla="*/ 13712 h 87183"/>
                  <a:gd name="connsiteX8" fmla="*/ 34200 w 92084"/>
                  <a:gd name="connsiteY8" fmla="*/ 16381 h 87183"/>
                  <a:gd name="connsiteX9" fmla="*/ 27108 w 92084"/>
                  <a:gd name="connsiteY9" fmla="*/ 23055 h 87183"/>
                  <a:gd name="connsiteX10" fmla="*/ 16513 w 92084"/>
                  <a:gd name="connsiteY10" fmla="*/ 29729 h 87183"/>
                  <a:gd name="connsiteX11" fmla="*/ 2330 w 92084"/>
                  <a:gd name="connsiteY11" fmla="*/ 49249 h 87183"/>
                  <a:gd name="connsiteX12" fmla="*/ 78 w 92084"/>
                  <a:gd name="connsiteY12" fmla="*/ 60761 h 87183"/>
                  <a:gd name="connsiteX13" fmla="*/ 11173 w 92084"/>
                  <a:gd name="connsiteY13" fmla="*/ 81116 h 87183"/>
                  <a:gd name="connsiteX14" fmla="*/ 16513 w 92084"/>
                  <a:gd name="connsiteY14" fmla="*/ 85954 h 87183"/>
                  <a:gd name="connsiteX15" fmla="*/ 32447 w 92084"/>
                  <a:gd name="connsiteY15" fmla="*/ 84619 h 87183"/>
                  <a:gd name="connsiteX16" fmla="*/ 82920 w 92084"/>
                  <a:gd name="connsiteY16" fmla="*/ 56674 h 87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2084" h="87183" extrusionOk="0">
                    <a:moveTo>
                      <a:pt x="82920" y="56674"/>
                    </a:moveTo>
                    <a:cubicBezTo>
                      <a:pt x="87343" y="49583"/>
                      <a:pt x="89595" y="41157"/>
                      <a:pt x="91347" y="32732"/>
                    </a:cubicBezTo>
                    <a:cubicBezTo>
                      <a:pt x="92264" y="29645"/>
                      <a:pt x="92682" y="26058"/>
                      <a:pt x="90429" y="23389"/>
                    </a:cubicBezTo>
                    <a:cubicBezTo>
                      <a:pt x="88677" y="21637"/>
                      <a:pt x="85590" y="21136"/>
                      <a:pt x="83338" y="19885"/>
                    </a:cubicBezTo>
                    <a:cubicBezTo>
                      <a:pt x="80251" y="18133"/>
                      <a:pt x="77999" y="15047"/>
                      <a:pt x="75829" y="12377"/>
                    </a:cubicBezTo>
                    <a:cubicBezTo>
                      <a:pt x="72743" y="7956"/>
                      <a:pt x="69656" y="3952"/>
                      <a:pt x="65235" y="1282"/>
                    </a:cubicBezTo>
                    <a:cubicBezTo>
                      <a:pt x="57225" y="-2722"/>
                      <a:pt x="49717" y="3535"/>
                      <a:pt x="43544" y="7956"/>
                    </a:cubicBezTo>
                    <a:cubicBezTo>
                      <a:pt x="41291" y="9708"/>
                      <a:pt x="39121" y="11960"/>
                      <a:pt x="36869" y="13712"/>
                    </a:cubicBezTo>
                    <a:cubicBezTo>
                      <a:pt x="35951" y="14630"/>
                      <a:pt x="35117" y="15464"/>
                      <a:pt x="34200" y="16381"/>
                    </a:cubicBezTo>
                    <a:cubicBezTo>
                      <a:pt x="31113" y="19885"/>
                      <a:pt x="31530" y="21220"/>
                      <a:pt x="27108" y="23055"/>
                    </a:cubicBezTo>
                    <a:cubicBezTo>
                      <a:pt x="23104" y="24807"/>
                      <a:pt x="20017" y="27059"/>
                      <a:pt x="16513" y="29729"/>
                    </a:cubicBezTo>
                    <a:cubicBezTo>
                      <a:pt x="10339" y="35068"/>
                      <a:pt x="5417" y="41658"/>
                      <a:pt x="2330" y="49249"/>
                    </a:cubicBezTo>
                    <a:cubicBezTo>
                      <a:pt x="996" y="52753"/>
                      <a:pt x="-339" y="56757"/>
                      <a:pt x="78" y="60761"/>
                    </a:cubicBezTo>
                    <a:cubicBezTo>
                      <a:pt x="495" y="68769"/>
                      <a:pt x="5835" y="74943"/>
                      <a:pt x="11173" y="81116"/>
                    </a:cubicBezTo>
                    <a:cubicBezTo>
                      <a:pt x="12926" y="82867"/>
                      <a:pt x="14260" y="84619"/>
                      <a:pt x="16513" y="85954"/>
                    </a:cubicBezTo>
                    <a:cubicBezTo>
                      <a:pt x="21352" y="88624"/>
                      <a:pt x="27108" y="86371"/>
                      <a:pt x="32447" y="84619"/>
                    </a:cubicBezTo>
                    <a:cubicBezTo>
                      <a:pt x="48382" y="78446"/>
                      <a:pt x="73660" y="71356"/>
                      <a:pt x="82920" y="5667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3983210" name="Полилиния 449"/>
              <p:cNvSpPr/>
              <p:nvPr/>
            </p:nvSpPr>
            <p:spPr bwMode="auto">
              <a:xfrm>
                <a:off x="8070108" y="2013489"/>
                <a:ext cx="137956" cy="130964"/>
              </a:xfrm>
              <a:custGeom>
                <a:avLst/>
                <a:gdLst>
                  <a:gd name="connsiteX0" fmla="*/ 125724 w 154930"/>
                  <a:gd name="connsiteY0" fmla="*/ 11959 h 147078"/>
                  <a:gd name="connsiteX1" fmla="*/ 59316 w 154930"/>
                  <a:gd name="connsiteY1" fmla="*/ 1782 h 147078"/>
                  <a:gd name="connsiteX2" fmla="*/ 28281 w 154930"/>
                  <a:gd name="connsiteY2" fmla="*/ 1782 h 147078"/>
                  <a:gd name="connsiteX3" fmla="*/ 15017 w 154930"/>
                  <a:gd name="connsiteY3" fmla="*/ 19968 h 147078"/>
                  <a:gd name="connsiteX4" fmla="*/ 4421 w 154930"/>
                  <a:gd name="connsiteY4" fmla="*/ 74024 h 147078"/>
                  <a:gd name="connsiteX5" fmla="*/ 0 w 154930"/>
                  <a:gd name="connsiteY5" fmla="*/ 145766 h 147078"/>
                  <a:gd name="connsiteX6" fmla="*/ 36291 w 154930"/>
                  <a:gd name="connsiteY6" fmla="*/ 111647 h 147078"/>
                  <a:gd name="connsiteX7" fmla="*/ 69494 w 154930"/>
                  <a:gd name="connsiteY7" fmla="*/ 105891 h 147078"/>
                  <a:gd name="connsiteX8" fmla="*/ 101864 w 154930"/>
                  <a:gd name="connsiteY8" fmla="*/ 91292 h 147078"/>
                  <a:gd name="connsiteX9" fmla="*/ 154173 w 154930"/>
                  <a:gd name="connsiteY9" fmla="*/ 55004 h 147078"/>
                  <a:gd name="connsiteX10" fmla="*/ 125724 w 154930"/>
                  <a:gd name="connsiteY10" fmla="*/ 11959 h 147078"/>
                  <a:gd name="connsiteX11" fmla="*/ 125724 w 154930"/>
                  <a:gd name="connsiteY11" fmla="*/ 11959 h 147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930" h="147078" extrusionOk="0">
                    <a:moveTo>
                      <a:pt x="125724" y="11959"/>
                    </a:moveTo>
                    <a:cubicBezTo>
                      <a:pt x="108455" y="864"/>
                      <a:pt x="79172" y="3534"/>
                      <a:pt x="59316" y="1782"/>
                    </a:cubicBezTo>
                    <a:cubicBezTo>
                      <a:pt x="50473" y="864"/>
                      <a:pt x="37625" y="-1722"/>
                      <a:pt x="28281" y="1782"/>
                    </a:cubicBezTo>
                    <a:cubicBezTo>
                      <a:pt x="17186" y="5786"/>
                      <a:pt x="18937" y="10207"/>
                      <a:pt x="15017" y="19968"/>
                    </a:cubicBezTo>
                    <a:cubicBezTo>
                      <a:pt x="5673" y="41657"/>
                      <a:pt x="-5840" y="47913"/>
                      <a:pt x="4421" y="74024"/>
                    </a:cubicBezTo>
                    <a:cubicBezTo>
                      <a:pt x="14600" y="100635"/>
                      <a:pt x="11096" y="120072"/>
                      <a:pt x="0" y="145766"/>
                    </a:cubicBezTo>
                    <a:cubicBezTo>
                      <a:pt x="16351" y="154608"/>
                      <a:pt x="23943" y="116068"/>
                      <a:pt x="36291" y="111647"/>
                    </a:cubicBezTo>
                    <a:cubicBezTo>
                      <a:pt x="46885" y="107642"/>
                      <a:pt x="58399" y="110312"/>
                      <a:pt x="69494" y="105891"/>
                    </a:cubicBezTo>
                    <a:cubicBezTo>
                      <a:pt x="80590" y="101469"/>
                      <a:pt x="91185" y="95713"/>
                      <a:pt x="101864" y="91292"/>
                    </a:cubicBezTo>
                    <a:cubicBezTo>
                      <a:pt x="119550" y="83784"/>
                      <a:pt x="148416" y="76193"/>
                      <a:pt x="154173" y="55004"/>
                    </a:cubicBezTo>
                    <a:cubicBezTo>
                      <a:pt x="158928" y="35484"/>
                      <a:pt x="140323" y="21719"/>
                      <a:pt x="125724" y="11959"/>
                    </a:cubicBezTo>
                    <a:cubicBezTo>
                      <a:pt x="119550" y="7538"/>
                      <a:pt x="129729" y="14629"/>
                      <a:pt x="125724" y="1195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16176992" name="Полилиния 450"/>
              <p:cNvSpPr/>
              <p:nvPr/>
            </p:nvSpPr>
            <p:spPr bwMode="auto">
              <a:xfrm>
                <a:off x="8001972" y="2013618"/>
                <a:ext cx="50265" cy="50908"/>
              </a:xfrm>
              <a:custGeom>
                <a:avLst/>
                <a:gdLst>
                  <a:gd name="connsiteX0" fmla="*/ 2434 w 56449"/>
                  <a:gd name="connsiteY0" fmla="*/ 39258 h 57173"/>
                  <a:gd name="connsiteX1" fmla="*/ 54243 w 56449"/>
                  <a:gd name="connsiteY1" fmla="*/ 19320 h 57173"/>
                  <a:gd name="connsiteX2" fmla="*/ 2434 w 56449"/>
                  <a:gd name="connsiteY2" fmla="*/ 39258 h 57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449" h="57173" extrusionOk="0">
                    <a:moveTo>
                      <a:pt x="2434" y="39258"/>
                    </a:moveTo>
                    <a:cubicBezTo>
                      <a:pt x="-11748" y="3387"/>
                      <a:pt x="40060" y="-17468"/>
                      <a:pt x="54243" y="19320"/>
                    </a:cubicBezTo>
                    <a:cubicBezTo>
                      <a:pt x="67591" y="53439"/>
                      <a:pt x="16617" y="73877"/>
                      <a:pt x="2434" y="3925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1977764" name="Полилиния 451"/>
              <p:cNvSpPr/>
              <p:nvPr/>
            </p:nvSpPr>
            <p:spPr bwMode="auto">
              <a:xfrm>
                <a:off x="7844555" y="2159032"/>
                <a:ext cx="47129" cy="32153"/>
              </a:xfrm>
              <a:custGeom>
                <a:avLst/>
                <a:gdLst>
                  <a:gd name="connsiteX0" fmla="*/ 29969 w 52929"/>
                  <a:gd name="connsiteY0" fmla="*/ 2669 h 36110"/>
                  <a:gd name="connsiteX1" fmla="*/ 15370 w 52929"/>
                  <a:gd name="connsiteY1" fmla="*/ 0 h 36110"/>
                  <a:gd name="connsiteX2" fmla="*/ 4774 w 52929"/>
                  <a:gd name="connsiteY2" fmla="*/ 1335 h 36110"/>
                  <a:gd name="connsiteX3" fmla="*/ 353 w 52929"/>
                  <a:gd name="connsiteY3" fmla="*/ 10177 h 36110"/>
                  <a:gd name="connsiteX4" fmla="*/ 12283 w 52929"/>
                  <a:gd name="connsiteY4" fmla="*/ 16350 h 36110"/>
                  <a:gd name="connsiteX5" fmla="*/ 50826 w 52929"/>
                  <a:gd name="connsiteY5" fmla="*/ 33618 h 36110"/>
                  <a:gd name="connsiteX6" fmla="*/ 29969 w 52929"/>
                  <a:gd name="connsiteY6" fmla="*/ 2669 h 36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929" h="36110" extrusionOk="0">
                    <a:moveTo>
                      <a:pt x="29969" y="2669"/>
                    </a:moveTo>
                    <a:cubicBezTo>
                      <a:pt x="25548" y="417"/>
                      <a:pt x="20208" y="0"/>
                      <a:pt x="15370" y="0"/>
                    </a:cubicBezTo>
                    <a:cubicBezTo>
                      <a:pt x="11865" y="0"/>
                      <a:pt x="7861" y="0"/>
                      <a:pt x="4774" y="1335"/>
                    </a:cubicBezTo>
                    <a:cubicBezTo>
                      <a:pt x="1687" y="3087"/>
                      <a:pt x="-983" y="7091"/>
                      <a:pt x="353" y="10177"/>
                    </a:cubicBezTo>
                    <a:cubicBezTo>
                      <a:pt x="4774" y="10594"/>
                      <a:pt x="8779" y="13264"/>
                      <a:pt x="12283" y="16350"/>
                    </a:cubicBezTo>
                    <a:cubicBezTo>
                      <a:pt x="18957" y="21689"/>
                      <a:pt x="41482" y="43379"/>
                      <a:pt x="50826" y="33618"/>
                    </a:cubicBezTo>
                    <a:cubicBezTo>
                      <a:pt x="60086" y="24359"/>
                      <a:pt x="36142" y="5756"/>
                      <a:pt x="29969" y="266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780583224" name="Полилиния 452"/>
              <p:cNvSpPr/>
              <p:nvPr/>
            </p:nvSpPr>
            <p:spPr bwMode="auto">
              <a:xfrm>
                <a:off x="7696419" y="1950120"/>
                <a:ext cx="49628" cy="69367"/>
              </a:xfrm>
              <a:custGeom>
                <a:avLst/>
                <a:gdLst>
                  <a:gd name="connsiteX0" fmla="*/ 21385 w 55736"/>
                  <a:gd name="connsiteY0" fmla="*/ 53009 h 77903"/>
                  <a:gd name="connsiteX1" fmla="*/ 55507 w 55736"/>
                  <a:gd name="connsiteY1" fmla="*/ 61434 h 77903"/>
                  <a:gd name="connsiteX2" fmla="*/ 28893 w 55736"/>
                  <a:gd name="connsiteY2" fmla="*/ 7378 h 77903"/>
                  <a:gd name="connsiteX3" fmla="*/ 111 w 55736"/>
                  <a:gd name="connsiteY3" fmla="*/ 13551 h 77903"/>
                  <a:gd name="connsiteX4" fmla="*/ 21385 w 55736"/>
                  <a:gd name="connsiteY4" fmla="*/ 53009 h 77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77903" extrusionOk="0">
                    <a:moveTo>
                      <a:pt x="21385" y="53009"/>
                    </a:moveTo>
                    <a:cubicBezTo>
                      <a:pt x="31146" y="68525"/>
                      <a:pt x="51501" y="95553"/>
                      <a:pt x="55507" y="61434"/>
                    </a:cubicBezTo>
                    <a:cubicBezTo>
                      <a:pt x="57758" y="43749"/>
                      <a:pt x="43076" y="18890"/>
                      <a:pt x="28893" y="7378"/>
                    </a:cubicBezTo>
                    <a:cubicBezTo>
                      <a:pt x="17797" y="-1465"/>
                      <a:pt x="-1641" y="-5469"/>
                      <a:pt x="111" y="13551"/>
                    </a:cubicBezTo>
                    <a:cubicBezTo>
                      <a:pt x="1862" y="27315"/>
                      <a:pt x="14293" y="41497"/>
                      <a:pt x="21385" y="5300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4185204" name="Полилиния 453"/>
              <p:cNvSpPr/>
              <p:nvPr/>
            </p:nvSpPr>
            <p:spPr bwMode="auto">
              <a:xfrm>
                <a:off x="7742130" y="1739844"/>
                <a:ext cx="300520" cy="283568"/>
              </a:xfrm>
              <a:custGeom>
                <a:avLst/>
                <a:gdLst>
                  <a:gd name="connsiteX0" fmla="*/ 213657 w 337495"/>
                  <a:gd name="connsiteY0" fmla="*/ 249782 h 318457"/>
                  <a:gd name="connsiteX1" fmla="*/ 192800 w 337495"/>
                  <a:gd name="connsiteY1" fmla="*/ 264381 h 318457"/>
                  <a:gd name="connsiteX2" fmla="*/ 198139 w 337495"/>
                  <a:gd name="connsiteY2" fmla="*/ 303338 h 318457"/>
                  <a:gd name="connsiteX3" fmla="*/ 162683 w 337495"/>
                  <a:gd name="connsiteY3" fmla="*/ 314850 h 318457"/>
                  <a:gd name="connsiteX4" fmla="*/ 138322 w 337495"/>
                  <a:gd name="connsiteY4" fmla="*/ 317937 h 318457"/>
                  <a:gd name="connsiteX5" fmla="*/ 116214 w 337495"/>
                  <a:gd name="connsiteY5" fmla="*/ 305090 h 318457"/>
                  <a:gd name="connsiteX6" fmla="*/ 48889 w 337495"/>
                  <a:gd name="connsiteY6" fmla="*/ 275893 h 318457"/>
                  <a:gd name="connsiteX7" fmla="*/ 48889 w 337495"/>
                  <a:gd name="connsiteY7" fmla="*/ 243108 h 318457"/>
                  <a:gd name="connsiteX8" fmla="*/ 17854 w 337495"/>
                  <a:gd name="connsiteY8" fmla="*/ 209907 h 318457"/>
                  <a:gd name="connsiteX9" fmla="*/ 15601 w 337495"/>
                  <a:gd name="connsiteY9" fmla="*/ 193056 h 318457"/>
                  <a:gd name="connsiteX10" fmla="*/ 3171 w 337495"/>
                  <a:gd name="connsiteY10" fmla="*/ 183713 h 318457"/>
                  <a:gd name="connsiteX11" fmla="*/ 4505 w 337495"/>
                  <a:gd name="connsiteY11" fmla="*/ 152681 h 318457"/>
                  <a:gd name="connsiteX12" fmla="*/ 13849 w 337495"/>
                  <a:gd name="connsiteY12" fmla="*/ 135830 h 318457"/>
                  <a:gd name="connsiteX13" fmla="*/ 12098 w 337495"/>
                  <a:gd name="connsiteY13" fmla="*/ 116309 h 318457"/>
                  <a:gd name="connsiteX14" fmla="*/ 41797 w 337495"/>
                  <a:gd name="connsiteY14" fmla="*/ 110553 h 318457"/>
                  <a:gd name="connsiteX15" fmla="*/ 78588 w 337495"/>
                  <a:gd name="connsiteY15" fmla="*/ 111471 h 318457"/>
                  <a:gd name="connsiteX16" fmla="*/ 94523 w 337495"/>
                  <a:gd name="connsiteY16" fmla="*/ 124318 h 318457"/>
                  <a:gd name="connsiteX17" fmla="*/ 107370 w 337495"/>
                  <a:gd name="connsiteY17" fmla="*/ 115892 h 318457"/>
                  <a:gd name="connsiteX18" fmla="*/ 134818 w 337495"/>
                  <a:gd name="connsiteY18" fmla="*/ 131826 h 318457"/>
                  <a:gd name="connsiteX19" fmla="*/ 144996 w 337495"/>
                  <a:gd name="connsiteY19" fmla="*/ 106549 h 318457"/>
                  <a:gd name="connsiteX20" fmla="*/ 129896 w 337495"/>
                  <a:gd name="connsiteY20" fmla="*/ 97206 h 318457"/>
                  <a:gd name="connsiteX21" fmla="*/ 124557 w 337495"/>
                  <a:gd name="connsiteY21" fmla="*/ 87029 h 318457"/>
                  <a:gd name="connsiteX22" fmla="*/ 105035 w 337495"/>
                  <a:gd name="connsiteY22" fmla="*/ 64005 h 318457"/>
                  <a:gd name="connsiteX23" fmla="*/ 161765 w 337495"/>
                  <a:gd name="connsiteY23" fmla="*/ 44067 h 318457"/>
                  <a:gd name="connsiteX24" fmla="*/ 226004 w 337495"/>
                  <a:gd name="connsiteY24" fmla="*/ 11283 h 318457"/>
                  <a:gd name="connsiteX25" fmla="*/ 275642 w 337495"/>
                  <a:gd name="connsiteY25" fmla="*/ 1940 h 318457"/>
                  <a:gd name="connsiteX26" fmla="*/ 301338 w 337495"/>
                  <a:gd name="connsiteY26" fmla="*/ 1022 h 318457"/>
                  <a:gd name="connsiteX27" fmla="*/ 306677 w 337495"/>
                  <a:gd name="connsiteY27" fmla="*/ 11199 h 318457"/>
                  <a:gd name="connsiteX28" fmla="*/ 302673 w 337495"/>
                  <a:gd name="connsiteY28" fmla="*/ 25798 h 318457"/>
                  <a:gd name="connsiteX29" fmla="*/ 313769 w 337495"/>
                  <a:gd name="connsiteY29" fmla="*/ 41314 h 318457"/>
                  <a:gd name="connsiteX30" fmla="*/ 335877 w 337495"/>
                  <a:gd name="connsiteY30" fmla="*/ 71012 h 318457"/>
                  <a:gd name="connsiteX31" fmla="*/ 328786 w 337495"/>
                  <a:gd name="connsiteY31" fmla="*/ 100209 h 318457"/>
                  <a:gd name="connsiteX32" fmla="*/ 284903 w 337495"/>
                  <a:gd name="connsiteY32" fmla="*/ 127654 h 318457"/>
                  <a:gd name="connsiteX33" fmla="*/ 228673 w 337495"/>
                  <a:gd name="connsiteY33" fmla="*/ 93953 h 318457"/>
                  <a:gd name="connsiteX34" fmla="*/ 216242 w 337495"/>
                  <a:gd name="connsiteY34" fmla="*/ 55412 h 318457"/>
                  <a:gd name="connsiteX35" fmla="*/ 187877 w 337495"/>
                  <a:gd name="connsiteY35" fmla="*/ 75350 h 318457"/>
                  <a:gd name="connsiteX36" fmla="*/ 215325 w 337495"/>
                  <a:gd name="connsiteY36" fmla="*/ 109886 h 318457"/>
                  <a:gd name="connsiteX37" fmla="*/ 260041 w 337495"/>
                  <a:gd name="connsiteY37" fmla="*/ 135997 h 318457"/>
                  <a:gd name="connsiteX38" fmla="*/ 311433 w 337495"/>
                  <a:gd name="connsiteY38" fmla="*/ 127571 h 318457"/>
                  <a:gd name="connsiteX39" fmla="*/ 321194 w 337495"/>
                  <a:gd name="connsiteY39" fmla="*/ 147509 h 318457"/>
                  <a:gd name="connsiteX40" fmla="*/ 307429 w 337495"/>
                  <a:gd name="connsiteY40" fmla="*/ 162107 h 318457"/>
                  <a:gd name="connsiteX41" fmla="*/ 292328 w 337495"/>
                  <a:gd name="connsiteY41" fmla="*/ 184714 h 318457"/>
                  <a:gd name="connsiteX42" fmla="*/ 265298 w 337495"/>
                  <a:gd name="connsiteY42" fmla="*/ 183797 h 318457"/>
                  <a:gd name="connsiteX43" fmla="*/ 213657 w 337495"/>
                  <a:gd name="connsiteY43" fmla="*/ 249782 h 318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37495" h="318457" extrusionOk="0">
                    <a:moveTo>
                      <a:pt x="213657" y="249782"/>
                    </a:moveTo>
                    <a:cubicBezTo>
                      <a:pt x="202561" y="253286"/>
                      <a:pt x="188879" y="244443"/>
                      <a:pt x="192800" y="264381"/>
                    </a:cubicBezTo>
                    <a:cubicBezTo>
                      <a:pt x="195887" y="279480"/>
                      <a:pt x="217161" y="288739"/>
                      <a:pt x="198139" y="303338"/>
                    </a:cubicBezTo>
                    <a:cubicBezTo>
                      <a:pt x="189296" y="310012"/>
                      <a:pt x="172860" y="312181"/>
                      <a:pt x="162683" y="314850"/>
                    </a:cubicBezTo>
                    <a:cubicBezTo>
                      <a:pt x="155175" y="316602"/>
                      <a:pt x="146331" y="319688"/>
                      <a:pt x="138322" y="317937"/>
                    </a:cubicBezTo>
                    <a:cubicBezTo>
                      <a:pt x="128561" y="315684"/>
                      <a:pt x="125057" y="308176"/>
                      <a:pt x="116214" y="305090"/>
                    </a:cubicBezTo>
                    <a:cubicBezTo>
                      <a:pt x="100279" y="298917"/>
                      <a:pt x="47971" y="304673"/>
                      <a:pt x="48889" y="275893"/>
                    </a:cubicBezTo>
                    <a:cubicBezTo>
                      <a:pt x="49306" y="260376"/>
                      <a:pt x="63071" y="257707"/>
                      <a:pt x="48889" y="243108"/>
                    </a:cubicBezTo>
                    <a:cubicBezTo>
                      <a:pt x="36959" y="230679"/>
                      <a:pt x="22275" y="229344"/>
                      <a:pt x="17854" y="209907"/>
                    </a:cubicBezTo>
                    <a:cubicBezTo>
                      <a:pt x="16936" y="205486"/>
                      <a:pt x="18271" y="197477"/>
                      <a:pt x="15601" y="193056"/>
                    </a:cubicBezTo>
                    <a:cubicBezTo>
                      <a:pt x="12515" y="188218"/>
                      <a:pt x="5841" y="187717"/>
                      <a:pt x="3171" y="183713"/>
                    </a:cubicBezTo>
                    <a:cubicBezTo>
                      <a:pt x="-2586" y="175288"/>
                      <a:pt x="501" y="162024"/>
                      <a:pt x="4505" y="152681"/>
                    </a:cubicBezTo>
                    <a:cubicBezTo>
                      <a:pt x="6758" y="146925"/>
                      <a:pt x="12515" y="142086"/>
                      <a:pt x="13849" y="135830"/>
                    </a:cubicBezTo>
                    <a:cubicBezTo>
                      <a:pt x="15601" y="129156"/>
                      <a:pt x="12098" y="122983"/>
                      <a:pt x="12098" y="116309"/>
                    </a:cubicBezTo>
                    <a:cubicBezTo>
                      <a:pt x="13015" y="92868"/>
                      <a:pt x="28449" y="107884"/>
                      <a:pt x="41797" y="110553"/>
                    </a:cubicBezTo>
                    <a:cubicBezTo>
                      <a:pt x="54228" y="112806"/>
                      <a:pt x="66575" y="105214"/>
                      <a:pt x="78588" y="111471"/>
                    </a:cubicBezTo>
                    <a:cubicBezTo>
                      <a:pt x="84345" y="114557"/>
                      <a:pt x="87015" y="123400"/>
                      <a:pt x="94523" y="124318"/>
                    </a:cubicBezTo>
                    <a:cubicBezTo>
                      <a:pt x="104701" y="125235"/>
                      <a:pt x="100279" y="117227"/>
                      <a:pt x="107370" y="115892"/>
                    </a:cubicBezTo>
                    <a:cubicBezTo>
                      <a:pt x="123723" y="112388"/>
                      <a:pt x="121553" y="129156"/>
                      <a:pt x="134818" y="131826"/>
                    </a:cubicBezTo>
                    <a:cubicBezTo>
                      <a:pt x="149918" y="134912"/>
                      <a:pt x="151169" y="115475"/>
                      <a:pt x="144996" y="106549"/>
                    </a:cubicBezTo>
                    <a:cubicBezTo>
                      <a:pt x="142327" y="102545"/>
                      <a:pt x="133901" y="100793"/>
                      <a:pt x="129896" y="97206"/>
                    </a:cubicBezTo>
                    <a:cubicBezTo>
                      <a:pt x="127227" y="94954"/>
                      <a:pt x="127227" y="89698"/>
                      <a:pt x="124557" y="87029"/>
                    </a:cubicBezTo>
                    <a:cubicBezTo>
                      <a:pt x="116130" y="79020"/>
                      <a:pt x="106870" y="77268"/>
                      <a:pt x="105035" y="64005"/>
                    </a:cubicBezTo>
                    <a:cubicBezTo>
                      <a:pt x="100196" y="24130"/>
                      <a:pt x="143161" y="42732"/>
                      <a:pt x="161765" y="44067"/>
                    </a:cubicBezTo>
                    <a:cubicBezTo>
                      <a:pt x="192800" y="46319"/>
                      <a:pt x="201643" y="21043"/>
                      <a:pt x="226004" y="11283"/>
                    </a:cubicBezTo>
                    <a:cubicBezTo>
                      <a:pt x="241104" y="5110"/>
                      <a:pt x="259207" y="3274"/>
                      <a:pt x="275642" y="1940"/>
                    </a:cubicBezTo>
                    <a:cubicBezTo>
                      <a:pt x="281399" y="1523"/>
                      <a:pt x="295999" y="-1564"/>
                      <a:pt x="301338" y="1022"/>
                    </a:cubicBezTo>
                    <a:cubicBezTo>
                      <a:pt x="309764" y="5026"/>
                      <a:pt x="306177" y="2774"/>
                      <a:pt x="306677" y="11199"/>
                    </a:cubicBezTo>
                    <a:cubicBezTo>
                      <a:pt x="307095" y="15621"/>
                      <a:pt x="302256" y="20042"/>
                      <a:pt x="302673" y="25798"/>
                    </a:cubicBezTo>
                    <a:cubicBezTo>
                      <a:pt x="303590" y="33806"/>
                      <a:pt x="308012" y="36893"/>
                      <a:pt x="313769" y="41314"/>
                    </a:cubicBezTo>
                    <a:cubicBezTo>
                      <a:pt x="326617" y="51074"/>
                      <a:pt x="332790" y="54161"/>
                      <a:pt x="335877" y="71012"/>
                    </a:cubicBezTo>
                    <a:cubicBezTo>
                      <a:pt x="338547" y="85611"/>
                      <a:pt x="338964" y="90032"/>
                      <a:pt x="328786" y="100209"/>
                    </a:cubicBezTo>
                    <a:cubicBezTo>
                      <a:pt x="316355" y="113056"/>
                      <a:pt x="303507" y="125903"/>
                      <a:pt x="284903" y="127654"/>
                    </a:cubicBezTo>
                    <a:cubicBezTo>
                      <a:pt x="262795" y="129406"/>
                      <a:pt x="232595" y="117060"/>
                      <a:pt x="228673" y="93953"/>
                    </a:cubicBezTo>
                    <a:cubicBezTo>
                      <a:pt x="226922" y="83358"/>
                      <a:pt x="230926" y="59834"/>
                      <a:pt x="216242" y="55412"/>
                    </a:cubicBezTo>
                    <a:cubicBezTo>
                      <a:pt x="206899" y="52326"/>
                      <a:pt x="190547" y="67842"/>
                      <a:pt x="187877" y="75350"/>
                    </a:cubicBezTo>
                    <a:cubicBezTo>
                      <a:pt x="181203" y="94870"/>
                      <a:pt x="201643" y="103296"/>
                      <a:pt x="215325" y="109886"/>
                    </a:cubicBezTo>
                    <a:cubicBezTo>
                      <a:pt x="230425" y="117394"/>
                      <a:pt x="244107" y="129406"/>
                      <a:pt x="260041" y="135997"/>
                    </a:cubicBezTo>
                    <a:cubicBezTo>
                      <a:pt x="283485" y="145757"/>
                      <a:pt x="290576" y="128906"/>
                      <a:pt x="311433" y="127571"/>
                    </a:cubicBezTo>
                    <a:cubicBezTo>
                      <a:pt x="329120" y="126236"/>
                      <a:pt x="328702" y="137331"/>
                      <a:pt x="321194" y="147509"/>
                    </a:cubicBezTo>
                    <a:cubicBezTo>
                      <a:pt x="316772" y="152847"/>
                      <a:pt x="311433" y="156351"/>
                      <a:pt x="307429" y="162107"/>
                    </a:cubicBezTo>
                    <a:cubicBezTo>
                      <a:pt x="303006" y="168781"/>
                      <a:pt x="300754" y="181628"/>
                      <a:pt x="292328" y="184714"/>
                    </a:cubicBezTo>
                    <a:cubicBezTo>
                      <a:pt x="279898" y="189135"/>
                      <a:pt x="277228" y="172284"/>
                      <a:pt x="265298" y="183797"/>
                    </a:cubicBezTo>
                    <a:cubicBezTo>
                      <a:pt x="245526" y="202816"/>
                      <a:pt x="242022" y="240856"/>
                      <a:pt x="213657" y="24978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02781712" name="Полилиния 454"/>
              <p:cNvSpPr/>
              <p:nvPr/>
            </p:nvSpPr>
            <p:spPr bwMode="auto">
              <a:xfrm>
                <a:off x="8044079" y="1620951"/>
                <a:ext cx="194269" cy="129704"/>
              </a:xfrm>
              <a:custGeom>
                <a:avLst/>
                <a:gdLst>
                  <a:gd name="connsiteX0" fmla="*/ 782 w 218171"/>
                  <a:gd name="connsiteY0" fmla="*/ 98921 h 145663"/>
                  <a:gd name="connsiteX1" fmla="*/ 24225 w 218171"/>
                  <a:gd name="connsiteY1" fmla="*/ 100256 h 145663"/>
                  <a:gd name="connsiteX2" fmla="*/ 49921 w 218171"/>
                  <a:gd name="connsiteY2" fmla="*/ 85657 h 145663"/>
                  <a:gd name="connsiteX3" fmla="*/ 53425 w 218171"/>
                  <a:gd name="connsiteY3" fmla="*/ 68389 h 145663"/>
                  <a:gd name="connsiteX4" fmla="*/ 70693 w 218171"/>
                  <a:gd name="connsiteY4" fmla="*/ 56877 h 145663"/>
                  <a:gd name="connsiteX5" fmla="*/ 93720 w 218171"/>
                  <a:gd name="connsiteY5" fmla="*/ 58212 h 145663"/>
                  <a:gd name="connsiteX6" fmla="*/ 122085 w 218171"/>
                  <a:gd name="connsiteY6" fmla="*/ 40527 h 145663"/>
                  <a:gd name="connsiteX7" fmla="*/ 148197 w 218171"/>
                  <a:gd name="connsiteY7" fmla="*/ 13915 h 145663"/>
                  <a:gd name="connsiteX8" fmla="*/ 166801 w 218171"/>
                  <a:gd name="connsiteY8" fmla="*/ 15667 h 145663"/>
                  <a:gd name="connsiteX9" fmla="*/ 178314 w 218171"/>
                  <a:gd name="connsiteY9" fmla="*/ 7242 h 145663"/>
                  <a:gd name="connsiteX10" fmla="*/ 203092 w 218171"/>
                  <a:gd name="connsiteY10" fmla="*/ 12581 h 145663"/>
                  <a:gd name="connsiteX11" fmla="*/ 215940 w 218171"/>
                  <a:gd name="connsiteY11" fmla="*/ 53790 h 145663"/>
                  <a:gd name="connsiteX12" fmla="*/ 206179 w 218171"/>
                  <a:gd name="connsiteY12" fmla="*/ 63133 h 145663"/>
                  <a:gd name="connsiteX13" fmla="*/ 209266 w 218171"/>
                  <a:gd name="connsiteY13" fmla="*/ 80819 h 145663"/>
                  <a:gd name="connsiteX14" fmla="*/ 198170 w 218171"/>
                  <a:gd name="connsiteY14" fmla="*/ 94082 h 145663"/>
                  <a:gd name="connsiteX15" fmla="*/ 188409 w 218171"/>
                  <a:gd name="connsiteY15" fmla="*/ 111350 h 145663"/>
                  <a:gd name="connsiteX16" fmla="*/ 145862 w 218171"/>
                  <a:gd name="connsiteY16" fmla="*/ 133457 h 145663"/>
                  <a:gd name="connsiteX17" fmla="*/ 98058 w 218171"/>
                  <a:gd name="connsiteY17" fmla="*/ 138796 h 145663"/>
                  <a:gd name="connsiteX18" fmla="*/ 56011 w 218171"/>
                  <a:gd name="connsiteY18" fmla="*/ 141882 h 145663"/>
                  <a:gd name="connsiteX19" fmla="*/ 21472 w 218171"/>
                  <a:gd name="connsiteY19" fmla="*/ 138379 h 145663"/>
                  <a:gd name="connsiteX20" fmla="*/ 782 w 218171"/>
                  <a:gd name="connsiteY20" fmla="*/ 98921 h 145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8171" h="145663" extrusionOk="0">
                    <a:moveTo>
                      <a:pt x="782" y="98921"/>
                    </a:moveTo>
                    <a:cubicBezTo>
                      <a:pt x="-4974" y="82570"/>
                      <a:pt x="22890" y="100256"/>
                      <a:pt x="24225" y="100256"/>
                    </a:cubicBezTo>
                    <a:cubicBezTo>
                      <a:pt x="35321" y="102508"/>
                      <a:pt x="47251" y="94917"/>
                      <a:pt x="49921" y="85657"/>
                    </a:cubicBezTo>
                    <a:cubicBezTo>
                      <a:pt x="52173" y="79484"/>
                      <a:pt x="48168" y="74562"/>
                      <a:pt x="53425" y="68389"/>
                    </a:cubicBezTo>
                    <a:cubicBezTo>
                      <a:pt x="56928" y="64385"/>
                      <a:pt x="66689" y="60881"/>
                      <a:pt x="70693" y="56877"/>
                    </a:cubicBezTo>
                    <a:cubicBezTo>
                      <a:pt x="86629" y="42278"/>
                      <a:pt x="80872" y="46700"/>
                      <a:pt x="93720" y="58212"/>
                    </a:cubicBezTo>
                    <a:cubicBezTo>
                      <a:pt x="110989" y="73728"/>
                      <a:pt x="114075" y="51121"/>
                      <a:pt x="122085" y="40527"/>
                    </a:cubicBezTo>
                    <a:cubicBezTo>
                      <a:pt x="126924" y="33853"/>
                      <a:pt x="140689" y="17085"/>
                      <a:pt x="148197" y="13915"/>
                    </a:cubicBezTo>
                    <a:cubicBezTo>
                      <a:pt x="155706" y="10745"/>
                      <a:pt x="159710" y="17002"/>
                      <a:pt x="166801" y="15667"/>
                    </a:cubicBezTo>
                    <a:cubicBezTo>
                      <a:pt x="173476" y="14332"/>
                      <a:pt x="173476" y="11246"/>
                      <a:pt x="178314" y="7242"/>
                    </a:cubicBezTo>
                    <a:cubicBezTo>
                      <a:pt x="191162" y="-3353"/>
                      <a:pt x="193415" y="-2936"/>
                      <a:pt x="203092" y="12581"/>
                    </a:cubicBezTo>
                    <a:cubicBezTo>
                      <a:pt x="210183" y="24093"/>
                      <a:pt x="223449" y="39192"/>
                      <a:pt x="215940" y="53790"/>
                    </a:cubicBezTo>
                    <a:cubicBezTo>
                      <a:pt x="213270" y="58629"/>
                      <a:pt x="207931" y="57294"/>
                      <a:pt x="206179" y="63133"/>
                    </a:cubicBezTo>
                    <a:cubicBezTo>
                      <a:pt x="204845" y="68890"/>
                      <a:pt x="210183" y="75063"/>
                      <a:pt x="209266" y="80819"/>
                    </a:cubicBezTo>
                    <a:cubicBezTo>
                      <a:pt x="207931" y="89244"/>
                      <a:pt x="202592" y="88326"/>
                      <a:pt x="198170" y="94082"/>
                    </a:cubicBezTo>
                    <a:cubicBezTo>
                      <a:pt x="193748" y="99421"/>
                      <a:pt x="193331" y="106512"/>
                      <a:pt x="188409" y="111350"/>
                    </a:cubicBezTo>
                    <a:cubicBezTo>
                      <a:pt x="179065" y="121528"/>
                      <a:pt x="159210" y="131288"/>
                      <a:pt x="145862" y="133457"/>
                    </a:cubicBezTo>
                    <a:cubicBezTo>
                      <a:pt x="126840" y="136544"/>
                      <a:pt x="116161" y="130370"/>
                      <a:pt x="98058" y="138796"/>
                    </a:cubicBezTo>
                    <a:cubicBezTo>
                      <a:pt x="83458" y="145469"/>
                      <a:pt x="71028" y="139713"/>
                      <a:pt x="56011" y="141882"/>
                    </a:cubicBezTo>
                    <a:cubicBezTo>
                      <a:pt x="41828" y="144135"/>
                      <a:pt x="32985" y="150725"/>
                      <a:pt x="21472" y="138379"/>
                    </a:cubicBezTo>
                    <a:cubicBezTo>
                      <a:pt x="14547" y="129870"/>
                      <a:pt x="4369" y="109515"/>
                      <a:pt x="782" y="98921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6829692" name="Полилиния 455"/>
              <p:cNvSpPr/>
              <p:nvPr/>
            </p:nvSpPr>
            <p:spPr bwMode="auto">
              <a:xfrm>
                <a:off x="7965137" y="1495305"/>
                <a:ext cx="23115" cy="42720"/>
              </a:xfrm>
              <a:custGeom>
                <a:avLst/>
                <a:gdLst>
                  <a:gd name="connsiteX0" fmla="*/ 19441 w 25960"/>
                  <a:gd name="connsiteY0" fmla="*/ 24718 h 47977"/>
                  <a:gd name="connsiteX1" fmla="*/ 23863 w 25960"/>
                  <a:gd name="connsiteY1" fmla="*/ 7867 h 47977"/>
                  <a:gd name="connsiteX2" fmla="*/ 6593 w 25960"/>
                  <a:gd name="connsiteY2" fmla="*/ 19796 h 47977"/>
                  <a:gd name="connsiteX3" fmla="*/ 419 w 25960"/>
                  <a:gd name="connsiteY3" fmla="*/ 43738 h 47977"/>
                  <a:gd name="connsiteX4" fmla="*/ 19441 w 25960"/>
                  <a:gd name="connsiteY4" fmla="*/ 24718 h 4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960" h="47977" extrusionOk="0">
                    <a:moveTo>
                      <a:pt x="19441" y="24718"/>
                    </a:moveTo>
                    <a:cubicBezTo>
                      <a:pt x="25197" y="19879"/>
                      <a:pt x="28284" y="16292"/>
                      <a:pt x="23863" y="7867"/>
                    </a:cubicBezTo>
                    <a:cubicBezTo>
                      <a:pt x="13685" y="-11654"/>
                      <a:pt x="8345" y="10119"/>
                      <a:pt x="6593" y="19796"/>
                    </a:cubicBezTo>
                    <a:cubicBezTo>
                      <a:pt x="5676" y="25135"/>
                      <a:pt x="-1833" y="39733"/>
                      <a:pt x="419" y="43738"/>
                    </a:cubicBezTo>
                    <a:cubicBezTo>
                      <a:pt x="10180" y="59254"/>
                      <a:pt x="16354" y="27387"/>
                      <a:pt x="19441" y="2471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23543610" name="Полилиния 456"/>
              <p:cNvSpPr/>
              <p:nvPr/>
            </p:nvSpPr>
            <p:spPr bwMode="auto">
              <a:xfrm>
                <a:off x="5620698" y="1851779"/>
                <a:ext cx="39523" cy="39318"/>
              </a:xfrm>
              <a:custGeom>
                <a:avLst/>
                <a:gdLst>
                  <a:gd name="connsiteX0" fmla="*/ 33389 w 44387"/>
                  <a:gd name="connsiteY0" fmla="*/ 16379 h 44157"/>
                  <a:gd name="connsiteX1" fmla="*/ 32472 w 44387"/>
                  <a:gd name="connsiteY1" fmla="*/ 11541 h 44157"/>
                  <a:gd name="connsiteX2" fmla="*/ 28467 w 44387"/>
                  <a:gd name="connsiteY2" fmla="*/ 8037 h 44157"/>
                  <a:gd name="connsiteX3" fmla="*/ 519 w 44387"/>
                  <a:gd name="connsiteY3" fmla="*/ 1363 h 44157"/>
                  <a:gd name="connsiteX4" fmla="*/ 102 w 44387"/>
                  <a:gd name="connsiteY4" fmla="*/ 11541 h 44157"/>
                  <a:gd name="connsiteX5" fmla="*/ 3189 w 44387"/>
                  <a:gd name="connsiteY5" fmla="*/ 20884 h 44157"/>
                  <a:gd name="connsiteX6" fmla="*/ 8027 w 44387"/>
                  <a:gd name="connsiteY6" fmla="*/ 23553 h 44157"/>
                  <a:gd name="connsiteX7" fmla="*/ 11531 w 44387"/>
                  <a:gd name="connsiteY7" fmla="*/ 27557 h 44157"/>
                  <a:gd name="connsiteX8" fmla="*/ 27049 w 44387"/>
                  <a:gd name="connsiteY8" fmla="*/ 42156 h 44157"/>
                  <a:gd name="connsiteX9" fmla="*/ 44318 w 44387"/>
                  <a:gd name="connsiteY9" fmla="*/ 34147 h 44157"/>
                  <a:gd name="connsiteX10" fmla="*/ 33389 w 44387"/>
                  <a:gd name="connsiteY10" fmla="*/ 16379 h 44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387" h="44157" extrusionOk="0">
                    <a:moveTo>
                      <a:pt x="33389" y="16379"/>
                    </a:moveTo>
                    <a:cubicBezTo>
                      <a:pt x="32972" y="14627"/>
                      <a:pt x="33389" y="13292"/>
                      <a:pt x="32472" y="11541"/>
                    </a:cubicBezTo>
                    <a:cubicBezTo>
                      <a:pt x="31554" y="9789"/>
                      <a:pt x="30219" y="8871"/>
                      <a:pt x="28467" y="8037"/>
                    </a:cubicBezTo>
                    <a:cubicBezTo>
                      <a:pt x="20041" y="2698"/>
                      <a:pt x="9446" y="-2558"/>
                      <a:pt x="519" y="1363"/>
                    </a:cubicBezTo>
                    <a:cubicBezTo>
                      <a:pt x="1437" y="4867"/>
                      <a:pt x="519" y="8454"/>
                      <a:pt x="102" y="11541"/>
                    </a:cubicBezTo>
                    <a:cubicBezTo>
                      <a:pt x="-315" y="15044"/>
                      <a:pt x="519" y="19048"/>
                      <a:pt x="3189" y="20884"/>
                    </a:cubicBezTo>
                    <a:cubicBezTo>
                      <a:pt x="4524" y="21801"/>
                      <a:pt x="6276" y="22218"/>
                      <a:pt x="8027" y="23553"/>
                    </a:cubicBezTo>
                    <a:cubicBezTo>
                      <a:pt x="9362" y="24471"/>
                      <a:pt x="10280" y="26223"/>
                      <a:pt x="11531" y="27557"/>
                    </a:cubicBezTo>
                    <a:cubicBezTo>
                      <a:pt x="15536" y="33313"/>
                      <a:pt x="21292" y="37734"/>
                      <a:pt x="27049" y="42156"/>
                    </a:cubicBezTo>
                    <a:cubicBezTo>
                      <a:pt x="33723" y="46994"/>
                      <a:pt x="42983" y="42573"/>
                      <a:pt x="44318" y="34147"/>
                    </a:cubicBezTo>
                    <a:cubicBezTo>
                      <a:pt x="45319" y="25221"/>
                      <a:pt x="35141" y="24387"/>
                      <a:pt x="33389" y="1637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81136197" name="Полилиния 457"/>
              <p:cNvSpPr/>
              <p:nvPr/>
            </p:nvSpPr>
            <p:spPr bwMode="auto">
              <a:xfrm>
                <a:off x="5733163" y="1643476"/>
                <a:ext cx="42350" cy="37368"/>
              </a:xfrm>
              <a:custGeom>
                <a:avLst/>
                <a:gdLst>
                  <a:gd name="connsiteX0" fmla="*/ 21798 w 47562"/>
                  <a:gd name="connsiteY0" fmla="*/ 2717 h 41967"/>
                  <a:gd name="connsiteX1" fmla="*/ 9367 w 47562"/>
                  <a:gd name="connsiteY1" fmla="*/ 5803 h 41967"/>
                  <a:gd name="connsiteX2" fmla="*/ 23 w 47562"/>
                  <a:gd name="connsiteY2" fmla="*/ 12894 h 41967"/>
                  <a:gd name="connsiteX3" fmla="*/ 8032 w 47562"/>
                  <a:gd name="connsiteY3" fmla="*/ 23071 h 41967"/>
                  <a:gd name="connsiteX4" fmla="*/ 20880 w 47562"/>
                  <a:gd name="connsiteY4" fmla="*/ 40757 h 41967"/>
                  <a:gd name="connsiteX5" fmla="*/ 34646 w 47562"/>
                  <a:gd name="connsiteY5" fmla="*/ 40340 h 41967"/>
                  <a:gd name="connsiteX6" fmla="*/ 42154 w 47562"/>
                  <a:gd name="connsiteY6" fmla="*/ 36836 h 41967"/>
                  <a:gd name="connsiteX7" fmla="*/ 45658 w 47562"/>
                  <a:gd name="connsiteY7" fmla="*/ 18650 h 41967"/>
                  <a:gd name="connsiteX8" fmla="*/ 45241 w 47562"/>
                  <a:gd name="connsiteY8" fmla="*/ 1799 h 41967"/>
                  <a:gd name="connsiteX9" fmla="*/ 36398 w 47562"/>
                  <a:gd name="connsiteY9" fmla="*/ 47 h 41967"/>
                  <a:gd name="connsiteX10" fmla="*/ 24884 w 47562"/>
                  <a:gd name="connsiteY10" fmla="*/ 464 h 41967"/>
                  <a:gd name="connsiteX11" fmla="*/ 21798 w 47562"/>
                  <a:gd name="connsiteY11" fmla="*/ 2717 h 419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562" h="41967" extrusionOk="0">
                    <a:moveTo>
                      <a:pt x="21798" y="2717"/>
                    </a:moveTo>
                    <a:cubicBezTo>
                      <a:pt x="17793" y="3635"/>
                      <a:pt x="13372" y="4969"/>
                      <a:pt x="9367" y="5803"/>
                    </a:cubicBezTo>
                    <a:cubicBezTo>
                      <a:pt x="5363" y="6721"/>
                      <a:pt x="23" y="8890"/>
                      <a:pt x="23" y="12894"/>
                    </a:cubicBezTo>
                    <a:cubicBezTo>
                      <a:pt x="-394" y="17315"/>
                      <a:pt x="4862" y="19985"/>
                      <a:pt x="8032" y="23071"/>
                    </a:cubicBezTo>
                    <a:cubicBezTo>
                      <a:pt x="13372" y="28410"/>
                      <a:pt x="14206" y="37670"/>
                      <a:pt x="20880" y="40757"/>
                    </a:cubicBezTo>
                    <a:cubicBezTo>
                      <a:pt x="25302" y="43009"/>
                      <a:pt x="30224" y="41674"/>
                      <a:pt x="34646" y="40340"/>
                    </a:cubicBezTo>
                    <a:cubicBezTo>
                      <a:pt x="37315" y="39422"/>
                      <a:pt x="39985" y="38588"/>
                      <a:pt x="42154" y="36836"/>
                    </a:cubicBezTo>
                    <a:cubicBezTo>
                      <a:pt x="46575" y="32415"/>
                      <a:pt x="44823" y="24907"/>
                      <a:pt x="45658" y="18650"/>
                    </a:cubicBezTo>
                    <a:cubicBezTo>
                      <a:pt x="46575" y="12894"/>
                      <a:pt x="49662" y="5803"/>
                      <a:pt x="45241" y="1799"/>
                    </a:cubicBezTo>
                    <a:cubicBezTo>
                      <a:pt x="42988" y="-453"/>
                      <a:pt x="39484" y="47"/>
                      <a:pt x="36398" y="47"/>
                    </a:cubicBezTo>
                    <a:cubicBezTo>
                      <a:pt x="32393" y="47"/>
                      <a:pt x="28889" y="464"/>
                      <a:pt x="24884" y="464"/>
                    </a:cubicBezTo>
                    <a:cubicBezTo>
                      <a:pt x="24050" y="965"/>
                      <a:pt x="22715" y="2300"/>
                      <a:pt x="21798" y="27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08406269" name="Полилиния 458"/>
              <p:cNvSpPr/>
              <p:nvPr/>
            </p:nvSpPr>
            <p:spPr bwMode="auto">
              <a:xfrm>
                <a:off x="6035384" y="1619452"/>
                <a:ext cx="39119" cy="31440"/>
              </a:xfrm>
              <a:custGeom>
                <a:avLst/>
                <a:gdLst>
                  <a:gd name="connsiteX0" fmla="*/ 43883 w 43933"/>
                  <a:gd name="connsiteY0" fmla="*/ 16434 h 35309"/>
                  <a:gd name="connsiteX1" fmla="*/ 37208 w 43933"/>
                  <a:gd name="connsiteY1" fmla="*/ 2670 h 35309"/>
                  <a:gd name="connsiteX2" fmla="*/ 34956 w 43933"/>
                  <a:gd name="connsiteY2" fmla="*/ 417 h 35309"/>
                  <a:gd name="connsiteX3" fmla="*/ 31452 w 43933"/>
                  <a:gd name="connsiteY3" fmla="*/ 0 h 35309"/>
                  <a:gd name="connsiteX4" fmla="*/ 12431 w 43933"/>
                  <a:gd name="connsiteY4" fmla="*/ 5756 h 35309"/>
                  <a:gd name="connsiteX5" fmla="*/ 8426 w 43933"/>
                  <a:gd name="connsiteY5" fmla="*/ 6173 h 35309"/>
                  <a:gd name="connsiteX6" fmla="*/ 1335 w 43933"/>
                  <a:gd name="connsiteY6" fmla="*/ 15016 h 35309"/>
                  <a:gd name="connsiteX7" fmla="*/ 0 w 43933"/>
                  <a:gd name="connsiteY7" fmla="*/ 20355 h 35309"/>
                  <a:gd name="connsiteX8" fmla="*/ 24778 w 43933"/>
                  <a:gd name="connsiteY8" fmla="*/ 34953 h 35309"/>
                  <a:gd name="connsiteX9" fmla="*/ 29617 w 43933"/>
                  <a:gd name="connsiteY9" fmla="*/ 30949 h 35309"/>
                  <a:gd name="connsiteX10" fmla="*/ 37626 w 43933"/>
                  <a:gd name="connsiteY10" fmla="*/ 28280 h 35309"/>
                  <a:gd name="connsiteX11" fmla="*/ 43883 w 43933"/>
                  <a:gd name="connsiteY11" fmla="*/ 16434 h 35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3933" h="35309" extrusionOk="0">
                    <a:moveTo>
                      <a:pt x="43883" y="16434"/>
                    </a:moveTo>
                    <a:cubicBezTo>
                      <a:pt x="43465" y="11095"/>
                      <a:pt x="40379" y="6674"/>
                      <a:pt x="37208" y="2670"/>
                    </a:cubicBezTo>
                    <a:cubicBezTo>
                      <a:pt x="36291" y="1752"/>
                      <a:pt x="35874" y="918"/>
                      <a:pt x="34956" y="417"/>
                    </a:cubicBezTo>
                    <a:cubicBezTo>
                      <a:pt x="34038" y="0"/>
                      <a:pt x="32703" y="0"/>
                      <a:pt x="31452" y="0"/>
                    </a:cubicBezTo>
                    <a:cubicBezTo>
                      <a:pt x="24778" y="918"/>
                      <a:pt x="19022" y="5339"/>
                      <a:pt x="12431" y="5756"/>
                    </a:cubicBezTo>
                    <a:cubicBezTo>
                      <a:pt x="11096" y="5756"/>
                      <a:pt x="9761" y="5756"/>
                      <a:pt x="8426" y="6173"/>
                    </a:cubicBezTo>
                    <a:cubicBezTo>
                      <a:pt x="4422" y="7091"/>
                      <a:pt x="2670" y="11512"/>
                      <a:pt x="1335" y="15016"/>
                    </a:cubicBezTo>
                    <a:cubicBezTo>
                      <a:pt x="417" y="16768"/>
                      <a:pt x="0" y="18519"/>
                      <a:pt x="0" y="20355"/>
                    </a:cubicBezTo>
                    <a:cubicBezTo>
                      <a:pt x="0" y="28363"/>
                      <a:pt x="19022" y="37206"/>
                      <a:pt x="24778" y="34953"/>
                    </a:cubicBezTo>
                    <a:cubicBezTo>
                      <a:pt x="26530" y="34536"/>
                      <a:pt x="27864" y="31867"/>
                      <a:pt x="29617" y="30949"/>
                    </a:cubicBezTo>
                    <a:cubicBezTo>
                      <a:pt x="32286" y="29614"/>
                      <a:pt x="34956" y="29614"/>
                      <a:pt x="37626" y="28280"/>
                    </a:cubicBezTo>
                    <a:cubicBezTo>
                      <a:pt x="42131" y="26611"/>
                      <a:pt x="44300" y="21272"/>
                      <a:pt x="43883" y="1643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37771983" name="Полилиния 459"/>
              <p:cNvSpPr/>
              <p:nvPr/>
            </p:nvSpPr>
            <p:spPr bwMode="auto">
              <a:xfrm>
                <a:off x="6075075" y="1602849"/>
                <a:ext cx="272785" cy="415348"/>
              </a:xfrm>
              <a:custGeom>
                <a:avLst/>
                <a:gdLst>
                  <a:gd name="connsiteX0" fmla="*/ 134460 w 306348"/>
                  <a:gd name="connsiteY0" fmla="*/ 9386 h 466451"/>
                  <a:gd name="connsiteX1" fmla="*/ 126450 w 306348"/>
                  <a:gd name="connsiteY1" fmla="*/ 43 h 466451"/>
                  <a:gd name="connsiteX2" fmla="*/ 117607 w 306348"/>
                  <a:gd name="connsiteY2" fmla="*/ 5382 h 466451"/>
                  <a:gd name="connsiteX3" fmla="*/ 94165 w 306348"/>
                  <a:gd name="connsiteY3" fmla="*/ 40836 h 466451"/>
                  <a:gd name="connsiteX4" fmla="*/ 81316 w 306348"/>
                  <a:gd name="connsiteY4" fmla="*/ 47009 h 466451"/>
                  <a:gd name="connsiteX5" fmla="*/ 55204 w 306348"/>
                  <a:gd name="connsiteY5" fmla="*/ 62108 h 466451"/>
                  <a:gd name="connsiteX6" fmla="*/ 41439 w 306348"/>
                  <a:gd name="connsiteY6" fmla="*/ 76290 h 466451"/>
                  <a:gd name="connsiteX7" fmla="*/ 39687 w 306348"/>
                  <a:gd name="connsiteY7" fmla="*/ 93140 h 466451"/>
                  <a:gd name="connsiteX8" fmla="*/ 35682 w 306348"/>
                  <a:gd name="connsiteY8" fmla="*/ 106905 h 466451"/>
                  <a:gd name="connsiteX9" fmla="*/ 44526 w 306348"/>
                  <a:gd name="connsiteY9" fmla="*/ 122838 h 466451"/>
                  <a:gd name="connsiteX10" fmla="*/ 35682 w 306348"/>
                  <a:gd name="connsiteY10" fmla="*/ 152035 h 466451"/>
                  <a:gd name="connsiteX11" fmla="*/ 16160 w 306348"/>
                  <a:gd name="connsiteY11" fmla="*/ 178146 h 466451"/>
                  <a:gd name="connsiteX12" fmla="*/ 8652 w 306348"/>
                  <a:gd name="connsiteY12" fmla="*/ 192745 h 466451"/>
                  <a:gd name="connsiteX13" fmla="*/ 16160 w 306348"/>
                  <a:gd name="connsiteY13" fmla="*/ 206008 h 466451"/>
                  <a:gd name="connsiteX14" fmla="*/ 27256 w 306348"/>
                  <a:gd name="connsiteY14" fmla="*/ 203339 h 466451"/>
                  <a:gd name="connsiteX15" fmla="*/ 33012 w 306348"/>
                  <a:gd name="connsiteY15" fmla="*/ 202421 h 466451"/>
                  <a:gd name="connsiteX16" fmla="*/ 34764 w 306348"/>
                  <a:gd name="connsiteY16" fmla="*/ 204173 h 466451"/>
                  <a:gd name="connsiteX17" fmla="*/ 38269 w 306348"/>
                  <a:gd name="connsiteY17" fmla="*/ 221024 h 466451"/>
                  <a:gd name="connsiteX18" fmla="*/ 50198 w 306348"/>
                  <a:gd name="connsiteY18" fmla="*/ 242296 h 466451"/>
                  <a:gd name="connsiteX19" fmla="*/ 45360 w 306348"/>
                  <a:gd name="connsiteY19" fmla="*/ 250722 h 466451"/>
                  <a:gd name="connsiteX20" fmla="*/ 34264 w 306348"/>
                  <a:gd name="connsiteY20" fmla="*/ 250305 h 466451"/>
                  <a:gd name="connsiteX21" fmla="*/ 8986 w 306348"/>
                  <a:gd name="connsiteY21" fmla="*/ 256978 h 466451"/>
                  <a:gd name="connsiteX22" fmla="*/ 142 w 306348"/>
                  <a:gd name="connsiteY22" fmla="*/ 277333 h 466451"/>
                  <a:gd name="connsiteX23" fmla="*/ 16995 w 306348"/>
                  <a:gd name="connsiteY23" fmla="*/ 302109 h 466451"/>
                  <a:gd name="connsiteX24" fmla="*/ 45777 w 306348"/>
                  <a:gd name="connsiteY24" fmla="*/ 312286 h 466451"/>
                  <a:gd name="connsiteX25" fmla="*/ 50616 w 306348"/>
                  <a:gd name="connsiteY25" fmla="*/ 314956 h 466451"/>
                  <a:gd name="connsiteX26" fmla="*/ 59042 w 306348"/>
                  <a:gd name="connsiteY26" fmla="*/ 310951 h 466451"/>
                  <a:gd name="connsiteX27" fmla="*/ 76311 w 306348"/>
                  <a:gd name="connsiteY27" fmla="*/ 261316 h 466451"/>
                  <a:gd name="connsiteX28" fmla="*/ 76728 w 306348"/>
                  <a:gd name="connsiteY28" fmla="*/ 255143 h 466451"/>
                  <a:gd name="connsiteX29" fmla="*/ 81150 w 306348"/>
                  <a:gd name="connsiteY29" fmla="*/ 251639 h 466451"/>
                  <a:gd name="connsiteX30" fmla="*/ 83402 w 306348"/>
                  <a:gd name="connsiteY30" fmla="*/ 248970 h 466451"/>
                  <a:gd name="connsiteX31" fmla="*/ 101589 w 306348"/>
                  <a:gd name="connsiteY31" fmla="*/ 237458 h 466451"/>
                  <a:gd name="connsiteX32" fmla="*/ 106428 w 306348"/>
                  <a:gd name="connsiteY32" fmla="*/ 233954 h 466451"/>
                  <a:gd name="connsiteX33" fmla="*/ 112602 w 306348"/>
                  <a:gd name="connsiteY33" fmla="*/ 235289 h 466451"/>
                  <a:gd name="connsiteX34" fmla="*/ 113519 w 306348"/>
                  <a:gd name="connsiteY34" fmla="*/ 241462 h 466451"/>
                  <a:gd name="connsiteX35" fmla="*/ 111767 w 306348"/>
                  <a:gd name="connsiteY35" fmla="*/ 243714 h 466451"/>
                  <a:gd name="connsiteX36" fmla="*/ 107763 w 306348"/>
                  <a:gd name="connsiteY36" fmla="*/ 250805 h 466451"/>
                  <a:gd name="connsiteX37" fmla="*/ 104259 w 306348"/>
                  <a:gd name="connsiteY37" fmla="*/ 260565 h 466451"/>
                  <a:gd name="connsiteX38" fmla="*/ 101589 w 306348"/>
                  <a:gd name="connsiteY38" fmla="*/ 269908 h 466451"/>
                  <a:gd name="connsiteX39" fmla="*/ 101172 w 306348"/>
                  <a:gd name="connsiteY39" fmla="*/ 275247 h 466451"/>
                  <a:gd name="connsiteX40" fmla="*/ 100255 w 306348"/>
                  <a:gd name="connsiteY40" fmla="*/ 289846 h 466451"/>
                  <a:gd name="connsiteX41" fmla="*/ 98502 w 306348"/>
                  <a:gd name="connsiteY41" fmla="*/ 296937 h 466451"/>
                  <a:gd name="connsiteX42" fmla="*/ 94498 w 306348"/>
                  <a:gd name="connsiteY42" fmla="*/ 304445 h 466451"/>
                  <a:gd name="connsiteX43" fmla="*/ 84737 w 306348"/>
                  <a:gd name="connsiteY43" fmla="*/ 317291 h 466451"/>
                  <a:gd name="connsiteX44" fmla="*/ 70972 w 306348"/>
                  <a:gd name="connsiteY44" fmla="*/ 332808 h 466451"/>
                  <a:gd name="connsiteX45" fmla="*/ 73224 w 306348"/>
                  <a:gd name="connsiteY45" fmla="*/ 351410 h 466451"/>
                  <a:gd name="connsiteX46" fmla="*/ 80316 w 306348"/>
                  <a:gd name="connsiteY46" fmla="*/ 352328 h 466451"/>
                  <a:gd name="connsiteX47" fmla="*/ 84737 w 306348"/>
                  <a:gd name="connsiteY47" fmla="*/ 347907 h 466451"/>
                  <a:gd name="connsiteX48" fmla="*/ 87407 w 306348"/>
                  <a:gd name="connsiteY48" fmla="*/ 346989 h 466451"/>
                  <a:gd name="connsiteX49" fmla="*/ 90076 w 306348"/>
                  <a:gd name="connsiteY49" fmla="*/ 347406 h 466451"/>
                  <a:gd name="connsiteX50" fmla="*/ 93580 w 306348"/>
                  <a:gd name="connsiteY50" fmla="*/ 357166 h 466451"/>
                  <a:gd name="connsiteX51" fmla="*/ 134376 w 306348"/>
                  <a:gd name="connsiteY51" fmla="*/ 429826 h 466451"/>
                  <a:gd name="connsiteX52" fmla="*/ 139715 w 306348"/>
                  <a:gd name="connsiteY52" fmla="*/ 432912 h 466451"/>
                  <a:gd name="connsiteX53" fmla="*/ 152146 w 306348"/>
                  <a:gd name="connsiteY53" fmla="*/ 428491 h 466451"/>
                  <a:gd name="connsiteX54" fmla="*/ 174755 w 306348"/>
                  <a:gd name="connsiteY54" fmla="*/ 437834 h 466451"/>
                  <a:gd name="connsiteX55" fmla="*/ 184516 w 306348"/>
                  <a:gd name="connsiteY55" fmla="*/ 436499 h 466451"/>
                  <a:gd name="connsiteX56" fmla="*/ 220806 w 306348"/>
                  <a:gd name="connsiteY56" fmla="*/ 459940 h 466451"/>
                  <a:gd name="connsiteX57" fmla="*/ 277537 w 306348"/>
                  <a:gd name="connsiteY57" fmla="*/ 461275 h 466451"/>
                  <a:gd name="connsiteX58" fmla="*/ 293888 w 306348"/>
                  <a:gd name="connsiteY58" fmla="*/ 455102 h 466451"/>
                  <a:gd name="connsiteX59" fmla="*/ 306319 w 306348"/>
                  <a:gd name="connsiteY59" fmla="*/ 427156 h 466451"/>
                  <a:gd name="connsiteX60" fmla="*/ 294806 w 306348"/>
                  <a:gd name="connsiteY60" fmla="*/ 397458 h 466451"/>
                  <a:gd name="connsiteX61" fmla="*/ 285963 w 306348"/>
                  <a:gd name="connsiteY61" fmla="*/ 373517 h 466451"/>
                  <a:gd name="connsiteX62" fmla="*/ 289967 w 306348"/>
                  <a:gd name="connsiteY62" fmla="*/ 365091 h 466451"/>
                  <a:gd name="connsiteX63" fmla="*/ 296141 w 306348"/>
                  <a:gd name="connsiteY63" fmla="*/ 326551 h 466451"/>
                  <a:gd name="connsiteX64" fmla="*/ 295223 w 306348"/>
                  <a:gd name="connsiteY64" fmla="*/ 275164 h 466451"/>
                  <a:gd name="connsiteX65" fmla="*/ 268610 w 306348"/>
                  <a:gd name="connsiteY65" fmla="*/ 233537 h 466451"/>
                  <a:gd name="connsiteX66" fmla="*/ 244249 w 306348"/>
                  <a:gd name="connsiteY66" fmla="*/ 235789 h 466451"/>
                  <a:gd name="connsiteX67" fmla="*/ 240745 w 306348"/>
                  <a:gd name="connsiteY67" fmla="*/ 249053 h 466451"/>
                  <a:gd name="connsiteX68" fmla="*/ 232736 w 306348"/>
                  <a:gd name="connsiteY68" fmla="*/ 271660 h 466451"/>
                  <a:gd name="connsiteX69" fmla="*/ 226563 w 306348"/>
                  <a:gd name="connsiteY69" fmla="*/ 280503 h 466451"/>
                  <a:gd name="connsiteX70" fmla="*/ 221724 w 306348"/>
                  <a:gd name="connsiteY70" fmla="*/ 289345 h 466451"/>
                  <a:gd name="connsiteX71" fmla="*/ 215551 w 306348"/>
                  <a:gd name="connsiteY71" fmla="*/ 295101 h 466451"/>
                  <a:gd name="connsiteX72" fmla="*/ 209377 w 306348"/>
                  <a:gd name="connsiteY72" fmla="*/ 302609 h 466451"/>
                  <a:gd name="connsiteX73" fmla="*/ 200534 w 306348"/>
                  <a:gd name="connsiteY73" fmla="*/ 303026 h 466451"/>
                  <a:gd name="connsiteX74" fmla="*/ 199199 w 306348"/>
                  <a:gd name="connsiteY74" fmla="*/ 298188 h 466451"/>
                  <a:gd name="connsiteX75" fmla="*/ 202285 w 306348"/>
                  <a:gd name="connsiteY75" fmla="*/ 289763 h 466451"/>
                  <a:gd name="connsiteX76" fmla="*/ 208960 w 306348"/>
                  <a:gd name="connsiteY76" fmla="*/ 284924 h 466451"/>
                  <a:gd name="connsiteX77" fmla="*/ 214716 w 306348"/>
                  <a:gd name="connsiteY77" fmla="*/ 278751 h 466451"/>
                  <a:gd name="connsiteX78" fmla="*/ 222225 w 306348"/>
                  <a:gd name="connsiteY78" fmla="*/ 263235 h 466451"/>
                  <a:gd name="connsiteX79" fmla="*/ 219138 w 306348"/>
                  <a:gd name="connsiteY79" fmla="*/ 230033 h 466451"/>
                  <a:gd name="connsiteX80" fmla="*/ 180594 w 306348"/>
                  <a:gd name="connsiteY80" fmla="*/ 216269 h 466451"/>
                  <a:gd name="connsiteX81" fmla="*/ 168164 w 306348"/>
                  <a:gd name="connsiteY81" fmla="*/ 228699 h 466451"/>
                  <a:gd name="connsiteX82" fmla="*/ 140216 w 306348"/>
                  <a:gd name="connsiteY82" fmla="*/ 231785 h 466451"/>
                  <a:gd name="connsiteX83" fmla="*/ 147307 w 306348"/>
                  <a:gd name="connsiteY83" fmla="*/ 216269 h 466451"/>
                  <a:gd name="connsiteX84" fmla="*/ 166829 w 306348"/>
                  <a:gd name="connsiteY84" fmla="*/ 211848 h 466451"/>
                  <a:gd name="connsiteX85" fmla="*/ 181929 w 306348"/>
                  <a:gd name="connsiteY85" fmla="*/ 183902 h 466451"/>
                  <a:gd name="connsiteX86" fmla="*/ 183264 w 306348"/>
                  <a:gd name="connsiteY86" fmla="*/ 165716 h 466451"/>
                  <a:gd name="connsiteX87" fmla="*/ 176590 w 306348"/>
                  <a:gd name="connsiteY87" fmla="*/ 125841 h 466451"/>
                  <a:gd name="connsiteX88" fmla="*/ 199616 w 306348"/>
                  <a:gd name="connsiteY88" fmla="*/ 108990 h 466451"/>
                  <a:gd name="connsiteX89" fmla="*/ 189021 w 306348"/>
                  <a:gd name="connsiteY89" fmla="*/ 77958 h 466451"/>
                  <a:gd name="connsiteX90" fmla="*/ 160655 w 306348"/>
                  <a:gd name="connsiteY90" fmla="*/ 55351 h 466451"/>
                  <a:gd name="connsiteX91" fmla="*/ 153564 w 306348"/>
                  <a:gd name="connsiteY91" fmla="*/ 34496 h 466451"/>
                  <a:gd name="connsiteX92" fmla="*/ 142469 w 306348"/>
                  <a:gd name="connsiteY92" fmla="*/ 21649 h 466451"/>
                  <a:gd name="connsiteX93" fmla="*/ 134460 w 306348"/>
                  <a:gd name="connsiteY93" fmla="*/ 9386 h 4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306348" h="466451" extrusionOk="0">
                    <a:moveTo>
                      <a:pt x="134460" y="9386"/>
                    </a:moveTo>
                    <a:cubicBezTo>
                      <a:pt x="133542" y="4965"/>
                      <a:pt x="130955" y="544"/>
                      <a:pt x="126450" y="43"/>
                    </a:cubicBezTo>
                    <a:cubicBezTo>
                      <a:pt x="122947" y="-374"/>
                      <a:pt x="119776" y="2295"/>
                      <a:pt x="117607" y="5382"/>
                    </a:cubicBezTo>
                    <a:cubicBezTo>
                      <a:pt x="108764" y="16477"/>
                      <a:pt x="105677" y="32410"/>
                      <a:pt x="94165" y="40836"/>
                    </a:cubicBezTo>
                    <a:cubicBezTo>
                      <a:pt x="90160" y="43505"/>
                      <a:pt x="85738" y="45257"/>
                      <a:pt x="81316" y="47009"/>
                    </a:cubicBezTo>
                    <a:cubicBezTo>
                      <a:pt x="71973" y="51013"/>
                      <a:pt x="63630" y="56769"/>
                      <a:pt x="55204" y="62108"/>
                    </a:cubicBezTo>
                    <a:cubicBezTo>
                      <a:pt x="49448" y="65612"/>
                      <a:pt x="43274" y="70116"/>
                      <a:pt x="41439" y="76290"/>
                    </a:cubicBezTo>
                    <a:cubicBezTo>
                      <a:pt x="39687" y="81628"/>
                      <a:pt x="41021" y="87801"/>
                      <a:pt x="39687" y="93140"/>
                    </a:cubicBezTo>
                    <a:cubicBezTo>
                      <a:pt x="38352" y="97562"/>
                      <a:pt x="35682" y="101983"/>
                      <a:pt x="35682" y="106905"/>
                    </a:cubicBezTo>
                    <a:cubicBezTo>
                      <a:pt x="36099" y="113078"/>
                      <a:pt x="42356" y="117082"/>
                      <a:pt x="44526" y="122838"/>
                    </a:cubicBezTo>
                    <a:cubicBezTo>
                      <a:pt x="48947" y="132598"/>
                      <a:pt x="42273" y="143693"/>
                      <a:pt x="35682" y="152035"/>
                    </a:cubicBezTo>
                    <a:cubicBezTo>
                      <a:pt x="29008" y="160878"/>
                      <a:pt x="22835" y="169303"/>
                      <a:pt x="16160" y="178146"/>
                    </a:cubicBezTo>
                    <a:cubicBezTo>
                      <a:pt x="12656" y="182567"/>
                      <a:pt x="9486" y="187489"/>
                      <a:pt x="8652" y="192745"/>
                    </a:cubicBezTo>
                    <a:cubicBezTo>
                      <a:pt x="7734" y="198501"/>
                      <a:pt x="10404" y="204674"/>
                      <a:pt x="16160" y="206008"/>
                    </a:cubicBezTo>
                    <a:cubicBezTo>
                      <a:pt x="20165" y="206926"/>
                      <a:pt x="24169" y="205091"/>
                      <a:pt x="27256" y="203339"/>
                    </a:cubicBezTo>
                    <a:cubicBezTo>
                      <a:pt x="29008" y="202421"/>
                      <a:pt x="31260" y="201087"/>
                      <a:pt x="33012" y="202421"/>
                    </a:cubicBezTo>
                    <a:cubicBezTo>
                      <a:pt x="33930" y="202838"/>
                      <a:pt x="34347" y="203339"/>
                      <a:pt x="34764" y="204173"/>
                    </a:cubicBezTo>
                    <a:cubicBezTo>
                      <a:pt x="37851" y="209012"/>
                      <a:pt x="37434" y="215268"/>
                      <a:pt x="38269" y="221024"/>
                    </a:cubicBezTo>
                    <a:cubicBezTo>
                      <a:pt x="39603" y="230367"/>
                      <a:pt x="46277" y="234788"/>
                      <a:pt x="50198" y="242296"/>
                    </a:cubicBezTo>
                    <a:cubicBezTo>
                      <a:pt x="51950" y="245383"/>
                      <a:pt x="48864" y="249804"/>
                      <a:pt x="45360" y="250722"/>
                    </a:cubicBezTo>
                    <a:cubicBezTo>
                      <a:pt x="41856" y="251639"/>
                      <a:pt x="37851" y="250722"/>
                      <a:pt x="34264" y="250305"/>
                    </a:cubicBezTo>
                    <a:cubicBezTo>
                      <a:pt x="25420" y="249387"/>
                      <a:pt x="16077" y="251639"/>
                      <a:pt x="8986" y="256978"/>
                    </a:cubicBezTo>
                    <a:cubicBezTo>
                      <a:pt x="2812" y="261817"/>
                      <a:pt x="-775" y="269825"/>
                      <a:pt x="142" y="277333"/>
                    </a:cubicBezTo>
                    <a:cubicBezTo>
                      <a:pt x="1060" y="287093"/>
                      <a:pt x="9486" y="296353"/>
                      <a:pt x="16995" y="302109"/>
                    </a:cubicBezTo>
                    <a:cubicBezTo>
                      <a:pt x="25420" y="308282"/>
                      <a:pt x="37351" y="306530"/>
                      <a:pt x="45777" y="312286"/>
                    </a:cubicBezTo>
                    <a:cubicBezTo>
                      <a:pt x="47111" y="313204"/>
                      <a:pt x="48864" y="314538"/>
                      <a:pt x="50616" y="314956"/>
                    </a:cubicBezTo>
                    <a:cubicBezTo>
                      <a:pt x="53703" y="315873"/>
                      <a:pt x="56789" y="313204"/>
                      <a:pt x="59042" y="310951"/>
                    </a:cubicBezTo>
                    <a:cubicBezTo>
                      <a:pt x="71472" y="297687"/>
                      <a:pt x="77646" y="279502"/>
                      <a:pt x="76311" y="261316"/>
                    </a:cubicBezTo>
                    <a:cubicBezTo>
                      <a:pt x="76311" y="259564"/>
                      <a:pt x="75894" y="256895"/>
                      <a:pt x="76728" y="255143"/>
                    </a:cubicBezTo>
                    <a:cubicBezTo>
                      <a:pt x="77646" y="253391"/>
                      <a:pt x="79815" y="252891"/>
                      <a:pt x="81150" y="251639"/>
                    </a:cubicBezTo>
                    <a:cubicBezTo>
                      <a:pt x="82068" y="250722"/>
                      <a:pt x="82485" y="249888"/>
                      <a:pt x="83402" y="248970"/>
                    </a:cubicBezTo>
                    <a:cubicBezTo>
                      <a:pt x="88241" y="243631"/>
                      <a:pt x="95833" y="241879"/>
                      <a:pt x="101589" y="237458"/>
                    </a:cubicBezTo>
                    <a:cubicBezTo>
                      <a:pt x="103341" y="236123"/>
                      <a:pt x="104676" y="234788"/>
                      <a:pt x="106428" y="233954"/>
                    </a:cubicBezTo>
                    <a:cubicBezTo>
                      <a:pt x="108681" y="233037"/>
                      <a:pt x="111267" y="233537"/>
                      <a:pt x="112602" y="235289"/>
                    </a:cubicBezTo>
                    <a:cubicBezTo>
                      <a:pt x="113936" y="237041"/>
                      <a:pt x="114854" y="239710"/>
                      <a:pt x="113519" y="241462"/>
                    </a:cubicBezTo>
                    <a:cubicBezTo>
                      <a:pt x="113102" y="242380"/>
                      <a:pt x="112184" y="242797"/>
                      <a:pt x="111767" y="243714"/>
                    </a:cubicBezTo>
                    <a:cubicBezTo>
                      <a:pt x="110016" y="245466"/>
                      <a:pt x="108681" y="248136"/>
                      <a:pt x="107763" y="250805"/>
                    </a:cubicBezTo>
                    <a:cubicBezTo>
                      <a:pt x="106428" y="253892"/>
                      <a:pt x="105093" y="257479"/>
                      <a:pt x="104259" y="260565"/>
                    </a:cubicBezTo>
                    <a:cubicBezTo>
                      <a:pt x="102924" y="263652"/>
                      <a:pt x="102007" y="266738"/>
                      <a:pt x="101589" y="269908"/>
                    </a:cubicBezTo>
                    <a:cubicBezTo>
                      <a:pt x="101172" y="271660"/>
                      <a:pt x="101172" y="273412"/>
                      <a:pt x="101172" y="275247"/>
                    </a:cubicBezTo>
                    <a:cubicBezTo>
                      <a:pt x="100755" y="280086"/>
                      <a:pt x="100755" y="285008"/>
                      <a:pt x="100255" y="289846"/>
                    </a:cubicBezTo>
                    <a:cubicBezTo>
                      <a:pt x="100255" y="292515"/>
                      <a:pt x="99837" y="294684"/>
                      <a:pt x="98502" y="296937"/>
                    </a:cubicBezTo>
                    <a:cubicBezTo>
                      <a:pt x="97168" y="299606"/>
                      <a:pt x="95833" y="301775"/>
                      <a:pt x="94498" y="304445"/>
                    </a:cubicBezTo>
                    <a:cubicBezTo>
                      <a:pt x="91828" y="309283"/>
                      <a:pt x="88325" y="313287"/>
                      <a:pt x="84737" y="317291"/>
                    </a:cubicBezTo>
                    <a:cubicBezTo>
                      <a:pt x="79898" y="322130"/>
                      <a:pt x="74142" y="326634"/>
                      <a:pt x="70972" y="332808"/>
                    </a:cubicBezTo>
                    <a:cubicBezTo>
                      <a:pt x="67885" y="338981"/>
                      <a:pt x="67885" y="347406"/>
                      <a:pt x="73224" y="351410"/>
                    </a:cubicBezTo>
                    <a:cubicBezTo>
                      <a:pt x="74976" y="352745"/>
                      <a:pt x="78063" y="353162"/>
                      <a:pt x="80316" y="352328"/>
                    </a:cubicBezTo>
                    <a:cubicBezTo>
                      <a:pt x="82568" y="351410"/>
                      <a:pt x="82985" y="349241"/>
                      <a:pt x="84737" y="347907"/>
                    </a:cubicBezTo>
                    <a:cubicBezTo>
                      <a:pt x="85655" y="347489"/>
                      <a:pt x="86489" y="347489"/>
                      <a:pt x="87407" y="346989"/>
                    </a:cubicBezTo>
                    <a:cubicBezTo>
                      <a:pt x="88325" y="346989"/>
                      <a:pt x="89159" y="346989"/>
                      <a:pt x="90076" y="347406"/>
                    </a:cubicBezTo>
                    <a:cubicBezTo>
                      <a:pt x="92329" y="349658"/>
                      <a:pt x="93163" y="354080"/>
                      <a:pt x="93580" y="357166"/>
                    </a:cubicBezTo>
                    <a:cubicBezTo>
                      <a:pt x="99337" y="384612"/>
                      <a:pt x="113936" y="410305"/>
                      <a:pt x="134376" y="429826"/>
                    </a:cubicBezTo>
                    <a:cubicBezTo>
                      <a:pt x="135711" y="431160"/>
                      <a:pt x="137463" y="432912"/>
                      <a:pt x="139715" y="432912"/>
                    </a:cubicBezTo>
                    <a:cubicBezTo>
                      <a:pt x="144137" y="433830"/>
                      <a:pt x="147724" y="429409"/>
                      <a:pt x="152146" y="428491"/>
                    </a:cubicBezTo>
                    <a:cubicBezTo>
                      <a:pt x="160155" y="426739"/>
                      <a:pt x="166329" y="436916"/>
                      <a:pt x="174755" y="437834"/>
                    </a:cubicBezTo>
                    <a:cubicBezTo>
                      <a:pt x="177841" y="438251"/>
                      <a:pt x="181429" y="436916"/>
                      <a:pt x="184516" y="436499"/>
                    </a:cubicBezTo>
                    <a:cubicBezTo>
                      <a:pt x="199115" y="434747"/>
                      <a:pt x="208459" y="451598"/>
                      <a:pt x="220806" y="459940"/>
                    </a:cubicBezTo>
                    <a:cubicBezTo>
                      <a:pt x="237158" y="470535"/>
                      <a:pt x="258432" y="466114"/>
                      <a:pt x="277537" y="461275"/>
                    </a:cubicBezTo>
                    <a:cubicBezTo>
                      <a:pt x="283293" y="459940"/>
                      <a:pt x="289049" y="458189"/>
                      <a:pt x="293888" y="455102"/>
                    </a:cubicBezTo>
                    <a:cubicBezTo>
                      <a:pt x="302732" y="448929"/>
                      <a:pt x="306736" y="437834"/>
                      <a:pt x="306319" y="427156"/>
                    </a:cubicBezTo>
                    <a:cubicBezTo>
                      <a:pt x="305902" y="416562"/>
                      <a:pt x="300980" y="406301"/>
                      <a:pt x="294806" y="397458"/>
                    </a:cubicBezTo>
                    <a:cubicBezTo>
                      <a:pt x="289967" y="390368"/>
                      <a:pt x="283710" y="381942"/>
                      <a:pt x="285963" y="373517"/>
                    </a:cubicBezTo>
                    <a:cubicBezTo>
                      <a:pt x="286881" y="370430"/>
                      <a:pt x="288632" y="367761"/>
                      <a:pt x="289967" y="365091"/>
                    </a:cubicBezTo>
                    <a:cubicBezTo>
                      <a:pt x="296141" y="353579"/>
                      <a:pt x="295723" y="339398"/>
                      <a:pt x="296141" y="326551"/>
                    </a:cubicBezTo>
                    <a:cubicBezTo>
                      <a:pt x="296558" y="309283"/>
                      <a:pt x="298393" y="292015"/>
                      <a:pt x="295223" y="275164"/>
                    </a:cubicBezTo>
                    <a:cubicBezTo>
                      <a:pt x="292136" y="258313"/>
                      <a:pt x="283710" y="241462"/>
                      <a:pt x="268610" y="233537"/>
                    </a:cubicBezTo>
                    <a:cubicBezTo>
                      <a:pt x="260601" y="229533"/>
                      <a:pt x="249589" y="228699"/>
                      <a:pt x="244249" y="235789"/>
                    </a:cubicBezTo>
                    <a:cubicBezTo>
                      <a:pt x="241579" y="239794"/>
                      <a:pt x="241162" y="244632"/>
                      <a:pt x="240745" y="249053"/>
                    </a:cubicBezTo>
                    <a:cubicBezTo>
                      <a:pt x="239410" y="257062"/>
                      <a:pt x="236741" y="264570"/>
                      <a:pt x="232736" y="271660"/>
                    </a:cubicBezTo>
                    <a:cubicBezTo>
                      <a:pt x="230985" y="274747"/>
                      <a:pt x="228315" y="277416"/>
                      <a:pt x="226563" y="280503"/>
                    </a:cubicBezTo>
                    <a:cubicBezTo>
                      <a:pt x="224811" y="283172"/>
                      <a:pt x="223893" y="286676"/>
                      <a:pt x="221724" y="289345"/>
                    </a:cubicBezTo>
                    <a:cubicBezTo>
                      <a:pt x="219972" y="291598"/>
                      <a:pt x="217302" y="292849"/>
                      <a:pt x="215551" y="295101"/>
                    </a:cubicBezTo>
                    <a:cubicBezTo>
                      <a:pt x="213298" y="297354"/>
                      <a:pt x="211546" y="300440"/>
                      <a:pt x="209377" y="302609"/>
                    </a:cubicBezTo>
                    <a:cubicBezTo>
                      <a:pt x="206707" y="304862"/>
                      <a:pt x="202703" y="305279"/>
                      <a:pt x="200534" y="303026"/>
                    </a:cubicBezTo>
                    <a:cubicBezTo>
                      <a:pt x="199616" y="301692"/>
                      <a:pt x="199199" y="299940"/>
                      <a:pt x="199199" y="298188"/>
                    </a:cubicBezTo>
                    <a:cubicBezTo>
                      <a:pt x="199199" y="295101"/>
                      <a:pt x="200534" y="292015"/>
                      <a:pt x="202285" y="289763"/>
                    </a:cubicBezTo>
                    <a:cubicBezTo>
                      <a:pt x="204037" y="287510"/>
                      <a:pt x="206707" y="286676"/>
                      <a:pt x="208960" y="284924"/>
                    </a:cubicBezTo>
                    <a:cubicBezTo>
                      <a:pt x="211212" y="283172"/>
                      <a:pt x="212964" y="280920"/>
                      <a:pt x="214716" y="278751"/>
                    </a:cubicBezTo>
                    <a:cubicBezTo>
                      <a:pt x="218220" y="274330"/>
                      <a:pt x="220890" y="268991"/>
                      <a:pt x="222225" y="263235"/>
                    </a:cubicBezTo>
                    <a:cubicBezTo>
                      <a:pt x="225311" y="252140"/>
                      <a:pt x="224477" y="240211"/>
                      <a:pt x="219138" y="230033"/>
                    </a:cubicBezTo>
                    <a:cubicBezTo>
                      <a:pt x="212046" y="216269"/>
                      <a:pt x="193025" y="207009"/>
                      <a:pt x="180594" y="216269"/>
                    </a:cubicBezTo>
                    <a:cubicBezTo>
                      <a:pt x="175756" y="219773"/>
                      <a:pt x="173086" y="225612"/>
                      <a:pt x="168164" y="228699"/>
                    </a:cubicBezTo>
                    <a:cubicBezTo>
                      <a:pt x="160155" y="234455"/>
                      <a:pt x="149977" y="233120"/>
                      <a:pt x="140216" y="231785"/>
                    </a:cubicBezTo>
                    <a:cubicBezTo>
                      <a:pt x="135794" y="226947"/>
                      <a:pt x="141134" y="218521"/>
                      <a:pt x="147307" y="216269"/>
                    </a:cubicBezTo>
                    <a:cubicBezTo>
                      <a:pt x="153481" y="214017"/>
                      <a:pt x="161073" y="214934"/>
                      <a:pt x="166829" y="211848"/>
                    </a:cubicBezTo>
                    <a:cubicBezTo>
                      <a:pt x="176590" y="207009"/>
                      <a:pt x="180094" y="194997"/>
                      <a:pt x="181929" y="183902"/>
                    </a:cubicBezTo>
                    <a:cubicBezTo>
                      <a:pt x="183264" y="177729"/>
                      <a:pt x="184182" y="171973"/>
                      <a:pt x="183264" y="165716"/>
                    </a:cubicBezTo>
                    <a:cubicBezTo>
                      <a:pt x="181012" y="151952"/>
                      <a:pt x="169082" y="137353"/>
                      <a:pt x="176590" y="125841"/>
                    </a:cubicBezTo>
                    <a:cubicBezTo>
                      <a:pt x="181929" y="117833"/>
                      <a:pt x="193860" y="116999"/>
                      <a:pt x="199616" y="108990"/>
                    </a:cubicBezTo>
                    <a:cubicBezTo>
                      <a:pt x="206707" y="99230"/>
                      <a:pt x="198698" y="85049"/>
                      <a:pt x="189021" y="77958"/>
                    </a:cubicBezTo>
                    <a:cubicBezTo>
                      <a:pt x="179260" y="70867"/>
                      <a:pt x="166912" y="66029"/>
                      <a:pt x="160655" y="55351"/>
                    </a:cubicBezTo>
                    <a:cubicBezTo>
                      <a:pt x="157152" y="49178"/>
                      <a:pt x="156234" y="41169"/>
                      <a:pt x="153564" y="34496"/>
                    </a:cubicBezTo>
                    <a:cubicBezTo>
                      <a:pt x="151312" y="28323"/>
                      <a:pt x="147391" y="25153"/>
                      <a:pt x="142469" y="21649"/>
                    </a:cubicBezTo>
                    <a:cubicBezTo>
                      <a:pt x="136629" y="18229"/>
                      <a:pt x="136212" y="17812"/>
                      <a:pt x="134460" y="938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97122865" name="Полилиния 460"/>
              <p:cNvSpPr/>
              <p:nvPr/>
            </p:nvSpPr>
            <p:spPr bwMode="auto">
              <a:xfrm>
                <a:off x="6352229" y="1894858"/>
                <a:ext cx="194395" cy="251799"/>
              </a:xfrm>
              <a:custGeom>
                <a:avLst/>
                <a:gdLst>
                  <a:gd name="connsiteX0" fmla="*/ 822 w 218313"/>
                  <a:gd name="connsiteY0" fmla="*/ 273652 h 282780"/>
                  <a:gd name="connsiteX1" fmla="*/ 2157 w 218313"/>
                  <a:gd name="connsiteY1" fmla="*/ 255967 h 282780"/>
                  <a:gd name="connsiteX2" fmla="*/ 7913 w 218313"/>
                  <a:gd name="connsiteY2" fmla="*/ 238699 h 282780"/>
                  <a:gd name="connsiteX3" fmla="*/ 10166 w 218313"/>
                  <a:gd name="connsiteY3" fmla="*/ 224518 h 282780"/>
                  <a:gd name="connsiteX4" fmla="*/ 14587 w 218313"/>
                  <a:gd name="connsiteY4" fmla="*/ 216509 h 282780"/>
                  <a:gd name="connsiteX5" fmla="*/ 16339 w 218313"/>
                  <a:gd name="connsiteY5" fmla="*/ 163787 h 282780"/>
                  <a:gd name="connsiteX6" fmla="*/ 31857 w 218313"/>
                  <a:gd name="connsiteY6" fmla="*/ 119908 h 282780"/>
                  <a:gd name="connsiteX7" fmla="*/ 28353 w 218313"/>
                  <a:gd name="connsiteY7" fmla="*/ 98636 h 282780"/>
                  <a:gd name="connsiteX8" fmla="*/ 35444 w 218313"/>
                  <a:gd name="connsiteY8" fmla="*/ 80450 h 282780"/>
                  <a:gd name="connsiteX9" fmla="*/ 30606 w 218313"/>
                  <a:gd name="connsiteY9" fmla="*/ 59178 h 282780"/>
                  <a:gd name="connsiteX10" fmla="*/ 38114 w 218313"/>
                  <a:gd name="connsiteY10" fmla="*/ 37906 h 282780"/>
                  <a:gd name="connsiteX11" fmla="*/ 53214 w 218313"/>
                  <a:gd name="connsiteY11" fmla="*/ 20221 h 282780"/>
                  <a:gd name="connsiteX12" fmla="*/ 69148 w 218313"/>
                  <a:gd name="connsiteY12" fmla="*/ 1201 h 282780"/>
                  <a:gd name="connsiteX13" fmla="*/ 95762 w 218313"/>
                  <a:gd name="connsiteY13" fmla="*/ 18469 h 282780"/>
                  <a:gd name="connsiteX14" fmla="*/ 91340 w 218313"/>
                  <a:gd name="connsiteY14" fmla="*/ 53923 h 282780"/>
                  <a:gd name="connsiteX15" fmla="*/ 90923 w 218313"/>
                  <a:gd name="connsiteY15" fmla="*/ 89376 h 282780"/>
                  <a:gd name="connsiteX16" fmla="*/ 92675 w 218313"/>
                  <a:gd name="connsiteY16" fmla="*/ 91629 h 282780"/>
                  <a:gd name="connsiteX17" fmla="*/ 98431 w 218313"/>
                  <a:gd name="connsiteY17" fmla="*/ 88959 h 282780"/>
                  <a:gd name="connsiteX18" fmla="*/ 103771 w 218313"/>
                  <a:gd name="connsiteY18" fmla="*/ 63683 h 282780"/>
                  <a:gd name="connsiteX19" fmla="*/ 109945 w 218313"/>
                  <a:gd name="connsiteY19" fmla="*/ 54340 h 282780"/>
                  <a:gd name="connsiteX20" fmla="*/ 122792 w 218313"/>
                  <a:gd name="connsiteY20" fmla="*/ 43245 h 282780"/>
                  <a:gd name="connsiteX21" fmla="*/ 138310 w 218313"/>
                  <a:gd name="connsiteY21" fmla="*/ 45497 h 282780"/>
                  <a:gd name="connsiteX22" fmla="*/ 144066 w 218313"/>
                  <a:gd name="connsiteY22" fmla="*/ 56592 h 282780"/>
                  <a:gd name="connsiteX23" fmla="*/ 152492 w 218313"/>
                  <a:gd name="connsiteY23" fmla="*/ 61431 h 282780"/>
                  <a:gd name="connsiteX24" fmla="*/ 172431 w 218313"/>
                  <a:gd name="connsiteY24" fmla="*/ 83120 h 282780"/>
                  <a:gd name="connsiteX25" fmla="*/ 177270 w 218313"/>
                  <a:gd name="connsiteY25" fmla="*/ 87958 h 282780"/>
                  <a:gd name="connsiteX26" fmla="*/ 185279 w 218313"/>
                  <a:gd name="connsiteY26" fmla="*/ 90211 h 282780"/>
                  <a:gd name="connsiteX27" fmla="*/ 211391 w 218313"/>
                  <a:gd name="connsiteY27" fmla="*/ 118157 h 282780"/>
                  <a:gd name="connsiteX28" fmla="*/ 215813 w 218313"/>
                  <a:gd name="connsiteY28" fmla="*/ 148271 h 282780"/>
                  <a:gd name="connsiteX29" fmla="*/ 206052 w 218313"/>
                  <a:gd name="connsiteY29" fmla="*/ 161118 h 282780"/>
                  <a:gd name="connsiteX30" fmla="*/ 200713 w 218313"/>
                  <a:gd name="connsiteY30" fmla="*/ 176217 h 282780"/>
                  <a:gd name="connsiteX31" fmla="*/ 187448 w 218313"/>
                  <a:gd name="connsiteY31" fmla="*/ 177552 h 282780"/>
                  <a:gd name="connsiteX32" fmla="*/ 175518 w 218313"/>
                  <a:gd name="connsiteY32" fmla="*/ 190816 h 282780"/>
                  <a:gd name="connsiteX33" fmla="*/ 154661 w 218313"/>
                  <a:gd name="connsiteY33" fmla="*/ 202745 h 282780"/>
                  <a:gd name="connsiteX34" fmla="*/ 125879 w 218313"/>
                  <a:gd name="connsiteY34" fmla="*/ 224851 h 282780"/>
                  <a:gd name="connsiteX35" fmla="*/ 117036 w 218313"/>
                  <a:gd name="connsiteY35" fmla="*/ 227938 h 282780"/>
                  <a:gd name="connsiteX36" fmla="*/ 110362 w 218313"/>
                  <a:gd name="connsiteY36" fmla="*/ 225685 h 282780"/>
                  <a:gd name="connsiteX37" fmla="*/ 78910 w 218313"/>
                  <a:gd name="connsiteY37" fmla="*/ 230524 h 282780"/>
                  <a:gd name="connsiteX38" fmla="*/ 55884 w 218313"/>
                  <a:gd name="connsiteY38" fmla="*/ 254466 h 282780"/>
                  <a:gd name="connsiteX39" fmla="*/ 38197 w 218313"/>
                  <a:gd name="connsiteY39" fmla="*/ 274820 h 282780"/>
                  <a:gd name="connsiteX40" fmla="*/ 822 w 218313"/>
                  <a:gd name="connsiteY40" fmla="*/ 273652 h 28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18313" h="282780" extrusionOk="0">
                    <a:moveTo>
                      <a:pt x="822" y="273652"/>
                    </a:moveTo>
                    <a:cubicBezTo>
                      <a:pt x="-930" y="267896"/>
                      <a:pt x="405" y="261723"/>
                      <a:pt x="2157" y="255967"/>
                    </a:cubicBezTo>
                    <a:cubicBezTo>
                      <a:pt x="3909" y="250211"/>
                      <a:pt x="6995" y="244455"/>
                      <a:pt x="7913" y="238699"/>
                    </a:cubicBezTo>
                    <a:cubicBezTo>
                      <a:pt x="8831" y="233861"/>
                      <a:pt x="8330" y="228939"/>
                      <a:pt x="10166" y="224518"/>
                    </a:cubicBezTo>
                    <a:cubicBezTo>
                      <a:pt x="11084" y="221848"/>
                      <a:pt x="13252" y="219179"/>
                      <a:pt x="14587" y="216509"/>
                    </a:cubicBezTo>
                    <a:cubicBezTo>
                      <a:pt x="22596" y="200576"/>
                      <a:pt x="12335" y="181055"/>
                      <a:pt x="16339" y="163787"/>
                    </a:cubicBezTo>
                    <a:cubicBezTo>
                      <a:pt x="19426" y="148271"/>
                      <a:pt x="33192" y="135425"/>
                      <a:pt x="31857" y="119908"/>
                    </a:cubicBezTo>
                    <a:cubicBezTo>
                      <a:pt x="31440" y="112817"/>
                      <a:pt x="27435" y="105727"/>
                      <a:pt x="28353" y="98636"/>
                    </a:cubicBezTo>
                    <a:cubicBezTo>
                      <a:pt x="29688" y="91962"/>
                      <a:pt x="35027" y="87124"/>
                      <a:pt x="35444" y="80450"/>
                    </a:cubicBezTo>
                    <a:cubicBezTo>
                      <a:pt x="36362" y="73360"/>
                      <a:pt x="31440" y="66269"/>
                      <a:pt x="30606" y="59178"/>
                    </a:cubicBezTo>
                    <a:cubicBezTo>
                      <a:pt x="29688" y="51670"/>
                      <a:pt x="33275" y="43662"/>
                      <a:pt x="38114" y="37906"/>
                    </a:cubicBezTo>
                    <a:cubicBezTo>
                      <a:pt x="42953" y="31733"/>
                      <a:pt x="48709" y="26394"/>
                      <a:pt x="53214" y="20221"/>
                    </a:cubicBezTo>
                    <a:cubicBezTo>
                      <a:pt x="58053" y="13130"/>
                      <a:pt x="61640" y="4705"/>
                      <a:pt x="69148" y="1201"/>
                    </a:cubicBezTo>
                    <a:cubicBezTo>
                      <a:pt x="80244" y="-3638"/>
                      <a:pt x="93092" y="6957"/>
                      <a:pt x="95762" y="18469"/>
                    </a:cubicBezTo>
                    <a:cubicBezTo>
                      <a:pt x="98431" y="30398"/>
                      <a:pt x="94427" y="42411"/>
                      <a:pt x="91340" y="53923"/>
                    </a:cubicBezTo>
                    <a:cubicBezTo>
                      <a:pt x="88254" y="65435"/>
                      <a:pt x="85584" y="78281"/>
                      <a:pt x="90923" y="89376"/>
                    </a:cubicBezTo>
                    <a:cubicBezTo>
                      <a:pt x="91340" y="90294"/>
                      <a:pt x="91841" y="91128"/>
                      <a:pt x="92675" y="91629"/>
                    </a:cubicBezTo>
                    <a:cubicBezTo>
                      <a:pt x="94928" y="92963"/>
                      <a:pt x="97096" y="91212"/>
                      <a:pt x="98431" y="88959"/>
                    </a:cubicBezTo>
                    <a:cubicBezTo>
                      <a:pt x="103270" y="81869"/>
                      <a:pt x="100684" y="71691"/>
                      <a:pt x="103771" y="63683"/>
                    </a:cubicBezTo>
                    <a:cubicBezTo>
                      <a:pt x="105106" y="60179"/>
                      <a:pt x="107775" y="57510"/>
                      <a:pt x="109945" y="54340"/>
                    </a:cubicBezTo>
                    <a:cubicBezTo>
                      <a:pt x="113448" y="49918"/>
                      <a:pt x="117453" y="45497"/>
                      <a:pt x="122792" y="43245"/>
                    </a:cubicBezTo>
                    <a:cubicBezTo>
                      <a:pt x="128131" y="40993"/>
                      <a:pt x="134722" y="40993"/>
                      <a:pt x="138310" y="45497"/>
                    </a:cubicBezTo>
                    <a:cubicBezTo>
                      <a:pt x="140979" y="48584"/>
                      <a:pt x="141396" y="53506"/>
                      <a:pt x="144066" y="56592"/>
                    </a:cubicBezTo>
                    <a:cubicBezTo>
                      <a:pt x="146318" y="58844"/>
                      <a:pt x="149405" y="60096"/>
                      <a:pt x="152492" y="61431"/>
                    </a:cubicBezTo>
                    <a:cubicBezTo>
                      <a:pt x="161335" y="65852"/>
                      <a:pt x="166258" y="75195"/>
                      <a:pt x="172431" y="83120"/>
                    </a:cubicBezTo>
                    <a:cubicBezTo>
                      <a:pt x="173766" y="84872"/>
                      <a:pt x="175518" y="87124"/>
                      <a:pt x="177270" y="87958"/>
                    </a:cubicBezTo>
                    <a:cubicBezTo>
                      <a:pt x="179522" y="89293"/>
                      <a:pt x="182609" y="89710"/>
                      <a:pt x="185279" y="90211"/>
                    </a:cubicBezTo>
                    <a:cubicBezTo>
                      <a:pt x="198126" y="93714"/>
                      <a:pt x="205635" y="106144"/>
                      <a:pt x="211391" y="118157"/>
                    </a:cubicBezTo>
                    <a:cubicBezTo>
                      <a:pt x="216230" y="127500"/>
                      <a:pt x="221569" y="139012"/>
                      <a:pt x="215813" y="148271"/>
                    </a:cubicBezTo>
                    <a:cubicBezTo>
                      <a:pt x="213143" y="152693"/>
                      <a:pt x="208305" y="155779"/>
                      <a:pt x="206052" y="161118"/>
                    </a:cubicBezTo>
                    <a:cubicBezTo>
                      <a:pt x="204300" y="166457"/>
                      <a:pt x="205635" y="173047"/>
                      <a:pt x="200713" y="176217"/>
                    </a:cubicBezTo>
                    <a:cubicBezTo>
                      <a:pt x="196708" y="178469"/>
                      <a:pt x="191869" y="176217"/>
                      <a:pt x="187448" y="177552"/>
                    </a:cubicBezTo>
                    <a:cubicBezTo>
                      <a:pt x="181692" y="179304"/>
                      <a:pt x="179439" y="186394"/>
                      <a:pt x="175518" y="190816"/>
                    </a:cubicBezTo>
                    <a:cubicBezTo>
                      <a:pt x="170178" y="196989"/>
                      <a:pt x="161752" y="198824"/>
                      <a:pt x="154661" y="202745"/>
                    </a:cubicBezTo>
                    <a:cubicBezTo>
                      <a:pt x="144066" y="208501"/>
                      <a:pt x="136057" y="218261"/>
                      <a:pt x="125879" y="224851"/>
                    </a:cubicBezTo>
                    <a:cubicBezTo>
                      <a:pt x="123209" y="226603"/>
                      <a:pt x="120122" y="228355"/>
                      <a:pt x="117036" y="227938"/>
                    </a:cubicBezTo>
                    <a:cubicBezTo>
                      <a:pt x="114783" y="227938"/>
                      <a:pt x="112614" y="226603"/>
                      <a:pt x="110362" y="225685"/>
                    </a:cubicBezTo>
                    <a:cubicBezTo>
                      <a:pt x="100183" y="221681"/>
                      <a:pt x="88254" y="224351"/>
                      <a:pt x="78910" y="230524"/>
                    </a:cubicBezTo>
                    <a:cubicBezTo>
                      <a:pt x="69566" y="236697"/>
                      <a:pt x="62558" y="245122"/>
                      <a:pt x="55884" y="254466"/>
                    </a:cubicBezTo>
                    <a:cubicBezTo>
                      <a:pt x="50544" y="261556"/>
                      <a:pt x="45289" y="269064"/>
                      <a:pt x="38197" y="274820"/>
                    </a:cubicBezTo>
                    <a:cubicBezTo>
                      <a:pt x="30021" y="281661"/>
                      <a:pt x="6161" y="289169"/>
                      <a:pt x="822" y="2736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01182581" name="Полилиния 461"/>
              <p:cNvSpPr/>
              <p:nvPr/>
            </p:nvSpPr>
            <p:spPr bwMode="auto">
              <a:xfrm>
                <a:off x="6564980" y="2043037"/>
                <a:ext cx="64978" cy="46833"/>
              </a:xfrm>
              <a:custGeom>
                <a:avLst/>
                <a:gdLst>
                  <a:gd name="connsiteX0" fmla="*/ 62649 w 72974"/>
                  <a:gd name="connsiteY0" fmla="*/ 18650 h 52596"/>
                  <a:gd name="connsiteX1" fmla="*/ 49384 w 72974"/>
                  <a:gd name="connsiteY1" fmla="*/ 16398 h 52596"/>
                  <a:gd name="connsiteX2" fmla="*/ 42710 w 72974"/>
                  <a:gd name="connsiteY2" fmla="*/ 28327 h 52596"/>
                  <a:gd name="connsiteX3" fmla="*/ 39623 w 72974"/>
                  <a:gd name="connsiteY3" fmla="*/ 32331 h 52596"/>
                  <a:gd name="connsiteX4" fmla="*/ 32949 w 72974"/>
                  <a:gd name="connsiteY4" fmla="*/ 33666 h 52596"/>
                  <a:gd name="connsiteX5" fmla="*/ 17849 w 72974"/>
                  <a:gd name="connsiteY5" fmla="*/ 29244 h 52596"/>
                  <a:gd name="connsiteX6" fmla="*/ 23188 w 72974"/>
                  <a:gd name="connsiteY6" fmla="*/ 11976 h 52596"/>
                  <a:gd name="connsiteX7" fmla="*/ 25440 w 72974"/>
                  <a:gd name="connsiteY7" fmla="*/ 9307 h 52596"/>
                  <a:gd name="connsiteX8" fmla="*/ 24106 w 72974"/>
                  <a:gd name="connsiteY8" fmla="*/ 6220 h 52596"/>
                  <a:gd name="connsiteX9" fmla="*/ 13927 w 72974"/>
                  <a:gd name="connsiteY9" fmla="*/ 47 h 52596"/>
                  <a:gd name="connsiteX10" fmla="*/ 5084 w 72974"/>
                  <a:gd name="connsiteY10" fmla="*/ 7555 h 52596"/>
                  <a:gd name="connsiteX11" fmla="*/ 246 w 72974"/>
                  <a:gd name="connsiteY11" fmla="*/ 22154 h 52596"/>
                  <a:gd name="connsiteX12" fmla="*/ 1163 w 72974"/>
                  <a:gd name="connsiteY12" fmla="*/ 27909 h 52596"/>
                  <a:gd name="connsiteX13" fmla="*/ 6002 w 72974"/>
                  <a:gd name="connsiteY13" fmla="*/ 30162 h 52596"/>
                  <a:gd name="connsiteX14" fmla="*/ 13510 w 72974"/>
                  <a:gd name="connsiteY14" fmla="*/ 34166 h 52596"/>
                  <a:gd name="connsiteX15" fmla="*/ 26775 w 72974"/>
                  <a:gd name="connsiteY15" fmla="*/ 43926 h 52596"/>
                  <a:gd name="connsiteX16" fmla="*/ 36119 w 72974"/>
                  <a:gd name="connsiteY16" fmla="*/ 47430 h 52596"/>
                  <a:gd name="connsiteX17" fmla="*/ 47632 w 72974"/>
                  <a:gd name="connsiteY17" fmla="*/ 51851 h 52596"/>
                  <a:gd name="connsiteX18" fmla="*/ 59145 w 72974"/>
                  <a:gd name="connsiteY18" fmla="*/ 47847 h 52596"/>
                  <a:gd name="connsiteX19" fmla="*/ 72910 w 72974"/>
                  <a:gd name="connsiteY19" fmla="*/ 34583 h 52596"/>
                  <a:gd name="connsiteX20" fmla="*/ 62649 w 72974"/>
                  <a:gd name="connsiteY20" fmla="*/ 18650 h 52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2974" h="52596" extrusionOk="0">
                    <a:moveTo>
                      <a:pt x="62649" y="18650"/>
                    </a:moveTo>
                    <a:cubicBezTo>
                      <a:pt x="59562" y="15146"/>
                      <a:pt x="53805" y="15563"/>
                      <a:pt x="49384" y="16398"/>
                    </a:cubicBezTo>
                    <a:cubicBezTo>
                      <a:pt x="47131" y="20402"/>
                      <a:pt x="44962" y="24406"/>
                      <a:pt x="42710" y="28327"/>
                    </a:cubicBezTo>
                    <a:cubicBezTo>
                      <a:pt x="41792" y="29661"/>
                      <a:pt x="40958" y="31413"/>
                      <a:pt x="39623" y="32331"/>
                    </a:cubicBezTo>
                    <a:cubicBezTo>
                      <a:pt x="37871" y="33666"/>
                      <a:pt x="35201" y="33666"/>
                      <a:pt x="32949" y="33666"/>
                    </a:cubicBezTo>
                    <a:cubicBezTo>
                      <a:pt x="27609" y="33666"/>
                      <a:pt x="21436" y="33248"/>
                      <a:pt x="17849" y="29244"/>
                    </a:cubicBezTo>
                    <a:cubicBezTo>
                      <a:pt x="16097" y="23071"/>
                      <a:pt x="18266" y="15980"/>
                      <a:pt x="23188" y="11976"/>
                    </a:cubicBezTo>
                    <a:cubicBezTo>
                      <a:pt x="24106" y="11059"/>
                      <a:pt x="24940" y="10641"/>
                      <a:pt x="25440" y="9307"/>
                    </a:cubicBezTo>
                    <a:cubicBezTo>
                      <a:pt x="25440" y="7972"/>
                      <a:pt x="25023" y="7054"/>
                      <a:pt x="24106" y="6220"/>
                    </a:cubicBezTo>
                    <a:cubicBezTo>
                      <a:pt x="21436" y="3134"/>
                      <a:pt x="17932" y="-454"/>
                      <a:pt x="13927" y="47"/>
                    </a:cubicBezTo>
                    <a:cubicBezTo>
                      <a:pt x="9923" y="464"/>
                      <a:pt x="6836" y="4051"/>
                      <a:pt x="5084" y="7555"/>
                    </a:cubicBezTo>
                    <a:cubicBezTo>
                      <a:pt x="2415" y="12393"/>
                      <a:pt x="1580" y="16898"/>
                      <a:pt x="246" y="22154"/>
                    </a:cubicBezTo>
                    <a:cubicBezTo>
                      <a:pt x="-172" y="24406"/>
                      <a:pt x="-172" y="26158"/>
                      <a:pt x="1163" y="27909"/>
                    </a:cubicBezTo>
                    <a:cubicBezTo>
                      <a:pt x="2498" y="29244"/>
                      <a:pt x="4250" y="29661"/>
                      <a:pt x="6002" y="30162"/>
                    </a:cubicBezTo>
                    <a:cubicBezTo>
                      <a:pt x="8672" y="31497"/>
                      <a:pt x="10840" y="32414"/>
                      <a:pt x="13510" y="34166"/>
                    </a:cubicBezTo>
                    <a:cubicBezTo>
                      <a:pt x="18349" y="36836"/>
                      <a:pt x="22854" y="40339"/>
                      <a:pt x="26775" y="43926"/>
                    </a:cubicBezTo>
                    <a:cubicBezTo>
                      <a:pt x="30279" y="47013"/>
                      <a:pt x="32114" y="46179"/>
                      <a:pt x="36119" y="47430"/>
                    </a:cubicBezTo>
                    <a:cubicBezTo>
                      <a:pt x="40123" y="48347"/>
                      <a:pt x="43627" y="50934"/>
                      <a:pt x="47632" y="51851"/>
                    </a:cubicBezTo>
                    <a:cubicBezTo>
                      <a:pt x="53805" y="53603"/>
                      <a:pt x="54723" y="52268"/>
                      <a:pt x="59145" y="47847"/>
                    </a:cubicBezTo>
                    <a:cubicBezTo>
                      <a:pt x="61814" y="44761"/>
                      <a:pt x="71575" y="37670"/>
                      <a:pt x="72910" y="34583"/>
                    </a:cubicBezTo>
                    <a:cubicBezTo>
                      <a:pt x="73745" y="30162"/>
                      <a:pt x="66236" y="22237"/>
                      <a:pt x="62649" y="1865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00486510" name="Полилиния 462"/>
              <p:cNvSpPr/>
              <p:nvPr/>
            </p:nvSpPr>
            <p:spPr bwMode="auto">
              <a:xfrm>
                <a:off x="6645206" y="2194167"/>
                <a:ext cx="17839" cy="18652"/>
              </a:xfrm>
              <a:custGeom>
                <a:avLst/>
                <a:gdLst>
                  <a:gd name="connsiteX0" fmla="*/ 18187 w 20035"/>
                  <a:gd name="connsiteY0" fmla="*/ 12847 h 20948"/>
                  <a:gd name="connsiteX1" fmla="*/ 18187 w 20035"/>
                  <a:gd name="connsiteY1" fmla="*/ 1335 h 20948"/>
                  <a:gd name="connsiteX2" fmla="*/ 12848 w 20035"/>
                  <a:gd name="connsiteY2" fmla="*/ 0 h 20948"/>
                  <a:gd name="connsiteX3" fmla="*/ 4839 w 20035"/>
                  <a:gd name="connsiteY3" fmla="*/ 0 h 20948"/>
                  <a:gd name="connsiteX4" fmla="*/ 417 w 20035"/>
                  <a:gd name="connsiteY4" fmla="*/ 1335 h 20948"/>
                  <a:gd name="connsiteX5" fmla="*/ 0 w 20035"/>
                  <a:gd name="connsiteY5" fmla="*/ 4421 h 20948"/>
                  <a:gd name="connsiteX6" fmla="*/ 2670 w 20035"/>
                  <a:gd name="connsiteY6" fmla="*/ 16851 h 20948"/>
                  <a:gd name="connsiteX7" fmla="*/ 11513 w 20035"/>
                  <a:gd name="connsiteY7" fmla="*/ 20855 h 20948"/>
                  <a:gd name="connsiteX8" fmla="*/ 15935 w 20035"/>
                  <a:gd name="connsiteY8" fmla="*/ 19103 h 20948"/>
                  <a:gd name="connsiteX9" fmla="*/ 18187 w 20035"/>
                  <a:gd name="connsiteY9" fmla="*/ 12847 h 20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035" h="20948" extrusionOk="0">
                    <a:moveTo>
                      <a:pt x="18187" y="12847"/>
                    </a:moveTo>
                    <a:cubicBezTo>
                      <a:pt x="19939" y="9343"/>
                      <a:pt x="21274" y="4004"/>
                      <a:pt x="18187" y="1335"/>
                    </a:cubicBezTo>
                    <a:cubicBezTo>
                      <a:pt x="16852" y="0"/>
                      <a:pt x="14683" y="0"/>
                      <a:pt x="12848" y="0"/>
                    </a:cubicBezTo>
                    <a:cubicBezTo>
                      <a:pt x="10178" y="0"/>
                      <a:pt x="7508" y="0"/>
                      <a:pt x="4839" y="0"/>
                    </a:cubicBezTo>
                    <a:cubicBezTo>
                      <a:pt x="3087" y="0"/>
                      <a:pt x="1335" y="0"/>
                      <a:pt x="417" y="1335"/>
                    </a:cubicBezTo>
                    <a:cubicBezTo>
                      <a:pt x="0" y="2253"/>
                      <a:pt x="0" y="3587"/>
                      <a:pt x="0" y="4421"/>
                    </a:cubicBezTo>
                    <a:cubicBezTo>
                      <a:pt x="417" y="8843"/>
                      <a:pt x="918" y="12847"/>
                      <a:pt x="2670" y="16851"/>
                    </a:cubicBezTo>
                    <a:cubicBezTo>
                      <a:pt x="4422" y="20355"/>
                      <a:pt x="7508" y="21272"/>
                      <a:pt x="11513" y="20855"/>
                    </a:cubicBezTo>
                    <a:cubicBezTo>
                      <a:pt x="13265" y="20855"/>
                      <a:pt x="15017" y="20438"/>
                      <a:pt x="15935" y="19103"/>
                    </a:cubicBezTo>
                    <a:cubicBezTo>
                      <a:pt x="16852" y="17685"/>
                      <a:pt x="17353" y="15016"/>
                      <a:pt x="18187" y="1284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33746781" name="Полилиния 463"/>
              <p:cNvSpPr/>
              <p:nvPr/>
            </p:nvSpPr>
            <p:spPr bwMode="auto">
              <a:xfrm>
                <a:off x="6937612" y="2566927"/>
                <a:ext cx="73608" cy="65948"/>
              </a:xfrm>
              <a:custGeom>
                <a:avLst/>
                <a:gdLst>
                  <a:gd name="connsiteX0" fmla="*/ 63726 w 82665"/>
                  <a:gd name="connsiteY0" fmla="*/ 66887 h 74063"/>
                  <a:gd name="connsiteX1" fmla="*/ 63309 w 82665"/>
                  <a:gd name="connsiteY1" fmla="*/ 70891 h 74063"/>
                  <a:gd name="connsiteX2" fmla="*/ 61056 w 82665"/>
                  <a:gd name="connsiteY2" fmla="*/ 72226 h 74063"/>
                  <a:gd name="connsiteX3" fmla="*/ 38948 w 82665"/>
                  <a:gd name="connsiteY3" fmla="*/ 69974 h 74063"/>
                  <a:gd name="connsiteX4" fmla="*/ 32274 w 82665"/>
                  <a:gd name="connsiteY4" fmla="*/ 65552 h 74063"/>
                  <a:gd name="connsiteX5" fmla="*/ 18508 w 82665"/>
                  <a:gd name="connsiteY5" fmla="*/ 63800 h 74063"/>
                  <a:gd name="connsiteX6" fmla="*/ 5244 w 82665"/>
                  <a:gd name="connsiteY6" fmla="*/ 61548 h 74063"/>
                  <a:gd name="connsiteX7" fmla="*/ 823 w 82665"/>
                  <a:gd name="connsiteY7" fmla="*/ 50036 h 74063"/>
                  <a:gd name="connsiteX8" fmla="*/ 9248 w 82665"/>
                  <a:gd name="connsiteY8" fmla="*/ 42028 h 74063"/>
                  <a:gd name="connsiteX9" fmla="*/ 5244 w 82665"/>
                  <a:gd name="connsiteY9" fmla="*/ 20338 h 74063"/>
                  <a:gd name="connsiteX10" fmla="*/ 10083 w 82665"/>
                  <a:gd name="connsiteY10" fmla="*/ 14582 h 74063"/>
                  <a:gd name="connsiteX11" fmla="*/ 18508 w 82665"/>
                  <a:gd name="connsiteY11" fmla="*/ 7909 h 74063"/>
                  <a:gd name="connsiteX12" fmla="*/ 32274 w 82665"/>
                  <a:gd name="connsiteY12" fmla="*/ 3487 h 74063"/>
                  <a:gd name="connsiteX13" fmla="*/ 38948 w 82665"/>
                  <a:gd name="connsiteY13" fmla="*/ 7492 h 74063"/>
                  <a:gd name="connsiteX14" fmla="*/ 54049 w 82665"/>
                  <a:gd name="connsiteY14" fmla="*/ 3487 h 74063"/>
                  <a:gd name="connsiteX15" fmla="*/ 69149 w 82665"/>
                  <a:gd name="connsiteY15" fmla="*/ 1736 h 74063"/>
                  <a:gd name="connsiteX16" fmla="*/ 71819 w 82665"/>
                  <a:gd name="connsiteY16" fmla="*/ 5239 h 74063"/>
                  <a:gd name="connsiteX17" fmla="*/ 81997 w 82665"/>
                  <a:gd name="connsiteY17" fmla="*/ 31850 h 74063"/>
                  <a:gd name="connsiteX18" fmla="*/ 80244 w 82665"/>
                  <a:gd name="connsiteY18" fmla="*/ 46449 h 74063"/>
                  <a:gd name="connsiteX19" fmla="*/ 63726 w 82665"/>
                  <a:gd name="connsiteY19" fmla="*/ 66887 h 74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2665" h="74063" extrusionOk="0">
                    <a:moveTo>
                      <a:pt x="63726" y="66887"/>
                    </a:moveTo>
                    <a:cubicBezTo>
                      <a:pt x="63726" y="68222"/>
                      <a:pt x="64143" y="69974"/>
                      <a:pt x="63309" y="70891"/>
                    </a:cubicBezTo>
                    <a:cubicBezTo>
                      <a:pt x="62892" y="71809"/>
                      <a:pt x="61974" y="72226"/>
                      <a:pt x="61056" y="72226"/>
                    </a:cubicBezTo>
                    <a:cubicBezTo>
                      <a:pt x="53965" y="75312"/>
                      <a:pt x="45539" y="74478"/>
                      <a:pt x="38948" y="69974"/>
                    </a:cubicBezTo>
                    <a:cubicBezTo>
                      <a:pt x="36696" y="68639"/>
                      <a:pt x="34527" y="66470"/>
                      <a:pt x="32274" y="65552"/>
                    </a:cubicBezTo>
                    <a:cubicBezTo>
                      <a:pt x="28270" y="63300"/>
                      <a:pt x="23431" y="63800"/>
                      <a:pt x="18508" y="63800"/>
                    </a:cubicBezTo>
                    <a:cubicBezTo>
                      <a:pt x="14087" y="63800"/>
                      <a:pt x="9165" y="63800"/>
                      <a:pt x="5244" y="61548"/>
                    </a:cubicBezTo>
                    <a:cubicBezTo>
                      <a:pt x="1240" y="59296"/>
                      <a:pt x="-1430" y="54040"/>
                      <a:pt x="823" y="50036"/>
                    </a:cubicBezTo>
                    <a:cubicBezTo>
                      <a:pt x="2574" y="46532"/>
                      <a:pt x="7497" y="45615"/>
                      <a:pt x="9248" y="42028"/>
                    </a:cubicBezTo>
                    <a:cubicBezTo>
                      <a:pt x="12753" y="35354"/>
                      <a:pt x="2574" y="27846"/>
                      <a:pt x="5244" y="20338"/>
                    </a:cubicBezTo>
                    <a:cubicBezTo>
                      <a:pt x="6161" y="18086"/>
                      <a:pt x="8331" y="16334"/>
                      <a:pt x="10083" y="14582"/>
                    </a:cubicBezTo>
                    <a:cubicBezTo>
                      <a:pt x="12753" y="12330"/>
                      <a:pt x="15839" y="10161"/>
                      <a:pt x="18508" y="7909"/>
                    </a:cubicBezTo>
                    <a:cubicBezTo>
                      <a:pt x="22514" y="4822"/>
                      <a:pt x="27852" y="1235"/>
                      <a:pt x="32274" y="3487"/>
                    </a:cubicBezTo>
                    <a:cubicBezTo>
                      <a:pt x="34527" y="4405"/>
                      <a:pt x="36279" y="6574"/>
                      <a:pt x="38948" y="7492"/>
                    </a:cubicBezTo>
                    <a:cubicBezTo>
                      <a:pt x="43787" y="9744"/>
                      <a:pt x="49126" y="6574"/>
                      <a:pt x="54049" y="3487"/>
                    </a:cubicBezTo>
                    <a:cubicBezTo>
                      <a:pt x="58470" y="818"/>
                      <a:pt x="64644" y="-1852"/>
                      <a:pt x="69149" y="1736"/>
                    </a:cubicBezTo>
                    <a:cubicBezTo>
                      <a:pt x="70484" y="2653"/>
                      <a:pt x="71401" y="3988"/>
                      <a:pt x="71819" y="5239"/>
                    </a:cubicBezTo>
                    <a:cubicBezTo>
                      <a:pt x="76657" y="13248"/>
                      <a:pt x="80244" y="22507"/>
                      <a:pt x="81997" y="31850"/>
                    </a:cubicBezTo>
                    <a:cubicBezTo>
                      <a:pt x="82914" y="36689"/>
                      <a:pt x="83331" y="42445"/>
                      <a:pt x="80244" y="46449"/>
                    </a:cubicBezTo>
                    <a:cubicBezTo>
                      <a:pt x="76157" y="52205"/>
                      <a:pt x="63726" y="59796"/>
                      <a:pt x="63726" y="6688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2269358" name="Полилиния 464"/>
              <p:cNvSpPr/>
              <p:nvPr/>
            </p:nvSpPr>
            <p:spPr bwMode="auto">
              <a:xfrm>
                <a:off x="6251001" y="2424291"/>
                <a:ext cx="50022" cy="30870"/>
              </a:xfrm>
              <a:custGeom>
                <a:avLst/>
                <a:gdLst>
                  <a:gd name="connsiteX0" fmla="*/ 52018 w 56176"/>
                  <a:gd name="connsiteY0" fmla="*/ 15766 h 34669"/>
                  <a:gd name="connsiteX1" fmla="*/ 54687 w 56176"/>
                  <a:gd name="connsiteY1" fmla="*/ 14432 h 34669"/>
                  <a:gd name="connsiteX2" fmla="*/ 55105 w 56176"/>
                  <a:gd name="connsiteY2" fmla="*/ 2002 h 34669"/>
                  <a:gd name="connsiteX3" fmla="*/ 42257 w 56176"/>
                  <a:gd name="connsiteY3" fmla="*/ 1084 h 34669"/>
                  <a:gd name="connsiteX4" fmla="*/ 32079 w 56176"/>
                  <a:gd name="connsiteY4" fmla="*/ 9510 h 34669"/>
                  <a:gd name="connsiteX5" fmla="*/ 19648 w 56176"/>
                  <a:gd name="connsiteY5" fmla="*/ 3337 h 34669"/>
                  <a:gd name="connsiteX6" fmla="*/ 15643 w 56176"/>
                  <a:gd name="connsiteY6" fmla="*/ 2002 h 34669"/>
                  <a:gd name="connsiteX7" fmla="*/ 5049 w 56176"/>
                  <a:gd name="connsiteY7" fmla="*/ 6840 h 34669"/>
                  <a:gd name="connsiteX8" fmla="*/ 627 w 56176"/>
                  <a:gd name="connsiteY8" fmla="*/ 18352 h 34669"/>
                  <a:gd name="connsiteX9" fmla="*/ 210 w 56176"/>
                  <a:gd name="connsiteY9" fmla="*/ 22774 h 34669"/>
                  <a:gd name="connsiteX10" fmla="*/ 7301 w 56176"/>
                  <a:gd name="connsiteY10" fmla="*/ 32117 h 34669"/>
                  <a:gd name="connsiteX11" fmla="*/ 32579 w 56176"/>
                  <a:gd name="connsiteY11" fmla="*/ 31199 h 34669"/>
                  <a:gd name="connsiteX12" fmla="*/ 52018 w 56176"/>
                  <a:gd name="connsiteY12" fmla="*/ 15766 h 34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176" h="34669" extrusionOk="0">
                    <a:moveTo>
                      <a:pt x="52018" y="15766"/>
                    </a:moveTo>
                    <a:cubicBezTo>
                      <a:pt x="52935" y="15349"/>
                      <a:pt x="53770" y="14849"/>
                      <a:pt x="54687" y="14432"/>
                    </a:cubicBezTo>
                    <a:cubicBezTo>
                      <a:pt x="57774" y="11762"/>
                      <a:pt x="55105" y="6423"/>
                      <a:pt x="55105" y="2002"/>
                    </a:cubicBezTo>
                    <a:cubicBezTo>
                      <a:pt x="51601" y="-250"/>
                      <a:pt x="46678" y="-668"/>
                      <a:pt x="42257" y="1084"/>
                    </a:cubicBezTo>
                    <a:cubicBezTo>
                      <a:pt x="38252" y="2836"/>
                      <a:pt x="34748" y="5923"/>
                      <a:pt x="32079" y="9510"/>
                    </a:cubicBezTo>
                    <a:cubicBezTo>
                      <a:pt x="28074" y="7257"/>
                      <a:pt x="23653" y="5506"/>
                      <a:pt x="19648" y="3337"/>
                    </a:cubicBezTo>
                    <a:cubicBezTo>
                      <a:pt x="18313" y="2920"/>
                      <a:pt x="16978" y="2002"/>
                      <a:pt x="15643" y="2002"/>
                    </a:cubicBezTo>
                    <a:cubicBezTo>
                      <a:pt x="11639" y="1084"/>
                      <a:pt x="7634" y="3337"/>
                      <a:pt x="5049" y="6840"/>
                    </a:cubicBezTo>
                    <a:cubicBezTo>
                      <a:pt x="2379" y="10344"/>
                      <a:pt x="1544" y="14348"/>
                      <a:pt x="627" y="18352"/>
                    </a:cubicBezTo>
                    <a:cubicBezTo>
                      <a:pt x="210" y="19687"/>
                      <a:pt x="-291" y="21439"/>
                      <a:pt x="210" y="22774"/>
                    </a:cubicBezTo>
                    <a:cubicBezTo>
                      <a:pt x="1127" y="26778"/>
                      <a:pt x="7301" y="28112"/>
                      <a:pt x="7301" y="32117"/>
                    </a:cubicBezTo>
                    <a:cubicBezTo>
                      <a:pt x="15310" y="34786"/>
                      <a:pt x="25488" y="36538"/>
                      <a:pt x="32579" y="31199"/>
                    </a:cubicBezTo>
                    <a:cubicBezTo>
                      <a:pt x="39671" y="25026"/>
                      <a:pt x="43174" y="19270"/>
                      <a:pt x="52018" y="1576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03426590" name="Полилиния 465"/>
              <p:cNvSpPr/>
              <p:nvPr/>
            </p:nvSpPr>
            <p:spPr bwMode="auto">
              <a:xfrm>
                <a:off x="6238812" y="2278996"/>
                <a:ext cx="37558" cy="37575"/>
              </a:xfrm>
              <a:custGeom>
                <a:avLst/>
                <a:gdLst>
                  <a:gd name="connsiteX0" fmla="*/ 7225 w 42180"/>
                  <a:gd name="connsiteY0" fmla="*/ 42044 h 42198"/>
                  <a:gd name="connsiteX1" fmla="*/ 4555 w 42180"/>
                  <a:gd name="connsiteY1" fmla="*/ 41627 h 42198"/>
                  <a:gd name="connsiteX2" fmla="*/ 1885 w 42180"/>
                  <a:gd name="connsiteY2" fmla="*/ 39374 h 42198"/>
                  <a:gd name="connsiteX3" fmla="*/ 12481 w 42180"/>
                  <a:gd name="connsiteY3" fmla="*/ 17185 h 42198"/>
                  <a:gd name="connsiteX4" fmla="*/ 15985 w 42180"/>
                  <a:gd name="connsiteY4" fmla="*/ 12346 h 42198"/>
                  <a:gd name="connsiteX5" fmla="*/ 24411 w 42180"/>
                  <a:gd name="connsiteY5" fmla="*/ 8842 h 42198"/>
                  <a:gd name="connsiteX6" fmla="*/ 29750 w 42180"/>
                  <a:gd name="connsiteY6" fmla="*/ 3504 h 42198"/>
                  <a:gd name="connsiteX7" fmla="*/ 35923 w 42180"/>
                  <a:gd name="connsiteY7" fmla="*/ 0 h 42198"/>
                  <a:gd name="connsiteX8" fmla="*/ 37258 w 42180"/>
                  <a:gd name="connsiteY8" fmla="*/ 417 h 42198"/>
                  <a:gd name="connsiteX9" fmla="*/ 38176 w 42180"/>
                  <a:gd name="connsiteY9" fmla="*/ 1752 h 42198"/>
                  <a:gd name="connsiteX10" fmla="*/ 39511 w 42180"/>
                  <a:gd name="connsiteY10" fmla="*/ 2669 h 42198"/>
                  <a:gd name="connsiteX11" fmla="*/ 39928 w 42180"/>
                  <a:gd name="connsiteY11" fmla="*/ 5339 h 42198"/>
                  <a:gd name="connsiteX12" fmla="*/ 42180 w 42180"/>
                  <a:gd name="connsiteY12" fmla="*/ 17768 h 42198"/>
                  <a:gd name="connsiteX13" fmla="*/ 41263 w 42180"/>
                  <a:gd name="connsiteY13" fmla="*/ 22190 h 42198"/>
                  <a:gd name="connsiteX14" fmla="*/ 34589 w 42180"/>
                  <a:gd name="connsiteY14" fmla="*/ 28863 h 42198"/>
                  <a:gd name="connsiteX15" fmla="*/ 28415 w 42180"/>
                  <a:gd name="connsiteY15" fmla="*/ 38206 h 42198"/>
                  <a:gd name="connsiteX16" fmla="*/ 7225 w 42180"/>
                  <a:gd name="connsiteY16" fmla="*/ 42044 h 42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180" h="42198" extrusionOk="0">
                    <a:moveTo>
                      <a:pt x="7225" y="42044"/>
                    </a:moveTo>
                    <a:cubicBezTo>
                      <a:pt x="6307" y="42044"/>
                      <a:pt x="5473" y="42044"/>
                      <a:pt x="4555" y="41627"/>
                    </a:cubicBezTo>
                    <a:cubicBezTo>
                      <a:pt x="3220" y="41210"/>
                      <a:pt x="2303" y="40292"/>
                      <a:pt x="1885" y="39374"/>
                    </a:cubicBezTo>
                    <a:cubicBezTo>
                      <a:pt x="-4789" y="29614"/>
                      <a:pt x="8059" y="23858"/>
                      <a:pt x="12481" y="17185"/>
                    </a:cubicBezTo>
                    <a:cubicBezTo>
                      <a:pt x="13815" y="15433"/>
                      <a:pt x="14733" y="13681"/>
                      <a:pt x="15985" y="12346"/>
                    </a:cubicBezTo>
                    <a:cubicBezTo>
                      <a:pt x="18237" y="10594"/>
                      <a:pt x="21741" y="10094"/>
                      <a:pt x="24411" y="8842"/>
                    </a:cubicBezTo>
                    <a:cubicBezTo>
                      <a:pt x="26663" y="7508"/>
                      <a:pt x="27915" y="5339"/>
                      <a:pt x="29750" y="3504"/>
                    </a:cubicBezTo>
                    <a:cubicBezTo>
                      <a:pt x="31502" y="1752"/>
                      <a:pt x="33254" y="0"/>
                      <a:pt x="35923" y="0"/>
                    </a:cubicBezTo>
                    <a:cubicBezTo>
                      <a:pt x="36341" y="0"/>
                      <a:pt x="36841" y="0"/>
                      <a:pt x="37258" y="417"/>
                    </a:cubicBezTo>
                    <a:cubicBezTo>
                      <a:pt x="37675" y="834"/>
                      <a:pt x="37675" y="1335"/>
                      <a:pt x="38176" y="1752"/>
                    </a:cubicBezTo>
                    <a:cubicBezTo>
                      <a:pt x="38677" y="2169"/>
                      <a:pt x="39094" y="2169"/>
                      <a:pt x="39511" y="2669"/>
                    </a:cubicBezTo>
                    <a:cubicBezTo>
                      <a:pt x="39928" y="3087"/>
                      <a:pt x="39928" y="4421"/>
                      <a:pt x="39928" y="5339"/>
                    </a:cubicBezTo>
                    <a:cubicBezTo>
                      <a:pt x="39511" y="9760"/>
                      <a:pt x="42180" y="13347"/>
                      <a:pt x="42180" y="17768"/>
                    </a:cubicBezTo>
                    <a:cubicBezTo>
                      <a:pt x="42180" y="19520"/>
                      <a:pt x="42180" y="20855"/>
                      <a:pt x="41263" y="22190"/>
                    </a:cubicBezTo>
                    <a:cubicBezTo>
                      <a:pt x="39928" y="25276"/>
                      <a:pt x="36841" y="26611"/>
                      <a:pt x="34589" y="28863"/>
                    </a:cubicBezTo>
                    <a:cubicBezTo>
                      <a:pt x="32336" y="31533"/>
                      <a:pt x="30584" y="35954"/>
                      <a:pt x="28415" y="38206"/>
                    </a:cubicBezTo>
                    <a:cubicBezTo>
                      <a:pt x="21908" y="43379"/>
                      <a:pt x="14817" y="42044"/>
                      <a:pt x="7225" y="4204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99922089" name="Полилиния 466"/>
              <p:cNvSpPr/>
              <p:nvPr/>
            </p:nvSpPr>
            <p:spPr bwMode="auto">
              <a:xfrm>
                <a:off x="6219085" y="2367883"/>
                <a:ext cx="16818" cy="13838"/>
              </a:xfrm>
              <a:custGeom>
                <a:avLst/>
                <a:gdLst>
                  <a:gd name="connsiteX0" fmla="*/ 2849 w 18888"/>
                  <a:gd name="connsiteY0" fmla="*/ 14380 h 15542"/>
                  <a:gd name="connsiteX1" fmla="*/ 9941 w 18888"/>
                  <a:gd name="connsiteY1" fmla="*/ 15297 h 15542"/>
                  <a:gd name="connsiteX2" fmla="*/ 11275 w 18888"/>
                  <a:gd name="connsiteY2" fmla="*/ 14880 h 15542"/>
                  <a:gd name="connsiteX3" fmla="*/ 18784 w 18888"/>
                  <a:gd name="connsiteY3" fmla="*/ 6038 h 15542"/>
                  <a:gd name="connsiteX4" fmla="*/ 16114 w 18888"/>
                  <a:gd name="connsiteY4" fmla="*/ 2534 h 15542"/>
                  <a:gd name="connsiteX5" fmla="*/ 2849 w 18888"/>
                  <a:gd name="connsiteY5" fmla="*/ 2117 h 15542"/>
                  <a:gd name="connsiteX6" fmla="*/ 2849 w 18888"/>
                  <a:gd name="connsiteY6" fmla="*/ 14380 h 1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888" h="15542" extrusionOk="0">
                    <a:moveTo>
                      <a:pt x="2849" y="14380"/>
                    </a:moveTo>
                    <a:cubicBezTo>
                      <a:pt x="4601" y="15714"/>
                      <a:pt x="8189" y="15714"/>
                      <a:pt x="9941" y="15297"/>
                    </a:cubicBezTo>
                    <a:cubicBezTo>
                      <a:pt x="10358" y="15297"/>
                      <a:pt x="10858" y="14880"/>
                      <a:pt x="11275" y="14880"/>
                    </a:cubicBezTo>
                    <a:cubicBezTo>
                      <a:pt x="14362" y="13128"/>
                      <a:pt x="19701" y="10459"/>
                      <a:pt x="18784" y="6038"/>
                    </a:cubicBezTo>
                    <a:cubicBezTo>
                      <a:pt x="18367" y="4703"/>
                      <a:pt x="17449" y="3368"/>
                      <a:pt x="16114" y="2534"/>
                    </a:cubicBezTo>
                    <a:cubicBezTo>
                      <a:pt x="12610" y="-553"/>
                      <a:pt x="6353" y="-970"/>
                      <a:pt x="2849" y="2117"/>
                    </a:cubicBezTo>
                    <a:cubicBezTo>
                      <a:pt x="-738" y="5120"/>
                      <a:pt x="-1155" y="11293"/>
                      <a:pt x="2849" y="1438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70844637" name="Полилиния 467"/>
              <p:cNvSpPr/>
              <p:nvPr/>
            </p:nvSpPr>
            <p:spPr bwMode="auto">
              <a:xfrm>
                <a:off x="6000007" y="2272510"/>
                <a:ext cx="27837" cy="32670"/>
              </a:xfrm>
              <a:custGeom>
                <a:avLst/>
                <a:gdLst>
                  <a:gd name="connsiteX0" fmla="*/ 12282 w 31262"/>
                  <a:gd name="connsiteY0" fmla="*/ 28056 h 36690"/>
                  <a:gd name="connsiteX1" fmla="*/ 14034 w 31262"/>
                  <a:gd name="connsiteY1" fmla="*/ 20966 h 36690"/>
                  <a:gd name="connsiteX2" fmla="*/ 17538 w 31262"/>
                  <a:gd name="connsiteY2" fmla="*/ 19631 h 36690"/>
                  <a:gd name="connsiteX3" fmla="*/ 25046 w 31262"/>
                  <a:gd name="connsiteY3" fmla="*/ 17378 h 36690"/>
                  <a:gd name="connsiteX4" fmla="*/ 29051 w 31262"/>
                  <a:gd name="connsiteY4" fmla="*/ 16044 h 36690"/>
                  <a:gd name="connsiteX5" fmla="*/ 30386 w 31262"/>
                  <a:gd name="connsiteY5" fmla="*/ 7618 h 36690"/>
                  <a:gd name="connsiteX6" fmla="*/ 23712 w 31262"/>
                  <a:gd name="connsiteY6" fmla="*/ 1445 h 36690"/>
                  <a:gd name="connsiteX7" fmla="*/ 17955 w 31262"/>
                  <a:gd name="connsiteY7" fmla="*/ 110 h 36690"/>
                  <a:gd name="connsiteX8" fmla="*/ 9112 w 31262"/>
                  <a:gd name="connsiteY8" fmla="*/ 6283 h 36690"/>
                  <a:gd name="connsiteX9" fmla="*/ 2438 w 31262"/>
                  <a:gd name="connsiteY9" fmla="*/ 16461 h 36690"/>
                  <a:gd name="connsiteX10" fmla="*/ 1103 w 31262"/>
                  <a:gd name="connsiteY10" fmla="*/ 22217 h 36690"/>
                  <a:gd name="connsiteX11" fmla="*/ 185 w 31262"/>
                  <a:gd name="connsiteY11" fmla="*/ 29725 h 36690"/>
                  <a:gd name="connsiteX12" fmla="*/ 185 w 31262"/>
                  <a:gd name="connsiteY12" fmla="*/ 33228 h 36690"/>
                  <a:gd name="connsiteX13" fmla="*/ 12282 w 31262"/>
                  <a:gd name="connsiteY13" fmla="*/ 28056 h 36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262" h="36690" extrusionOk="0">
                    <a:moveTo>
                      <a:pt x="12282" y="28056"/>
                    </a:moveTo>
                    <a:cubicBezTo>
                      <a:pt x="12699" y="25387"/>
                      <a:pt x="12282" y="22717"/>
                      <a:pt x="14034" y="20966"/>
                    </a:cubicBezTo>
                    <a:cubicBezTo>
                      <a:pt x="14952" y="20048"/>
                      <a:pt x="16287" y="19631"/>
                      <a:pt x="17538" y="19631"/>
                    </a:cubicBezTo>
                    <a:cubicBezTo>
                      <a:pt x="20208" y="18713"/>
                      <a:pt x="22377" y="18296"/>
                      <a:pt x="25046" y="17378"/>
                    </a:cubicBezTo>
                    <a:cubicBezTo>
                      <a:pt x="26381" y="16961"/>
                      <a:pt x="27716" y="16461"/>
                      <a:pt x="29051" y="16044"/>
                    </a:cubicBezTo>
                    <a:cubicBezTo>
                      <a:pt x="31721" y="14292"/>
                      <a:pt x="31721" y="10288"/>
                      <a:pt x="30386" y="7618"/>
                    </a:cubicBezTo>
                    <a:cubicBezTo>
                      <a:pt x="29051" y="4949"/>
                      <a:pt x="26381" y="2780"/>
                      <a:pt x="23712" y="1445"/>
                    </a:cubicBezTo>
                    <a:cubicBezTo>
                      <a:pt x="21960" y="528"/>
                      <a:pt x="20208" y="-307"/>
                      <a:pt x="17955" y="110"/>
                    </a:cubicBezTo>
                    <a:cubicBezTo>
                      <a:pt x="14451" y="110"/>
                      <a:pt x="11281" y="3197"/>
                      <a:pt x="9112" y="6283"/>
                    </a:cubicBezTo>
                    <a:cubicBezTo>
                      <a:pt x="6442" y="9370"/>
                      <a:pt x="3773" y="12457"/>
                      <a:pt x="2438" y="16461"/>
                    </a:cubicBezTo>
                    <a:cubicBezTo>
                      <a:pt x="2021" y="18213"/>
                      <a:pt x="1520" y="19965"/>
                      <a:pt x="1103" y="22217"/>
                    </a:cubicBezTo>
                    <a:cubicBezTo>
                      <a:pt x="686" y="24886"/>
                      <a:pt x="185" y="27055"/>
                      <a:pt x="185" y="29725"/>
                    </a:cubicBezTo>
                    <a:cubicBezTo>
                      <a:pt x="185" y="31060"/>
                      <a:pt x="-232" y="32394"/>
                      <a:pt x="185" y="33228"/>
                    </a:cubicBezTo>
                    <a:cubicBezTo>
                      <a:pt x="3439" y="41320"/>
                      <a:pt x="11865" y="33395"/>
                      <a:pt x="12282" y="2805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91790226" name="Полилиния 468"/>
              <p:cNvSpPr/>
              <p:nvPr/>
            </p:nvSpPr>
            <p:spPr bwMode="auto">
              <a:xfrm>
                <a:off x="5140674" y="2756795"/>
                <a:ext cx="78244" cy="73201"/>
              </a:xfrm>
              <a:custGeom>
                <a:avLst/>
                <a:gdLst>
                  <a:gd name="connsiteX0" fmla="*/ 80 w 87872"/>
                  <a:gd name="connsiteY0" fmla="*/ 62710 h 82208"/>
                  <a:gd name="connsiteX1" fmla="*/ 75831 w 87872"/>
                  <a:gd name="connsiteY1" fmla="*/ 76474 h 82208"/>
                  <a:gd name="connsiteX2" fmla="*/ 87344 w 87872"/>
                  <a:gd name="connsiteY2" fmla="*/ 57872 h 82208"/>
                  <a:gd name="connsiteX3" fmla="*/ 78000 w 87872"/>
                  <a:gd name="connsiteY3" fmla="*/ 51198 h 82208"/>
                  <a:gd name="connsiteX4" fmla="*/ 68239 w 87872"/>
                  <a:gd name="connsiteY4" fmla="*/ 34848 h 82208"/>
                  <a:gd name="connsiteX5" fmla="*/ 65987 w 87872"/>
                  <a:gd name="connsiteY5" fmla="*/ 9154 h 82208"/>
                  <a:gd name="connsiteX6" fmla="*/ 28361 w 87872"/>
                  <a:gd name="connsiteY6" fmla="*/ 2480 h 82208"/>
                  <a:gd name="connsiteX7" fmla="*/ 10675 w 87872"/>
                  <a:gd name="connsiteY7" fmla="*/ 33513 h 82208"/>
                  <a:gd name="connsiteX8" fmla="*/ 80 w 87872"/>
                  <a:gd name="connsiteY8" fmla="*/ 62710 h 82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7872" h="82208" extrusionOk="0">
                    <a:moveTo>
                      <a:pt x="80" y="62710"/>
                    </a:moveTo>
                    <a:cubicBezTo>
                      <a:pt x="-2590" y="89321"/>
                      <a:pt x="62566" y="83065"/>
                      <a:pt x="75831" y="76474"/>
                    </a:cubicBezTo>
                    <a:cubicBezTo>
                      <a:pt x="82005" y="73388"/>
                      <a:pt x="90014" y="66297"/>
                      <a:pt x="87344" y="57872"/>
                    </a:cubicBezTo>
                    <a:cubicBezTo>
                      <a:pt x="84257" y="47694"/>
                      <a:pt x="85092" y="55202"/>
                      <a:pt x="78000" y="51198"/>
                    </a:cubicBezTo>
                    <a:cubicBezTo>
                      <a:pt x="69157" y="46359"/>
                      <a:pt x="61148" y="49446"/>
                      <a:pt x="68239" y="34848"/>
                    </a:cubicBezTo>
                    <a:cubicBezTo>
                      <a:pt x="73579" y="22918"/>
                      <a:pt x="80170" y="21584"/>
                      <a:pt x="65987" y="9154"/>
                    </a:cubicBezTo>
                    <a:cubicBezTo>
                      <a:pt x="55809" y="729"/>
                      <a:pt x="40708" y="-2775"/>
                      <a:pt x="28361" y="2480"/>
                    </a:cubicBezTo>
                    <a:cubicBezTo>
                      <a:pt x="14179" y="9154"/>
                      <a:pt x="13762" y="20166"/>
                      <a:pt x="10675" y="33513"/>
                    </a:cubicBezTo>
                    <a:cubicBezTo>
                      <a:pt x="9006" y="44107"/>
                      <a:pt x="998" y="52950"/>
                      <a:pt x="80" y="6271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1653263" name="Полилиния 469"/>
              <p:cNvSpPr/>
              <p:nvPr/>
            </p:nvSpPr>
            <p:spPr bwMode="auto">
              <a:xfrm>
                <a:off x="5384497" y="2803126"/>
                <a:ext cx="60651" cy="28882"/>
              </a:xfrm>
              <a:custGeom>
                <a:avLst/>
                <a:gdLst>
                  <a:gd name="connsiteX0" fmla="*/ 2734 w 68113"/>
                  <a:gd name="connsiteY0" fmla="*/ 12430 h 32436"/>
                  <a:gd name="connsiteX1" fmla="*/ 13830 w 68113"/>
                  <a:gd name="connsiteY1" fmla="*/ 5756 h 32436"/>
                  <a:gd name="connsiteX2" fmla="*/ 36438 w 68113"/>
                  <a:gd name="connsiteY2" fmla="*/ 417 h 32436"/>
                  <a:gd name="connsiteX3" fmla="*/ 39108 w 68113"/>
                  <a:gd name="connsiteY3" fmla="*/ 0 h 32436"/>
                  <a:gd name="connsiteX4" fmla="*/ 42195 w 68113"/>
                  <a:gd name="connsiteY4" fmla="*/ 2252 h 32436"/>
                  <a:gd name="connsiteX5" fmla="*/ 53708 w 68113"/>
                  <a:gd name="connsiteY5" fmla="*/ 12847 h 32436"/>
                  <a:gd name="connsiteX6" fmla="*/ 58129 w 68113"/>
                  <a:gd name="connsiteY6" fmla="*/ 16351 h 32436"/>
                  <a:gd name="connsiteX7" fmla="*/ 63886 w 68113"/>
                  <a:gd name="connsiteY7" fmla="*/ 19020 h 32436"/>
                  <a:gd name="connsiteX8" fmla="*/ 67390 w 68113"/>
                  <a:gd name="connsiteY8" fmla="*/ 29614 h 32436"/>
                  <a:gd name="connsiteX9" fmla="*/ 60299 w 68113"/>
                  <a:gd name="connsiteY9" fmla="*/ 31867 h 32436"/>
                  <a:gd name="connsiteX10" fmla="*/ 57212 w 68113"/>
                  <a:gd name="connsiteY10" fmla="*/ 29197 h 32436"/>
                  <a:gd name="connsiteX11" fmla="*/ 36355 w 68113"/>
                  <a:gd name="connsiteY11" fmla="*/ 20355 h 32436"/>
                  <a:gd name="connsiteX12" fmla="*/ 28847 w 68113"/>
                  <a:gd name="connsiteY12" fmla="*/ 21689 h 32436"/>
                  <a:gd name="connsiteX13" fmla="*/ 27095 w 68113"/>
                  <a:gd name="connsiteY13" fmla="*/ 25694 h 32436"/>
                  <a:gd name="connsiteX14" fmla="*/ 15999 w 68113"/>
                  <a:gd name="connsiteY14" fmla="*/ 30532 h 32436"/>
                  <a:gd name="connsiteX15" fmla="*/ 2734 w 68113"/>
                  <a:gd name="connsiteY15" fmla="*/ 12430 h 32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8113" h="32436" extrusionOk="0">
                    <a:moveTo>
                      <a:pt x="2734" y="12430"/>
                    </a:moveTo>
                    <a:cubicBezTo>
                      <a:pt x="4486" y="8426"/>
                      <a:pt x="9408" y="7091"/>
                      <a:pt x="13830" y="5756"/>
                    </a:cubicBezTo>
                    <a:cubicBezTo>
                      <a:pt x="21338" y="4004"/>
                      <a:pt x="28930" y="2252"/>
                      <a:pt x="36438" y="417"/>
                    </a:cubicBezTo>
                    <a:cubicBezTo>
                      <a:pt x="37356" y="417"/>
                      <a:pt x="38191" y="0"/>
                      <a:pt x="39108" y="0"/>
                    </a:cubicBezTo>
                    <a:cubicBezTo>
                      <a:pt x="40443" y="0"/>
                      <a:pt x="41361" y="1335"/>
                      <a:pt x="42195" y="2252"/>
                    </a:cubicBezTo>
                    <a:cubicBezTo>
                      <a:pt x="46200" y="5756"/>
                      <a:pt x="49703" y="9343"/>
                      <a:pt x="53708" y="12847"/>
                    </a:cubicBezTo>
                    <a:cubicBezTo>
                      <a:pt x="55043" y="14181"/>
                      <a:pt x="56377" y="15516"/>
                      <a:pt x="58129" y="16351"/>
                    </a:cubicBezTo>
                    <a:cubicBezTo>
                      <a:pt x="59881" y="17268"/>
                      <a:pt x="61634" y="18102"/>
                      <a:pt x="63886" y="19020"/>
                    </a:cubicBezTo>
                    <a:cubicBezTo>
                      <a:pt x="67390" y="20772"/>
                      <a:pt x="69225" y="25694"/>
                      <a:pt x="67390" y="29614"/>
                    </a:cubicBezTo>
                    <a:cubicBezTo>
                      <a:pt x="66055" y="32284"/>
                      <a:pt x="62551" y="33118"/>
                      <a:pt x="60299" y="31867"/>
                    </a:cubicBezTo>
                    <a:cubicBezTo>
                      <a:pt x="58964" y="31449"/>
                      <a:pt x="58046" y="30115"/>
                      <a:pt x="57212" y="29197"/>
                    </a:cubicBezTo>
                    <a:cubicBezTo>
                      <a:pt x="52373" y="23441"/>
                      <a:pt x="43947" y="21689"/>
                      <a:pt x="36355" y="20355"/>
                    </a:cubicBezTo>
                    <a:cubicBezTo>
                      <a:pt x="33686" y="19938"/>
                      <a:pt x="30599" y="19437"/>
                      <a:pt x="28847" y="21689"/>
                    </a:cubicBezTo>
                    <a:cubicBezTo>
                      <a:pt x="27929" y="23024"/>
                      <a:pt x="27929" y="24359"/>
                      <a:pt x="27095" y="25694"/>
                    </a:cubicBezTo>
                    <a:cubicBezTo>
                      <a:pt x="25343" y="29698"/>
                      <a:pt x="20421" y="30115"/>
                      <a:pt x="15999" y="30532"/>
                    </a:cubicBezTo>
                    <a:cubicBezTo>
                      <a:pt x="3151" y="31032"/>
                      <a:pt x="-4357" y="26611"/>
                      <a:pt x="2734" y="1243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6988912" name="Полилиния 470"/>
              <p:cNvSpPr/>
              <p:nvPr/>
            </p:nvSpPr>
            <p:spPr bwMode="auto">
              <a:xfrm>
                <a:off x="5517834" y="2909737"/>
                <a:ext cx="41545" cy="61828"/>
              </a:xfrm>
              <a:custGeom>
                <a:avLst/>
                <a:gdLst>
                  <a:gd name="connsiteX0" fmla="*/ 31025 w 46658"/>
                  <a:gd name="connsiteY0" fmla="*/ 1233 h 69436"/>
                  <a:gd name="connsiteX1" fmla="*/ 13756 w 46658"/>
                  <a:gd name="connsiteY1" fmla="*/ 5654 h 69436"/>
                  <a:gd name="connsiteX2" fmla="*/ 3578 w 46658"/>
                  <a:gd name="connsiteY2" fmla="*/ 26926 h 69436"/>
                  <a:gd name="connsiteX3" fmla="*/ 491 w 46658"/>
                  <a:gd name="connsiteY3" fmla="*/ 29596 h 69436"/>
                  <a:gd name="connsiteX4" fmla="*/ 908 w 46658"/>
                  <a:gd name="connsiteY4" fmla="*/ 34935 h 69436"/>
                  <a:gd name="connsiteX5" fmla="*/ 12421 w 46658"/>
                  <a:gd name="connsiteY5" fmla="*/ 53954 h 69436"/>
                  <a:gd name="connsiteX6" fmla="*/ 28773 w 46658"/>
                  <a:gd name="connsiteY6" fmla="*/ 68553 h 69436"/>
                  <a:gd name="connsiteX7" fmla="*/ 46459 w 46658"/>
                  <a:gd name="connsiteY7" fmla="*/ 60545 h 69436"/>
                  <a:gd name="connsiteX8" fmla="*/ 40286 w 46658"/>
                  <a:gd name="connsiteY8" fmla="*/ 31348 h 69436"/>
                  <a:gd name="connsiteX9" fmla="*/ 31025 w 46658"/>
                  <a:gd name="connsiteY9" fmla="*/ 1233 h 69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58" h="69436" extrusionOk="0">
                    <a:moveTo>
                      <a:pt x="31025" y="1233"/>
                    </a:moveTo>
                    <a:cubicBezTo>
                      <a:pt x="25269" y="-1437"/>
                      <a:pt x="17761" y="315"/>
                      <a:pt x="13756" y="5654"/>
                    </a:cubicBezTo>
                    <a:cubicBezTo>
                      <a:pt x="8917" y="11827"/>
                      <a:pt x="9752" y="22005"/>
                      <a:pt x="3578" y="26926"/>
                    </a:cubicBezTo>
                    <a:cubicBezTo>
                      <a:pt x="2660" y="27844"/>
                      <a:pt x="1325" y="28261"/>
                      <a:pt x="491" y="29596"/>
                    </a:cubicBezTo>
                    <a:cubicBezTo>
                      <a:pt x="-426" y="31348"/>
                      <a:pt x="74" y="33099"/>
                      <a:pt x="908" y="34935"/>
                    </a:cubicBezTo>
                    <a:cubicBezTo>
                      <a:pt x="3578" y="42026"/>
                      <a:pt x="8000" y="47781"/>
                      <a:pt x="12421" y="53954"/>
                    </a:cubicBezTo>
                    <a:cubicBezTo>
                      <a:pt x="16843" y="59711"/>
                      <a:pt x="21765" y="65884"/>
                      <a:pt x="28773" y="68553"/>
                    </a:cubicBezTo>
                    <a:cubicBezTo>
                      <a:pt x="35864" y="71223"/>
                      <a:pt x="45125" y="67636"/>
                      <a:pt x="46459" y="60545"/>
                    </a:cubicBezTo>
                    <a:cubicBezTo>
                      <a:pt x="47794" y="53037"/>
                      <a:pt x="42038" y="39273"/>
                      <a:pt x="40286" y="31348"/>
                    </a:cubicBezTo>
                    <a:cubicBezTo>
                      <a:pt x="39035" y="22505"/>
                      <a:pt x="37700" y="7406"/>
                      <a:pt x="31025" y="123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46836567" name="Полилиния 471"/>
              <p:cNvSpPr/>
              <p:nvPr/>
            </p:nvSpPr>
            <p:spPr bwMode="auto">
              <a:xfrm>
                <a:off x="5318235" y="2858027"/>
                <a:ext cx="39170" cy="41495"/>
              </a:xfrm>
              <a:custGeom>
                <a:avLst/>
                <a:gdLst>
                  <a:gd name="connsiteX0" fmla="*/ 42610 w 43990"/>
                  <a:gd name="connsiteY0" fmla="*/ 19013 h 46601"/>
                  <a:gd name="connsiteX1" fmla="*/ 35936 w 43990"/>
                  <a:gd name="connsiteY1" fmla="*/ 8836 h 46601"/>
                  <a:gd name="connsiteX2" fmla="*/ 28845 w 43990"/>
                  <a:gd name="connsiteY2" fmla="*/ 1328 h 46601"/>
                  <a:gd name="connsiteX3" fmla="*/ 14245 w 43990"/>
                  <a:gd name="connsiteY3" fmla="*/ 3080 h 46601"/>
                  <a:gd name="connsiteX4" fmla="*/ 5819 w 43990"/>
                  <a:gd name="connsiteY4" fmla="*/ 11923 h 46601"/>
                  <a:gd name="connsiteX5" fmla="*/ 63 w 43990"/>
                  <a:gd name="connsiteY5" fmla="*/ 17679 h 46601"/>
                  <a:gd name="connsiteX6" fmla="*/ 2732 w 43990"/>
                  <a:gd name="connsiteY6" fmla="*/ 23435 h 46601"/>
                  <a:gd name="connsiteX7" fmla="*/ 13327 w 43990"/>
                  <a:gd name="connsiteY7" fmla="*/ 34947 h 46601"/>
                  <a:gd name="connsiteX8" fmla="*/ 16832 w 43990"/>
                  <a:gd name="connsiteY8" fmla="*/ 39785 h 46601"/>
                  <a:gd name="connsiteX9" fmla="*/ 20335 w 43990"/>
                  <a:gd name="connsiteY9" fmla="*/ 45958 h 46601"/>
                  <a:gd name="connsiteX10" fmla="*/ 25174 w 43990"/>
                  <a:gd name="connsiteY10" fmla="*/ 45541 h 46601"/>
                  <a:gd name="connsiteX11" fmla="*/ 27844 w 43990"/>
                  <a:gd name="connsiteY11" fmla="*/ 41120 h 46601"/>
                  <a:gd name="connsiteX12" fmla="*/ 27844 w 43990"/>
                  <a:gd name="connsiteY12" fmla="*/ 37616 h 46601"/>
                  <a:gd name="connsiteX13" fmla="*/ 42610 w 43990"/>
                  <a:gd name="connsiteY13" fmla="*/ 19013 h 46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3990" h="46601" extrusionOk="0">
                    <a:moveTo>
                      <a:pt x="42610" y="19013"/>
                    </a:moveTo>
                    <a:cubicBezTo>
                      <a:pt x="40358" y="15510"/>
                      <a:pt x="38189" y="12340"/>
                      <a:pt x="35936" y="8836"/>
                    </a:cubicBezTo>
                    <a:cubicBezTo>
                      <a:pt x="34184" y="6167"/>
                      <a:pt x="31931" y="3080"/>
                      <a:pt x="28845" y="1328"/>
                    </a:cubicBezTo>
                    <a:cubicBezTo>
                      <a:pt x="24006" y="-1341"/>
                      <a:pt x="18667" y="411"/>
                      <a:pt x="14245" y="3080"/>
                    </a:cubicBezTo>
                    <a:cubicBezTo>
                      <a:pt x="10741" y="5333"/>
                      <a:pt x="9406" y="9253"/>
                      <a:pt x="5819" y="11923"/>
                    </a:cubicBezTo>
                    <a:cubicBezTo>
                      <a:pt x="3566" y="13675"/>
                      <a:pt x="480" y="15009"/>
                      <a:pt x="63" y="17679"/>
                    </a:cubicBezTo>
                    <a:cubicBezTo>
                      <a:pt x="-354" y="19931"/>
                      <a:pt x="1398" y="22100"/>
                      <a:pt x="2732" y="23435"/>
                    </a:cubicBezTo>
                    <a:cubicBezTo>
                      <a:pt x="6236" y="27439"/>
                      <a:pt x="9823" y="31443"/>
                      <a:pt x="13327" y="34947"/>
                    </a:cubicBezTo>
                    <a:cubicBezTo>
                      <a:pt x="14662" y="36282"/>
                      <a:pt x="15997" y="38033"/>
                      <a:pt x="16832" y="39785"/>
                    </a:cubicBezTo>
                    <a:cubicBezTo>
                      <a:pt x="17749" y="42038"/>
                      <a:pt x="18166" y="44624"/>
                      <a:pt x="20335" y="45958"/>
                    </a:cubicBezTo>
                    <a:cubicBezTo>
                      <a:pt x="21670" y="46876"/>
                      <a:pt x="23839" y="46876"/>
                      <a:pt x="25174" y="45541"/>
                    </a:cubicBezTo>
                    <a:cubicBezTo>
                      <a:pt x="26509" y="44624"/>
                      <a:pt x="27427" y="42872"/>
                      <a:pt x="27844" y="41120"/>
                    </a:cubicBezTo>
                    <a:cubicBezTo>
                      <a:pt x="27844" y="39785"/>
                      <a:pt x="27844" y="38868"/>
                      <a:pt x="27844" y="37616"/>
                    </a:cubicBezTo>
                    <a:cubicBezTo>
                      <a:pt x="30180" y="28273"/>
                      <a:pt x="49201" y="29191"/>
                      <a:pt x="42610" y="1901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41702868" name="Полилиния 472"/>
              <p:cNvSpPr/>
              <p:nvPr/>
            </p:nvSpPr>
            <p:spPr bwMode="auto">
              <a:xfrm>
                <a:off x="6851332" y="2248987"/>
                <a:ext cx="20405" cy="27650"/>
              </a:xfrm>
              <a:custGeom>
                <a:avLst/>
                <a:gdLst>
                  <a:gd name="connsiteX0" fmla="*/ 16209 w 22917"/>
                  <a:gd name="connsiteY0" fmla="*/ 5756 h 31053"/>
                  <a:gd name="connsiteX1" fmla="*/ 8200 w 22917"/>
                  <a:gd name="connsiteY1" fmla="*/ 0 h 31053"/>
                  <a:gd name="connsiteX2" fmla="*/ 2026 w 22917"/>
                  <a:gd name="connsiteY2" fmla="*/ 4421 h 31053"/>
                  <a:gd name="connsiteX3" fmla="*/ 274 w 22917"/>
                  <a:gd name="connsiteY3" fmla="*/ 12430 h 31053"/>
                  <a:gd name="connsiteX4" fmla="*/ 691 w 22917"/>
                  <a:gd name="connsiteY4" fmla="*/ 19938 h 31053"/>
                  <a:gd name="connsiteX5" fmla="*/ 20213 w 22917"/>
                  <a:gd name="connsiteY5" fmla="*/ 29698 h 31053"/>
                  <a:gd name="connsiteX6" fmla="*/ 16209 w 22917"/>
                  <a:gd name="connsiteY6" fmla="*/ 5756 h 3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917" h="31053" extrusionOk="0">
                    <a:moveTo>
                      <a:pt x="16209" y="5756"/>
                    </a:moveTo>
                    <a:cubicBezTo>
                      <a:pt x="14457" y="3087"/>
                      <a:pt x="11788" y="0"/>
                      <a:pt x="8200" y="0"/>
                    </a:cubicBezTo>
                    <a:cubicBezTo>
                      <a:pt x="5531" y="0"/>
                      <a:pt x="2861" y="1752"/>
                      <a:pt x="2026" y="4421"/>
                    </a:cubicBezTo>
                    <a:cubicBezTo>
                      <a:pt x="1192" y="7091"/>
                      <a:pt x="691" y="9760"/>
                      <a:pt x="274" y="12430"/>
                    </a:cubicBezTo>
                    <a:cubicBezTo>
                      <a:pt x="-143" y="15099"/>
                      <a:pt x="-143" y="17769"/>
                      <a:pt x="691" y="19938"/>
                    </a:cubicBezTo>
                    <a:cubicBezTo>
                      <a:pt x="3361" y="25276"/>
                      <a:pt x="14874" y="34536"/>
                      <a:pt x="20213" y="29698"/>
                    </a:cubicBezTo>
                    <a:cubicBezTo>
                      <a:pt x="26804" y="23441"/>
                      <a:pt x="19713" y="10594"/>
                      <a:pt x="16209" y="575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28836179" name="Полилиния 473"/>
              <p:cNvSpPr/>
              <p:nvPr/>
            </p:nvSpPr>
            <p:spPr bwMode="auto">
              <a:xfrm>
                <a:off x="5836818" y="2669625"/>
                <a:ext cx="13500" cy="11166"/>
              </a:xfrm>
              <a:custGeom>
                <a:avLst/>
                <a:gdLst>
                  <a:gd name="connsiteX0" fmla="*/ 3750 w 15162"/>
                  <a:gd name="connsiteY0" fmla="*/ 11784 h 12541"/>
                  <a:gd name="connsiteX1" fmla="*/ 12594 w 15162"/>
                  <a:gd name="connsiteY1" fmla="*/ 10449 h 12541"/>
                  <a:gd name="connsiteX2" fmla="*/ 14846 w 15162"/>
                  <a:gd name="connsiteY2" fmla="*/ 2023 h 12541"/>
                  <a:gd name="connsiteX3" fmla="*/ 246 w 15162"/>
                  <a:gd name="connsiteY3" fmla="*/ 6027 h 12541"/>
                  <a:gd name="connsiteX4" fmla="*/ 3750 w 15162"/>
                  <a:gd name="connsiteY4" fmla="*/ 11784 h 12541"/>
                  <a:gd name="connsiteX5" fmla="*/ 3750 w 15162"/>
                  <a:gd name="connsiteY5" fmla="*/ 11784 h 12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162" h="12541" extrusionOk="0">
                    <a:moveTo>
                      <a:pt x="3750" y="11784"/>
                    </a:moveTo>
                    <a:cubicBezTo>
                      <a:pt x="6420" y="13118"/>
                      <a:pt x="10425" y="12701"/>
                      <a:pt x="12594" y="10449"/>
                    </a:cubicBezTo>
                    <a:cubicBezTo>
                      <a:pt x="14846" y="8196"/>
                      <a:pt x="15680" y="4693"/>
                      <a:pt x="14846" y="2023"/>
                    </a:cubicBezTo>
                    <a:cubicBezTo>
                      <a:pt x="10425" y="-1981"/>
                      <a:pt x="1998" y="272"/>
                      <a:pt x="246" y="6027"/>
                    </a:cubicBezTo>
                    <a:cubicBezTo>
                      <a:pt x="-671" y="8196"/>
                      <a:pt x="1081" y="12201"/>
                      <a:pt x="3750" y="11784"/>
                    </a:cubicBezTo>
                    <a:lnTo>
                      <a:pt x="3750" y="11784"/>
                    </a:ln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6923338" name="Полилиния 474"/>
              <p:cNvSpPr/>
              <p:nvPr/>
            </p:nvSpPr>
            <p:spPr bwMode="auto">
              <a:xfrm>
                <a:off x="5800281" y="2716441"/>
                <a:ext cx="19000" cy="12998"/>
              </a:xfrm>
              <a:custGeom>
                <a:avLst/>
                <a:gdLst>
                  <a:gd name="connsiteX0" fmla="*/ 12914 w 21339"/>
                  <a:gd name="connsiteY0" fmla="*/ 13264 h 14598"/>
                  <a:gd name="connsiteX1" fmla="*/ 18253 w 21339"/>
                  <a:gd name="connsiteY1" fmla="*/ 10177 h 14598"/>
                  <a:gd name="connsiteX2" fmla="*/ 21340 w 21339"/>
                  <a:gd name="connsiteY2" fmla="*/ 5339 h 14598"/>
                  <a:gd name="connsiteX3" fmla="*/ 21340 w 21339"/>
                  <a:gd name="connsiteY3" fmla="*/ 4421 h 14598"/>
                  <a:gd name="connsiteX4" fmla="*/ 20422 w 21339"/>
                  <a:gd name="connsiteY4" fmla="*/ 3087 h 14598"/>
                  <a:gd name="connsiteX5" fmla="*/ 11996 w 21339"/>
                  <a:gd name="connsiteY5" fmla="*/ 0 h 14598"/>
                  <a:gd name="connsiteX6" fmla="*/ 8492 w 21339"/>
                  <a:gd name="connsiteY6" fmla="*/ 417 h 14598"/>
                  <a:gd name="connsiteX7" fmla="*/ 5822 w 21339"/>
                  <a:gd name="connsiteY7" fmla="*/ 834 h 14598"/>
                  <a:gd name="connsiteX8" fmla="*/ 2736 w 21339"/>
                  <a:gd name="connsiteY8" fmla="*/ 1752 h 14598"/>
                  <a:gd name="connsiteX9" fmla="*/ 984 w 21339"/>
                  <a:gd name="connsiteY9" fmla="*/ 3087 h 14598"/>
                  <a:gd name="connsiteX10" fmla="*/ 567 w 21339"/>
                  <a:gd name="connsiteY10" fmla="*/ 5339 h 14598"/>
                  <a:gd name="connsiteX11" fmla="*/ 149 w 21339"/>
                  <a:gd name="connsiteY11" fmla="*/ 8843 h 14598"/>
                  <a:gd name="connsiteX12" fmla="*/ 1901 w 21339"/>
                  <a:gd name="connsiteY12" fmla="*/ 11095 h 14598"/>
                  <a:gd name="connsiteX13" fmla="*/ 6740 w 21339"/>
                  <a:gd name="connsiteY13" fmla="*/ 14181 h 14598"/>
                  <a:gd name="connsiteX14" fmla="*/ 8075 w 21339"/>
                  <a:gd name="connsiteY14" fmla="*/ 14599 h 14598"/>
                  <a:gd name="connsiteX15" fmla="*/ 9410 w 21339"/>
                  <a:gd name="connsiteY15" fmla="*/ 14181 h 14598"/>
                  <a:gd name="connsiteX16" fmla="*/ 10744 w 21339"/>
                  <a:gd name="connsiteY16" fmla="*/ 13764 h 14598"/>
                  <a:gd name="connsiteX17" fmla="*/ 12914 w 21339"/>
                  <a:gd name="connsiteY17" fmla="*/ 13264 h 14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339" h="14598" extrusionOk="0">
                    <a:moveTo>
                      <a:pt x="12914" y="13264"/>
                    </a:moveTo>
                    <a:cubicBezTo>
                      <a:pt x="14666" y="12346"/>
                      <a:pt x="16418" y="11512"/>
                      <a:pt x="18253" y="10177"/>
                    </a:cubicBezTo>
                    <a:cubicBezTo>
                      <a:pt x="20088" y="8843"/>
                      <a:pt x="20923" y="7091"/>
                      <a:pt x="21340" y="5339"/>
                    </a:cubicBezTo>
                    <a:cubicBezTo>
                      <a:pt x="21340" y="4922"/>
                      <a:pt x="21340" y="4922"/>
                      <a:pt x="21340" y="4421"/>
                    </a:cubicBezTo>
                    <a:cubicBezTo>
                      <a:pt x="21340" y="3921"/>
                      <a:pt x="20923" y="3504"/>
                      <a:pt x="20422" y="3087"/>
                    </a:cubicBezTo>
                    <a:cubicBezTo>
                      <a:pt x="17753" y="1335"/>
                      <a:pt x="15083" y="0"/>
                      <a:pt x="11996" y="0"/>
                    </a:cubicBezTo>
                    <a:cubicBezTo>
                      <a:pt x="10661" y="0"/>
                      <a:pt x="9326" y="417"/>
                      <a:pt x="8492" y="417"/>
                    </a:cubicBezTo>
                    <a:cubicBezTo>
                      <a:pt x="7658" y="417"/>
                      <a:pt x="6740" y="834"/>
                      <a:pt x="5822" y="834"/>
                    </a:cubicBezTo>
                    <a:cubicBezTo>
                      <a:pt x="4487" y="1251"/>
                      <a:pt x="3570" y="1251"/>
                      <a:pt x="2736" y="1752"/>
                    </a:cubicBezTo>
                    <a:cubicBezTo>
                      <a:pt x="2319" y="2169"/>
                      <a:pt x="1401" y="2669"/>
                      <a:pt x="984" y="3087"/>
                    </a:cubicBezTo>
                    <a:cubicBezTo>
                      <a:pt x="567" y="4004"/>
                      <a:pt x="567" y="4421"/>
                      <a:pt x="567" y="5339"/>
                    </a:cubicBezTo>
                    <a:cubicBezTo>
                      <a:pt x="567" y="6674"/>
                      <a:pt x="-351" y="7591"/>
                      <a:pt x="149" y="8843"/>
                    </a:cubicBezTo>
                    <a:cubicBezTo>
                      <a:pt x="567" y="9760"/>
                      <a:pt x="1484" y="10594"/>
                      <a:pt x="1901" y="11095"/>
                    </a:cubicBezTo>
                    <a:cubicBezTo>
                      <a:pt x="3653" y="12430"/>
                      <a:pt x="4988" y="13347"/>
                      <a:pt x="6740" y="14181"/>
                    </a:cubicBezTo>
                    <a:cubicBezTo>
                      <a:pt x="7157" y="14599"/>
                      <a:pt x="7658" y="14599"/>
                      <a:pt x="8075" y="14599"/>
                    </a:cubicBezTo>
                    <a:cubicBezTo>
                      <a:pt x="8492" y="14599"/>
                      <a:pt x="8993" y="14599"/>
                      <a:pt x="9410" y="14181"/>
                    </a:cubicBezTo>
                    <a:lnTo>
                      <a:pt x="10744" y="13764"/>
                    </a:lnTo>
                    <a:cubicBezTo>
                      <a:pt x="11579" y="14098"/>
                      <a:pt x="11996" y="13681"/>
                      <a:pt x="12914" y="1326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44354229" name="Полилиния 475"/>
              <p:cNvSpPr/>
              <p:nvPr/>
            </p:nvSpPr>
            <p:spPr bwMode="auto">
              <a:xfrm>
                <a:off x="5835033" y="2665467"/>
                <a:ext cx="15376" cy="13015"/>
              </a:xfrm>
              <a:custGeom>
                <a:avLst/>
                <a:gdLst>
                  <a:gd name="connsiteX0" fmla="*/ 8426 w 17269"/>
                  <a:gd name="connsiteY0" fmla="*/ 14617 h 14617"/>
                  <a:gd name="connsiteX1" fmla="*/ 11096 w 17269"/>
                  <a:gd name="connsiteY1" fmla="*/ 13700 h 14617"/>
                  <a:gd name="connsiteX2" fmla="*/ 14600 w 17269"/>
                  <a:gd name="connsiteY2" fmla="*/ 12365 h 14617"/>
                  <a:gd name="connsiteX3" fmla="*/ 17269 w 17269"/>
                  <a:gd name="connsiteY3" fmla="*/ 9695 h 14617"/>
                  <a:gd name="connsiteX4" fmla="*/ 14183 w 17269"/>
                  <a:gd name="connsiteY4" fmla="*/ 5691 h 14617"/>
                  <a:gd name="connsiteX5" fmla="*/ 13765 w 17269"/>
                  <a:gd name="connsiteY5" fmla="*/ 1270 h 14617"/>
                  <a:gd name="connsiteX6" fmla="*/ 12431 w 17269"/>
                  <a:gd name="connsiteY6" fmla="*/ 352 h 14617"/>
                  <a:gd name="connsiteX7" fmla="*/ 4421 w 17269"/>
                  <a:gd name="connsiteY7" fmla="*/ 2605 h 14617"/>
                  <a:gd name="connsiteX8" fmla="*/ 917 w 17269"/>
                  <a:gd name="connsiteY8" fmla="*/ 7944 h 14617"/>
                  <a:gd name="connsiteX9" fmla="*/ 0 w 17269"/>
                  <a:gd name="connsiteY9" fmla="*/ 9278 h 14617"/>
                  <a:gd name="connsiteX10" fmla="*/ 917 w 17269"/>
                  <a:gd name="connsiteY10" fmla="*/ 10613 h 14617"/>
                  <a:gd name="connsiteX11" fmla="*/ 5339 w 17269"/>
                  <a:gd name="connsiteY11" fmla="*/ 12365 h 14617"/>
                  <a:gd name="connsiteX12" fmla="*/ 8426 w 17269"/>
                  <a:gd name="connsiteY12" fmla="*/ 14617 h 14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269" h="14617" extrusionOk="0">
                    <a:moveTo>
                      <a:pt x="8426" y="14617"/>
                    </a:moveTo>
                    <a:cubicBezTo>
                      <a:pt x="9344" y="14617"/>
                      <a:pt x="10178" y="14200"/>
                      <a:pt x="11096" y="13700"/>
                    </a:cubicBezTo>
                    <a:cubicBezTo>
                      <a:pt x="12431" y="13283"/>
                      <a:pt x="13348" y="12782"/>
                      <a:pt x="14600" y="12365"/>
                    </a:cubicBezTo>
                    <a:cubicBezTo>
                      <a:pt x="15934" y="11948"/>
                      <a:pt x="17269" y="11030"/>
                      <a:pt x="17269" y="9695"/>
                    </a:cubicBezTo>
                    <a:cubicBezTo>
                      <a:pt x="17269" y="7944"/>
                      <a:pt x="15017" y="7443"/>
                      <a:pt x="14183" y="5691"/>
                    </a:cubicBezTo>
                    <a:cubicBezTo>
                      <a:pt x="13765" y="4357"/>
                      <a:pt x="14600" y="2605"/>
                      <a:pt x="13765" y="1270"/>
                    </a:cubicBezTo>
                    <a:cubicBezTo>
                      <a:pt x="13348" y="853"/>
                      <a:pt x="12848" y="352"/>
                      <a:pt x="12431" y="352"/>
                    </a:cubicBezTo>
                    <a:cubicBezTo>
                      <a:pt x="9761" y="-565"/>
                      <a:pt x="6257" y="352"/>
                      <a:pt x="4421" y="2605"/>
                    </a:cubicBezTo>
                    <a:cubicBezTo>
                      <a:pt x="3087" y="4357"/>
                      <a:pt x="2669" y="6609"/>
                      <a:pt x="917" y="7944"/>
                    </a:cubicBezTo>
                    <a:cubicBezTo>
                      <a:pt x="500" y="8361"/>
                      <a:pt x="0" y="8861"/>
                      <a:pt x="0" y="9278"/>
                    </a:cubicBezTo>
                    <a:cubicBezTo>
                      <a:pt x="0" y="9695"/>
                      <a:pt x="417" y="10196"/>
                      <a:pt x="917" y="10613"/>
                    </a:cubicBezTo>
                    <a:cubicBezTo>
                      <a:pt x="2252" y="11531"/>
                      <a:pt x="3587" y="11948"/>
                      <a:pt x="5339" y="12365"/>
                    </a:cubicBezTo>
                    <a:cubicBezTo>
                      <a:pt x="6174" y="13783"/>
                      <a:pt x="7091" y="14617"/>
                      <a:pt x="8426" y="146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9470580" name="Полилиния 476"/>
              <p:cNvSpPr/>
              <p:nvPr/>
            </p:nvSpPr>
            <p:spPr bwMode="auto">
              <a:xfrm>
                <a:off x="5708720" y="2761559"/>
                <a:ext cx="23320" cy="8975"/>
              </a:xfrm>
              <a:custGeom>
                <a:avLst/>
                <a:gdLst>
                  <a:gd name="connsiteX0" fmla="*/ 17380 w 26190"/>
                  <a:gd name="connsiteY0" fmla="*/ 8642 h 10080"/>
                  <a:gd name="connsiteX1" fmla="*/ 14293 w 26190"/>
                  <a:gd name="connsiteY1" fmla="*/ 8225 h 10080"/>
                  <a:gd name="connsiteX2" fmla="*/ 11624 w 26190"/>
                  <a:gd name="connsiteY2" fmla="*/ 9143 h 10080"/>
                  <a:gd name="connsiteX3" fmla="*/ 110 w 26190"/>
                  <a:gd name="connsiteY3" fmla="*/ 8725 h 10080"/>
                  <a:gd name="connsiteX4" fmla="*/ 1445 w 26190"/>
                  <a:gd name="connsiteY4" fmla="*/ 4721 h 10080"/>
                  <a:gd name="connsiteX5" fmla="*/ 4949 w 26190"/>
                  <a:gd name="connsiteY5" fmla="*/ 2469 h 10080"/>
                  <a:gd name="connsiteX6" fmla="*/ 14710 w 26190"/>
                  <a:gd name="connsiteY6" fmla="*/ 217 h 10080"/>
                  <a:gd name="connsiteX7" fmla="*/ 23553 w 26190"/>
                  <a:gd name="connsiteY7" fmla="*/ 5555 h 10080"/>
                  <a:gd name="connsiteX8" fmla="*/ 17380 w 26190"/>
                  <a:gd name="connsiteY8" fmla="*/ 8642 h 10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190" h="10080" extrusionOk="0">
                    <a:moveTo>
                      <a:pt x="17380" y="8642"/>
                    </a:moveTo>
                    <a:cubicBezTo>
                      <a:pt x="16462" y="8225"/>
                      <a:pt x="15628" y="8225"/>
                      <a:pt x="14293" y="8225"/>
                    </a:cubicBezTo>
                    <a:cubicBezTo>
                      <a:pt x="13376" y="8225"/>
                      <a:pt x="12541" y="9143"/>
                      <a:pt x="11624" y="9143"/>
                    </a:cubicBezTo>
                    <a:cubicBezTo>
                      <a:pt x="8119" y="10894"/>
                      <a:pt x="4115" y="9560"/>
                      <a:pt x="110" y="8725"/>
                    </a:cubicBezTo>
                    <a:cubicBezTo>
                      <a:pt x="-307" y="7391"/>
                      <a:pt x="528" y="6056"/>
                      <a:pt x="1445" y="4721"/>
                    </a:cubicBezTo>
                    <a:cubicBezTo>
                      <a:pt x="2363" y="3804"/>
                      <a:pt x="3698" y="2970"/>
                      <a:pt x="4949" y="2469"/>
                    </a:cubicBezTo>
                    <a:cubicBezTo>
                      <a:pt x="8036" y="1134"/>
                      <a:pt x="11624" y="-618"/>
                      <a:pt x="14710" y="217"/>
                    </a:cubicBezTo>
                    <a:cubicBezTo>
                      <a:pt x="18214" y="634"/>
                      <a:pt x="20884" y="3303"/>
                      <a:pt x="23553" y="5555"/>
                    </a:cubicBezTo>
                    <a:cubicBezTo>
                      <a:pt x="31062" y="12146"/>
                      <a:pt x="20467" y="9977"/>
                      <a:pt x="17380" y="864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182138550" name="Полилиния 477"/>
              <p:cNvSpPr/>
              <p:nvPr/>
            </p:nvSpPr>
            <p:spPr bwMode="auto">
              <a:xfrm>
                <a:off x="5783781" y="2783071"/>
                <a:ext cx="10413" cy="12453"/>
              </a:xfrm>
              <a:custGeom>
                <a:avLst/>
                <a:gdLst>
                  <a:gd name="connsiteX0" fmla="*/ 11004 w 11695"/>
                  <a:gd name="connsiteY0" fmla="*/ 4838 h 13986"/>
                  <a:gd name="connsiteX1" fmla="*/ 3913 w 11695"/>
                  <a:gd name="connsiteY1" fmla="*/ 0 h 13986"/>
                  <a:gd name="connsiteX2" fmla="*/ 2161 w 11695"/>
                  <a:gd name="connsiteY2" fmla="*/ 417 h 13986"/>
                  <a:gd name="connsiteX3" fmla="*/ 1244 w 11695"/>
                  <a:gd name="connsiteY3" fmla="*/ 1752 h 13986"/>
                  <a:gd name="connsiteX4" fmla="*/ 5665 w 11695"/>
                  <a:gd name="connsiteY4" fmla="*/ 13681 h 13986"/>
                  <a:gd name="connsiteX5" fmla="*/ 11004 w 11695"/>
                  <a:gd name="connsiteY5" fmla="*/ 4838 h 13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695" h="13986" extrusionOk="0">
                    <a:moveTo>
                      <a:pt x="11004" y="4838"/>
                    </a:moveTo>
                    <a:cubicBezTo>
                      <a:pt x="9669" y="2169"/>
                      <a:pt x="7000" y="0"/>
                      <a:pt x="3913" y="0"/>
                    </a:cubicBezTo>
                    <a:cubicBezTo>
                      <a:pt x="3496" y="0"/>
                      <a:pt x="2578" y="0"/>
                      <a:pt x="2161" y="417"/>
                    </a:cubicBezTo>
                    <a:cubicBezTo>
                      <a:pt x="1744" y="834"/>
                      <a:pt x="1744" y="1335"/>
                      <a:pt x="1244" y="1752"/>
                    </a:cubicBezTo>
                    <a:cubicBezTo>
                      <a:pt x="-508" y="6590"/>
                      <a:pt x="-1426" y="12346"/>
                      <a:pt x="5665" y="13681"/>
                    </a:cubicBezTo>
                    <a:cubicBezTo>
                      <a:pt x="11004" y="15433"/>
                      <a:pt x="12840" y="9260"/>
                      <a:pt x="11004" y="483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655333573" name="Полилиния 478"/>
              <p:cNvSpPr/>
              <p:nvPr/>
            </p:nvSpPr>
            <p:spPr bwMode="auto">
              <a:xfrm>
                <a:off x="5907746" y="2611369"/>
                <a:ext cx="29611" cy="34707"/>
              </a:xfrm>
              <a:custGeom>
                <a:avLst/>
                <a:gdLst>
                  <a:gd name="connsiteX0" fmla="*/ 25543 w 33255"/>
                  <a:gd name="connsiteY0" fmla="*/ 2295 h 38978"/>
                  <a:gd name="connsiteX1" fmla="*/ 14948 w 33255"/>
                  <a:gd name="connsiteY1" fmla="*/ 543 h 38978"/>
                  <a:gd name="connsiteX2" fmla="*/ 9609 w 33255"/>
                  <a:gd name="connsiteY2" fmla="*/ 7216 h 38978"/>
                  <a:gd name="connsiteX3" fmla="*/ 7356 w 33255"/>
                  <a:gd name="connsiteY3" fmla="*/ 12055 h 38978"/>
                  <a:gd name="connsiteX4" fmla="*/ 682 w 33255"/>
                  <a:gd name="connsiteY4" fmla="*/ 15558 h 38978"/>
                  <a:gd name="connsiteX5" fmla="*/ 2934 w 33255"/>
                  <a:gd name="connsiteY5" fmla="*/ 23567 h 38978"/>
                  <a:gd name="connsiteX6" fmla="*/ 7356 w 33255"/>
                  <a:gd name="connsiteY6" fmla="*/ 27571 h 38978"/>
                  <a:gd name="connsiteX7" fmla="*/ 11778 w 33255"/>
                  <a:gd name="connsiteY7" fmla="*/ 30241 h 38978"/>
                  <a:gd name="connsiteX8" fmla="*/ 14447 w 33255"/>
                  <a:gd name="connsiteY8" fmla="*/ 34662 h 38978"/>
                  <a:gd name="connsiteX9" fmla="*/ 14447 w 33255"/>
                  <a:gd name="connsiteY9" fmla="*/ 36914 h 38978"/>
                  <a:gd name="connsiteX10" fmla="*/ 31300 w 33255"/>
                  <a:gd name="connsiteY10" fmla="*/ 23150 h 38978"/>
                  <a:gd name="connsiteX11" fmla="*/ 25543 w 33255"/>
                  <a:gd name="connsiteY11" fmla="*/ 2295 h 389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255" h="38978" extrusionOk="0">
                    <a:moveTo>
                      <a:pt x="25543" y="2295"/>
                    </a:moveTo>
                    <a:cubicBezTo>
                      <a:pt x="22039" y="543"/>
                      <a:pt x="18452" y="-792"/>
                      <a:pt x="14948" y="543"/>
                    </a:cubicBezTo>
                    <a:cubicBezTo>
                      <a:pt x="12278" y="1878"/>
                      <a:pt x="10526" y="4547"/>
                      <a:pt x="9609" y="7216"/>
                    </a:cubicBezTo>
                    <a:cubicBezTo>
                      <a:pt x="9191" y="8968"/>
                      <a:pt x="8691" y="10720"/>
                      <a:pt x="7356" y="12055"/>
                    </a:cubicBezTo>
                    <a:cubicBezTo>
                      <a:pt x="5604" y="13807"/>
                      <a:pt x="2517" y="13390"/>
                      <a:pt x="682" y="15558"/>
                    </a:cubicBezTo>
                    <a:cubicBezTo>
                      <a:pt x="-1153" y="17728"/>
                      <a:pt x="1099" y="21315"/>
                      <a:pt x="2934" y="23567"/>
                    </a:cubicBezTo>
                    <a:cubicBezTo>
                      <a:pt x="4269" y="24902"/>
                      <a:pt x="5604" y="26653"/>
                      <a:pt x="7356" y="27571"/>
                    </a:cubicBezTo>
                    <a:cubicBezTo>
                      <a:pt x="8691" y="28489"/>
                      <a:pt x="10443" y="29323"/>
                      <a:pt x="11778" y="30241"/>
                    </a:cubicBezTo>
                    <a:cubicBezTo>
                      <a:pt x="13112" y="31158"/>
                      <a:pt x="14447" y="32910"/>
                      <a:pt x="14447" y="34662"/>
                    </a:cubicBezTo>
                    <a:cubicBezTo>
                      <a:pt x="14447" y="35579"/>
                      <a:pt x="14030" y="36414"/>
                      <a:pt x="14447" y="36914"/>
                    </a:cubicBezTo>
                    <a:cubicBezTo>
                      <a:pt x="17117" y="45340"/>
                      <a:pt x="29965" y="25402"/>
                      <a:pt x="31300" y="23150"/>
                    </a:cubicBezTo>
                    <a:cubicBezTo>
                      <a:pt x="35304" y="16476"/>
                      <a:pt x="33052" y="5882"/>
                      <a:pt x="25543" y="229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68245887" name="Полилиния 479"/>
              <p:cNvSpPr/>
              <p:nvPr/>
            </p:nvSpPr>
            <p:spPr bwMode="auto">
              <a:xfrm>
                <a:off x="5857878" y="2673213"/>
                <a:ext cx="35542" cy="36078"/>
              </a:xfrm>
              <a:custGeom>
                <a:avLst/>
                <a:gdLst>
                  <a:gd name="connsiteX0" fmla="*/ 31490 w 39916"/>
                  <a:gd name="connsiteY0" fmla="*/ 3332 h 40518"/>
                  <a:gd name="connsiteX1" fmla="*/ 30572 w 39916"/>
                  <a:gd name="connsiteY1" fmla="*/ 1997 h 40518"/>
                  <a:gd name="connsiteX2" fmla="*/ 28820 w 39916"/>
                  <a:gd name="connsiteY2" fmla="*/ 1080 h 40518"/>
                  <a:gd name="connsiteX3" fmla="*/ 19977 w 39916"/>
                  <a:gd name="connsiteY3" fmla="*/ 162 h 40518"/>
                  <a:gd name="connsiteX4" fmla="*/ 12886 w 39916"/>
                  <a:gd name="connsiteY4" fmla="*/ 5000 h 40518"/>
                  <a:gd name="connsiteX5" fmla="*/ 9382 w 39916"/>
                  <a:gd name="connsiteY5" fmla="*/ 14761 h 40518"/>
                  <a:gd name="connsiteX6" fmla="*/ 38 w 39916"/>
                  <a:gd name="connsiteY6" fmla="*/ 22268 h 40518"/>
                  <a:gd name="connsiteX7" fmla="*/ 5794 w 39916"/>
                  <a:gd name="connsiteY7" fmla="*/ 29359 h 40518"/>
                  <a:gd name="connsiteX8" fmla="*/ 32407 w 39916"/>
                  <a:gd name="connsiteY8" fmla="*/ 40454 h 40518"/>
                  <a:gd name="connsiteX9" fmla="*/ 38164 w 39916"/>
                  <a:gd name="connsiteY9" fmla="*/ 33363 h 40518"/>
                  <a:gd name="connsiteX10" fmla="*/ 39499 w 39916"/>
                  <a:gd name="connsiteY10" fmla="*/ 17430 h 40518"/>
                  <a:gd name="connsiteX11" fmla="*/ 31490 w 39916"/>
                  <a:gd name="connsiteY11" fmla="*/ 3332 h 40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916" h="40518" extrusionOk="0">
                    <a:moveTo>
                      <a:pt x="31490" y="3332"/>
                    </a:moveTo>
                    <a:cubicBezTo>
                      <a:pt x="31073" y="2915"/>
                      <a:pt x="31073" y="2414"/>
                      <a:pt x="30572" y="1997"/>
                    </a:cubicBezTo>
                    <a:cubicBezTo>
                      <a:pt x="30155" y="1580"/>
                      <a:pt x="29655" y="1580"/>
                      <a:pt x="28820" y="1080"/>
                    </a:cubicBezTo>
                    <a:cubicBezTo>
                      <a:pt x="26150" y="162"/>
                      <a:pt x="23064" y="-255"/>
                      <a:pt x="19977" y="162"/>
                    </a:cubicBezTo>
                    <a:cubicBezTo>
                      <a:pt x="16890" y="579"/>
                      <a:pt x="14221" y="2414"/>
                      <a:pt x="12886" y="5000"/>
                    </a:cubicBezTo>
                    <a:cubicBezTo>
                      <a:pt x="11134" y="8087"/>
                      <a:pt x="11551" y="12091"/>
                      <a:pt x="9382" y="14761"/>
                    </a:cubicBezTo>
                    <a:cubicBezTo>
                      <a:pt x="6712" y="17847"/>
                      <a:pt x="956" y="18264"/>
                      <a:pt x="38" y="22268"/>
                    </a:cubicBezTo>
                    <a:cubicBezTo>
                      <a:pt x="-379" y="25355"/>
                      <a:pt x="2708" y="27607"/>
                      <a:pt x="5794" y="29359"/>
                    </a:cubicBezTo>
                    <a:cubicBezTo>
                      <a:pt x="13803" y="33781"/>
                      <a:pt x="22647" y="41288"/>
                      <a:pt x="32407" y="40454"/>
                    </a:cubicBezTo>
                    <a:cubicBezTo>
                      <a:pt x="37747" y="40037"/>
                      <a:pt x="38164" y="38202"/>
                      <a:pt x="38164" y="33363"/>
                    </a:cubicBezTo>
                    <a:cubicBezTo>
                      <a:pt x="38581" y="28024"/>
                      <a:pt x="40834" y="22769"/>
                      <a:pt x="39499" y="17430"/>
                    </a:cubicBezTo>
                    <a:cubicBezTo>
                      <a:pt x="38164" y="13009"/>
                      <a:pt x="33659" y="7753"/>
                      <a:pt x="31490" y="333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32397263" name="Полилиния 480"/>
              <p:cNvSpPr/>
              <p:nvPr/>
            </p:nvSpPr>
            <p:spPr bwMode="auto">
              <a:xfrm>
                <a:off x="5691928" y="2545103"/>
                <a:ext cx="35168" cy="47849"/>
              </a:xfrm>
              <a:custGeom>
                <a:avLst/>
                <a:gdLst>
                  <a:gd name="connsiteX0" fmla="*/ 39324 w 39496"/>
                  <a:gd name="connsiteY0" fmla="*/ 29330 h 53737"/>
                  <a:gd name="connsiteX1" fmla="*/ 38907 w 39496"/>
                  <a:gd name="connsiteY1" fmla="*/ 22657 h 53737"/>
                  <a:gd name="connsiteX2" fmla="*/ 37572 w 39496"/>
                  <a:gd name="connsiteY2" fmla="*/ 11562 h 53737"/>
                  <a:gd name="connsiteX3" fmla="*/ 36237 w 39496"/>
                  <a:gd name="connsiteY3" fmla="*/ 5389 h 53737"/>
                  <a:gd name="connsiteX4" fmla="*/ 26476 w 39496"/>
                  <a:gd name="connsiteY4" fmla="*/ 50 h 53737"/>
                  <a:gd name="connsiteX5" fmla="*/ 18050 w 39496"/>
                  <a:gd name="connsiteY5" fmla="*/ 7140 h 53737"/>
                  <a:gd name="connsiteX6" fmla="*/ 15798 w 39496"/>
                  <a:gd name="connsiteY6" fmla="*/ 13814 h 53737"/>
                  <a:gd name="connsiteX7" fmla="*/ 10458 w 39496"/>
                  <a:gd name="connsiteY7" fmla="*/ 15566 h 53737"/>
                  <a:gd name="connsiteX8" fmla="*/ 697 w 39496"/>
                  <a:gd name="connsiteY8" fmla="*/ 28830 h 53737"/>
                  <a:gd name="connsiteX9" fmla="*/ 697 w 39496"/>
                  <a:gd name="connsiteY9" fmla="*/ 34169 h 53737"/>
                  <a:gd name="connsiteX10" fmla="*/ 3784 w 39496"/>
                  <a:gd name="connsiteY10" fmla="*/ 35920 h 53737"/>
                  <a:gd name="connsiteX11" fmla="*/ 10876 w 39496"/>
                  <a:gd name="connsiteY11" fmla="*/ 43011 h 53737"/>
                  <a:gd name="connsiteX12" fmla="*/ 24641 w 39496"/>
                  <a:gd name="connsiteY12" fmla="*/ 49184 h 53737"/>
                  <a:gd name="connsiteX13" fmla="*/ 39324 w 39496"/>
                  <a:gd name="connsiteY13" fmla="*/ 29330 h 5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9496" h="53737" extrusionOk="0">
                    <a:moveTo>
                      <a:pt x="39324" y="29330"/>
                    </a:moveTo>
                    <a:cubicBezTo>
                      <a:pt x="39741" y="27078"/>
                      <a:pt x="39324" y="24909"/>
                      <a:pt x="38907" y="22657"/>
                    </a:cubicBezTo>
                    <a:cubicBezTo>
                      <a:pt x="38490" y="19153"/>
                      <a:pt x="37989" y="15566"/>
                      <a:pt x="37572" y="11562"/>
                    </a:cubicBezTo>
                    <a:cubicBezTo>
                      <a:pt x="37155" y="9309"/>
                      <a:pt x="37155" y="7557"/>
                      <a:pt x="36237" y="5389"/>
                    </a:cubicBezTo>
                    <a:cubicBezTo>
                      <a:pt x="34485" y="1885"/>
                      <a:pt x="30481" y="-368"/>
                      <a:pt x="26476" y="50"/>
                    </a:cubicBezTo>
                    <a:cubicBezTo>
                      <a:pt x="22472" y="467"/>
                      <a:pt x="18968" y="3553"/>
                      <a:pt x="18050" y="7140"/>
                    </a:cubicBezTo>
                    <a:cubicBezTo>
                      <a:pt x="17633" y="9393"/>
                      <a:pt x="17633" y="11979"/>
                      <a:pt x="15798" y="13814"/>
                    </a:cubicBezTo>
                    <a:cubicBezTo>
                      <a:pt x="14463" y="15149"/>
                      <a:pt x="12294" y="15149"/>
                      <a:pt x="10458" y="15566"/>
                    </a:cubicBezTo>
                    <a:cubicBezTo>
                      <a:pt x="5119" y="17318"/>
                      <a:pt x="2449" y="23574"/>
                      <a:pt x="697" y="28830"/>
                    </a:cubicBezTo>
                    <a:cubicBezTo>
                      <a:pt x="280" y="30582"/>
                      <a:pt x="-638" y="32834"/>
                      <a:pt x="697" y="34169"/>
                    </a:cubicBezTo>
                    <a:cubicBezTo>
                      <a:pt x="1615" y="35086"/>
                      <a:pt x="2950" y="35503"/>
                      <a:pt x="3784" y="35920"/>
                    </a:cubicBezTo>
                    <a:cubicBezTo>
                      <a:pt x="6871" y="37255"/>
                      <a:pt x="9541" y="39925"/>
                      <a:pt x="10876" y="43011"/>
                    </a:cubicBezTo>
                    <a:cubicBezTo>
                      <a:pt x="14880" y="52772"/>
                      <a:pt x="16215" y="58110"/>
                      <a:pt x="24641" y="49184"/>
                    </a:cubicBezTo>
                    <a:cubicBezTo>
                      <a:pt x="30064" y="44429"/>
                      <a:pt x="38406" y="37339"/>
                      <a:pt x="39324" y="2933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01485485" name="Полилиния 481"/>
              <p:cNvSpPr/>
              <p:nvPr/>
            </p:nvSpPr>
            <p:spPr bwMode="auto">
              <a:xfrm>
                <a:off x="5741737" y="2469762"/>
                <a:ext cx="37735" cy="27375"/>
              </a:xfrm>
              <a:custGeom>
                <a:avLst/>
                <a:gdLst>
                  <a:gd name="connsiteX0" fmla="*/ 22347 w 42379"/>
                  <a:gd name="connsiteY0" fmla="*/ 4993 h 30744"/>
                  <a:gd name="connsiteX1" fmla="*/ 11752 w 42379"/>
                  <a:gd name="connsiteY1" fmla="*/ 155 h 30744"/>
                  <a:gd name="connsiteX2" fmla="*/ 4244 w 42379"/>
                  <a:gd name="connsiteY2" fmla="*/ 1490 h 30744"/>
                  <a:gd name="connsiteX3" fmla="*/ 1574 w 42379"/>
                  <a:gd name="connsiteY3" fmla="*/ 12585 h 30744"/>
                  <a:gd name="connsiteX4" fmla="*/ 10000 w 42379"/>
                  <a:gd name="connsiteY4" fmla="*/ 15671 h 30744"/>
                  <a:gd name="connsiteX5" fmla="*/ 18009 w 42379"/>
                  <a:gd name="connsiteY5" fmla="*/ 23179 h 30744"/>
                  <a:gd name="connsiteX6" fmla="*/ 42370 w 42379"/>
                  <a:gd name="connsiteY6" fmla="*/ 24514 h 30744"/>
                  <a:gd name="connsiteX7" fmla="*/ 22347 w 42379"/>
                  <a:gd name="connsiteY7" fmla="*/ 4993 h 30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2379" h="30744" extrusionOk="0">
                    <a:moveTo>
                      <a:pt x="22347" y="4993"/>
                    </a:moveTo>
                    <a:cubicBezTo>
                      <a:pt x="18843" y="4076"/>
                      <a:pt x="15256" y="989"/>
                      <a:pt x="11752" y="155"/>
                    </a:cubicBezTo>
                    <a:cubicBezTo>
                      <a:pt x="9082" y="-262"/>
                      <a:pt x="6413" y="155"/>
                      <a:pt x="4244" y="1490"/>
                    </a:cubicBezTo>
                    <a:cubicBezTo>
                      <a:pt x="239" y="3742"/>
                      <a:pt x="-1513" y="9498"/>
                      <a:pt x="1574" y="12585"/>
                    </a:cubicBezTo>
                    <a:cubicBezTo>
                      <a:pt x="3827" y="14337"/>
                      <a:pt x="7330" y="14337"/>
                      <a:pt x="10000" y="15671"/>
                    </a:cubicBezTo>
                    <a:cubicBezTo>
                      <a:pt x="13504" y="17006"/>
                      <a:pt x="15339" y="21010"/>
                      <a:pt x="18009" y="23179"/>
                    </a:cubicBezTo>
                    <a:cubicBezTo>
                      <a:pt x="23348" y="28518"/>
                      <a:pt x="41952" y="36443"/>
                      <a:pt x="42370" y="24514"/>
                    </a:cubicBezTo>
                    <a:cubicBezTo>
                      <a:pt x="42787" y="13836"/>
                      <a:pt x="30356" y="7162"/>
                      <a:pt x="22347" y="499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66875314" name="Полилиния 482"/>
              <p:cNvSpPr/>
              <p:nvPr/>
            </p:nvSpPr>
            <p:spPr bwMode="auto">
              <a:xfrm>
                <a:off x="5581249" y="2666925"/>
                <a:ext cx="19265" cy="20120"/>
              </a:xfrm>
              <a:custGeom>
                <a:avLst/>
                <a:gdLst>
                  <a:gd name="connsiteX0" fmla="*/ 21461 w 21636"/>
                  <a:gd name="connsiteY0" fmla="*/ 10393 h 22597"/>
                  <a:gd name="connsiteX1" fmla="*/ 18374 w 21636"/>
                  <a:gd name="connsiteY1" fmla="*/ 3719 h 22597"/>
                  <a:gd name="connsiteX2" fmla="*/ 9948 w 21636"/>
                  <a:gd name="connsiteY2" fmla="*/ 216 h 22597"/>
                  <a:gd name="connsiteX3" fmla="*/ 5526 w 21636"/>
                  <a:gd name="connsiteY3" fmla="*/ 2885 h 22597"/>
                  <a:gd name="connsiteX4" fmla="*/ 687 w 21636"/>
                  <a:gd name="connsiteY4" fmla="*/ 9058 h 22597"/>
                  <a:gd name="connsiteX5" fmla="*/ 4191 w 21636"/>
                  <a:gd name="connsiteY5" fmla="*/ 17484 h 22597"/>
                  <a:gd name="connsiteX6" fmla="*/ 14786 w 21636"/>
                  <a:gd name="connsiteY6" fmla="*/ 21488 h 22597"/>
                  <a:gd name="connsiteX7" fmla="*/ 21461 w 21636"/>
                  <a:gd name="connsiteY7" fmla="*/ 10393 h 22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636" h="22597" extrusionOk="0">
                    <a:moveTo>
                      <a:pt x="21461" y="10393"/>
                    </a:moveTo>
                    <a:cubicBezTo>
                      <a:pt x="20543" y="8141"/>
                      <a:pt x="20543" y="5555"/>
                      <a:pt x="18374" y="3719"/>
                    </a:cubicBezTo>
                    <a:cubicBezTo>
                      <a:pt x="16121" y="1467"/>
                      <a:pt x="13035" y="-702"/>
                      <a:pt x="9948" y="216"/>
                    </a:cubicBezTo>
                    <a:cubicBezTo>
                      <a:pt x="8196" y="633"/>
                      <a:pt x="6861" y="1967"/>
                      <a:pt x="5526" y="2885"/>
                    </a:cubicBezTo>
                    <a:cubicBezTo>
                      <a:pt x="3274" y="4637"/>
                      <a:pt x="1522" y="6389"/>
                      <a:pt x="687" y="9058"/>
                    </a:cubicBezTo>
                    <a:cubicBezTo>
                      <a:pt x="-1065" y="13062"/>
                      <a:pt x="687" y="15732"/>
                      <a:pt x="4191" y="17484"/>
                    </a:cubicBezTo>
                    <a:cubicBezTo>
                      <a:pt x="8196" y="19235"/>
                      <a:pt x="10866" y="24992"/>
                      <a:pt x="14786" y="21488"/>
                    </a:cubicBezTo>
                    <a:cubicBezTo>
                      <a:pt x="16956" y="19235"/>
                      <a:pt x="22712" y="14814"/>
                      <a:pt x="21461" y="1039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17250009" name="Полилиния 483"/>
              <p:cNvSpPr/>
              <p:nvPr/>
            </p:nvSpPr>
            <p:spPr bwMode="auto">
              <a:xfrm>
                <a:off x="4459531" y="3004835"/>
                <a:ext cx="77824" cy="130968"/>
              </a:xfrm>
              <a:custGeom>
                <a:avLst/>
                <a:gdLst>
                  <a:gd name="connsiteX0" fmla="*/ 85095 w 87400"/>
                  <a:gd name="connsiteY0" fmla="*/ 128346 h 147082"/>
                  <a:gd name="connsiteX1" fmla="*/ 60317 w 87400"/>
                  <a:gd name="connsiteY1" fmla="*/ 146949 h 147082"/>
                  <a:gd name="connsiteX2" fmla="*/ 44800 w 87400"/>
                  <a:gd name="connsiteY2" fmla="*/ 141610 h 147082"/>
                  <a:gd name="connsiteX3" fmla="*/ 31952 w 87400"/>
                  <a:gd name="connsiteY3" fmla="*/ 131433 h 147082"/>
                  <a:gd name="connsiteX4" fmla="*/ 29700 w 87400"/>
                  <a:gd name="connsiteY4" fmla="*/ 107074 h 147082"/>
                  <a:gd name="connsiteX5" fmla="*/ 7592 w 87400"/>
                  <a:gd name="connsiteY5" fmla="*/ 85802 h 147082"/>
                  <a:gd name="connsiteX6" fmla="*/ 918 w 87400"/>
                  <a:gd name="connsiteY6" fmla="*/ 58773 h 147082"/>
                  <a:gd name="connsiteX7" fmla="*/ 0 w 87400"/>
                  <a:gd name="connsiteY7" fmla="*/ 31745 h 147082"/>
                  <a:gd name="connsiteX8" fmla="*/ 417 w 87400"/>
                  <a:gd name="connsiteY8" fmla="*/ 26907 h 147082"/>
                  <a:gd name="connsiteX9" fmla="*/ 12848 w 87400"/>
                  <a:gd name="connsiteY9" fmla="*/ 20734 h 147082"/>
                  <a:gd name="connsiteX10" fmla="*/ 28365 w 87400"/>
                  <a:gd name="connsiteY10" fmla="*/ 7470 h 147082"/>
                  <a:gd name="connsiteX11" fmla="*/ 46552 w 87400"/>
                  <a:gd name="connsiteY11" fmla="*/ 796 h 147082"/>
                  <a:gd name="connsiteX12" fmla="*/ 56313 w 87400"/>
                  <a:gd name="connsiteY12" fmla="*/ 18481 h 147082"/>
                  <a:gd name="connsiteX13" fmla="*/ 60735 w 87400"/>
                  <a:gd name="connsiteY13" fmla="*/ 45927 h 147082"/>
                  <a:gd name="connsiteX14" fmla="*/ 62987 w 87400"/>
                  <a:gd name="connsiteY14" fmla="*/ 53935 h 147082"/>
                  <a:gd name="connsiteX15" fmla="*/ 75835 w 87400"/>
                  <a:gd name="connsiteY15" fmla="*/ 66365 h 147082"/>
                  <a:gd name="connsiteX16" fmla="*/ 82008 w 87400"/>
                  <a:gd name="connsiteY16" fmla="*/ 96062 h 147082"/>
                  <a:gd name="connsiteX17" fmla="*/ 87348 w 87400"/>
                  <a:gd name="connsiteY17" fmla="*/ 103153 h 147082"/>
                  <a:gd name="connsiteX18" fmla="*/ 85095 w 87400"/>
                  <a:gd name="connsiteY18" fmla="*/ 111162 h 147082"/>
                  <a:gd name="connsiteX19" fmla="*/ 85095 w 87400"/>
                  <a:gd name="connsiteY19" fmla="*/ 128346 h 147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400" h="147082" extrusionOk="0">
                    <a:moveTo>
                      <a:pt x="85095" y="128346"/>
                    </a:moveTo>
                    <a:cubicBezTo>
                      <a:pt x="82843" y="139441"/>
                      <a:pt x="71330" y="148284"/>
                      <a:pt x="60317" y="146949"/>
                    </a:cubicBezTo>
                    <a:cubicBezTo>
                      <a:pt x="54978" y="146532"/>
                      <a:pt x="49722" y="143862"/>
                      <a:pt x="44800" y="141610"/>
                    </a:cubicBezTo>
                    <a:cubicBezTo>
                      <a:pt x="39878" y="139358"/>
                      <a:pt x="34622" y="136271"/>
                      <a:pt x="31952" y="131433"/>
                    </a:cubicBezTo>
                    <a:cubicBezTo>
                      <a:pt x="28449" y="124342"/>
                      <a:pt x="32369" y="115082"/>
                      <a:pt x="29700" y="107074"/>
                    </a:cubicBezTo>
                    <a:cubicBezTo>
                      <a:pt x="26196" y="97314"/>
                      <a:pt x="14183" y="93810"/>
                      <a:pt x="7592" y="85802"/>
                    </a:cubicBezTo>
                    <a:cubicBezTo>
                      <a:pt x="1835" y="78294"/>
                      <a:pt x="918" y="68116"/>
                      <a:pt x="918" y="58773"/>
                    </a:cubicBezTo>
                    <a:cubicBezTo>
                      <a:pt x="501" y="49931"/>
                      <a:pt x="501" y="40588"/>
                      <a:pt x="0" y="31745"/>
                    </a:cubicBezTo>
                    <a:cubicBezTo>
                      <a:pt x="0" y="29993"/>
                      <a:pt x="0" y="28242"/>
                      <a:pt x="417" y="26907"/>
                    </a:cubicBezTo>
                    <a:cubicBezTo>
                      <a:pt x="2169" y="22486"/>
                      <a:pt x="8426" y="22068"/>
                      <a:pt x="12848" y="20734"/>
                    </a:cubicBezTo>
                    <a:cubicBezTo>
                      <a:pt x="19522" y="18481"/>
                      <a:pt x="23443" y="12308"/>
                      <a:pt x="28365" y="7470"/>
                    </a:cubicBezTo>
                    <a:cubicBezTo>
                      <a:pt x="33287" y="2631"/>
                      <a:pt x="40295" y="-1873"/>
                      <a:pt x="46552" y="796"/>
                    </a:cubicBezTo>
                    <a:cubicBezTo>
                      <a:pt x="53226" y="3466"/>
                      <a:pt x="54978" y="11391"/>
                      <a:pt x="56313" y="18481"/>
                    </a:cubicBezTo>
                    <a:cubicBezTo>
                      <a:pt x="57648" y="27825"/>
                      <a:pt x="59400" y="36667"/>
                      <a:pt x="60735" y="45927"/>
                    </a:cubicBezTo>
                    <a:cubicBezTo>
                      <a:pt x="61152" y="48596"/>
                      <a:pt x="61652" y="51266"/>
                      <a:pt x="62987" y="53935"/>
                    </a:cubicBezTo>
                    <a:cubicBezTo>
                      <a:pt x="66074" y="59274"/>
                      <a:pt x="72331" y="61443"/>
                      <a:pt x="75835" y="66365"/>
                    </a:cubicBezTo>
                    <a:cubicBezTo>
                      <a:pt x="82008" y="74790"/>
                      <a:pt x="77170" y="87220"/>
                      <a:pt x="82008" y="96062"/>
                    </a:cubicBezTo>
                    <a:cubicBezTo>
                      <a:pt x="83343" y="98315"/>
                      <a:pt x="86847" y="100901"/>
                      <a:pt x="87348" y="103153"/>
                    </a:cubicBezTo>
                    <a:cubicBezTo>
                      <a:pt x="87765" y="105406"/>
                      <a:pt x="85596" y="108909"/>
                      <a:pt x="85095" y="111162"/>
                    </a:cubicBezTo>
                    <a:cubicBezTo>
                      <a:pt x="85095" y="116834"/>
                      <a:pt x="85930" y="122590"/>
                      <a:pt x="85095" y="12834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16594231" name="Полилиния 484"/>
              <p:cNvSpPr/>
              <p:nvPr/>
            </p:nvSpPr>
            <p:spPr bwMode="auto">
              <a:xfrm>
                <a:off x="4258580" y="2504208"/>
                <a:ext cx="319959" cy="439350"/>
              </a:xfrm>
              <a:custGeom>
                <a:avLst/>
                <a:gdLst>
                  <a:gd name="connsiteX0" fmla="*/ 358157 w 359324"/>
                  <a:gd name="connsiteY0" fmla="*/ 70835 h 493406"/>
                  <a:gd name="connsiteX1" fmla="*/ 336466 w 359324"/>
                  <a:gd name="connsiteY1" fmla="*/ 94276 h 493406"/>
                  <a:gd name="connsiteX2" fmla="*/ 326289 w 359324"/>
                  <a:gd name="connsiteY2" fmla="*/ 109375 h 493406"/>
                  <a:gd name="connsiteX3" fmla="*/ 317862 w 359324"/>
                  <a:gd name="connsiteY3" fmla="*/ 128896 h 493406"/>
                  <a:gd name="connsiteX4" fmla="*/ 289080 w 359324"/>
                  <a:gd name="connsiteY4" fmla="*/ 121388 h 493406"/>
                  <a:gd name="connsiteX5" fmla="*/ 284658 w 359324"/>
                  <a:gd name="connsiteY5" fmla="*/ 147999 h 493406"/>
                  <a:gd name="connsiteX6" fmla="*/ 250537 w 359324"/>
                  <a:gd name="connsiteY6" fmla="*/ 174110 h 493406"/>
                  <a:gd name="connsiteX7" fmla="*/ 230598 w 359324"/>
                  <a:gd name="connsiteY7" fmla="*/ 219741 h 493406"/>
                  <a:gd name="connsiteX8" fmla="*/ 210242 w 359324"/>
                  <a:gd name="connsiteY8" fmla="*/ 255194 h 493406"/>
                  <a:gd name="connsiteX9" fmla="*/ 204068 w 359324"/>
                  <a:gd name="connsiteY9" fmla="*/ 304829 h 493406"/>
                  <a:gd name="connsiteX10" fmla="*/ 192138 w 359324"/>
                  <a:gd name="connsiteY10" fmla="*/ 358469 h 493406"/>
                  <a:gd name="connsiteX11" fmla="*/ 202733 w 359324"/>
                  <a:gd name="connsiteY11" fmla="*/ 410273 h 493406"/>
                  <a:gd name="connsiteX12" fmla="*/ 208490 w 359324"/>
                  <a:gd name="connsiteY12" fmla="*/ 433714 h 493406"/>
                  <a:gd name="connsiteX13" fmla="*/ 208490 w 359324"/>
                  <a:gd name="connsiteY13" fmla="*/ 458490 h 493406"/>
                  <a:gd name="connsiteX14" fmla="*/ 217834 w 359324"/>
                  <a:gd name="connsiteY14" fmla="*/ 485101 h 493406"/>
                  <a:gd name="connsiteX15" fmla="*/ 187716 w 359324"/>
                  <a:gd name="connsiteY15" fmla="*/ 491775 h 493406"/>
                  <a:gd name="connsiteX16" fmla="*/ 178873 w 359324"/>
                  <a:gd name="connsiteY16" fmla="*/ 481181 h 493406"/>
                  <a:gd name="connsiteX17" fmla="*/ 158934 w 359324"/>
                  <a:gd name="connsiteY17" fmla="*/ 476342 h 493406"/>
                  <a:gd name="connsiteX18" fmla="*/ 156264 w 359324"/>
                  <a:gd name="connsiteY18" fmla="*/ 453318 h 493406"/>
                  <a:gd name="connsiteX19" fmla="*/ 143000 w 359324"/>
                  <a:gd name="connsiteY19" fmla="*/ 459074 h 493406"/>
                  <a:gd name="connsiteX20" fmla="*/ 126147 w 359324"/>
                  <a:gd name="connsiteY20" fmla="*/ 444476 h 493406"/>
                  <a:gd name="connsiteX21" fmla="*/ 115969 w 359324"/>
                  <a:gd name="connsiteY21" fmla="*/ 431629 h 493406"/>
                  <a:gd name="connsiteX22" fmla="*/ 107126 w 359324"/>
                  <a:gd name="connsiteY22" fmla="*/ 437802 h 493406"/>
                  <a:gd name="connsiteX23" fmla="*/ 78761 w 359324"/>
                  <a:gd name="connsiteY23" fmla="*/ 414778 h 493406"/>
                  <a:gd name="connsiteX24" fmla="*/ 52648 w 359324"/>
                  <a:gd name="connsiteY24" fmla="*/ 386415 h 493406"/>
                  <a:gd name="connsiteX25" fmla="*/ 34044 w 359324"/>
                  <a:gd name="connsiteY25" fmla="*/ 358970 h 493406"/>
                  <a:gd name="connsiteX26" fmla="*/ 50396 w 359324"/>
                  <a:gd name="connsiteY26" fmla="*/ 339950 h 493406"/>
                  <a:gd name="connsiteX27" fmla="*/ 54400 w 359324"/>
                  <a:gd name="connsiteY27" fmla="*/ 329355 h 493406"/>
                  <a:gd name="connsiteX28" fmla="*/ 61909 w 359324"/>
                  <a:gd name="connsiteY28" fmla="*/ 334193 h 493406"/>
                  <a:gd name="connsiteX29" fmla="*/ 74339 w 359324"/>
                  <a:gd name="connsiteY29" fmla="*/ 329772 h 493406"/>
                  <a:gd name="connsiteX30" fmla="*/ 81014 w 359324"/>
                  <a:gd name="connsiteY30" fmla="*/ 309418 h 493406"/>
                  <a:gd name="connsiteX31" fmla="*/ 71253 w 359324"/>
                  <a:gd name="connsiteY31" fmla="*/ 302744 h 493406"/>
                  <a:gd name="connsiteX32" fmla="*/ 82348 w 359324"/>
                  <a:gd name="connsiteY32" fmla="*/ 290815 h 493406"/>
                  <a:gd name="connsiteX33" fmla="*/ 75257 w 359324"/>
                  <a:gd name="connsiteY33" fmla="*/ 271795 h 493406"/>
                  <a:gd name="connsiteX34" fmla="*/ 80096 w 359324"/>
                  <a:gd name="connsiteY34" fmla="*/ 256696 h 493406"/>
                  <a:gd name="connsiteX35" fmla="*/ 64995 w 359324"/>
                  <a:gd name="connsiteY35" fmla="*/ 254026 h 493406"/>
                  <a:gd name="connsiteX36" fmla="*/ 47309 w 359324"/>
                  <a:gd name="connsiteY36" fmla="*/ 230085 h 493406"/>
                  <a:gd name="connsiteX37" fmla="*/ 11018 w 359324"/>
                  <a:gd name="connsiteY37" fmla="*/ 221242 h 493406"/>
                  <a:gd name="connsiteX38" fmla="*/ 28288 w 359324"/>
                  <a:gd name="connsiteY38" fmla="*/ 140157 h 493406"/>
                  <a:gd name="connsiteX39" fmla="*/ 60657 w 359324"/>
                  <a:gd name="connsiteY39" fmla="*/ 118885 h 493406"/>
                  <a:gd name="connsiteX40" fmla="*/ 87688 w 359324"/>
                  <a:gd name="connsiteY40" fmla="*/ 135736 h 493406"/>
                  <a:gd name="connsiteX41" fmla="*/ 99200 w 359324"/>
                  <a:gd name="connsiteY41" fmla="*/ 118885 h 493406"/>
                  <a:gd name="connsiteX42" fmla="*/ 121809 w 359324"/>
                  <a:gd name="connsiteY42" fmla="*/ 108291 h 493406"/>
                  <a:gd name="connsiteX43" fmla="*/ 161270 w 359324"/>
                  <a:gd name="connsiteY43" fmla="*/ 72837 h 493406"/>
                  <a:gd name="connsiteX44" fmla="*/ 150174 w 359324"/>
                  <a:gd name="connsiteY44" fmla="*/ 52900 h 493406"/>
                  <a:gd name="connsiteX45" fmla="*/ 165692 w 359324"/>
                  <a:gd name="connsiteY45" fmla="*/ 35632 h 493406"/>
                  <a:gd name="connsiteX46" fmla="*/ 201148 w 359324"/>
                  <a:gd name="connsiteY46" fmla="*/ 35214 h 493406"/>
                  <a:gd name="connsiteX47" fmla="*/ 232183 w 359324"/>
                  <a:gd name="connsiteY47" fmla="*/ 678 h 493406"/>
                  <a:gd name="connsiteX48" fmla="*/ 285326 w 359324"/>
                  <a:gd name="connsiteY48" fmla="*/ 12190 h 493406"/>
                  <a:gd name="connsiteX49" fmla="*/ 311021 w 359324"/>
                  <a:gd name="connsiteY49" fmla="*/ 12190 h 493406"/>
                  <a:gd name="connsiteX50" fmla="*/ 325621 w 359324"/>
                  <a:gd name="connsiteY50" fmla="*/ 28541 h 493406"/>
                  <a:gd name="connsiteX51" fmla="*/ 358157 w 359324"/>
                  <a:gd name="connsiteY51" fmla="*/ 70835 h 493406"/>
                  <a:gd name="connsiteX52" fmla="*/ 358157 w 359324"/>
                  <a:gd name="connsiteY52" fmla="*/ 70835 h 493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359324" h="493406" extrusionOk="0">
                    <a:moveTo>
                      <a:pt x="358157" y="70835"/>
                    </a:moveTo>
                    <a:cubicBezTo>
                      <a:pt x="364331" y="81930"/>
                      <a:pt x="344392" y="86768"/>
                      <a:pt x="336466" y="94276"/>
                    </a:cubicBezTo>
                    <a:cubicBezTo>
                      <a:pt x="330293" y="99615"/>
                      <a:pt x="328040" y="101784"/>
                      <a:pt x="326289" y="109375"/>
                    </a:cubicBezTo>
                    <a:cubicBezTo>
                      <a:pt x="324036" y="117801"/>
                      <a:pt x="328541" y="124891"/>
                      <a:pt x="317862" y="128896"/>
                    </a:cubicBezTo>
                    <a:cubicBezTo>
                      <a:pt x="306349" y="133317"/>
                      <a:pt x="294419" y="110710"/>
                      <a:pt x="289080" y="121388"/>
                    </a:cubicBezTo>
                    <a:cubicBezTo>
                      <a:pt x="282907" y="134652"/>
                      <a:pt x="306766" y="139991"/>
                      <a:pt x="284658" y="147999"/>
                    </a:cubicBezTo>
                    <a:cubicBezTo>
                      <a:pt x="268724" y="153338"/>
                      <a:pt x="258546" y="157759"/>
                      <a:pt x="250537" y="174110"/>
                    </a:cubicBezTo>
                    <a:cubicBezTo>
                      <a:pt x="242528" y="190043"/>
                      <a:pt x="243028" y="205559"/>
                      <a:pt x="230598" y="219741"/>
                    </a:cubicBezTo>
                    <a:cubicBezTo>
                      <a:pt x="219085" y="233005"/>
                      <a:pt x="211076" y="237009"/>
                      <a:pt x="210242" y="255194"/>
                    </a:cubicBezTo>
                    <a:cubicBezTo>
                      <a:pt x="209324" y="272462"/>
                      <a:pt x="205403" y="287061"/>
                      <a:pt x="204068" y="304829"/>
                    </a:cubicBezTo>
                    <a:cubicBezTo>
                      <a:pt x="202733" y="323015"/>
                      <a:pt x="193890" y="339783"/>
                      <a:pt x="192138" y="358469"/>
                    </a:cubicBezTo>
                    <a:cubicBezTo>
                      <a:pt x="190386" y="376655"/>
                      <a:pt x="196977" y="393005"/>
                      <a:pt x="202733" y="410273"/>
                    </a:cubicBezTo>
                    <a:cubicBezTo>
                      <a:pt x="205403" y="417781"/>
                      <a:pt x="207572" y="425789"/>
                      <a:pt x="208490" y="433714"/>
                    </a:cubicBezTo>
                    <a:cubicBezTo>
                      <a:pt x="209407" y="441222"/>
                      <a:pt x="206237" y="451399"/>
                      <a:pt x="208490" y="458490"/>
                    </a:cubicBezTo>
                    <a:cubicBezTo>
                      <a:pt x="212494" y="469585"/>
                      <a:pt x="226677" y="471754"/>
                      <a:pt x="217834" y="485101"/>
                    </a:cubicBezTo>
                    <a:cubicBezTo>
                      <a:pt x="212995" y="492192"/>
                      <a:pt x="196143" y="495696"/>
                      <a:pt x="187716" y="491775"/>
                    </a:cubicBezTo>
                    <a:cubicBezTo>
                      <a:pt x="183295" y="489523"/>
                      <a:pt x="182877" y="483349"/>
                      <a:pt x="178873" y="481181"/>
                    </a:cubicBezTo>
                    <a:cubicBezTo>
                      <a:pt x="173117" y="477677"/>
                      <a:pt x="163356" y="480763"/>
                      <a:pt x="158934" y="476342"/>
                    </a:cubicBezTo>
                    <a:cubicBezTo>
                      <a:pt x="150508" y="468334"/>
                      <a:pt x="169112" y="458156"/>
                      <a:pt x="156264" y="453318"/>
                    </a:cubicBezTo>
                    <a:cubicBezTo>
                      <a:pt x="151426" y="451566"/>
                      <a:pt x="147421" y="458657"/>
                      <a:pt x="143000" y="459074"/>
                    </a:cubicBezTo>
                    <a:cubicBezTo>
                      <a:pt x="131487" y="459992"/>
                      <a:pt x="130569" y="452901"/>
                      <a:pt x="126147" y="444476"/>
                    </a:cubicBezTo>
                    <a:cubicBezTo>
                      <a:pt x="123895" y="440054"/>
                      <a:pt x="122143" y="432046"/>
                      <a:pt x="115969" y="431629"/>
                    </a:cubicBezTo>
                    <a:cubicBezTo>
                      <a:pt x="108878" y="431212"/>
                      <a:pt x="111130" y="436050"/>
                      <a:pt x="107126" y="437802"/>
                    </a:cubicBezTo>
                    <a:cubicBezTo>
                      <a:pt x="92526" y="444893"/>
                      <a:pt x="85852" y="428459"/>
                      <a:pt x="78761" y="414778"/>
                    </a:cubicBezTo>
                    <a:cubicBezTo>
                      <a:pt x="72087" y="401931"/>
                      <a:pt x="61491" y="398427"/>
                      <a:pt x="52648" y="386415"/>
                    </a:cubicBezTo>
                    <a:cubicBezTo>
                      <a:pt x="47309" y="379741"/>
                      <a:pt x="31792" y="368730"/>
                      <a:pt x="34044" y="358970"/>
                    </a:cubicBezTo>
                    <a:cubicBezTo>
                      <a:pt x="35379" y="353630"/>
                      <a:pt x="47309" y="344788"/>
                      <a:pt x="50396" y="339950"/>
                    </a:cubicBezTo>
                    <a:cubicBezTo>
                      <a:pt x="51731" y="337280"/>
                      <a:pt x="50813" y="330189"/>
                      <a:pt x="54400" y="329355"/>
                    </a:cubicBezTo>
                    <a:cubicBezTo>
                      <a:pt x="58822" y="328020"/>
                      <a:pt x="58822" y="334193"/>
                      <a:pt x="61909" y="334193"/>
                    </a:cubicBezTo>
                    <a:cubicBezTo>
                      <a:pt x="68583" y="334193"/>
                      <a:pt x="67665" y="333776"/>
                      <a:pt x="74339" y="329772"/>
                    </a:cubicBezTo>
                    <a:cubicBezTo>
                      <a:pt x="84934" y="323099"/>
                      <a:pt x="88939" y="319178"/>
                      <a:pt x="81014" y="309418"/>
                    </a:cubicBezTo>
                    <a:cubicBezTo>
                      <a:pt x="78344" y="306331"/>
                      <a:pt x="73005" y="307666"/>
                      <a:pt x="71253" y="302744"/>
                    </a:cubicBezTo>
                    <a:cubicBezTo>
                      <a:pt x="67748" y="292984"/>
                      <a:pt x="77927" y="295236"/>
                      <a:pt x="82348" y="290815"/>
                    </a:cubicBezTo>
                    <a:cubicBezTo>
                      <a:pt x="94278" y="277968"/>
                      <a:pt x="77927" y="282807"/>
                      <a:pt x="75257" y="271795"/>
                    </a:cubicBezTo>
                    <a:cubicBezTo>
                      <a:pt x="73505" y="265121"/>
                      <a:pt x="82348" y="262952"/>
                      <a:pt x="80096" y="256696"/>
                    </a:cubicBezTo>
                    <a:cubicBezTo>
                      <a:pt x="77009" y="248687"/>
                      <a:pt x="70335" y="255778"/>
                      <a:pt x="64995" y="254026"/>
                    </a:cubicBezTo>
                    <a:cubicBezTo>
                      <a:pt x="50396" y="249188"/>
                      <a:pt x="56569" y="238927"/>
                      <a:pt x="47309" y="230085"/>
                    </a:cubicBezTo>
                    <a:cubicBezTo>
                      <a:pt x="37548" y="220742"/>
                      <a:pt x="21196" y="228750"/>
                      <a:pt x="11018" y="221242"/>
                    </a:cubicBezTo>
                    <a:cubicBezTo>
                      <a:pt x="-15595" y="201305"/>
                      <a:pt x="12353" y="157425"/>
                      <a:pt x="28288" y="140157"/>
                    </a:cubicBezTo>
                    <a:cubicBezTo>
                      <a:pt x="34461" y="133484"/>
                      <a:pt x="49562" y="115382"/>
                      <a:pt x="60657" y="118885"/>
                    </a:cubicBezTo>
                    <a:cubicBezTo>
                      <a:pt x="72170" y="122389"/>
                      <a:pt x="69083" y="146831"/>
                      <a:pt x="87688" y="135736"/>
                    </a:cubicBezTo>
                    <a:cubicBezTo>
                      <a:pt x="93444" y="132233"/>
                      <a:pt x="93861" y="123307"/>
                      <a:pt x="99200" y="118885"/>
                    </a:cubicBezTo>
                    <a:cubicBezTo>
                      <a:pt x="105374" y="113546"/>
                      <a:pt x="114718" y="112712"/>
                      <a:pt x="121809" y="108291"/>
                    </a:cubicBezTo>
                    <a:cubicBezTo>
                      <a:pt x="133739" y="101617"/>
                      <a:pt x="164774" y="87436"/>
                      <a:pt x="161270" y="72837"/>
                    </a:cubicBezTo>
                    <a:cubicBezTo>
                      <a:pt x="159018" y="64829"/>
                      <a:pt x="149757" y="62660"/>
                      <a:pt x="150174" y="52900"/>
                    </a:cubicBezTo>
                    <a:cubicBezTo>
                      <a:pt x="150592" y="44891"/>
                      <a:pt x="158601" y="37801"/>
                      <a:pt x="165692" y="35632"/>
                    </a:cubicBezTo>
                    <a:cubicBezTo>
                      <a:pt x="179874" y="30793"/>
                      <a:pt x="190052" y="48478"/>
                      <a:pt x="201148" y="35214"/>
                    </a:cubicBezTo>
                    <a:cubicBezTo>
                      <a:pt x="214413" y="19281"/>
                      <a:pt x="206905" y="5100"/>
                      <a:pt x="232183" y="678"/>
                    </a:cubicBezTo>
                    <a:cubicBezTo>
                      <a:pt x="251705" y="-2825"/>
                      <a:pt x="267139" y="8186"/>
                      <a:pt x="285326" y="12190"/>
                    </a:cubicBezTo>
                    <a:cubicBezTo>
                      <a:pt x="293752" y="13942"/>
                      <a:pt x="303012" y="9104"/>
                      <a:pt x="311021" y="12190"/>
                    </a:cubicBezTo>
                    <a:cubicBezTo>
                      <a:pt x="317695" y="14860"/>
                      <a:pt x="322117" y="22785"/>
                      <a:pt x="325621" y="28541"/>
                    </a:cubicBezTo>
                    <a:cubicBezTo>
                      <a:pt x="333296" y="43390"/>
                      <a:pt x="349731" y="54485"/>
                      <a:pt x="358157" y="70835"/>
                    </a:cubicBezTo>
                    <a:cubicBezTo>
                      <a:pt x="359492" y="73087"/>
                      <a:pt x="353235" y="61992"/>
                      <a:pt x="358157" y="7083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04026294" name="Полилиния 485"/>
              <p:cNvSpPr/>
              <p:nvPr/>
            </p:nvSpPr>
            <p:spPr bwMode="auto">
              <a:xfrm>
                <a:off x="4508710" y="2192808"/>
                <a:ext cx="758378" cy="376778"/>
              </a:xfrm>
              <a:custGeom>
                <a:avLst/>
                <a:gdLst>
                  <a:gd name="connsiteX0" fmla="*/ 850286 w 851684"/>
                  <a:gd name="connsiteY0" fmla="*/ 59086 h 423135"/>
                  <a:gd name="connsiteX1" fmla="*/ 843195 w 851684"/>
                  <a:gd name="connsiteY1" fmla="*/ 94039 h 423135"/>
                  <a:gd name="connsiteX2" fmla="*/ 819752 w 851684"/>
                  <a:gd name="connsiteY2" fmla="*/ 114894 h 423135"/>
                  <a:gd name="connsiteX3" fmla="*/ 764357 w 851684"/>
                  <a:gd name="connsiteY3" fmla="*/ 143257 h 423135"/>
                  <a:gd name="connsiteX4" fmla="*/ 700118 w 851684"/>
                  <a:gd name="connsiteY4" fmla="*/ 164112 h 423135"/>
                  <a:gd name="connsiteX5" fmla="*/ 660240 w 851684"/>
                  <a:gd name="connsiteY5" fmla="*/ 165030 h 423135"/>
                  <a:gd name="connsiteX6" fmla="*/ 615941 w 851684"/>
                  <a:gd name="connsiteY6" fmla="*/ 173455 h 423135"/>
                  <a:gd name="connsiteX7" fmla="*/ 583154 w 851684"/>
                  <a:gd name="connsiteY7" fmla="*/ 178794 h 423135"/>
                  <a:gd name="connsiteX8" fmla="*/ 544194 w 851684"/>
                  <a:gd name="connsiteY8" fmla="*/ 176542 h 423135"/>
                  <a:gd name="connsiteX9" fmla="*/ 512741 w 851684"/>
                  <a:gd name="connsiteY9" fmla="*/ 186719 h 423135"/>
                  <a:gd name="connsiteX10" fmla="*/ 475950 w 851684"/>
                  <a:gd name="connsiteY10" fmla="*/ 188054 h 423135"/>
                  <a:gd name="connsiteX11" fmla="*/ 440077 w 851684"/>
                  <a:gd name="connsiteY11" fmla="*/ 204404 h 423135"/>
                  <a:gd name="connsiteX12" fmla="*/ 407290 w 851684"/>
                  <a:gd name="connsiteY12" fmla="*/ 212830 h 423135"/>
                  <a:gd name="connsiteX13" fmla="*/ 390938 w 851684"/>
                  <a:gd name="connsiteY13" fmla="*/ 218169 h 423135"/>
                  <a:gd name="connsiteX14" fmla="*/ 379008 w 851684"/>
                  <a:gd name="connsiteY14" fmla="*/ 215499 h 423135"/>
                  <a:gd name="connsiteX15" fmla="*/ 393608 w 851684"/>
                  <a:gd name="connsiteY15" fmla="*/ 228346 h 423135"/>
                  <a:gd name="connsiteX16" fmla="*/ 371500 w 851684"/>
                  <a:gd name="connsiteY16" fmla="*/ 254457 h 423135"/>
                  <a:gd name="connsiteX17" fmla="*/ 355565 w 851684"/>
                  <a:gd name="connsiteY17" fmla="*/ 251370 h 423135"/>
                  <a:gd name="connsiteX18" fmla="*/ 349392 w 851684"/>
                  <a:gd name="connsiteY18" fmla="*/ 269055 h 423135"/>
                  <a:gd name="connsiteX19" fmla="*/ 330370 w 851684"/>
                  <a:gd name="connsiteY19" fmla="*/ 254874 h 423135"/>
                  <a:gd name="connsiteX20" fmla="*/ 300254 w 851684"/>
                  <a:gd name="connsiteY20" fmla="*/ 274394 h 423135"/>
                  <a:gd name="connsiteX21" fmla="*/ 279397 w 851684"/>
                  <a:gd name="connsiteY21" fmla="*/ 254040 h 423135"/>
                  <a:gd name="connsiteX22" fmla="*/ 270553 w 851684"/>
                  <a:gd name="connsiteY22" fmla="*/ 283237 h 423135"/>
                  <a:gd name="connsiteX23" fmla="*/ 250615 w 851684"/>
                  <a:gd name="connsiteY23" fmla="*/ 317356 h 423135"/>
                  <a:gd name="connsiteX24" fmla="*/ 230258 w 851684"/>
                  <a:gd name="connsiteY24" fmla="*/ 323529 h 423135"/>
                  <a:gd name="connsiteX25" fmla="*/ 215158 w 851684"/>
                  <a:gd name="connsiteY25" fmla="*/ 335041 h 423135"/>
                  <a:gd name="connsiteX26" fmla="*/ 211654 w 851684"/>
                  <a:gd name="connsiteY26" fmla="*/ 304926 h 423135"/>
                  <a:gd name="connsiteX27" fmla="*/ 195302 w 851684"/>
                  <a:gd name="connsiteY27" fmla="*/ 316855 h 423135"/>
                  <a:gd name="connsiteX28" fmla="*/ 193967 w 851684"/>
                  <a:gd name="connsiteY28" fmla="*/ 357147 h 423135"/>
                  <a:gd name="connsiteX29" fmla="*/ 173611 w 851684"/>
                  <a:gd name="connsiteY29" fmla="*/ 342048 h 423135"/>
                  <a:gd name="connsiteX30" fmla="*/ 155925 w 851684"/>
                  <a:gd name="connsiteY30" fmla="*/ 329618 h 423135"/>
                  <a:gd name="connsiteX31" fmla="*/ 170525 w 851684"/>
                  <a:gd name="connsiteY31" fmla="*/ 369494 h 423135"/>
                  <a:gd name="connsiteX32" fmla="*/ 161181 w 851684"/>
                  <a:gd name="connsiteY32" fmla="*/ 382340 h 423135"/>
                  <a:gd name="connsiteX33" fmla="*/ 146080 w 851684"/>
                  <a:gd name="connsiteY33" fmla="*/ 379671 h 423135"/>
                  <a:gd name="connsiteX34" fmla="*/ 137237 w 851684"/>
                  <a:gd name="connsiteY34" fmla="*/ 379671 h 423135"/>
                  <a:gd name="connsiteX35" fmla="*/ 135903 w 851684"/>
                  <a:gd name="connsiteY35" fmla="*/ 400943 h 423135"/>
                  <a:gd name="connsiteX36" fmla="*/ 106203 w 851684"/>
                  <a:gd name="connsiteY36" fmla="*/ 421298 h 423135"/>
                  <a:gd name="connsiteX37" fmla="*/ 74333 w 851684"/>
                  <a:gd name="connsiteY37" fmla="*/ 395604 h 423135"/>
                  <a:gd name="connsiteX38" fmla="*/ 56647 w 851684"/>
                  <a:gd name="connsiteY38" fmla="*/ 381840 h 423135"/>
                  <a:gd name="connsiteX39" fmla="*/ 42047 w 851684"/>
                  <a:gd name="connsiteY39" fmla="*/ 360568 h 423135"/>
                  <a:gd name="connsiteX40" fmla="*/ 0 w 851684"/>
                  <a:gd name="connsiteY40" fmla="*/ 347304 h 423135"/>
                  <a:gd name="connsiteX41" fmla="*/ 53143 w 851684"/>
                  <a:gd name="connsiteY41" fmla="*/ 314102 h 423135"/>
                  <a:gd name="connsiteX42" fmla="*/ 73499 w 851684"/>
                  <a:gd name="connsiteY42" fmla="*/ 315854 h 423135"/>
                  <a:gd name="connsiteX43" fmla="*/ 42965 w 851684"/>
                  <a:gd name="connsiteY43" fmla="*/ 308346 h 423135"/>
                  <a:gd name="connsiteX44" fmla="*/ 9260 w 851684"/>
                  <a:gd name="connsiteY44" fmla="*/ 295917 h 423135"/>
                  <a:gd name="connsiteX45" fmla="*/ 16352 w 851684"/>
                  <a:gd name="connsiteY45" fmla="*/ 269806 h 423135"/>
                  <a:gd name="connsiteX46" fmla="*/ 49556 w 851684"/>
                  <a:gd name="connsiteY46" fmla="*/ 264968 h 423135"/>
                  <a:gd name="connsiteX47" fmla="*/ 77921 w 851684"/>
                  <a:gd name="connsiteY47" fmla="*/ 252121 h 423135"/>
                  <a:gd name="connsiteX48" fmla="*/ 106703 w 851684"/>
                  <a:gd name="connsiteY48" fmla="*/ 250369 h 423135"/>
                  <a:gd name="connsiteX49" fmla="*/ 123055 w 851684"/>
                  <a:gd name="connsiteY49" fmla="*/ 239775 h 423135"/>
                  <a:gd name="connsiteX50" fmla="*/ 134985 w 851684"/>
                  <a:gd name="connsiteY50" fmla="*/ 226511 h 423135"/>
                  <a:gd name="connsiteX51" fmla="*/ 158011 w 851684"/>
                  <a:gd name="connsiteY51" fmla="*/ 220755 h 423135"/>
                  <a:gd name="connsiteX52" fmla="*/ 158928 w 851684"/>
                  <a:gd name="connsiteY52" fmla="*/ 192809 h 423135"/>
                  <a:gd name="connsiteX53" fmla="*/ 192633 w 851684"/>
                  <a:gd name="connsiteY53" fmla="*/ 186636 h 423135"/>
                  <a:gd name="connsiteX54" fmla="*/ 215658 w 851684"/>
                  <a:gd name="connsiteY54" fmla="*/ 197230 h 423135"/>
                  <a:gd name="connsiteX55" fmla="*/ 202394 w 851684"/>
                  <a:gd name="connsiteY55" fmla="*/ 173789 h 423135"/>
                  <a:gd name="connsiteX56" fmla="*/ 215241 w 851684"/>
                  <a:gd name="connsiteY56" fmla="*/ 151683 h 423135"/>
                  <a:gd name="connsiteX57" fmla="*/ 208150 w 851684"/>
                  <a:gd name="connsiteY57" fmla="*/ 125572 h 423135"/>
                  <a:gd name="connsiteX58" fmla="*/ 231593 w 851684"/>
                  <a:gd name="connsiteY58" fmla="*/ 105634 h 423135"/>
                  <a:gd name="connsiteX59" fmla="*/ 253701 w 851684"/>
                  <a:gd name="connsiteY59" fmla="*/ 121568 h 423135"/>
                  <a:gd name="connsiteX60" fmla="*/ 270553 w 851684"/>
                  <a:gd name="connsiteY60" fmla="*/ 95457 h 423135"/>
                  <a:gd name="connsiteX61" fmla="*/ 290910 w 851684"/>
                  <a:gd name="connsiteY61" fmla="*/ 106052 h 423135"/>
                  <a:gd name="connsiteX62" fmla="*/ 314353 w 851684"/>
                  <a:gd name="connsiteY62" fmla="*/ 89201 h 423135"/>
                  <a:gd name="connsiteX63" fmla="*/ 327617 w 851684"/>
                  <a:gd name="connsiteY63" fmla="*/ 85697 h 423135"/>
                  <a:gd name="connsiteX64" fmla="*/ 343969 w 851684"/>
                  <a:gd name="connsiteY64" fmla="*/ 76354 h 423135"/>
                  <a:gd name="connsiteX65" fmla="*/ 378091 w 851684"/>
                  <a:gd name="connsiteY65" fmla="*/ 63924 h 423135"/>
                  <a:gd name="connsiteX66" fmla="*/ 464020 w 851684"/>
                  <a:gd name="connsiteY66" fmla="*/ 53747 h 423135"/>
                  <a:gd name="connsiteX67" fmla="*/ 496807 w 851684"/>
                  <a:gd name="connsiteY67" fmla="*/ 45738 h 423135"/>
                  <a:gd name="connsiteX68" fmla="*/ 519833 w 851684"/>
                  <a:gd name="connsiteY68" fmla="*/ 25801 h 423135"/>
                  <a:gd name="connsiteX69" fmla="*/ 548198 w 851684"/>
                  <a:gd name="connsiteY69" fmla="*/ 37313 h 423135"/>
                  <a:gd name="connsiteX70" fmla="*/ 581902 w 851684"/>
                  <a:gd name="connsiteY70" fmla="*/ 61255 h 423135"/>
                  <a:gd name="connsiteX71" fmla="*/ 617359 w 851684"/>
                  <a:gd name="connsiteY71" fmla="*/ 58168 h 423135"/>
                  <a:gd name="connsiteX72" fmla="*/ 643471 w 851684"/>
                  <a:gd name="connsiteY72" fmla="*/ 72767 h 423135"/>
                  <a:gd name="connsiteX73" fmla="*/ 676258 w 851684"/>
                  <a:gd name="connsiteY73" fmla="*/ 55499 h 423135"/>
                  <a:gd name="connsiteX74" fmla="*/ 717471 w 851684"/>
                  <a:gd name="connsiteY74" fmla="*/ 48408 h 423135"/>
                  <a:gd name="connsiteX75" fmla="*/ 800731 w 851684"/>
                  <a:gd name="connsiteY75" fmla="*/ 107 h 423135"/>
                  <a:gd name="connsiteX76" fmla="*/ 850286 w 851684"/>
                  <a:gd name="connsiteY76" fmla="*/ 59086 h 423135"/>
                  <a:gd name="connsiteX77" fmla="*/ 850286 w 851684"/>
                  <a:gd name="connsiteY77" fmla="*/ 59086 h 423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851684" h="423135" extrusionOk="0">
                    <a:moveTo>
                      <a:pt x="850286" y="59086"/>
                    </a:moveTo>
                    <a:cubicBezTo>
                      <a:pt x="847617" y="68846"/>
                      <a:pt x="847200" y="85697"/>
                      <a:pt x="843195" y="94039"/>
                    </a:cubicBezTo>
                    <a:cubicBezTo>
                      <a:pt x="839191" y="102464"/>
                      <a:pt x="826843" y="108638"/>
                      <a:pt x="819752" y="114894"/>
                    </a:cubicBezTo>
                    <a:cubicBezTo>
                      <a:pt x="801565" y="130410"/>
                      <a:pt x="787383" y="139253"/>
                      <a:pt x="764357" y="143257"/>
                    </a:cubicBezTo>
                    <a:cubicBezTo>
                      <a:pt x="742249" y="147261"/>
                      <a:pt x="721809" y="161860"/>
                      <a:pt x="700118" y="164112"/>
                    </a:cubicBezTo>
                    <a:cubicBezTo>
                      <a:pt x="686853" y="165447"/>
                      <a:pt x="673505" y="161860"/>
                      <a:pt x="660240" y="165030"/>
                    </a:cubicBezTo>
                    <a:cubicBezTo>
                      <a:pt x="645140" y="168534"/>
                      <a:pt x="631458" y="171203"/>
                      <a:pt x="615941" y="173455"/>
                    </a:cubicBezTo>
                    <a:cubicBezTo>
                      <a:pt x="604845" y="174790"/>
                      <a:pt x="594250" y="178794"/>
                      <a:pt x="583154" y="178794"/>
                    </a:cubicBezTo>
                    <a:cubicBezTo>
                      <a:pt x="569889" y="179211"/>
                      <a:pt x="557458" y="175291"/>
                      <a:pt x="544194" y="176542"/>
                    </a:cubicBezTo>
                    <a:cubicBezTo>
                      <a:pt x="532680" y="177877"/>
                      <a:pt x="523337" y="184967"/>
                      <a:pt x="512741" y="186719"/>
                    </a:cubicBezTo>
                    <a:cubicBezTo>
                      <a:pt x="500812" y="188972"/>
                      <a:pt x="488381" y="184967"/>
                      <a:pt x="475950" y="188054"/>
                    </a:cubicBezTo>
                    <a:cubicBezTo>
                      <a:pt x="462185" y="191140"/>
                      <a:pt x="452507" y="199566"/>
                      <a:pt x="440077" y="204404"/>
                    </a:cubicBezTo>
                    <a:cubicBezTo>
                      <a:pt x="429482" y="208408"/>
                      <a:pt x="418386" y="208826"/>
                      <a:pt x="407290" y="212830"/>
                    </a:cubicBezTo>
                    <a:cubicBezTo>
                      <a:pt x="401534" y="215082"/>
                      <a:pt x="397529" y="218169"/>
                      <a:pt x="390938" y="218169"/>
                    </a:cubicBezTo>
                    <a:cubicBezTo>
                      <a:pt x="386517" y="218169"/>
                      <a:pt x="383430" y="213747"/>
                      <a:pt x="379008" y="215499"/>
                    </a:cubicBezTo>
                    <a:cubicBezTo>
                      <a:pt x="363908" y="221672"/>
                      <a:pt x="390521" y="227428"/>
                      <a:pt x="393608" y="228346"/>
                    </a:cubicBezTo>
                    <a:cubicBezTo>
                      <a:pt x="390104" y="239858"/>
                      <a:pt x="385182" y="253122"/>
                      <a:pt x="371500" y="254457"/>
                    </a:cubicBezTo>
                    <a:cubicBezTo>
                      <a:pt x="367078" y="254874"/>
                      <a:pt x="359069" y="249618"/>
                      <a:pt x="355565" y="251370"/>
                    </a:cubicBezTo>
                    <a:cubicBezTo>
                      <a:pt x="348474" y="254874"/>
                      <a:pt x="353313" y="264217"/>
                      <a:pt x="349392" y="269055"/>
                    </a:cubicBezTo>
                    <a:cubicBezTo>
                      <a:pt x="337462" y="282319"/>
                      <a:pt x="336544" y="258878"/>
                      <a:pt x="330370" y="254874"/>
                    </a:cubicBezTo>
                    <a:cubicBezTo>
                      <a:pt x="317523" y="246448"/>
                      <a:pt x="310848" y="270807"/>
                      <a:pt x="300254" y="274394"/>
                    </a:cubicBezTo>
                    <a:cubicBezTo>
                      <a:pt x="283401" y="280150"/>
                      <a:pt x="290075" y="260630"/>
                      <a:pt x="279397" y="254040"/>
                    </a:cubicBezTo>
                    <a:cubicBezTo>
                      <a:pt x="264797" y="244696"/>
                      <a:pt x="271888" y="273977"/>
                      <a:pt x="270553" y="283237"/>
                    </a:cubicBezTo>
                    <a:cubicBezTo>
                      <a:pt x="268801" y="294749"/>
                      <a:pt x="261210" y="312017"/>
                      <a:pt x="250615" y="317356"/>
                    </a:cubicBezTo>
                    <a:cubicBezTo>
                      <a:pt x="244441" y="320442"/>
                      <a:pt x="236849" y="318691"/>
                      <a:pt x="230258" y="323529"/>
                    </a:cubicBezTo>
                    <a:cubicBezTo>
                      <a:pt x="225837" y="326615"/>
                      <a:pt x="221415" y="337710"/>
                      <a:pt x="215158" y="335041"/>
                    </a:cubicBezTo>
                    <a:cubicBezTo>
                      <a:pt x="206315" y="331537"/>
                      <a:pt x="216910" y="311600"/>
                      <a:pt x="211654" y="304926"/>
                    </a:cubicBezTo>
                    <a:cubicBezTo>
                      <a:pt x="203228" y="293414"/>
                      <a:pt x="195302" y="306261"/>
                      <a:pt x="195302" y="316855"/>
                    </a:cubicBezTo>
                    <a:cubicBezTo>
                      <a:pt x="195302" y="329285"/>
                      <a:pt x="207233" y="346970"/>
                      <a:pt x="193967" y="357147"/>
                    </a:cubicBezTo>
                    <a:cubicBezTo>
                      <a:pt x="182872" y="365573"/>
                      <a:pt x="179368" y="352726"/>
                      <a:pt x="173611" y="342048"/>
                    </a:cubicBezTo>
                    <a:cubicBezTo>
                      <a:pt x="170942" y="336292"/>
                      <a:pt x="160764" y="314102"/>
                      <a:pt x="155925" y="329618"/>
                    </a:cubicBezTo>
                    <a:cubicBezTo>
                      <a:pt x="152421" y="340713"/>
                      <a:pt x="174112" y="355312"/>
                      <a:pt x="170525" y="369494"/>
                    </a:cubicBezTo>
                    <a:cubicBezTo>
                      <a:pt x="169190" y="374332"/>
                      <a:pt x="166103" y="380088"/>
                      <a:pt x="161181" y="382340"/>
                    </a:cubicBezTo>
                    <a:cubicBezTo>
                      <a:pt x="153172" y="385844"/>
                      <a:pt x="152337" y="380088"/>
                      <a:pt x="146080" y="379671"/>
                    </a:cubicBezTo>
                    <a:cubicBezTo>
                      <a:pt x="141659" y="379254"/>
                      <a:pt x="142076" y="373915"/>
                      <a:pt x="137237" y="379671"/>
                    </a:cubicBezTo>
                    <a:cubicBezTo>
                      <a:pt x="134151" y="383675"/>
                      <a:pt x="138572" y="395187"/>
                      <a:pt x="135903" y="400943"/>
                    </a:cubicBezTo>
                    <a:cubicBezTo>
                      <a:pt x="131898" y="409786"/>
                      <a:pt x="115046" y="418628"/>
                      <a:pt x="106203" y="421298"/>
                    </a:cubicBezTo>
                    <a:cubicBezTo>
                      <a:pt x="81425" y="429306"/>
                      <a:pt x="85847" y="409369"/>
                      <a:pt x="74333" y="395604"/>
                    </a:cubicBezTo>
                    <a:cubicBezTo>
                      <a:pt x="69495" y="389431"/>
                      <a:pt x="62404" y="387179"/>
                      <a:pt x="56647" y="381840"/>
                    </a:cubicBezTo>
                    <a:cubicBezTo>
                      <a:pt x="49556" y="375667"/>
                      <a:pt x="47804" y="367241"/>
                      <a:pt x="42047" y="360568"/>
                    </a:cubicBezTo>
                    <a:cubicBezTo>
                      <a:pt x="29617" y="345051"/>
                      <a:pt x="15434" y="354811"/>
                      <a:pt x="0" y="347304"/>
                    </a:cubicBezTo>
                    <a:cubicBezTo>
                      <a:pt x="9344" y="334040"/>
                      <a:pt x="35456" y="312350"/>
                      <a:pt x="53143" y="314102"/>
                    </a:cubicBezTo>
                    <a:cubicBezTo>
                      <a:pt x="55813" y="314520"/>
                      <a:pt x="76586" y="327867"/>
                      <a:pt x="73499" y="315854"/>
                    </a:cubicBezTo>
                    <a:cubicBezTo>
                      <a:pt x="70830" y="304759"/>
                      <a:pt x="49556" y="308346"/>
                      <a:pt x="42965" y="308346"/>
                    </a:cubicBezTo>
                    <a:cubicBezTo>
                      <a:pt x="30534" y="308346"/>
                      <a:pt x="16352" y="310098"/>
                      <a:pt x="9260" y="295917"/>
                    </a:cubicBezTo>
                    <a:cubicBezTo>
                      <a:pt x="3921" y="285739"/>
                      <a:pt x="7508" y="275562"/>
                      <a:pt x="16352" y="269806"/>
                    </a:cubicBezTo>
                    <a:cubicBezTo>
                      <a:pt x="24778" y="264050"/>
                      <a:pt x="39795" y="265802"/>
                      <a:pt x="49556" y="264968"/>
                    </a:cubicBezTo>
                    <a:cubicBezTo>
                      <a:pt x="62404" y="263633"/>
                      <a:pt x="67743" y="258294"/>
                      <a:pt x="77921" y="252121"/>
                    </a:cubicBezTo>
                    <a:cubicBezTo>
                      <a:pt x="90769" y="244613"/>
                      <a:pt x="93021" y="248617"/>
                      <a:pt x="106703" y="250369"/>
                    </a:cubicBezTo>
                    <a:cubicBezTo>
                      <a:pt x="120886" y="252121"/>
                      <a:pt x="112042" y="247282"/>
                      <a:pt x="123055" y="239775"/>
                    </a:cubicBezTo>
                    <a:cubicBezTo>
                      <a:pt x="135903" y="231349"/>
                      <a:pt x="130146" y="243278"/>
                      <a:pt x="134985" y="226511"/>
                    </a:cubicBezTo>
                    <a:cubicBezTo>
                      <a:pt x="140324" y="208325"/>
                      <a:pt x="142994" y="215916"/>
                      <a:pt x="158011" y="220755"/>
                    </a:cubicBezTo>
                    <a:cubicBezTo>
                      <a:pt x="188545" y="230932"/>
                      <a:pt x="154507" y="203904"/>
                      <a:pt x="158928" y="192809"/>
                    </a:cubicBezTo>
                    <a:cubicBezTo>
                      <a:pt x="161598" y="186135"/>
                      <a:pt x="186876" y="183966"/>
                      <a:pt x="192633" y="186636"/>
                    </a:cubicBezTo>
                    <a:cubicBezTo>
                      <a:pt x="200141" y="189722"/>
                      <a:pt x="207233" y="209243"/>
                      <a:pt x="215658" y="197230"/>
                    </a:cubicBezTo>
                    <a:cubicBezTo>
                      <a:pt x="221832" y="187887"/>
                      <a:pt x="205481" y="180379"/>
                      <a:pt x="202394" y="173789"/>
                    </a:cubicBezTo>
                    <a:cubicBezTo>
                      <a:pt x="194885" y="156521"/>
                      <a:pt x="212155" y="163612"/>
                      <a:pt x="215241" y="151683"/>
                    </a:cubicBezTo>
                    <a:cubicBezTo>
                      <a:pt x="217494" y="142339"/>
                      <a:pt x="207233" y="135749"/>
                      <a:pt x="208150" y="125572"/>
                    </a:cubicBezTo>
                    <a:cubicBezTo>
                      <a:pt x="209068" y="115395"/>
                      <a:pt x="220080" y="98961"/>
                      <a:pt x="231593" y="105634"/>
                    </a:cubicBezTo>
                    <a:cubicBezTo>
                      <a:pt x="241354" y="111391"/>
                      <a:pt x="237349" y="129993"/>
                      <a:pt x="253701" y="121568"/>
                    </a:cubicBezTo>
                    <a:cubicBezTo>
                      <a:pt x="263462" y="116729"/>
                      <a:pt x="261210" y="101213"/>
                      <a:pt x="270553" y="95457"/>
                    </a:cubicBezTo>
                    <a:cubicBezTo>
                      <a:pt x="284319" y="86615"/>
                      <a:pt x="281649" y="100796"/>
                      <a:pt x="290910" y="106052"/>
                    </a:cubicBezTo>
                    <a:cubicBezTo>
                      <a:pt x="307261" y="115395"/>
                      <a:pt x="304174" y="97209"/>
                      <a:pt x="314353" y="89201"/>
                    </a:cubicBezTo>
                    <a:cubicBezTo>
                      <a:pt x="317856" y="86531"/>
                      <a:pt x="324113" y="87449"/>
                      <a:pt x="327617" y="85697"/>
                    </a:cubicBezTo>
                    <a:cubicBezTo>
                      <a:pt x="333791" y="83028"/>
                      <a:pt x="337796" y="78606"/>
                      <a:pt x="343969" y="76354"/>
                    </a:cubicBezTo>
                    <a:cubicBezTo>
                      <a:pt x="355899" y="71933"/>
                      <a:pt x="366161" y="69680"/>
                      <a:pt x="378091" y="63924"/>
                    </a:cubicBezTo>
                    <a:cubicBezTo>
                      <a:pt x="403786" y="51495"/>
                      <a:pt x="436156" y="51995"/>
                      <a:pt x="464020" y="53747"/>
                    </a:cubicBezTo>
                    <a:cubicBezTo>
                      <a:pt x="477786" y="54665"/>
                      <a:pt x="487964" y="57751"/>
                      <a:pt x="496807" y="45738"/>
                    </a:cubicBezTo>
                    <a:cubicBezTo>
                      <a:pt x="504816" y="35144"/>
                      <a:pt x="504816" y="28888"/>
                      <a:pt x="519833" y="25801"/>
                    </a:cubicBezTo>
                    <a:cubicBezTo>
                      <a:pt x="534015" y="23132"/>
                      <a:pt x="539355" y="27553"/>
                      <a:pt x="548198" y="37313"/>
                    </a:cubicBezTo>
                    <a:cubicBezTo>
                      <a:pt x="557959" y="47907"/>
                      <a:pt x="567720" y="56333"/>
                      <a:pt x="581902" y="61255"/>
                    </a:cubicBezTo>
                    <a:cubicBezTo>
                      <a:pt x="597003" y="66594"/>
                      <a:pt x="604010" y="55082"/>
                      <a:pt x="617359" y="58168"/>
                    </a:cubicBezTo>
                    <a:cubicBezTo>
                      <a:pt x="628455" y="60838"/>
                      <a:pt x="630624" y="74101"/>
                      <a:pt x="643471" y="72767"/>
                    </a:cubicBezTo>
                    <a:cubicBezTo>
                      <a:pt x="654984" y="71849"/>
                      <a:pt x="663828" y="57668"/>
                      <a:pt x="676258" y="55499"/>
                    </a:cubicBezTo>
                    <a:cubicBezTo>
                      <a:pt x="691358" y="53246"/>
                      <a:pt x="705040" y="59920"/>
                      <a:pt x="717471" y="48408"/>
                    </a:cubicBezTo>
                    <a:cubicBezTo>
                      <a:pt x="739579" y="27553"/>
                      <a:pt x="767944" y="2777"/>
                      <a:pt x="800731" y="107"/>
                    </a:cubicBezTo>
                    <a:cubicBezTo>
                      <a:pt x="831182" y="-2061"/>
                      <a:pt x="858212" y="28971"/>
                      <a:pt x="850286" y="59086"/>
                    </a:cubicBezTo>
                    <a:cubicBezTo>
                      <a:pt x="848952" y="64008"/>
                      <a:pt x="852956" y="49326"/>
                      <a:pt x="850286" y="59086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84707166" name="Полилиния 486"/>
              <p:cNvSpPr/>
              <p:nvPr/>
            </p:nvSpPr>
            <p:spPr bwMode="auto">
              <a:xfrm>
                <a:off x="4266829" y="2724915"/>
                <a:ext cx="34270" cy="69264"/>
              </a:xfrm>
              <a:custGeom>
                <a:avLst/>
                <a:gdLst>
                  <a:gd name="connsiteX0" fmla="*/ 32121 w 38488"/>
                  <a:gd name="connsiteY0" fmla="*/ 10754 h 77786"/>
                  <a:gd name="connsiteX1" fmla="*/ 252 w 38488"/>
                  <a:gd name="connsiteY1" fmla="*/ 13424 h 77786"/>
                  <a:gd name="connsiteX2" fmla="*/ 10013 w 38488"/>
                  <a:gd name="connsiteY2" fmla="*/ 33778 h 77786"/>
                  <a:gd name="connsiteX3" fmla="*/ 6509 w 38488"/>
                  <a:gd name="connsiteY3" fmla="*/ 71401 h 77786"/>
                  <a:gd name="connsiteX4" fmla="*/ 19357 w 38488"/>
                  <a:gd name="connsiteY4" fmla="*/ 71401 h 77786"/>
                  <a:gd name="connsiteX5" fmla="*/ 21109 w 38488"/>
                  <a:gd name="connsiteY5" fmla="*/ 61224 h 77786"/>
                  <a:gd name="connsiteX6" fmla="*/ 32204 w 38488"/>
                  <a:gd name="connsiteY6" fmla="*/ 56802 h 77786"/>
                  <a:gd name="connsiteX7" fmla="*/ 32121 w 38488"/>
                  <a:gd name="connsiteY7" fmla="*/ 10754 h 77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88" h="77786" extrusionOk="0">
                    <a:moveTo>
                      <a:pt x="32121" y="10754"/>
                    </a:moveTo>
                    <a:cubicBezTo>
                      <a:pt x="23278" y="4581"/>
                      <a:pt x="-2835" y="-11352"/>
                      <a:pt x="252" y="13424"/>
                    </a:cubicBezTo>
                    <a:cubicBezTo>
                      <a:pt x="1170" y="21849"/>
                      <a:pt x="8261" y="25353"/>
                      <a:pt x="10013" y="33778"/>
                    </a:cubicBezTo>
                    <a:cubicBezTo>
                      <a:pt x="12265" y="44373"/>
                      <a:pt x="2004" y="62141"/>
                      <a:pt x="6509" y="71401"/>
                    </a:cubicBezTo>
                    <a:cubicBezTo>
                      <a:pt x="10931" y="81578"/>
                      <a:pt x="14935" y="78075"/>
                      <a:pt x="19357" y="71401"/>
                    </a:cubicBezTo>
                    <a:cubicBezTo>
                      <a:pt x="21109" y="68314"/>
                      <a:pt x="18439" y="64727"/>
                      <a:pt x="21109" y="61224"/>
                    </a:cubicBezTo>
                    <a:cubicBezTo>
                      <a:pt x="23779" y="57720"/>
                      <a:pt x="29535" y="59472"/>
                      <a:pt x="32204" y="56802"/>
                    </a:cubicBezTo>
                    <a:cubicBezTo>
                      <a:pt x="39213" y="50629"/>
                      <a:pt x="41882" y="17428"/>
                      <a:pt x="32121" y="1075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31990233" name="Полилиния 487"/>
              <p:cNvSpPr/>
              <p:nvPr/>
            </p:nvSpPr>
            <p:spPr bwMode="auto">
              <a:xfrm>
                <a:off x="3888155" y="2869132"/>
                <a:ext cx="125181" cy="104916"/>
              </a:xfrm>
              <a:custGeom>
                <a:avLst/>
                <a:gdLst>
                  <a:gd name="connsiteX0" fmla="*/ 98983 w 140583"/>
                  <a:gd name="connsiteY0" fmla="*/ 106647 h 117825"/>
                  <a:gd name="connsiteX1" fmla="*/ 112248 w 140583"/>
                  <a:gd name="connsiteY1" fmla="*/ 99973 h 117825"/>
                  <a:gd name="connsiteX2" fmla="*/ 125095 w 140583"/>
                  <a:gd name="connsiteY2" fmla="*/ 100891 h 117825"/>
                  <a:gd name="connsiteX3" fmla="*/ 138360 w 140583"/>
                  <a:gd name="connsiteY3" fmla="*/ 92882 h 117825"/>
                  <a:gd name="connsiteX4" fmla="*/ 138777 w 140583"/>
                  <a:gd name="connsiteY4" fmla="*/ 77366 h 117825"/>
                  <a:gd name="connsiteX5" fmla="*/ 133438 w 140583"/>
                  <a:gd name="connsiteY5" fmla="*/ 68941 h 117825"/>
                  <a:gd name="connsiteX6" fmla="*/ 128600 w 140583"/>
                  <a:gd name="connsiteY6" fmla="*/ 47251 h 117825"/>
                  <a:gd name="connsiteX7" fmla="*/ 97565 w 140583"/>
                  <a:gd name="connsiteY7" fmla="*/ 4290 h 117825"/>
                  <a:gd name="connsiteX8" fmla="*/ 86970 w 140583"/>
                  <a:gd name="connsiteY8" fmla="*/ 285 h 117825"/>
                  <a:gd name="connsiteX9" fmla="*/ 63944 w 140583"/>
                  <a:gd name="connsiteY9" fmla="*/ 6042 h 117825"/>
                  <a:gd name="connsiteX10" fmla="*/ 2792 w 140583"/>
                  <a:gd name="connsiteY10" fmla="*/ 71610 h 117825"/>
                  <a:gd name="connsiteX11" fmla="*/ 122 w 140583"/>
                  <a:gd name="connsiteY11" fmla="*/ 79618 h 117825"/>
                  <a:gd name="connsiteX12" fmla="*/ 7631 w 140583"/>
                  <a:gd name="connsiteY12" fmla="*/ 99139 h 117825"/>
                  <a:gd name="connsiteX13" fmla="*/ 45256 w 140583"/>
                  <a:gd name="connsiteY13" fmla="*/ 117324 h 117825"/>
                  <a:gd name="connsiteX14" fmla="*/ 98983 w 140583"/>
                  <a:gd name="connsiteY14" fmla="*/ 106647 h 117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583" h="117825" extrusionOk="0">
                    <a:moveTo>
                      <a:pt x="98983" y="106647"/>
                    </a:moveTo>
                    <a:cubicBezTo>
                      <a:pt x="103405" y="103977"/>
                      <a:pt x="107409" y="100474"/>
                      <a:pt x="112248" y="99973"/>
                    </a:cubicBezTo>
                    <a:cubicBezTo>
                      <a:pt x="116669" y="99556"/>
                      <a:pt x="120674" y="101308"/>
                      <a:pt x="125095" y="100891"/>
                    </a:cubicBezTo>
                    <a:cubicBezTo>
                      <a:pt x="130435" y="100891"/>
                      <a:pt x="135691" y="97804"/>
                      <a:pt x="138360" y="92882"/>
                    </a:cubicBezTo>
                    <a:cubicBezTo>
                      <a:pt x="141030" y="88044"/>
                      <a:pt x="141447" y="82288"/>
                      <a:pt x="138777" y="77366"/>
                    </a:cubicBezTo>
                    <a:cubicBezTo>
                      <a:pt x="137443" y="74280"/>
                      <a:pt x="135274" y="72027"/>
                      <a:pt x="133438" y="68941"/>
                    </a:cubicBezTo>
                    <a:cubicBezTo>
                      <a:pt x="129934" y="62267"/>
                      <a:pt x="129934" y="54759"/>
                      <a:pt x="128600" y="47251"/>
                    </a:cubicBezTo>
                    <a:cubicBezTo>
                      <a:pt x="125513" y="29065"/>
                      <a:pt x="113499" y="13132"/>
                      <a:pt x="97565" y="4290"/>
                    </a:cubicBezTo>
                    <a:cubicBezTo>
                      <a:pt x="94061" y="2538"/>
                      <a:pt x="90473" y="786"/>
                      <a:pt x="86970" y="285"/>
                    </a:cubicBezTo>
                    <a:cubicBezTo>
                      <a:pt x="78961" y="-1049"/>
                      <a:pt x="71035" y="2538"/>
                      <a:pt x="63944" y="6042"/>
                    </a:cubicBezTo>
                    <a:cubicBezTo>
                      <a:pt x="36914" y="20223"/>
                      <a:pt x="15223" y="43664"/>
                      <a:pt x="2792" y="71610"/>
                    </a:cubicBezTo>
                    <a:cubicBezTo>
                      <a:pt x="1457" y="74280"/>
                      <a:pt x="539" y="76949"/>
                      <a:pt x="122" y="79618"/>
                    </a:cubicBezTo>
                    <a:cubicBezTo>
                      <a:pt x="-796" y="86709"/>
                      <a:pt x="3626" y="93383"/>
                      <a:pt x="7631" y="99139"/>
                    </a:cubicBezTo>
                    <a:cubicBezTo>
                      <a:pt x="16974" y="111986"/>
                      <a:pt x="29739" y="115990"/>
                      <a:pt x="45256" y="117324"/>
                    </a:cubicBezTo>
                    <a:cubicBezTo>
                      <a:pt x="64027" y="119076"/>
                      <a:pt x="83966" y="116407"/>
                      <a:pt x="98983" y="10664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109543431" name="Полилиния 488"/>
              <p:cNvSpPr/>
              <p:nvPr/>
            </p:nvSpPr>
            <p:spPr bwMode="auto">
              <a:xfrm>
                <a:off x="4865629" y="1332576"/>
                <a:ext cx="98749" cy="53103"/>
              </a:xfrm>
              <a:custGeom>
                <a:avLst/>
                <a:gdLst>
                  <a:gd name="connsiteX0" fmla="*/ 15301 w 110899"/>
                  <a:gd name="connsiteY0" fmla="*/ 1919 h 59637"/>
                  <a:gd name="connsiteX1" fmla="*/ 1536 w 110899"/>
                  <a:gd name="connsiteY1" fmla="*/ 7258 h 59637"/>
                  <a:gd name="connsiteX2" fmla="*/ 6875 w 110899"/>
                  <a:gd name="connsiteY2" fmla="*/ 27613 h 59637"/>
                  <a:gd name="connsiteX3" fmla="*/ 32153 w 110899"/>
                  <a:gd name="connsiteY3" fmla="*/ 52889 h 59637"/>
                  <a:gd name="connsiteX4" fmla="*/ 68027 w 110899"/>
                  <a:gd name="connsiteY4" fmla="*/ 42295 h 59637"/>
                  <a:gd name="connsiteX5" fmla="*/ 98561 w 110899"/>
                  <a:gd name="connsiteY5" fmla="*/ 59563 h 59637"/>
                  <a:gd name="connsiteX6" fmla="*/ 110491 w 110899"/>
                  <a:gd name="connsiteY6" fmla="*/ 39625 h 59637"/>
                  <a:gd name="connsiteX7" fmla="*/ 95892 w 110899"/>
                  <a:gd name="connsiteY7" fmla="*/ 19270 h 59637"/>
                  <a:gd name="connsiteX8" fmla="*/ 53344 w 110899"/>
                  <a:gd name="connsiteY8" fmla="*/ 16601 h 59637"/>
                  <a:gd name="connsiteX9" fmla="*/ 29901 w 110899"/>
                  <a:gd name="connsiteY9" fmla="*/ 15266 h 59637"/>
                  <a:gd name="connsiteX10" fmla="*/ 15301 w 110899"/>
                  <a:gd name="connsiteY10" fmla="*/ 1919 h 5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0899" h="59637" extrusionOk="0">
                    <a:moveTo>
                      <a:pt x="15301" y="1919"/>
                    </a:moveTo>
                    <a:cubicBezTo>
                      <a:pt x="9128" y="-2919"/>
                      <a:pt x="4205" y="2336"/>
                      <a:pt x="1536" y="7258"/>
                    </a:cubicBezTo>
                    <a:cubicBezTo>
                      <a:pt x="-2886" y="15266"/>
                      <a:pt x="3288" y="21022"/>
                      <a:pt x="6875" y="27613"/>
                    </a:cubicBezTo>
                    <a:cubicBezTo>
                      <a:pt x="12214" y="37790"/>
                      <a:pt x="18388" y="53723"/>
                      <a:pt x="32153" y="52889"/>
                    </a:cubicBezTo>
                    <a:cubicBezTo>
                      <a:pt x="44084" y="51971"/>
                      <a:pt x="53844" y="40042"/>
                      <a:pt x="68027" y="42295"/>
                    </a:cubicBezTo>
                    <a:cubicBezTo>
                      <a:pt x="79123" y="44046"/>
                      <a:pt x="88383" y="60897"/>
                      <a:pt x="98561" y="59563"/>
                    </a:cubicBezTo>
                    <a:cubicBezTo>
                      <a:pt x="105235" y="58645"/>
                      <a:pt x="112744" y="46299"/>
                      <a:pt x="110491" y="39625"/>
                    </a:cubicBezTo>
                    <a:cubicBezTo>
                      <a:pt x="110491" y="39625"/>
                      <a:pt x="94974" y="18353"/>
                      <a:pt x="95892" y="19270"/>
                    </a:cubicBezTo>
                    <a:cubicBezTo>
                      <a:pt x="87048" y="10845"/>
                      <a:pt x="64440" y="17519"/>
                      <a:pt x="53344" y="16601"/>
                    </a:cubicBezTo>
                    <a:cubicBezTo>
                      <a:pt x="48004" y="16184"/>
                      <a:pt x="34740" y="17018"/>
                      <a:pt x="29901" y="15266"/>
                    </a:cubicBezTo>
                    <a:cubicBezTo>
                      <a:pt x="21475" y="12096"/>
                      <a:pt x="21475" y="6841"/>
                      <a:pt x="15301" y="191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83731883" name="Полилиния 489"/>
              <p:cNvSpPr/>
              <p:nvPr/>
            </p:nvSpPr>
            <p:spPr bwMode="auto">
              <a:xfrm>
                <a:off x="4872657" y="1372911"/>
                <a:ext cx="155855" cy="89833"/>
              </a:xfrm>
              <a:custGeom>
                <a:avLst/>
                <a:gdLst>
                  <a:gd name="connsiteX0" fmla="*/ 143394 w 175031"/>
                  <a:gd name="connsiteY0" fmla="*/ 0 h 100887"/>
                  <a:gd name="connsiteX1" fmla="*/ 161580 w 175031"/>
                  <a:gd name="connsiteY1" fmla="*/ 13264 h 100887"/>
                  <a:gd name="connsiteX2" fmla="*/ 174011 w 175031"/>
                  <a:gd name="connsiteY2" fmla="*/ 16350 h 100887"/>
                  <a:gd name="connsiteX3" fmla="*/ 156742 w 175031"/>
                  <a:gd name="connsiteY3" fmla="*/ 34536 h 100887"/>
                  <a:gd name="connsiteX4" fmla="*/ 171342 w 175031"/>
                  <a:gd name="connsiteY4" fmla="*/ 47383 h 100887"/>
                  <a:gd name="connsiteX5" fmla="*/ 154489 w 175031"/>
                  <a:gd name="connsiteY5" fmla="*/ 74411 h 100887"/>
                  <a:gd name="connsiteX6" fmla="*/ 123455 w 175031"/>
                  <a:gd name="connsiteY6" fmla="*/ 71742 h 100887"/>
                  <a:gd name="connsiteX7" fmla="*/ 86246 w 175031"/>
                  <a:gd name="connsiteY7" fmla="*/ 77915 h 100887"/>
                  <a:gd name="connsiteX8" fmla="*/ 58799 w 175031"/>
                  <a:gd name="connsiteY8" fmla="*/ 82753 h 100887"/>
                  <a:gd name="connsiteX9" fmla="*/ 21173 w 175031"/>
                  <a:gd name="connsiteY9" fmla="*/ 94265 h 100887"/>
                  <a:gd name="connsiteX10" fmla="*/ 8326 w 175031"/>
                  <a:gd name="connsiteY10" fmla="*/ 88092 h 100887"/>
                  <a:gd name="connsiteX11" fmla="*/ 13665 w 175031"/>
                  <a:gd name="connsiteY11" fmla="*/ 81418 h 100887"/>
                  <a:gd name="connsiteX12" fmla="*/ 13248 w 175031"/>
                  <a:gd name="connsiteY12" fmla="*/ 66319 h 100887"/>
                  <a:gd name="connsiteX13" fmla="*/ 1735 w 175031"/>
                  <a:gd name="connsiteY13" fmla="*/ 61481 h 100887"/>
                  <a:gd name="connsiteX14" fmla="*/ 24343 w 175031"/>
                  <a:gd name="connsiteY14" fmla="*/ 45548 h 100887"/>
                  <a:gd name="connsiteX15" fmla="*/ 33687 w 175031"/>
                  <a:gd name="connsiteY15" fmla="*/ 58811 h 100887"/>
                  <a:gd name="connsiteX16" fmla="*/ 39027 w 175031"/>
                  <a:gd name="connsiteY16" fmla="*/ 53055 h 100887"/>
                  <a:gd name="connsiteX17" fmla="*/ 59383 w 175031"/>
                  <a:gd name="connsiteY17" fmla="*/ 28279 h 100887"/>
                  <a:gd name="connsiteX18" fmla="*/ 91752 w 175031"/>
                  <a:gd name="connsiteY18" fmla="*/ 48634 h 100887"/>
                  <a:gd name="connsiteX19" fmla="*/ 110774 w 175031"/>
                  <a:gd name="connsiteY19" fmla="*/ 16267 h 100887"/>
                  <a:gd name="connsiteX20" fmla="*/ 143394 w 175031"/>
                  <a:gd name="connsiteY20" fmla="*/ 0 h 100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75031" h="100887" extrusionOk="0">
                    <a:moveTo>
                      <a:pt x="143394" y="0"/>
                    </a:moveTo>
                    <a:cubicBezTo>
                      <a:pt x="154489" y="0"/>
                      <a:pt x="153989" y="8425"/>
                      <a:pt x="161580" y="13264"/>
                    </a:cubicBezTo>
                    <a:cubicBezTo>
                      <a:pt x="164667" y="15516"/>
                      <a:pt x="171759" y="13264"/>
                      <a:pt x="174011" y="16350"/>
                    </a:cubicBezTo>
                    <a:cubicBezTo>
                      <a:pt x="179768" y="24776"/>
                      <a:pt x="159411" y="29197"/>
                      <a:pt x="156742" y="34536"/>
                    </a:cubicBezTo>
                    <a:cubicBezTo>
                      <a:pt x="150568" y="47800"/>
                      <a:pt x="163416" y="37623"/>
                      <a:pt x="171342" y="47383"/>
                    </a:cubicBezTo>
                    <a:cubicBezTo>
                      <a:pt x="180185" y="57977"/>
                      <a:pt x="163333" y="70407"/>
                      <a:pt x="154489" y="74411"/>
                    </a:cubicBezTo>
                    <a:cubicBezTo>
                      <a:pt x="140724" y="81085"/>
                      <a:pt x="135468" y="75746"/>
                      <a:pt x="123455" y="71742"/>
                    </a:cubicBezTo>
                    <a:cubicBezTo>
                      <a:pt x="106602" y="65986"/>
                      <a:pt x="103098" y="77080"/>
                      <a:pt x="86246" y="77915"/>
                    </a:cubicBezTo>
                    <a:cubicBezTo>
                      <a:pt x="72064" y="78832"/>
                      <a:pt x="69894" y="69072"/>
                      <a:pt x="58799" y="82753"/>
                    </a:cubicBezTo>
                    <a:cubicBezTo>
                      <a:pt x="44199" y="100939"/>
                      <a:pt x="43281" y="106695"/>
                      <a:pt x="21173" y="94265"/>
                    </a:cubicBezTo>
                    <a:cubicBezTo>
                      <a:pt x="18921" y="92930"/>
                      <a:pt x="8743" y="91596"/>
                      <a:pt x="8326" y="88092"/>
                    </a:cubicBezTo>
                    <a:cubicBezTo>
                      <a:pt x="7908" y="83254"/>
                      <a:pt x="12747" y="84588"/>
                      <a:pt x="13665" y="81418"/>
                    </a:cubicBezTo>
                    <a:cubicBezTo>
                      <a:pt x="16334" y="72576"/>
                      <a:pt x="22091" y="75662"/>
                      <a:pt x="13248" y="66319"/>
                    </a:cubicBezTo>
                    <a:cubicBezTo>
                      <a:pt x="9243" y="61898"/>
                      <a:pt x="5239" y="68572"/>
                      <a:pt x="1735" y="61481"/>
                    </a:cubicBezTo>
                    <a:cubicBezTo>
                      <a:pt x="-5774" y="46882"/>
                      <a:pt x="12831" y="34453"/>
                      <a:pt x="24343" y="45548"/>
                    </a:cubicBezTo>
                    <a:cubicBezTo>
                      <a:pt x="27847" y="49051"/>
                      <a:pt x="26095" y="58394"/>
                      <a:pt x="33687" y="58811"/>
                    </a:cubicBezTo>
                    <a:cubicBezTo>
                      <a:pt x="39861" y="59229"/>
                      <a:pt x="35940" y="55308"/>
                      <a:pt x="39027" y="53055"/>
                    </a:cubicBezTo>
                    <a:cubicBezTo>
                      <a:pt x="49205" y="45548"/>
                      <a:pt x="45701" y="28279"/>
                      <a:pt x="59383" y="28279"/>
                    </a:cubicBezTo>
                    <a:cubicBezTo>
                      <a:pt x="73982" y="27862"/>
                      <a:pt x="76652" y="48634"/>
                      <a:pt x="91752" y="48634"/>
                    </a:cubicBezTo>
                    <a:cubicBezTo>
                      <a:pt x="113861" y="48634"/>
                      <a:pt x="105017" y="28279"/>
                      <a:pt x="110774" y="16267"/>
                    </a:cubicBezTo>
                    <a:cubicBezTo>
                      <a:pt x="115529" y="5839"/>
                      <a:pt x="132798" y="0"/>
                      <a:pt x="143394" y="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43942406" name="Полилиния 490"/>
              <p:cNvSpPr/>
              <p:nvPr/>
            </p:nvSpPr>
            <p:spPr bwMode="auto">
              <a:xfrm>
                <a:off x="5031672" y="1332713"/>
                <a:ext cx="31404" cy="36365"/>
              </a:xfrm>
              <a:custGeom>
                <a:avLst/>
                <a:gdLst>
                  <a:gd name="connsiteX0" fmla="*/ 270 w 35269"/>
                  <a:gd name="connsiteY0" fmla="*/ 31463 h 40840"/>
                  <a:gd name="connsiteX1" fmla="*/ 14870 w 35269"/>
                  <a:gd name="connsiteY1" fmla="*/ 39888 h 40840"/>
                  <a:gd name="connsiteX2" fmla="*/ 20627 w 35269"/>
                  <a:gd name="connsiteY2" fmla="*/ 20868 h 40840"/>
                  <a:gd name="connsiteX3" fmla="*/ 31222 w 35269"/>
                  <a:gd name="connsiteY3" fmla="*/ 13 h 40840"/>
                  <a:gd name="connsiteX4" fmla="*/ 20627 w 35269"/>
                  <a:gd name="connsiteY4" fmla="*/ 10190 h 40840"/>
                  <a:gd name="connsiteX5" fmla="*/ 3774 w 35269"/>
                  <a:gd name="connsiteY5" fmla="*/ 8439 h 40840"/>
                  <a:gd name="connsiteX6" fmla="*/ 7278 w 35269"/>
                  <a:gd name="connsiteY6" fmla="*/ 17281 h 40840"/>
                  <a:gd name="connsiteX7" fmla="*/ 270 w 35269"/>
                  <a:gd name="connsiteY7" fmla="*/ 31463 h 4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69" h="40840" extrusionOk="0">
                    <a:moveTo>
                      <a:pt x="270" y="31463"/>
                    </a:moveTo>
                    <a:cubicBezTo>
                      <a:pt x="-1982" y="38136"/>
                      <a:pt x="10448" y="42975"/>
                      <a:pt x="14870" y="39888"/>
                    </a:cubicBezTo>
                    <a:cubicBezTo>
                      <a:pt x="18374" y="37636"/>
                      <a:pt x="17957" y="25289"/>
                      <a:pt x="20627" y="20868"/>
                    </a:cubicBezTo>
                    <a:cubicBezTo>
                      <a:pt x="22379" y="17364"/>
                      <a:pt x="44070" y="1348"/>
                      <a:pt x="31222" y="13"/>
                    </a:cubicBezTo>
                    <a:cubicBezTo>
                      <a:pt x="26800" y="-404"/>
                      <a:pt x="24548" y="9356"/>
                      <a:pt x="20627" y="10190"/>
                    </a:cubicBezTo>
                    <a:cubicBezTo>
                      <a:pt x="15788" y="11942"/>
                      <a:pt x="8196" y="4434"/>
                      <a:pt x="3774" y="8439"/>
                    </a:cubicBezTo>
                    <a:cubicBezTo>
                      <a:pt x="-1982" y="13777"/>
                      <a:pt x="7779" y="11525"/>
                      <a:pt x="7278" y="17281"/>
                    </a:cubicBezTo>
                    <a:cubicBezTo>
                      <a:pt x="7779" y="28793"/>
                      <a:pt x="2940" y="23037"/>
                      <a:pt x="270" y="3146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662289371" name="Полилиния 491"/>
              <p:cNvSpPr/>
              <p:nvPr/>
            </p:nvSpPr>
            <p:spPr bwMode="auto">
              <a:xfrm>
                <a:off x="4924995" y="1469817"/>
                <a:ext cx="24607" cy="26136"/>
              </a:xfrm>
              <a:custGeom>
                <a:avLst/>
                <a:gdLst>
                  <a:gd name="connsiteX0" fmla="*/ 11952 w 27636"/>
                  <a:gd name="connsiteY0" fmla="*/ 22308 h 29353"/>
                  <a:gd name="connsiteX1" fmla="*/ 27053 w 27636"/>
                  <a:gd name="connsiteY1" fmla="*/ 8127 h 29353"/>
                  <a:gd name="connsiteX2" fmla="*/ 11952 w 27636"/>
                  <a:gd name="connsiteY2" fmla="*/ 7709 h 29353"/>
                  <a:gd name="connsiteX3" fmla="*/ 22 w 27636"/>
                  <a:gd name="connsiteY3" fmla="*/ 24060 h 29353"/>
                  <a:gd name="connsiteX4" fmla="*/ 11952 w 27636"/>
                  <a:gd name="connsiteY4" fmla="*/ 22308 h 29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636" h="29353" extrusionOk="0">
                    <a:moveTo>
                      <a:pt x="11952" y="22308"/>
                    </a:moveTo>
                    <a:cubicBezTo>
                      <a:pt x="20378" y="18304"/>
                      <a:pt x="30139" y="20973"/>
                      <a:pt x="27053" y="8127"/>
                    </a:cubicBezTo>
                    <a:cubicBezTo>
                      <a:pt x="23048" y="-7390"/>
                      <a:pt x="17292" y="3288"/>
                      <a:pt x="11952" y="7709"/>
                    </a:cubicBezTo>
                    <a:cubicBezTo>
                      <a:pt x="7531" y="11714"/>
                      <a:pt x="-478" y="17470"/>
                      <a:pt x="22" y="24060"/>
                    </a:cubicBezTo>
                    <a:cubicBezTo>
                      <a:pt x="857" y="35655"/>
                      <a:pt x="6196" y="24977"/>
                      <a:pt x="11952" y="2230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32516868" name="Полилиния 492"/>
              <p:cNvSpPr/>
              <p:nvPr/>
            </p:nvSpPr>
            <p:spPr bwMode="auto">
              <a:xfrm>
                <a:off x="4936455" y="1508344"/>
                <a:ext cx="27729" cy="29289"/>
              </a:xfrm>
              <a:custGeom>
                <a:avLst/>
                <a:gdLst>
                  <a:gd name="connsiteX0" fmla="*/ 16852 w 31141"/>
                  <a:gd name="connsiteY0" fmla="*/ 20252 h 32894"/>
                  <a:gd name="connsiteX1" fmla="*/ 0 w 31141"/>
                  <a:gd name="connsiteY1" fmla="*/ 8740 h 32894"/>
                  <a:gd name="connsiteX2" fmla="*/ 10178 w 31141"/>
                  <a:gd name="connsiteY2" fmla="*/ 29094 h 32894"/>
                  <a:gd name="connsiteX3" fmla="*/ 16852 w 31141"/>
                  <a:gd name="connsiteY3" fmla="*/ 20252 h 32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141" h="32894" extrusionOk="0">
                    <a:moveTo>
                      <a:pt x="16852" y="20252"/>
                    </a:moveTo>
                    <a:cubicBezTo>
                      <a:pt x="54978" y="10491"/>
                      <a:pt x="5339" y="-12533"/>
                      <a:pt x="0" y="8740"/>
                    </a:cubicBezTo>
                    <a:cubicBezTo>
                      <a:pt x="0" y="9157"/>
                      <a:pt x="8843" y="27759"/>
                      <a:pt x="10178" y="29094"/>
                    </a:cubicBezTo>
                    <a:cubicBezTo>
                      <a:pt x="22609" y="40606"/>
                      <a:pt x="8426" y="22504"/>
                      <a:pt x="16852" y="202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36476425" name="Полилиния 493"/>
              <p:cNvSpPr/>
              <p:nvPr/>
            </p:nvSpPr>
            <p:spPr bwMode="auto">
              <a:xfrm>
                <a:off x="5006026" y="1487907"/>
                <a:ext cx="40860" cy="41591"/>
              </a:xfrm>
              <a:custGeom>
                <a:avLst/>
                <a:gdLst>
                  <a:gd name="connsiteX0" fmla="*/ 27738 w 45888"/>
                  <a:gd name="connsiteY0" fmla="*/ 42785 h 46709"/>
                  <a:gd name="connsiteX1" fmla="*/ 41921 w 45888"/>
                  <a:gd name="connsiteY1" fmla="*/ 11336 h 46709"/>
                  <a:gd name="connsiteX2" fmla="*/ 11386 w 45888"/>
                  <a:gd name="connsiteY2" fmla="*/ 10001 h 46709"/>
                  <a:gd name="connsiteX3" fmla="*/ 3878 w 45888"/>
                  <a:gd name="connsiteY3" fmla="*/ 34777 h 46709"/>
                  <a:gd name="connsiteX4" fmla="*/ 17644 w 45888"/>
                  <a:gd name="connsiteY4" fmla="*/ 45372 h 46709"/>
                  <a:gd name="connsiteX5" fmla="*/ 27738 w 45888"/>
                  <a:gd name="connsiteY5" fmla="*/ 42785 h 46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888" h="46709" extrusionOk="0">
                    <a:moveTo>
                      <a:pt x="27738" y="42785"/>
                    </a:moveTo>
                    <a:cubicBezTo>
                      <a:pt x="41003" y="33442"/>
                      <a:pt x="52099" y="33442"/>
                      <a:pt x="41921" y="11336"/>
                    </a:cubicBezTo>
                    <a:cubicBezTo>
                      <a:pt x="33495" y="-6349"/>
                      <a:pt x="21982" y="-593"/>
                      <a:pt x="11386" y="10001"/>
                    </a:cubicBezTo>
                    <a:cubicBezTo>
                      <a:pt x="2043" y="18844"/>
                      <a:pt x="-4548" y="23766"/>
                      <a:pt x="3878" y="34777"/>
                    </a:cubicBezTo>
                    <a:cubicBezTo>
                      <a:pt x="4796" y="36112"/>
                      <a:pt x="15808" y="44537"/>
                      <a:pt x="17644" y="45372"/>
                    </a:cubicBezTo>
                    <a:cubicBezTo>
                      <a:pt x="25068" y="47624"/>
                      <a:pt x="21565" y="47207"/>
                      <a:pt x="27738" y="42785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66830942" name="Полилиния 494"/>
              <p:cNvSpPr/>
              <p:nvPr/>
            </p:nvSpPr>
            <p:spPr bwMode="auto">
              <a:xfrm>
                <a:off x="5064409" y="1473951"/>
                <a:ext cx="15584" cy="27567"/>
              </a:xfrm>
              <a:custGeom>
                <a:avLst/>
                <a:gdLst>
                  <a:gd name="connsiteX0" fmla="*/ 15314 w 17502"/>
                  <a:gd name="connsiteY0" fmla="*/ 14580 h 30960"/>
                  <a:gd name="connsiteX1" fmla="*/ 2883 w 17502"/>
                  <a:gd name="connsiteY1" fmla="*/ 14162 h 30960"/>
                  <a:gd name="connsiteX2" fmla="*/ 5553 w 17502"/>
                  <a:gd name="connsiteY2" fmla="*/ 30513 h 30960"/>
                  <a:gd name="connsiteX3" fmla="*/ 15314 w 17502"/>
                  <a:gd name="connsiteY3" fmla="*/ 14580 h 30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502" h="30960" extrusionOk="0">
                    <a:moveTo>
                      <a:pt x="15314" y="14580"/>
                    </a:moveTo>
                    <a:cubicBezTo>
                      <a:pt x="24157" y="4819"/>
                      <a:pt x="3384" y="-12449"/>
                      <a:pt x="2883" y="14162"/>
                    </a:cubicBezTo>
                    <a:cubicBezTo>
                      <a:pt x="2883" y="19001"/>
                      <a:pt x="-5126" y="26592"/>
                      <a:pt x="5553" y="30513"/>
                    </a:cubicBezTo>
                    <a:cubicBezTo>
                      <a:pt x="15314" y="33599"/>
                      <a:pt x="10475" y="19918"/>
                      <a:pt x="15314" y="1458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40961466" name="Полилиния 495"/>
              <p:cNvSpPr/>
              <p:nvPr/>
            </p:nvSpPr>
            <p:spPr bwMode="auto">
              <a:xfrm>
                <a:off x="5089668" y="1437759"/>
                <a:ext cx="69989" cy="66123"/>
              </a:xfrm>
              <a:custGeom>
                <a:avLst/>
                <a:gdLst>
                  <a:gd name="connsiteX0" fmla="*/ 3384 w 78601"/>
                  <a:gd name="connsiteY0" fmla="*/ 752 h 74259"/>
                  <a:gd name="connsiteX1" fmla="*/ 16648 w 78601"/>
                  <a:gd name="connsiteY1" fmla="*/ 22441 h 74259"/>
                  <a:gd name="connsiteX2" fmla="*/ 35670 w 78601"/>
                  <a:gd name="connsiteY2" fmla="*/ 45048 h 74259"/>
                  <a:gd name="connsiteX3" fmla="*/ 53356 w 78601"/>
                  <a:gd name="connsiteY3" fmla="*/ 74245 h 74259"/>
                  <a:gd name="connsiteX4" fmla="*/ 76799 w 78601"/>
                  <a:gd name="connsiteY4" fmla="*/ 63651 h 74259"/>
                  <a:gd name="connsiteX5" fmla="*/ 66204 w 78601"/>
                  <a:gd name="connsiteY5" fmla="*/ 40627 h 74259"/>
                  <a:gd name="connsiteX6" fmla="*/ 51605 w 78601"/>
                  <a:gd name="connsiteY6" fmla="*/ 33119 h 74259"/>
                  <a:gd name="connsiteX7" fmla="*/ 50270 w 78601"/>
                  <a:gd name="connsiteY7" fmla="*/ 22024 h 74259"/>
                  <a:gd name="connsiteX8" fmla="*/ 3384 w 78601"/>
                  <a:gd name="connsiteY8" fmla="*/ 752 h 74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8601" h="74259" extrusionOk="0">
                    <a:moveTo>
                      <a:pt x="3384" y="752"/>
                    </a:moveTo>
                    <a:cubicBezTo>
                      <a:pt x="-8129" y="8760"/>
                      <a:pt x="13145" y="19772"/>
                      <a:pt x="16648" y="22441"/>
                    </a:cubicBezTo>
                    <a:cubicBezTo>
                      <a:pt x="25492" y="28614"/>
                      <a:pt x="30831" y="35705"/>
                      <a:pt x="35670" y="45048"/>
                    </a:cubicBezTo>
                    <a:cubicBezTo>
                      <a:pt x="39674" y="53057"/>
                      <a:pt x="43178" y="72494"/>
                      <a:pt x="53356" y="74245"/>
                    </a:cubicBezTo>
                    <a:cubicBezTo>
                      <a:pt x="56443" y="74662"/>
                      <a:pt x="75965" y="65403"/>
                      <a:pt x="76799" y="63651"/>
                    </a:cubicBezTo>
                    <a:cubicBezTo>
                      <a:pt x="82556" y="55643"/>
                      <a:pt x="73296" y="45048"/>
                      <a:pt x="66204" y="40627"/>
                    </a:cubicBezTo>
                    <a:cubicBezTo>
                      <a:pt x="60865" y="37540"/>
                      <a:pt x="55108" y="38375"/>
                      <a:pt x="51605" y="33119"/>
                    </a:cubicBezTo>
                    <a:cubicBezTo>
                      <a:pt x="49352" y="30033"/>
                      <a:pt x="52522" y="25111"/>
                      <a:pt x="50270" y="22024"/>
                    </a:cubicBezTo>
                    <a:cubicBezTo>
                      <a:pt x="46348" y="15768"/>
                      <a:pt x="10475" y="-4087"/>
                      <a:pt x="3384" y="7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40641689" name="Полилиния 496"/>
              <p:cNvSpPr/>
              <p:nvPr/>
            </p:nvSpPr>
            <p:spPr bwMode="auto">
              <a:xfrm>
                <a:off x="5128472" y="1405253"/>
                <a:ext cx="98059" cy="110358"/>
              </a:xfrm>
              <a:custGeom>
                <a:avLst/>
                <a:gdLst>
                  <a:gd name="connsiteX0" fmla="*/ 56330 w 110125"/>
                  <a:gd name="connsiteY0" fmla="*/ 106828 h 123937"/>
                  <a:gd name="connsiteX1" fmla="*/ 55913 w 110125"/>
                  <a:gd name="connsiteY1" fmla="*/ 100155 h 123937"/>
                  <a:gd name="connsiteX2" fmla="*/ 59917 w 110125"/>
                  <a:gd name="connsiteY2" fmla="*/ 93981 h 123937"/>
                  <a:gd name="connsiteX3" fmla="*/ 44400 w 110125"/>
                  <a:gd name="connsiteY3" fmla="*/ 58528 h 123937"/>
                  <a:gd name="connsiteX4" fmla="*/ 24878 w 110125"/>
                  <a:gd name="connsiteY4" fmla="*/ 36421 h 123937"/>
                  <a:gd name="connsiteX5" fmla="*/ 11613 w 110125"/>
                  <a:gd name="connsiteY5" fmla="*/ 17401 h 123937"/>
                  <a:gd name="connsiteX6" fmla="*/ 1852 w 110125"/>
                  <a:gd name="connsiteY6" fmla="*/ 2803 h 123937"/>
                  <a:gd name="connsiteX7" fmla="*/ 14700 w 110125"/>
                  <a:gd name="connsiteY7" fmla="*/ 3720 h 123937"/>
                  <a:gd name="connsiteX8" fmla="*/ 33304 w 110125"/>
                  <a:gd name="connsiteY8" fmla="*/ 28997 h 123937"/>
                  <a:gd name="connsiteX9" fmla="*/ 58082 w 110125"/>
                  <a:gd name="connsiteY9" fmla="*/ 41426 h 123937"/>
                  <a:gd name="connsiteX10" fmla="*/ 60334 w 110125"/>
                  <a:gd name="connsiteY10" fmla="*/ 73293 h 123937"/>
                  <a:gd name="connsiteX11" fmla="*/ 75435 w 110125"/>
                  <a:gd name="connsiteY11" fmla="*/ 80384 h 123937"/>
                  <a:gd name="connsiteX12" fmla="*/ 65256 w 110125"/>
                  <a:gd name="connsiteY12" fmla="*/ 54273 h 123937"/>
                  <a:gd name="connsiteX13" fmla="*/ 76770 w 110125"/>
                  <a:gd name="connsiteY13" fmla="*/ 49435 h 123937"/>
                  <a:gd name="connsiteX14" fmla="*/ 84278 w 110125"/>
                  <a:gd name="connsiteY14" fmla="*/ 60530 h 123937"/>
                  <a:gd name="connsiteX15" fmla="*/ 100630 w 110125"/>
                  <a:gd name="connsiteY15" fmla="*/ 57026 h 123937"/>
                  <a:gd name="connsiteX16" fmla="*/ 93956 w 110125"/>
                  <a:gd name="connsiteY16" fmla="*/ 81802 h 123937"/>
                  <a:gd name="connsiteX17" fmla="*/ 92621 w 110125"/>
                  <a:gd name="connsiteY17" fmla="*/ 97735 h 123937"/>
                  <a:gd name="connsiteX18" fmla="*/ 105468 w 110125"/>
                  <a:gd name="connsiteY18" fmla="*/ 107078 h 123937"/>
                  <a:gd name="connsiteX19" fmla="*/ 82025 w 110125"/>
                  <a:gd name="connsiteY19" fmla="*/ 123929 h 123937"/>
                  <a:gd name="connsiteX20" fmla="*/ 74517 w 110125"/>
                  <a:gd name="connsiteY20" fmla="*/ 112417 h 123937"/>
                  <a:gd name="connsiteX21" fmla="*/ 56330 w 110125"/>
                  <a:gd name="connsiteY21" fmla="*/ 106828 h 123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0125" h="123937" extrusionOk="0">
                    <a:moveTo>
                      <a:pt x="56330" y="106828"/>
                    </a:moveTo>
                    <a:cubicBezTo>
                      <a:pt x="46569" y="106411"/>
                      <a:pt x="55913" y="100155"/>
                      <a:pt x="55913" y="100155"/>
                    </a:cubicBezTo>
                    <a:cubicBezTo>
                      <a:pt x="55913" y="101072"/>
                      <a:pt x="59917" y="96651"/>
                      <a:pt x="59917" y="93981"/>
                    </a:cubicBezTo>
                    <a:cubicBezTo>
                      <a:pt x="60835" y="83387"/>
                      <a:pt x="47070" y="68288"/>
                      <a:pt x="44400" y="58528"/>
                    </a:cubicBezTo>
                    <a:cubicBezTo>
                      <a:pt x="38643" y="38590"/>
                      <a:pt x="42648" y="47016"/>
                      <a:pt x="24878" y="36421"/>
                    </a:cubicBezTo>
                    <a:cubicBezTo>
                      <a:pt x="17370" y="32000"/>
                      <a:pt x="16452" y="23992"/>
                      <a:pt x="11613" y="17401"/>
                    </a:cubicBezTo>
                    <a:cubicBezTo>
                      <a:pt x="8109" y="12563"/>
                      <a:pt x="-4739" y="12063"/>
                      <a:pt x="1852" y="2803"/>
                    </a:cubicBezTo>
                    <a:cubicBezTo>
                      <a:pt x="5356" y="-2036"/>
                      <a:pt x="11196" y="133"/>
                      <a:pt x="14700" y="3720"/>
                    </a:cubicBezTo>
                    <a:cubicBezTo>
                      <a:pt x="24878" y="14315"/>
                      <a:pt x="12030" y="27662"/>
                      <a:pt x="33304" y="28997"/>
                    </a:cubicBezTo>
                    <a:cubicBezTo>
                      <a:pt x="49656" y="29914"/>
                      <a:pt x="61252" y="21906"/>
                      <a:pt x="58082" y="41426"/>
                    </a:cubicBezTo>
                    <a:cubicBezTo>
                      <a:pt x="55829" y="53856"/>
                      <a:pt x="54578" y="60029"/>
                      <a:pt x="60334" y="73293"/>
                    </a:cubicBezTo>
                    <a:cubicBezTo>
                      <a:pt x="64756" y="83053"/>
                      <a:pt x="65173" y="93231"/>
                      <a:pt x="75435" y="80384"/>
                    </a:cubicBezTo>
                    <a:cubicBezTo>
                      <a:pt x="86530" y="65785"/>
                      <a:pt x="69261" y="65785"/>
                      <a:pt x="65256" y="54273"/>
                    </a:cubicBezTo>
                    <a:cubicBezTo>
                      <a:pt x="59500" y="38757"/>
                      <a:pt x="70096" y="42344"/>
                      <a:pt x="76770" y="49435"/>
                    </a:cubicBezTo>
                    <a:cubicBezTo>
                      <a:pt x="80774" y="53856"/>
                      <a:pt x="77187" y="57860"/>
                      <a:pt x="84278" y="60530"/>
                    </a:cubicBezTo>
                    <a:cubicBezTo>
                      <a:pt x="91786" y="63616"/>
                      <a:pt x="94456" y="56108"/>
                      <a:pt x="100630" y="57026"/>
                    </a:cubicBezTo>
                    <a:cubicBezTo>
                      <a:pt x="124072" y="59696"/>
                      <a:pt x="97126" y="77381"/>
                      <a:pt x="93956" y="81802"/>
                    </a:cubicBezTo>
                    <a:cubicBezTo>
                      <a:pt x="89951" y="87558"/>
                      <a:pt x="88616" y="91145"/>
                      <a:pt x="92621" y="97735"/>
                    </a:cubicBezTo>
                    <a:cubicBezTo>
                      <a:pt x="94373" y="100405"/>
                      <a:pt x="105468" y="106578"/>
                      <a:pt x="105468" y="107078"/>
                    </a:cubicBezTo>
                    <a:cubicBezTo>
                      <a:pt x="105468" y="109331"/>
                      <a:pt x="86864" y="124347"/>
                      <a:pt x="82025" y="123929"/>
                    </a:cubicBezTo>
                    <a:cubicBezTo>
                      <a:pt x="73599" y="123512"/>
                      <a:pt x="78522" y="115921"/>
                      <a:pt x="74517" y="112417"/>
                    </a:cubicBezTo>
                    <a:cubicBezTo>
                      <a:pt x="66508" y="104993"/>
                      <a:pt x="67426" y="107245"/>
                      <a:pt x="56330" y="10682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523400710" name="Полилиния 497"/>
              <p:cNvSpPr/>
              <p:nvPr/>
            </p:nvSpPr>
            <p:spPr bwMode="auto">
              <a:xfrm>
                <a:off x="5165507" y="1373324"/>
                <a:ext cx="92980" cy="66231"/>
              </a:xfrm>
              <a:custGeom>
                <a:avLst/>
                <a:gdLst>
                  <a:gd name="connsiteX0" fmla="*/ 92742 w 104421"/>
                  <a:gd name="connsiteY0" fmla="*/ 28817 h 74381"/>
                  <a:gd name="connsiteX1" fmla="*/ 80812 w 104421"/>
                  <a:gd name="connsiteY1" fmla="*/ 4458 h 74381"/>
                  <a:gd name="connsiteX2" fmla="*/ 61791 w 104421"/>
                  <a:gd name="connsiteY2" fmla="*/ 3541 h 74381"/>
                  <a:gd name="connsiteX3" fmla="*/ 36095 w 104421"/>
                  <a:gd name="connsiteY3" fmla="*/ 20809 h 74381"/>
                  <a:gd name="connsiteX4" fmla="*/ 9065 w 104421"/>
                  <a:gd name="connsiteY4" fmla="*/ 21226 h 74381"/>
                  <a:gd name="connsiteX5" fmla="*/ 30339 w 104421"/>
                  <a:gd name="connsiteY5" fmla="*/ 59766 h 74381"/>
                  <a:gd name="connsiteX6" fmla="*/ 50278 w 104421"/>
                  <a:gd name="connsiteY6" fmla="*/ 63270 h 74381"/>
                  <a:gd name="connsiteX7" fmla="*/ 38348 w 104421"/>
                  <a:gd name="connsiteY7" fmla="*/ 47336 h 74381"/>
                  <a:gd name="connsiteX8" fmla="*/ 17992 w 104421"/>
                  <a:gd name="connsiteY8" fmla="*/ 38494 h 74381"/>
                  <a:gd name="connsiteX9" fmla="*/ 38848 w 104421"/>
                  <a:gd name="connsiteY9" fmla="*/ 30068 h 74381"/>
                  <a:gd name="connsiteX10" fmla="*/ 53031 w 104421"/>
                  <a:gd name="connsiteY10" fmla="*/ 45167 h 74381"/>
                  <a:gd name="connsiteX11" fmla="*/ 76474 w 104421"/>
                  <a:gd name="connsiteY11" fmla="*/ 42081 h 74381"/>
                  <a:gd name="connsiteX12" fmla="*/ 91991 w 104421"/>
                  <a:gd name="connsiteY12" fmla="*/ 63770 h 74381"/>
                  <a:gd name="connsiteX13" fmla="*/ 104422 w 104421"/>
                  <a:gd name="connsiteY13" fmla="*/ 61101 h 74381"/>
                  <a:gd name="connsiteX14" fmla="*/ 92742 w 104421"/>
                  <a:gd name="connsiteY14" fmla="*/ 28817 h 7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421" h="74381" extrusionOk="0">
                    <a:moveTo>
                      <a:pt x="92742" y="28817"/>
                    </a:moveTo>
                    <a:cubicBezTo>
                      <a:pt x="91824" y="23061"/>
                      <a:pt x="85234" y="8462"/>
                      <a:pt x="80812" y="4458"/>
                    </a:cubicBezTo>
                    <a:cubicBezTo>
                      <a:pt x="73303" y="-2632"/>
                      <a:pt x="68381" y="37"/>
                      <a:pt x="61791" y="3541"/>
                    </a:cubicBezTo>
                    <a:cubicBezTo>
                      <a:pt x="53364" y="8379"/>
                      <a:pt x="47608" y="17722"/>
                      <a:pt x="36095" y="20809"/>
                    </a:cubicBezTo>
                    <a:cubicBezTo>
                      <a:pt x="29004" y="22561"/>
                      <a:pt x="15239" y="18139"/>
                      <a:pt x="9065" y="21226"/>
                    </a:cubicBezTo>
                    <a:cubicBezTo>
                      <a:pt x="-17048" y="34490"/>
                      <a:pt x="20578" y="52258"/>
                      <a:pt x="30339" y="59766"/>
                    </a:cubicBezTo>
                    <a:cubicBezTo>
                      <a:pt x="38348" y="65939"/>
                      <a:pt x="55117" y="87211"/>
                      <a:pt x="50278" y="63270"/>
                    </a:cubicBezTo>
                    <a:cubicBezTo>
                      <a:pt x="48526" y="55762"/>
                      <a:pt x="45439" y="50006"/>
                      <a:pt x="38348" y="47336"/>
                    </a:cubicBezTo>
                    <a:cubicBezTo>
                      <a:pt x="30339" y="44250"/>
                      <a:pt x="17074" y="54010"/>
                      <a:pt x="17992" y="38494"/>
                    </a:cubicBezTo>
                    <a:cubicBezTo>
                      <a:pt x="18409" y="28734"/>
                      <a:pt x="31757" y="26565"/>
                      <a:pt x="38848" y="30068"/>
                    </a:cubicBezTo>
                    <a:cubicBezTo>
                      <a:pt x="47274" y="34490"/>
                      <a:pt x="44605" y="42915"/>
                      <a:pt x="53031" y="45167"/>
                    </a:cubicBezTo>
                    <a:cubicBezTo>
                      <a:pt x="63209" y="47420"/>
                      <a:pt x="66296" y="32738"/>
                      <a:pt x="76474" y="42081"/>
                    </a:cubicBezTo>
                    <a:cubicBezTo>
                      <a:pt x="84483" y="49172"/>
                      <a:pt x="81312" y="57597"/>
                      <a:pt x="91991" y="63770"/>
                    </a:cubicBezTo>
                    <a:cubicBezTo>
                      <a:pt x="98165" y="67274"/>
                      <a:pt x="104422" y="73530"/>
                      <a:pt x="104422" y="61101"/>
                    </a:cubicBezTo>
                    <a:cubicBezTo>
                      <a:pt x="103754" y="52258"/>
                      <a:pt x="94077" y="38994"/>
                      <a:pt x="92742" y="28817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93837165" name="Полилиния 498"/>
              <p:cNvSpPr/>
              <p:nvPr/>
            </p:nvSpPr>
            <p:spPr bwMode="auto">
              <a:xfrm>
                <a:off x="5261319" y="1335735"/>
                <a:ext cx="34322" cy="30654"/>
              </a:xfrm>
              <a:custGeom>
                <a:avLst/>
                <a:gdLst>
                  <a:gd name="connsiteX0" fmla="*/ 33447 w 38546"/>
                  <a:gd name="connsiteY0" fmla="*/ 28070 h 34426"/>
                  <a:gd name="connsiteX1" fmla="*/ 35700 w 38546"/>
                  <a:gd name="connsiteY1" fmla="*/ 6797 h 34426"/>
                  <a:gd name="connsiteX2" fmla="*/ 12257 w 38546"/>
                  <a:gd name="connsiteY2" fmla="*/ 10301 h 34426"/>
                  <a:gd name="connsiteX3" fmla="*/ 1661 w 38546"/>
                  <a:gd name="connsiteY3" fmla="*/ 27569 h 34426"/>
                  <a:gd name="connsiteX4" fmla="*/ 33447 w 38546"/>
                  <a:gd name="connsiteY4" fmla="*/ 28070 h 34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546" h="34426" extrusionOk="0">
                    <a:moveTo>
                      <a:pt x="33447" y="28070"/>
                    </a:moveTo>
                    <a:cubicBezTo>
                      <a:pt x="40956" y="26318"/>
                      <a:pt x="38786" y="11219"/>
                      <a:pt x="35700" y="6797"/>
                    </a:cubicBezTo>
                    <a:cubicBezTo>
                      <a:pt x="25522" y="-6967"/>
                      <a:pt x="19348" y="3294"/>
                      <a:pt x="12257" y="10301"/>
                    </a:cubicBezTo>
                    <a:cubicBezTo>
                      <a:pt x="6500" y="16057"/>
                      <a:pt x="-4095" y="17392"/>
                      <a:pt x="1661" y="27569"/>
                    </a:cubicBezTo>
                    <a:cubicBezTo>
                      <a:pt x="9003" y="41751"/>
                      <a:pt x="24103" y="29821"/>
                      <a:pt x="33447" y="2807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987023633" name="Полилиния 499"/>
              <p:cNvSpPr/>
              <p:nvPr/>
            </p:nvSpPr>
            <p:spPr bwMode="auto">
              <a:xfrm>
                <a:off x="5354444" y="1400879"/>
                <a:ext cx="36783" cy="33278"/>
              </a:xfrm>
              <a:custGeom>
                <a:avLst/>
                <a:gdLst>
                  <a:gd name="connsiteX0" fmla="*/ 5450 w 41310"/>
                  <a:gd name="connsiteY0" fmla="*/ 20479 h 37373"/>
                  <a:gd name="connsiteX1" fmla="*/ 11206 w 41310"/>
                  <a:gd name="connsiteY1" fmla="*/ 124 h 37373"/>
                  <a:gd name="connsiteX2" fmla="*/ 35150 w 41310"/>
                  <a:gd name="connsiteY2" fmla="*/ 14305 h 37373"/>
                  <a:gd name="connsiteX3" fmla="*/ 39989 w 41310"/>
                  <a:gd name="connsiteY3" fmla="*/ 26235 h 37373"/>
                  <a:gd name="connsiteX4" fmla="*/ 23637 w 41310"/>
                  <a:gd name="connsiteY4" fmla="*/ 37329 h 37373"/>
                  <a:gd name="connsiteX5" fmla="*/ 5450 w 41310"/>
                  <a:gd name="connsiteY5" fmla="*/ 20479 h 37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310" h="37373" extrusionOk="0">
                    <a:moveTo>
                      <a:pt x="5450" y="20479"/>
                    </a:moveTo>
                    <a:cubicBezTo>
                      <a:pt x="-2976" y="13388"/>
                      <a:pt x="-2059" y="1876"/>
                      <a:pt x="11206" y="124"/>
                    </a:cubicBezTo>
                    <a:cubicBezTo>
                      <a:pt x="18715" y="-1211"/>
                      <a:pt x="30228" y="8549"/>
                      <a:pt x="35150" y="14305"/>
                    </a:cubicBezTo>
                    <a:cubicBezTo>
                      <a:pt x="39154" y="19144"/>
                      <a:pt x="43576" y="17809"/>
                      <a:pt x="39989" y="26235"/>
                    </a:cubicBezTo>
                    <a:cubicBezTo>
                      <a:pt x="38654" y="29738"/>
                      <a:pt x="26223" y="36829"/>
                      <a:pt x="23637" y="37329"/>
                    </a:cubicBezTo>
                    <a:cubicBezTo>
                      <a:pt x="11624" y="38164"/>
                      <a:pt x="13459" y="27069"/>
                      <a:pt x="5450" y="20479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66374694" name="Полилиния 500"/>
              <p:cNvSpPr/>
              <p:nvPr/>
            </p:nvSpPr>
            <p:spPr bwMode="auto">
              <a:xfrm>
                <a:off x="5081829" y="1545345"/>
                <a:ext cx="48781" cy="50763"/>
              </a:xfrm>
              <a:custGeom>
                <a:avLst/>
                <a:gdLst>
                  <a:gd name="connsiteX0" fmla="*/ 9518 w 54784"/>
                  <a:gd name="connsiteY0" fmla="*/ 21243 h 57010"/>
                  <a:gd name="connsiteX1" fmla="*/ 19278 w 54784"/>
                  <a:gd name="connsiteY1" fmla="*/ 6644 h 57010"/>
                  <a:gd name="connsiteX2" fmla="*/ 36131 w 54784"/>
                  <a:gd name="connsiteY2" fmla="*/ 1305 h 57010"/>
                  <a:gd name="connsiteX3" fmla="*/ 45891 w 54784"/>
                  <a:gd name="connsiteY3" fmla="*/ 35841 h 57010"/>
                  <a:gd name="connsiteX4" fmla="*/ 14857 w 54784"/>
                  <a:gd name="connsiteY4" fmla="*/ 54444 h 57010"/>
                  <a:gd name="connsiteX5" fmla="*/ 674 w 54784"/>
                  <a:gd name="connsiteY5" fmla="*/ 36759 h 57010"/>
                  <a:gd name="connsiteX6" fmla="*/ 9518 w 54784"/>
                  <a:gd name="connsiteY6" fmla="*/ 21243 h 57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784" h="57010" extrusionOk="0">
                    <a:moveTo>
                      <a:pt x="9518" y="21243"/>
                    </a:moveTo>
                    <a:cubicBezTo>
                      <a:pt x="12604" y="18573"/>
                      <a:pt x="15274" y="10648"/>
                      <a:pt x="19278" y="6644"/>
                    </a:cubicBezTo>
                    <a:cubicBezTo>
                      <a:pt x="27704" y="-1781"/>
                      <a:pt x="25035" y="-447"/>
                      <a:pt x="36131" y="1305"/>
                    </a:cubicBezTo>
                    <a:cubicBezTo>
                      <a:pt x="60074" y="4392"/>
                      <a:pt x="58239" y="19491"/>
                      <a:pt x="45891" y="35841"/>
                    </a:cubicBezTo>
                    <a:cubicBezTo>
                      <a:pt x="37466" y="47353"/>
                      <a:pt x="29957" y="63287"/>
                      <a:pt x="14857" y="54444"/>
                    </a:cubicBezTo>
                    <a:cubicBezTo>
                      <a:pt x="11353" y="52192"/>
                      <a:pt x="1091" y="41180"/>
                      <a:pt x="674" y="36759"/>
                    </a:cubicBezTo>
                    <a:cubicBezTo>
                      <a:pt x="-1578" y="24746"/>
                      <a:pt x="1926" y="26999"/>
                      <a:pt x="9518" y="2124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34439186" name="Полилиния 501"/>
              <p:cNvSpPr/>
              <p:nvPr/>
            </p:nvSpPr>
            <p:spPr bwMode="auto">
              <a:xfrm>
                <a:off x="5128832" y="1542400"/>
                <a:ext cx="54649" cy="56565"/>
              </a:xfrm>
              <a:custGeom>
                <a:avLst/>
                <a:gdLst>
                  <a:gd name="connsiteX0" fmla="*/ 13377 w 61374"/>
                  <a:gd name="connsiteY0" fmla="*/ 63090 h 63524"/>
                  <a:gd name="connsiteX1" fmla="*/ 31981 w 61374"/>
                  <a:gd name="connsiteY1" fmla="*/ 48491 h 63524"/>
                  <a:gd name="connsiteX2" fmla="*/ 59429 w 61374"/>
                  <a:gd name="connsiteY2" fmla="*/ 33893 h 63524"/>
                  <a:gd name="connsiteX3" fmla="*/ 23138 w 61374"/>
                  <a:gd name="connsiteY3" fmla="*/ 1525 h 63524"/>
                  <a:gd name="connsiteX4" fmla="*/ 13377 w 61374"/>
                  <a:gd name="connsiteY4" fmla="*/ 63090 h 6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374" h="63524" extrusionOk="0">
                    <a:moveTo>
                      <a:pt x="13377" y="63090"/>
                    </a:moveTo>
                    <a:cubicBezTo>
                      <a:pt x="22221" y="61338"/>
                      <a:pt x="25307" y="52912"/>
                      <a:pt x="31981" y="48491"/>
                    </a:cubicBezTo>
                    <a:cubicBezTo>
                      <a:pt x="39990" y="43152"/>
                      <a:pt x="53672" y="43152"/>
                      <a:pt x="59429" y="33893"/>
                    </a:cubicBezTo>
                    <a:cubicBezTo>
                      <a:pt x="69190" y="18376"/>
                      <a:pt x="39907" y="-6399"/>
                      <a:pt x="23138" y="1525"/>
                    </a:cubicBezTo>
                    <a:cubicBezTo>
                      <a:pt x="10791" y="7699"/>
                      <a:pt x="-16239" y="69263"/>
                      <a:pt x="13377" y="6309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093030942" name="Полилиния 502"/>
              <p:cNvSpPr/>
              <p:nvPr/>
            </p:nvSpPr>
            <p:spPr bwMode="auto">
              <a:xfrm>
                <a:off x="5155522" y="1618900"/>
                <a:ext cx="29056" cy="26127"/>
              </a:xfrm>
              <a:custGeom>
                <a:avLst/>
                <a:gdLst>
                  <a:gd name="connsiteX0" fmla="*/ 25952 w 32632"/>
                  <a:gd name="connsiteY0" fmla="*/ 26813 h 29343"/>
                  <a:gd name="connsiteX1" fmla="*/ 3761 w 32632"/>
                  <a:gd name="connsiteY1" fmla="*/ 5123 h 29343"/>
                  <a:gd name="connsiteX2" fmla="*/ 25952 w 32632"/>
                  <a:gd name="connsiteY2" fmla="*/ 26813 h 29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632" h="29343" extrusionOk="0">
                    <a:moveTo>
                      <a:pt x="25952" y="26813"/>
                    </a:moveTo>
                    <a:cubicBezTo>
                      <a:pt x="44973" y="14383"/>
                      <a:pt x="18861" y="-10810"/>
                      <a:pt x="3761" y="5123"/>
                    </a:cubicBezTo>
                    <a:cubicBezTo>
                      <a:pt x="-8586" y="17887"/>
                      <a:pt x="12270" y="36072"/>
                      <a:pt x="25952" y="2681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18031361" name="Полилиния 503"/>
              <p:cNvSpPr/>
              <p:nvPr/>
            </p:nvSpPr>
            <p:spPr bwMode="auto">
              <a:xfrm>
                <a:off x="5202790" y="1517083"/>
                <a:ext cx="96014" cy="73499"/>
              </a:xfrm>
              <a:custGeom>
                <a:avLst/>
                <a:gdLst>
                  <a:gd name="connsiteX0" fmla="*/ 42863 w 107828"/>
                  <a:gd name="connsiteY0" fmla="*/ 82178 h 82543"/>
                  <a:gd name="connsiteX1" fmla="*/ 69893 w 107828"/>
                  <a:gd name="connsiteY1" fmla="*/ 61323 h 82543"/>
                  <a:gd name="connsiteX2" fmla="*/ 86245 w 107828"/>
                  <a:gd name="connsiteY2" fmla="*/ 55567 h 82543"/>
                  <a:gd name="connsiteX3" fmla="*/ 96423 w 107828"/>
                  <a:gd name="connsiteY3" fmla="*/ 41803 h 82543"/>
                  <a:gd name="connsiteX4" fmla="*/ 107018 w 107828"/>
                  <a:gd name="connsiteY4" fmla="*/ 24534 h 82543"/>
                  <a:gd name="connsiteX5" fmla="*/ 72897 w 107828"/>
                  <a:gd name="connsiteY5" fmla="*/ 10353 h 82543"/>
                  <a:gd name="connsiteX6" fmla="*/ 33019 w 107828"/>
                  <a:gd name="connsiteY6" fmla="*/ 176 h 82543"/>
                  <a:gd name="connsiteX7" fmla="*/ 2485 w 107828"/>
                  <a:gd name="connsiteY7" fmla="*/ 24952 h 82543"/>
                  <a:gd name="connsiteX8" fmla="*/ 10911 w 107828"/>
                  <a:gd name="connsiteY8" fmla="*/ 62157 h 82543"/>
                  <a:gd name="connsiteX9" fmla="*/ 42863 w 107828"/>
                  <a:gd name="connsiteY9" fmla="*/ 82178 h 82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828" h="82543" extrusionOk="0">
                    <a:moveTo>
                      <a:pt x="42863" y="82178"/>
                    </a:moveTo>
                    <a:cubicBezTo>
                      <a:pt x="57964" y="85265"/>
                      <a:pt x="61467" y="67997"/>
                      <a:pt x="69893" y="61323"/>
                    </a:cubicBezTo>
                    <a:cubicBezTo>
                      <a:pt x="74315" y="57819"/>
                      <a:pt x="81407" y="59071"/>
                      <a:pt x="86245" y="55567"/>
                    </a:cubicBezTo>
                    <a:cubicBezTo>
                      <a:pt x="91084" y="52063"/>
                      <a:pt x="92419" y="45807"/>
                      <a:pt x="96423" y="41803"/>
                    </a:cubicBezTo>
                    <a:cubicBezTo>
                      <a:pt x="103515" y="34712"/>
                      <a:pt x="110189" y="36964"/>
                      <a:pt x="107018" y="24534"/>
                    </a:cubicBezTo>
                    <a:cubicBezTo>
                      <a:pt x="102180" y="6349"/>
                      <a:pt x="86662" y="9936"/>
                      <a:pt x="72897" y="10353"/>
                    </a:cubicBezTo>
                    <a:cubicBezTo>
                      <a:pt x="58297" y="10353"/>
                      <a:pt x="46284" y="-1576"/>
                      <a:pt x="33019" y="176"/>
                    </a:cubicBezTo>
                    <a:cubicBezTo>
                      <a:pt x="23258" y="1510"/>
                      <a:pt x="6406" y="16526"/>
                      <a:pt x="2485" y="24952"/>
                    </a:cubicBezTo>
                    <a:cubicBezTo>
                      <a:pt x="-3272" y="36464"/>
                      <a:pt x="1567" y="54649"/>
                      <a:pt x="10911" y="62157"/>
                    </a:cubicBezTo>
                    <a:cubicBezTo>
                      <a:pt x="18502" y="67579"/>
                      <a:pt x="34437" y="80843"/>
                      <a:pt x="42863" y="82178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18577961" name="Полилиния 504"/>
              <p:cNvSpPr/>
              <p:nvPr/>
            </p:nvSpPr>
            <p:spPr bwMode="auto">
              <a:xfrm>
                <a:off x="5303329" y="1502656"/>
                <a:ext cx="88816" cy="80719"/>
              </a:xfrm>
              <a:custGeom>
                <a:avLst/>
                <a:gdLst>
                  <a:gd name="connsiteX0" fmla="*/ 14133 w 99744"/>
                  <a:gd name="connsiteY0" fmla="*/ 35982 h 90651"/>
                  <a:gd name="connsiteX1" fmla="*/ 42915 w 99744"/>
                  <a:gd name="connsiteY1" fmla="*/ 27973 h 90651"/>
                  <a:gd name="connsiteX2" fmla="*/ 65941 w 99744"/>
                  <a:gd name="connsiteY2" fmla="*/ 11623 h 90651"/>
                  <a:gd name="connsiteX3" fmla="*/ 77871 w 99744"/>
                  <a:gd name="connsiteY3" fmla="*/ 111 h 90651"/>
                  <a:gd name="connsiteX4" fmla="*/ 89384 w 99744"/>
                  <a:gd name="connsiteY4" fmla="*/ 9871 h 90651"/>
                  <a:gd name="connsiteX5" fmla="*/ 94723 w 99744"/>
                  <a:gd name="connsiteY5" fmla="*/ 46659 h 90651"/>
                  <a:gd name="connsiteX6" fmla="*/ 77871 w 99744"/>
                  <a:gd name="connsiteY6" fmla="*/ 75857 h 90651"/>
                  <a:gd name="connsiteX7" fmla="*/ 58850 w 99744"/>
                  <a:gd name="connsiteY7" fmla="*/ 83865 h 90651"/>
                  <a:gd name="connsiteX8" fmla="*/ 46419 w 99744"/>
                  <a:gd name="connsiteY8" fmla="*/ 90539 h 90651"/>
                  <a:gd name="connsiteX9" fmla="*/ 14133 w 99744"/>
                  <a:gd name="connsiteY9" fmla="*/ 35982 h 90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9744" h="90651" extrusionOk="0">
                    <a:moveTo>
                      <a:pt x="14133" y="35982"/>
                    </a:moveTo>
                    <a:cubicBezTo>
                      <a:pt x="25229" y="31560"/>
                      <a:pt x="32320" y="28474"/>
                      <a:pt x="42915" y="27973"/>
                    </a:cubicBezTo>
                    <a:cubicBezTo>
                      <a:pt x="62854" y="27056"/>
                      <a:pt x="56681" y="24887"/>
                      <a:pt x="65941" y="11623"/>
                    </a:cubicBezTo>
                    <a:cubicBezTo>
                      <a:pt x="64606" y="13875"/>
                      <a:pt x="80541" y="-306"/>
                      <a:pt x="77871" y="111"/>
                    </a:cubicBezTo>
                    <a:cubicBezTo>
                      <a:pt x="87215" y="-807"/>
                      <a:pt x="84545" y="4115"/>
                      <a:pt x="89384" y="9871"/>
                    </a:cubicBezTo>
                    <a:cubicBezTo>
                      <a:pt x="103149" y="25804"/>
                      <a:pt x="101314" y="26722"/>
                      <a:pt x="94723" y="46659"/>
                    </a:cubicBezTo>
                    <a:cubicBezTo>
                      <a:pt x="91219" y="57754"/>
                      <a:pt x="86297" y="66597"/>
                      <a:pt x="77871" y="75857"/>
                    </a:cubicBezTo>
                    <a:cubicBezTo>
                      <a:pt x="71697" y="82947"/>
                      <a:pt x="67693" y="80695"/>
                      <a:pt x="58850" y="83865"/>
                    </a:cubicBezTo>
                    <a:cubicBezTo>
                      <a:pt x="54428" y="85200"/>
                      <a:pt x="51341" y="89621"/>
                      <a:pt x="46419" y="90539"/>
                    </a:cubicBezTo>
                    <a:cubicBezTo>
                      <a:pt x="24728" y="93125"/>
                      <a:pt x="-23993" y="50580"/>
                      <a:pt x="14133" y="3598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994884556" name="Полилиния 505"/>
              <p:cNvSpPr/>
              <p:nvPr/>
            </p:nvSpPr>
            <p:spPr bwMode="auto">
              <a:xfrm>
                <a:off x="5257465" y="1476811"/>
                <a:ext cx="43528" cy="36679"/>
              </a:xfrm>
              <a:custGeom>
                <a:avLst/>
                <a:gdLst>
                  <a:gd name="connsiteX0" fmla="*/ 29767 w 48884"/>
                  <a:gd name="connsiteY0" fmla="*/ 34392 h 41193"/>
                  <a:gd name="connsiteX1" fmla="*/ 48788 w 48884"/>
                  <a:gd name="connsiteY1" fmla="*/ 10033 h 41193"/>
                  <a:gd name="connsiteX2" fmla="*/ 18254 w 48884"/>
                  <a:gd name="connsiteY2" fmla="*/ 4277 h 41193"/>
                  <a:gd name="connsiteX3" fmla="*/ 3654 w 48884"/>
                  <a:gd name="connsiteY3" fmla="*/ 29553 h 41193"/>
                  <a:gd name="connsiteX4" fmla="*/ 29767 w 48884"/>
                  <a:gd name="connsiteY4" fmla="*/ 34392 h 4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84" h="41193" extrusionOk="0">
                    <a:moveTo>
                      <a:pt x="29767" y="34392"/>
                    </a:moveTo>
                    <a:cubicBezTo>
                      <a:pt x="37275" y="31722"/>
                      <a:pt x="50123" y="18876"/>
                      <a:pt x="48788" y="10033"/>
                    </a:cubicBezTo>
                    <a:cubicBezTo>
                      <a:pt x="46118" y="-6317"/>
                      <a:pt x="27097" y="1608"/>
                      <a:pt x="18254" y="4277"/>
                    </a:cubicBezTo>
                    <a:cubicBezTo>
                      <a:pt x="1902" y="9616"/>
                      <a:pt x="-4772" y="10951"/>
                      <a:pt x="3654" y="29553"/>
                    </a:cubicBezTo>
                    <a:cubicBezTo>
                      <a:pt x="12497" y="48990"/>
                      <a:pt x="14249" y="39314"/>
                      <a:pt x="29767" y="3439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801548723" name="Полилиния 506"/>
              <p:cNvSpPr/>
              <p:nvPr/>
            </p:nvSpPr>
            <p:spPr bwMode="auto">
              <a:xfrm>
                <a:off x="5429569" y="2966242"/>
                <a:ext cx="61146" cy="52395"/>
              </a:xfrm>
              <a:custGeom>
                <a:avLst/>
                <a:gdLst>
                  <a:gd name="connsiteX0" fmla="*/ 10098 w 68670"/>
                  <a:gd name="connsiteY0" fmla="*/ 25952 h 58842"/>
                  <a:gd name="connsiteX1" fmla="*/ 25198 w 68670"/>
                  <a:gd name="connsiteY1" fmla="*/ 8267 h 58842"/>
                  <a:gd name="connsiteX2" fmla="*/ 46472 w 68670"/>
                  <a:gd name="connsiteY2" fmla="*/ 259 h 58842"/>
                  <a:gd name="connsiteX3" fmla="*/ 66828 w 68670"/>
                  <a:gd name="connsiteY3" fmla="*/ 19779 h 58842"/>
                  <a:gd name="connsiteX4" fmla="*/ 68580 w 68670"/>
                  <a:gd name="connsiteY4" fmla="*/ 24200 h 58842"/>
                  <a:gd name="connsiteX5" fmla="*/ 57067 w 68670"/>
                  <a:gd name="connsiteY5" fmla="*/ 36630 h 58842"/>
                  <a:gd name="connsiteX6" fmla="*/ 38880 w 68670"/>
                  <a:gd name="connsiteY6" fmla="*/ 41051 h 58842"/>
                  <a:gd name="connsiteX7" fmla="*/ 22028 w 68670"/>
                  <a:gd name="connsiteY7" fmla="*/ 57402 h 58842"/>
                  <a:gd name="connsiteX8" fmla="*/ 1171 w 68670"/>
                  <a:gd name="connsiteY8" fmla="*/ 50311 h 58842"/>
                  <a:gd name="connsiteX9" fmla="*/ 10098 w 68670"/>
                  <a:gd name="connsiteY9" fmla="*/ 25952 h 58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670" h="58842" extrusionOk="0">
                    <a:moveTo>
                      <a:pt x="10098" y="25952"/>
                    </a:moveTo>
                    <a:cubicBezTo>
                      <a:pt x="15437" y="20196"/>
                      <a:pt x="19859" y="13522"/>
                      <a:pt x="25198" y="8267"/>
                    </a:cubicBezTo>
                    <a:cubicBezTo>
                      <a:pt x="30955" y="2928"/>
                      <a:pt x="38463" y="-1076"/>
                      <a:pt x="46472" y="259"/>
                    </a:cubicBezTo>
                    <a:cubicBezTo>
                      <a:pt x="56233" y="2010"/>
                      <a:pt x="62407" y="10853"/>
                      <a:pt x="66828" y="19779"/>
                    </a:cubicBezTo>
                    <a:cubicBezTo>
                      <a:pt x="67746" y="21114"/>
                      <a:pt x="68163" y="22866"/>
                      <a:pt x="68580" y="24200"/>
                    </a:cubicBezTo>
                    <a:cubicBezTo>
                      <a:pt x="69498" y="30373"/>
                      <a:pt x="63241" y="35295"/>
                      <a:pt x="57067" y="36630"/>
                    </a:cubicBezTo>
                    <a:cubicBezTo>
                      <a:pt x="50894" y="37965"/>
                      <a:pt x="44220" y="37965"/>
                      <a:pt x="38880" y="41051"/>
                    </a:cubicBezTo>
                    <a:cubicBezTo>
                      <a:pt x="32206" y="45055"/>
                      <a:pt x="29119" y="53481"/>
                      <a:pt x="22028" y="57402"/>
                    </a:cubicBezTo>
                    <a:cubicBezTo>
                      <a:pt x="14937" y="60905"/>
                      <a:pt x="3841" y="57819"/>
                      <a:pt x="1171" y="50311"/>
                    </a:cubicBezTo>
                    <a:cubicBezTo>
                      <a:pt x="-2750" y="40551"/>
                      <a:pt x="3925" y="32542"/>
                      <a:pt x="10098" y="2595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87068357" name="Полилиния 507"/>
              <p:cNvSpPr/>
              <p:nvPr/>
            </p:nvSpPr>
            <p:spPr bwMode="auto">
              <a:xfrm>
                <a:off x="2886652" y="2214688"/>
                <a:ext cx="576829" cy="741820"/>
              </a:xfrm>
              <a:custGeom>
                <a:avLst/>
                <a:gdLst>
                  <a:gd name="connsiteX0" fmla="*/ 647392 w 647799"/>
                  <a:gd name="connsiteY0" fmla="*/ 680773 h 833089"/>
                  <a:gd name="connsiteX1" fmla="*/ 631041 w 647799"/>
                  <a:gd name="connsiteY1" fmla="*/ 639563 h 833089"/>
                  <a:gd name="connsiteX2" fmla="*/ 640801 w 647799"/>
                  <a:gd name="connsiteY2" fmla="*/ 594349 h 833089"/>
                  <a:gd name="connsiteX3" fmla="*/ 618693 w 647799"/>
                  <a:gd name="connsiteY3" fmla="*/ 574412 h 833089"/>
                  <a:gd name="connsiteX4" fmla="*/ 617776 w 647799"/>
                  <a:gd name="connsiteY4" fmla="*/ 535454 h 833089"/>
                  <a:gd name="connsiteX5" fmla="*/ 602258 w 647799"/>
                  <a:gd name="connsiteY5" fmla="*/ 494661 h 833089"/>
                  <a:gd name="connsiteX6" fmla="*/ 601341 w 647799"/>
                  <a:gd name="connsiteY6" fmla="*/ 377706 h 833089"/>
                  <a:gd name="connsiteX7" fmla="*/ 586741 w 647799"/>
                  <a:gd name="connsiteY7" fmla="*/ 331658 h 833089"/>
                  <a:gd name="connsiteX8" fmla="*/ 580567 w 647799"/>
                  <a:gd name="connsiteY8" fmla="*/ 276767 h 833089"/>
                  <a:gd name="connsiteX9" fmla="*/ 554455 w 647799"/>
                  <a:gd name="connsiteY9" fmla="*/ 255495 h 833089"/>
                  <a:gd name="connsiteX10" fmla="*/ 534516 w 647799"/>
                  <a:gd name="connsiteY10" fmla="*/ 218706 h 833089"/>
                  <a:gd name="connsiteX11" fmla="*/ 511073 w 647799"/>
                  <a:gd name="connsiteY11" fmla="*/ 188175 h 833089"/>
                  <a:gd name="connsiteX12" fmla="*/ 499977 w 647799"/>
                  <a:gd name="connsiteY12" fmla="*/ 173576 h 833089"/>
                  <a:gd name="connsiteX13" fmla="*/ 506151 w 647799"/>
                  <a:gd name="connsiteY13" fmla="*/ 158977 h 833089"/>
                  <a:gd name="connsiteX14" fmla="*/ 501729 w 647799"/>
                  <a:gd name="connsiteY14" fmla="*/ 148383 h 833089"/>
                  <a:gd name="connsiteX15" fmla="*/ 495973 w 647799"/>
                  <a:gd name="connsiteY15" fmla="*/ 146631 h 833089"/>
                  <a:gd name="connsiteX16" fmla="*/ 487546 w 647799"/>
                  <a:gd name="connsiteY16" fmla="*/ 144379 h 833089"/>
                  <a:gd name="connsiteX17" fmla="*/ 486212 w 647799"/>
                  <a:gd name="connsiteY17" fmla="*/ 143962 h 833089"/>
                  <a:gd name="connsiteX18" fmla="*/ 482708 w 647799"/>
                  <a:gd name="connsiteY18" fmla="*/ 142627 h 833089"/>
                  <a:gd name="connsiteX19" fmla="*/ 481790 w 647799"/>
                  <a:gd name="connsiteY19" fmla="*/ 139540 h 833089"/>
                  <a:gd name="connsiteX20" fmla="*/ 483125 w 647799"/>
                  <a:gd name="connsiteY20" fmla="*/ 138206 h 833089"/>
                  <a:gd name="connsiteX21" fmla="*/ 489298 w 647799"/>
                  <a:gd name="connsiteY21" fmla="*/ 134702 h 833089"/>
                  <a:gd name="connsiteX22" fmla="*/ 491551 w 647799"/>
                  <a:gd name="connsiteY22" fmla="*/ 132450 h 833089"/>
                  <a:gd name="connsiteX23" fmla="*/ 475199 w 647799"/>
                  <a:gd name="connsiteY23" fmla="*/ 80645 h 833089"/>
                  <a:gd name="connsiteX24" fmla="*/ 501312 w 647799"/>
                  <a:gd name="connsiteY24" fmla="*/ 107257 h 833089"/>
                  <a:gd name="connsiteX25" fmla="*/ 527424 w 647799"/>
                  <a:gd name="connsiteY25" fmla="*/ 107674 h 833089"/>
                  <a:gd name="connsiteX26" fmla="*/ 523921 w 647799"/>
                  <a:gd name="connsiteY26" fmla="*/ 59874 h 833089"/>
                  <a:gd name="connsiteX27" fmla="*/ 470778 w 647799"/>
                  <a:gd name="connsiteY27" fmla="*/ 47027 h 833089"/>
                  <a:gd name="connsiteX28" fmla="*/ 454843 w 647799"/>
                  <a:gd name="connsiteY28" fmla="*/ 19582 h 833089"/>
                  <a:gd name="connsiteX29" fmla="*/ 412295 w 647799"/>
                  <a:gd name="connsiteY29" fmla="*/ 15160 h 833089"/>
                  <a:gd name="connsiteX30" fmla="*/ 389269 w 647799"/>
                  <a:gd name="connsiteY30" fmla="*/ 8487 h 833089"/>
                  <a:gd name="connsiteX31" fmla="*/ 352979 w 647799"/>
                  <a:gd name="connsiteY31" fmla="*/ 61 h 833089"/>
                  <a:gd name="connsiteX32" fmla="*/ 329953 w 647799"/>
                  <a:gd name="connsiteY32" fmla="*/ 4065 h 833089"/>
                  <a:gd name="connsiteX33" fmla="*/ 326866 w 647799"/>
                  <a:gd name="connsiteY33" fmla="*/ 4983 h 833089"/>
                  <a:gd name="connsiteX34" fmla="*/ 310932 w 647799"/>
                  <a:gd name="connsiteY34" fmla="*/ 9404 h 833089"/>
                  <a:gd name="connsiteX35" fmla="*/ 290993 w 647799"/>
                  <a:gd name="connsiteY35" fmla="*/ 10739 h 833089"/>
                  <a:gd name="connsiteX36" fmla="*/ 273306 w 647799"/>
                  <a:gd name="connsiteY36" fmla="*/ 5901 h 833089"/>
                  <a:gd name="connsiteX37" fmla="*/ 246693 w 647799"/>
                  <a:gd name="connsiteY37" fmla="*/ 8153 h 833089"/>
                  <a:gd name="connsiteX38" fmla="*/ 238684 w 647799"/>
                  <a:gd name="connsiteY38" fmla="*/ 19248 h 833089"/>
                  <a:gd name="connsiteX39" fmla="*/ 215241 w 647799"/>
                  <a:gd name="connsiteY39" fmla="*/ 40103 h 833089"/>
                  <a:gd name="connsiteX40" fmla="*/ 211237 w 647799"/>
                  <a:gd name="connsiteY40" fmla="*/ 41855 h 833089"/>
                  <a:gd name="connsiteX41" fmla="*/ 178450 w 647799"/>
                  <a:gd name="connsiteY41" fmla="*/ 65296 h 833089"/>
                  <a:gd name="connsiteX42" fmla="*/ 174946 w 647799"/>
                  <a:gd name="connsiteY42" fmla="*/ 105588 h 833089"/>
                  <a:gd name="connsiteX43" fmla="*/ 176281 w 647799"/>
                  <a:gd name="connsiteY43" fmla="*/ 121939 h 833089"/>
                  <a:gd name="connsiteX44" fmla="*/ 159011 w 647799"/>
                  <a:gd name="connsiteY44" fmla="*/ 185255 h 833089"/>
                  <a:gd name="connsiteX45" fmla="*/ 85930 w 647799"/>
                  <a:gd name="connsiteY45" fmla="*/ 231303 h 833089"/>
                  <a:gd name="connsiteX46" fmla="*/ 71747 w 647799"/>
                  <a:gd name="connsiteY46" fmla="*/ 232220 h 833089"/>
                  <a:gd name="connsiteX47" fmla="*/ 5339 w 647799"/>
                  <a:gd name="connsiteY47" fmla="*/ 257914 h 833089"/>
                  <a:gd name="connsiteX48" fmla="*/ 0 w 647799"/>
                  <a:gd name="connsiteY48" fmla="*/ 266757 h 833089"/>
                  <a:gd name="connsiteX49" fmla="*/ 12431 w 647799"/>
                  <a:gd name="connsiteY49" fmla="*/ 279186 h 833089"/>
                  <a:gd name="connsiteX50" fmla="*/ 38543 w 647799"/>
                  <a:gd name="connsiteY50" fmla="*/ 330573 h 833089"/>
                  <a:gd name="connsiteX51" fmla="*/ 68243 w 647799"/>
                  <a:gd name="connsiteY51" fmla="*/ 336329 h 833089"/>
                  <a:gd name="connsiteX52" fmla="*/ 72248 w 647799"/>
                  <a:gd name="connsiteY52" fmla="*/ 377122 h 833089"/>
                  <a:gd name="connsiteX53" fmla="*/ 72665 w 647799"/>
                  <a:gd name="connsiteY53" fmla="*/ 381960 h 833089"/>
                  <a:gd name="connsiteX54" fmla="*/ 68243 w 647799"/>
                  <a:gd name="connsiteY54" fmla="*/ 404567 h 833089"/>
                  <a:gd name="connsiteX55" fmla="*/ 68660 w 647799"/>
                  <a:gd name="connsiteY55" fmla="*/ 419166 h 833089"/>
                  <a:gd name="connsiteX56" fmla="*/ 115629 w 647799"/>
                  <a:gd name="connsiteY56" fmla="*/ 420918 h 833089"/>
                  <a:gd name="connsiteX57" fmla="*/ 133817 w 647799"/>
                  <a:gd name="connsiteY57" fmla="*/ 415162 h 833089"/>
                  <a:gd name="connsiteX58" fmla="*/ 145747 w 647799"/>
                  <a:gd name="connsiteY58" fmla="*/ 445277 h 833089"/>
                  <a:gd name="connsiteX59" fmla="*/ 147999 w 647799"/>
                  <a:gd name="connsiteY59" fmla="*/ 460793 h 833089"/>
                  <a:gd name="connsiteX60" fmla="*/ 157343 w 647799"/>
                  <a:gd name="connsiteY60" fmla="*/ 414244 h 833089"/>
                  <a:gd name="connsiteX61" fmla="*/ 195886 w 647799"/>
                  <a:gd name="connsiteY61" fmla="*/ 383212 h 833089"/>
                  <a:gd name="connsiteX62" fmla="*/ 185291 w 647799"/>
                  <a:gd name="connsiteY62" fmla="*/ 412409 h 833089"/>
                  <a:gd name="connsiteX63" fmla="*/ 180869 w 647799"/>
                  <a:gd name="connsiteY63" fmla="*/ 454453 h 833089"/>
                  <a:gd name="connsiteX64" fmla="*/ 197722 w 647799"/>
                  <a:gd name="connsiteY64" fmla="*/ 484150 h 833089"/>
                  <a:gd name="connsiteX65" fmla="*/ 203895 w 647799"/>
                  <a:gd name="connsiteY65" fmla="*/ 506257 h 833089"/>
                  <a:gd name="connsiteX66" fmla="*/ 213656 w 647799"/>
                  <a:gd name="connsiteY66" fmla="*/ 521356 h 833089"/>
                  <a:gd name="connsiteX67" fmla="*/ 202143 w 647799"/>
                  <a:gd name="connsiteY67" fmla="*/ 539041 h 833089"/>
                  <a:gd name="connsiteX68" fmla="*/ 216326 w 647799"/>
                  <a:gd name="connsiteY68" fmla="*/ 550136 h 833089"/>
                  <a:gd name="connsiteX69" fmla="*/ 229591 w 647799"/>
                  <a:gd name="connsiteY69" fmla="*/ 570074 h 833089"/>
                  <a:gd name="connsiteX70" fmla="*/ 234012 w 647799"/>
                  <a:gd name="connsiteY70" fmla="*/ 607696 h 833089"/>
                  <a:gd name="connsiteX71" fmla="*/ 263712 w 647799"/>
                  <a:gd name="connsiteY71" fmla="*/ 654245 h 833089"/>
                  <a:gd name="connsiteX72" fmla="*/ 293412 w 647799"/>
                  <a:gd name="connsiteY72" fmla="*/ 694120 h 833089"/>
                  <a:gd name="connsiteX73" fmla="*/ 309347 w 647799"/>
                  <a:gd name="connsiteY73" fmla="*/ 741503 h 833089"/>
                  <a:gd name="connsiteX74" fmla="*/ 371833 w 647799"/>
                  <a:gd name="connsiteY74" fmla="*/ 802650 h 833089"/>
                  <a:gd name="connsiteX75" fmla="*/ 384681 w 647799"/>
                  <a:gd name="connsiteY75" fmla="*/ 810658 h 833089"/>
                  <a:gd name="connsiteX76" fmla="*/ 393524 w 647799"/>
                  <a:gd name="connsiteY76" fmla="*/ 821253 h 833089"/>
                  <a:gd name="connsiteX77" fmla="*/ 409459 w 647799"/>
                  <a:gd name="connsiteY77" fmla="*/ 820335 h 833089"/>
                  <a:gd name="connsiteX78" fmla="*/ 434737 w 647799"/>
                  <a:gd name="connsiteY78" fmla="*/ 828344 h 833089"/>
                  <a:gd name="connsiteX79" fmla="*/ 479955 w 647799"/>
                  <a:gd name="connsiteY79" fmla="*/ 832348 h 833089"/>
                  <a:gd name="connsiteX80" fmla="*/ 530428 w 647799"/>
                  <a:gd name="connsiteY80" fmla="*/ 816831 h 833089"/>
                  <a:gd name="connsiteX81" fmla="*/ 574310 w 647799"/>
                  <a:gd name="connsiteY81" fmla="*/ 808406 h 833089"/>
                  <a:gd name="connsiteX82" fmla="*/ 589828 w 647799"/>
                  <a:gd name="connsiteY82" fmla="*/ 793807 h 833089"/>
                  <a:gd name="connsiteX83" fmla="*/ 608849 w 647799"/>
                  <a:gd name="connsiteY83" fmla="*/ 780961 h 833089"/>
                  <a:gd name="connsiteX84" fmla="*/ 607514 w 647799"/>
                  <a:gd name="connsiteY84" fmla="*/ 751763 h 833089"/>
                  <a:gd name="connsiteX85" fmla="*/ 618610 w 647799"/>
                  <a:gd name="connsiteY85" fmla="*/ 739334 h 833089"/>
                  <a:gd name="connsiteX86" fmla="*/ 632793 w 647799"/>
                  <a:gd name="connsiteY86" fmla="*/ 713223 h 833089"/>
                  <a:gd name="connsiteX87" fmla="*/ 647392 w 647799"/>
                  <a:gd name="connsiteY87" fmla="*/ 680773 h 833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647799" h="833089" extrusionOk="0">
                    <a:moveTo>
                      <a:pt x="647392" y="680773"/>
                    </a:moveTo>
                    <a:cubicBezTo>
                      <a:pt x="645140" y="664839"/>
                      <a:pt x="631041" y="656831"/>
                      <a:pt x="631041" y="639563"/>
                    </a:cubicBezTo>
                    <a:cubicBezTo>
                      <a:pt x="631458" y="627133"/>
                      <a:pt x="645223" y="605861"/>
                      <a:pt x="640801" y="594349"/>
                    </a:cubicBezTo>
                    <a:cubicBezTo>
                      <a:pt x="637298" y="584589"/>
                      <a:pt x="623532" y="584172"/>
                      <a:pt x="618693" y="574412"/>
                    </a:cubicBezTo>
                    <a:cubicBezTo>
                      <a:pt x="612937" y="562899"/>
                      <a:pt x="618276" y="547800"/>
                      <a:pt x="617776" y="535454"/>
                    </a:cubicBezTo>
                    <a:cubicBezTo>
                      <a:pt x="617359" y="519104"/>
                      <a:pt x="606680" y="509344"/>
                      <a:pt x="602258" y="494661"/>
                    </a:cubicBezTo>
                    <a:cubicBezTo>
                      <a:pt x="591663" y="458374"/>
                      <a:pt x="605762" y="414911"/>
                      <a:pt x="601341" y="377706"/>
                    </a:cubicBezTo>
                    <a:cubicBezTo>
                      <a:pt x="599088" y="360855"/>
                      <a:pt x="591997" y="347174"/>
                      <a:pt x="586741" y="331658"/>
                    </a:cubicBezTo>
                    <a:cubicBezTo>
                      <a:pt x="580567" y="313973"/>
                      <a:pt x="587158" y="294035"/>
                      <a:pt x="580567" y="276767"/>
                    </a:cubicBezTo>
                    <a:cubicBezTo>
                      <a:pt x="574811" y="262586"/>
                      <a:pt x="565467" y="263003"/>
                      <a:pt x="554455" y="255495"/>
                    </a:cubicBezTo>
                    <a:cubicBezTo>
                      <a:pt x="542024" y="246652"/>
                      <a:pt x="540272" y="232054"/>
                      <a:pt x="534516" y="218706"/>
                    </a:cubicBezTo>
                    <a:cubicBezTo>
                      <a:pt x="528759" y="205359"/>
                      <a:pt x="521668" y="197851"/>
                      <a:pt x="511073" y="188175"/>
                    </a:cubicBezTo>
                    <a:cubicBezTo>
                      <a:pt x="506651" y="184671"/>
                      <a:pt x="500478" y="180166"/>
                      <a:pt x="499977" y="173576"/>
                    </a:cubicBezTo>
                    <a:cubicBezTo>
                      <a:pt x="499560" y="166902"/>
                      <a:pt x="505733" y="164233"/>
                      <a:pt x="506151" y="158977"/>
                    </a:cubicBezTo>
                    <a:cubicBezTo>
                      <a:pt x="506151" y="154973"/>
                      <a:pt x="506151" y="150552"/>
                      <a:pt x="501729" y="148383"/>
                    </a:cubicBezTo>
                    <a:cubicBezTo>
                      <a:pt x="499977" y="147465"/>
                      <a:pt x="498225" y="147048"/>
                      <a:pt x="495973" y="146631"/>
                    </a:cubicBezTo>
                    <a:cubicBezTo>
                      <a:pt x="492886" y="145713"/>
                      <a:pt x="490633" y="144879"/>
                      <a:pt x="487546" y="144379"/>
                    </a:cubicBezTo>
                    <a:cubicBezTo>
                      <a:pt x="487129" y="144379"/>
                      <a:pt x="486629" y="144379"/>
                      <a:pt x="486212" y="143962"/>
                    </a:cubicBezTo>
                    <a:cubicBezTo>
                      <a:pt x="484877" y="143962"/>
                      <a:pt x="483542" y="143545"/>
                      <a:pt x="482708" y="142627"/>
                    </a:cubicBezTo>
                    <a:cubicBezTo>
                      <a:pt x="481790" y="142210"/>
                      <a:pt x="480956" y="140375"/>
                      <a:pt x="481790" y="139540"/>
                    </a:cubicBezTo>
                    <a:cubicBezTo>
                      <a:pt x="482207" y="139123"/>
                      <a:pt x="482708" y="138623"/>
                      <a:pt x="483125" y="138206"/>
                    </a:cubicBezTo>
                    <a:cubicBezTo>
                      <a:pt x="484877" y="136871"/>
                      <a:pt x="487129" y="135536"/>
                      <a:pt x="489298" y="134702"/>
                    </a:cubicBezTo>
                    <a:cubicBezTo>
                      <a:pt x="490216" y="133784"/>
                      <a:pt x="490633" y="133367"/>
                      <a:pt x="491551" y="132450"/>
                    </a:cubicBezTo>
                    <a:cubicBezTo>
                      <a:pt x="507903" y="111595"/>
                      <a:pt x="472029" y="97913"/>
                      <a:pt x="475199" y="80645"/>
                    </a:cubicBezTo>
                    <a:cubicBezTo>
                      <a:pt x="479621" y="57621"/>
                      <a:pt x="498642" y="104087"/>
                      <a:pt x="501312" y="107257"/>
                    </a:cubicBezTo>
                    <a:cubicBezTo>
                      <a:pt x="508820" y="116600"/>
                      <a:pt x="519499" y="117434"/>
                      <a:pt x="527424" y="107674"/>
                    </a:cubicBezTo>
                    <a:cubicBezTo>
                      <a:pt x="537185" y="96162"/>
                      <a:pt x="527842" y="72720"/>
                      <a:pt x="523921" y="59874"/>
                    </a:cubicBezTo>
                    <a:cubicBezTo>
                      <a:pt x="513742" y="27507"/>
                      <a:pt x="492469" y="52366"/>
                      <a:pt x="470778" y="47027"/>
                    </a:cubicBezTo>
                    <a:cubicBezTo>
                      <a:pt x="457930" y="43523"/>
                      <a:pt x="457513" y="30677"/>
                      <a:pt x="454843" y="19582"/>
                    </a:cubicBezTo>
                    <a:cubicBezTo>
                      <a:pt x="440661" y="19165"/>
                      <a:pt x="426478" y="18247"/>
                      <a:pt x="412295" y="15160"/>
                    </a:cubicBezTo>
                    <a:cubicBezTo>
                      <a:pt x="404286" y="13409"/>
                      <a:pt x="396361" y="11156"/>
                      <a:pt x="389269" y="8487"/>
                    </a:cubicBezTo>
                    <a:cubicBezTo>
                      <a:pt x="376839" y="4065"/>
                      <a:pt x="365326" y="478"/>
                      <a:pt x="352979" y="61"/>
                    </a:cubicBezTo>
                    <a:cubicBezTo>
                      <a:pt x="344970" y="-356"/>
                      <a:pt x="337879" y="1396"/>
                      <a:pt x="329953" y="4065"/>
                    </a:cubicBezTo>
                    <a:cubicBezTo>
                      <a:pt x="329035" y="4065"/>
                      <a:pt x="327701" y="4482"/>
                      <a:pt x="326866" y="4983"/>
                    </a:cubicBezTo>
                    <a:cubicBezTo>
                      <a:pt x="321527" y="6735"/>
                      <a:pt x="316271" y="8487"/>
                      <a:pt x="310932" y="9404"/>
                    </a:cubicBezTo>
                    <a:cubicBezTo>
                      <a:pt x="304758" y="11156"/>
                      <a:pt x="298084" y="11657"/>
                      <a:pt x="290993" y="10739"/>
                    </a:cubicBezTo>
                    <a:cubicBezTo>
                      <a:pt x="284319" y="9821"/>
                      <a:pt x="278562" y="8070"/>
                      <a:pt x="273306" y="5901"/>
                    </a:cubicBezTo>
                    <a:cubicBezTo>
                      <a:pt x="260876" y="1479"/>
                      <a:pt x="254285" y="-272"/>
                      <a:pt x="246693" y="8153"/>
                    </a:cubicBezTo>
                    <a:cubicBezTo>
                      <a:pt x="243189" y="12157"/>
                      <a:pt x="240937" y="15661"/>
                      <a:pt x="238684" y="19248"/>
                    </a:cubicBezTo>
                    <a:cubicBezTo>
                      <a:pt x="233845" y="26756"/>
                      <a:pt x="229841" y="33847"/>
                      <a:pt x="215241" y="40103"/>
                    </a:cubicBezTo>
                    <a:lnTo>
                      <a:pt x="211237" y="41855"/>
                    </a:lnTo>
                    <a:cubicBezTo>
                      <a:pt x="197054" y="47611"/>
                      <a:pt x="185541" y="52032"/>
                      <a:pt x="178450" y="65296"/>
                    </a:cubicBezTo>
                    <a:cubicBezTo>
                      <a:pt x="171359" y="78143"/>
                      <a:pt x="172694" y="90990"/>
                      <a:pt x="174946" y="105588"/>
                    </a:cubicBezTo>
                    <a:cubicBezTo>
                      <a:pt x="175363" y="110927"/>
                      <a:pt x="175864" y="116683"/>
                      <a:pt x="176281" y="121939"/>
                    </a:cubicBezTo>
                    <a:cubicBezTo>
                      <a:pt x="177199" y="140958"/>
                      <a:pt x="171442" y="162231"/>
                      <a:pt x="159011" y="185255"/>
                    </a:cubicBezTo>
                    <a:cubicBezTo>
                      <a:pt x="143494" y="213201"/>
                      <a:pt x="119551" y="228216"/>
                      <a:pt x="85930" y="231303"/>
                    </a:cubicBezTo>
                    <a:cubicBezTo>
                      <a:pt x="81508" y="231720"/>
                      <a:pt x="76586" y="231720"/>
                      <a:pt x="71747" y="232220"/>
                    </a:cubicBezTo>
                    <a:cubicBezTo>
                      <a:pt x="44717" y="233972"/>
                      <a:pt x="21274" y="235307"/>
                      <a:pt x="5339" y="257914"/>
                    </a:cubicBezTo>
                    <a:cubicBezTo>
                      <a:pt x="3087" y="260583"/>
                      <a:pt x="1335" y="263670"/>
                      <a:pt x="0" y="266757"/>
                    </a:cubicBezTo>
                    <a:cubicBezTo>
                      <a:pt x="3504" y="270761"/>
                      <a:pt x="8009" y="275182"/>
                      <a:pt x="12431" y="279186"/>
                    </a:cubicBezTo>
                    <a:cubicBezTo>
                      <a:pt x="27030" y="293368"/>
                      <a:pt x="44800" y="310219"/>
                      <a:pt x="38543" y="330573"/>
                    </a:cubicBezTo>
                    <a:cubicBezTo>
                      <a:pt x="50056" y="327487"/>
                      <a:pt x="60651" y="329656"/>
                      <a:pt x="68243" y="336329"/>
                    </a:cubicBezTo>
                    <a:cubicBezTo>
                      <a:pt x="78004" y="345172"/>
                      <a:pt x="79339" y="360271"/>
                      <a:pt x="72248" y="377122"/>
                    </a:cubicBezTo>
                    <a:cubicBezTo>
                      <a:pt x="72248" y="378874"/>
                      <a:pt x="72248" y="380626"/>
                      <a:pt x="72665" y="381960"/>
                    </a:cubicBezTo>
                    <a:cubicBezTo>
                      <a:pt x="73082" y="389051"/>
                      <a:pt x="74000" y="397477"/>
                      <a:pt x="68243" y="404567"/>
                    </a:cubicBezTo>
                    <a:cubicBezTo>
                      <a:pt x="65991" y="411241"/>
                      <a:pt x="65991" y="416496"/>
                      <a:pt x="68660" y="419166"/>
                    </a:cubicBezTo>
                    <a:cubicBezTo>
                      <a:pt x="76169" y="428009"/>
                      <a:pt x="103616" y="423170"/>
                      <a:pt x="115629" y="420918"/>
                    </a:cubicBezTo>
                    <a:cubicBezTo>
                      <a:pt x="120468" y="416914"/>
                      <a:pt x="127142" y="412492"/>
                      <a:pt x="133817" y="415162"/>
                    </a:cubicBezTo>
                    <a:cubicBezTo>
                      <a:pt x="142660" y="418248"/>
                      <a:pt x="143995" y="430261"/>
                      <a:pt x="145747" y="445277"/>
                    </a:cubicBezTo>
                    <a:cubicBezTo>
                      <a:pt x="146664" y="450115"/>
                      <a:pt x="147082" y="455871"/>
                      <a:pt x="147999" y="460793"/>
                    </a:cubicBezTo>
                    <a:cubicBezTo>
                      <a:pt x="153339" y="445277"/>
                      <a:pt x="150669" y="429343"/>
                      <a:pt x="157343" y="414244"/>
                    </a:cubicBezTo>
                    <a:cubicBezTo>
                      <a:pt x="161347" y="404484"/>
                      <a:pt x="183956" y="357101"/>
                      <a:pt x="195886" y="383212"/>
                    </a:cubicBezTo>
                    <a:cubicBezTo>
                      <a:pt x="201225" y="394307"/>
                      <a:pt x="190130" y="403566"/>
                      <a:pt x="185291" y="412409"/>
                    </a:cubicBezTo>
                    <a:cubicBezTo>
                      <a:pt x="178200" y="425673"/>
                      <a:pt x="176448" y="439854"/>
                      <a:pt x="180869" y="454453"/>
                    </a:cubicBezTo>
                    <a:cubicBezTo>
                      <a:pt x="184373" y="465965"/>
                      <a:pt x="193300" y="473056"/>
                      <a:pt x="197722" y="484150"/>
                    </a:cubicBezTo>
                    <a:cubicBezTo>
                      <a:pt x="200808" y="491241"/>
                      <a:pt x="199974" y="499667"/>
                      <a:pt x="203895" y="506257"/>
                    </a:cubicBezTo>
                    <a:cubicBezTo>
                      <a:pt x="207399" y="511596"/>
                      <a:pt x="214991" y="513348"/>
                      <a:pt x="213656" y="521356"/>
                    </a:cubicBezTo>
                    <a:cubicBezTo>
                      <a:pt x="212321" y="530199"/>
                      <a:pt x="199473" y="528030"/>
                      <a:pt x="202143" y="539041"/>
                    </a:cubicBezTo>
                    <a:cubicBezTo>
                      <a:pt x="203478" y="543045"/>
                      <a:pt x="213239" y="547467"/>
                      <a:pt x="216326" y="550136"/>
                    </a:cubicBezTo>
                    <a:cubicBezTo>
                      <a:pt x="223000" y="555475"/>
                      <a:pt x="227421" y="561648"/>
                      <a:pt x="229591" y="570074"/>
                    </a:cubicBezTo>
                    <a:cubicBezTo>
                      <a:pt x="232677" y="582503"/>
                      <a:pt x="228673" y="595350"/>
                      <a:pt x="234012" y="607696"/>
                    </a:cubicBezTo>
                    <a:cubicBezTo>
                      <a:pt x="240686" y="623630"/>
                      <a:pt x="253534" y="640063"/>
                      <a:pt x="263712" y="654245"/>
                    </a:cubicBezTo>
                    <a:cubicBezTo>
                      <a:pt x="273056" y="668009"/>
                      <a:pt x="285403" y="679521"/>
                      <a:pt x="293412" y="694120"/>
                    </a:cubicBezTo>
                    <a:cubicBezTo>
                      <a:pt x="302255" y="709219"/>
                      <a:pt x="300503" y="726904"/>
                      <a:pt x="309347" y="741503"/>
                    </a:cubicBezTo>
                    <a:cubicBezTo>
                      <a:pt x="324447" y="767613"/>
                      <a:pt x="345637" y="788468"/>
                      <a:pt x="371833" y="802650"/>
                    </a:cubicBezTo>
                    <a:cubicBezTo>
                      <a:pt x="377590" y="805736"/>
                      <a:pt x="379842" y="805736"/>
                      <a:pt x="384681" y="810658"/>
                    </a:cubicBezTo>
                    <a:cubicBezTo>
                      <a:pt x="388185" y="814162"/>
                      <a:pt x="388686" y="819084"/>
                      <a:pt x="393524" y="821253"/>
                    </a:cubicBezTo>
                    <a:cubicBezTo>
                      <a:pt x="398363" y="823422"/>
                      <a:pt x="404620" y="819918"/>
                      <a:pt x="409459" y="820335"/>
                    </a:cubicBezTo>
                    <a:cubicBezTo>
                      <a:pt x="420054" y="820752"/>
                      <a:pt x="425393" y="824756"/>
                      <a:pt x="434737" y="828344"/>
                    </a:cubicBezTo>
                    <a:cubicBezTo>
                      <a:pt x="448920" y="833682"/>
                      <a:pt x="465271" y="833682"/>
                      <a:pt x="479955" y="832348"/>
                    </a:cubicBezTo>
                    <a:cubicBezTo>
                      <a:pt x="498559" y="831013"/>
                      <a:pt x="512324" y="818583"/>
                      <a:pt x="530428" y="816831"/>
                    </a:cubicBezTo>
                    <a:cubicBezTo>
                      <a:pt x="546779" y="815080"/>
                      <a:pt x="560128" y="819084"/>
                      <a:pt x="574310" y="808406"/>
                    </a:cubicBezTo>
                    <a:cubicBezTo>
                      <a:pt x="580067" y="803985"/>
                      <a:pt x="584488" y="798229"/>
                      <a:pt x="589828" y="793807"/>
                    </a:cubicBezTo>
                    <a:cubicBezTo>
                      <a:pt x="595167" y="788969"/>
                      <a:pt x="604427" y="785799"/>
                      <a:pt x="608849" y="780961"/>
                    </a:cubicBezTo>
                    <a:cubicBezTo>
                      <a:pt x="619945" y="769031"/>
                      <a:pt x="605762" y="763693"/>
                      <a:pt x="607514" y="751763"/>
                    </a:cubicBezTo>
                    <a:cubicBezTo>
                      <a:pt x="608432" y="744256"/>
                      <a:pt x="614188" y="744256"/>
                      <a:pt x="618610" y="739334"/>
                    </a:cubicBezTo>
                    <a:cubicBezTo>
                      <a:pt x="624784" y="731325"/>
                      <a:pt x="627453" y="721649"/>
                      <a:pt x="632793" y="713223"/>
                    </a:cubicBezTo>
                    <a:cubicBezTo>
                      <a:pt x="638966" y="702962"/>
                      <a:pt x="650062" y="694954"/>
                      <a:pt x="647392" y="68077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894322889" name="Полилиния 508"/>
              <p:cNvSpPr/>
              <p:nvPr/>
            </p:nvSpPr>
            <p:spPr bwMode="auto">
              <a:xfrm>
                <a:off x="2275120" y="2598184"/>
                <a:ext cx="548683" cy="771972"/>
              </a:xfrm>
              <a:custGeom>
                <a:avLst/>
                <a:gdLst>
                  <a:gd name="connsiteX0" fmla="*/ 565133 w 616190"/>
                  <a:gd name="connsiteY0" fmla="*/ 586363 h 866951"/>
                  <a:gd name="connsiteX1" fmla="*/ 558960 w 616190"/>
                  <a:gd name="connsiteY1" fmla="*/ 575268 h 866951"/>
                  <a:gd name="connsiteX2" fmla="*/ 540356 w 616190"/>
                  <a:gd name="connsiteY2" fmla="*/ 514621 h 866951"/>
                  <a:gd name="connsiteX3" fmla="*/ 540356 w 616190"/>
                  <a:gd name="connsiteY3" fmla="*/ 513286 h 866951"/>
                  <a:gd name="connsiteX4" fmla="*/ 540773 w 616190"/>
                  <a:gd name="connsiteY4" fmla="*/ 511952 h 866951"/>
                  <a:gd name="connsiteX5" fmla="*/ 547447 w 616190"/>
                  <a:gd name="connsiteY5" fmla="*/ 496435 h 866951"/>
                  <a:gd name="connsiteX6" fmla="*/ 565634 w 616190"/>
                  <a:gd name="connsiteY6" fmla="*/ 410095 h 866951"/>
                  <a:gd name="connsiteX7" fmla="*/ 540356 w 616190"/>
                  <a:gd name="connsiteY7" fmla="*/ 395914 h 866951"/>
                  <a:gd name="connsiteX8" fmla="*/ 531512 w 616190"/>
                  <a:gd name="connsiteY8" fmla="*/ 385736 h 866951"/>
                  <a:gd name="connsiteX9" fmla="*/ 520416 w 616190"/>
                  <a:gd name="connsiteY9" fmla="*/ 357373 h 866951"/>
                  <a:gd name="connsiteX10" fmla="*/ 519999 w 616190"/>
                  <a:gd name="connsiteY10" fmla="*/ 344944 h 866951"/>
                  <a:gd name="connsiteX11" fmla="*/ 511573 w 616190"/>
                  <a:gd name="connsiteY11" fmla="*/ 335601 h 866951"/>
                  <a:gd name="connsiteX12" fmla="*/ 494304 w 616190"/>
                  <a:gd name="connsiteY12" fmla="*/ 297978 h 866951"/>
                  <a:gd name="connsiteX13" fmla="*/ 507152 w 616190"/>
                  <a:gd name="connsiteY13" fmla="*/ 271867 h 866951"/>
                  <a:gd name="connsiteX14" fmla="*/ 538604 w 616190"/>
                  <a:gd name="connsiteY14" fmla="*/ 261690 h 866951"/>
                  <a:gd name="connsiteX15" fmla="*/ 557208 w 616190"/>
                  <a:gd name="connsiteY15" fmla="*/ 245340 h 866951"/>
                  <a:gd name="connsiteX16" fmla="*/ 551034 w 616190"/>
                  <a:gd name="connsiteY16" fmla="*/ 219646 h 866951"/>
                  <a:gd name="connsiteX17" fmla="*/ 546195 w 616190"/>
                  <a:gd name="connsiteY17" fmla="*/ 193035 h 866951"/>
                  <a:gd name="connsiteX18" fmla="*/ 573226 w 616190"/>
                  <a:gd name="connsiteY18" fmla="*/ 179771 h 866951"/>
                  <a:gd name="connsiteX19" fmla="*/ 582069 w 616190"/>
                  <a:gd name="connsiteY19" fmla="*/ 167341 h 866951"/>
                  <a:gd name="connsiteX20" fmla="*/ 610851 w 616190"/>
                  <a:gd name="connsiteY20" fmla="*/ 144317 h 866951"/>
                  <a:gd name="connsiteX21" fmla="*/ 616190 w 616190"/>
                  <a:gd name="connsiteY21" fmla="*/ 142566 h 866951"/>
                  <a:gd name="connsiteX22" fmla="*/ 587825 w 616190"/>
                  <a:gd name="connsiteY22" fmla="*/ 98269 h 866951"/>
                  <a:gd name="connsiteX23" fmla="*/ 559877 w 616190"/>
                  <a:gd name="connsiteY23" fmla="*/ 54891 h 866951"/>
                  <a:gd name="connsiteX24" fmla="*/ 559460 w 616190"/>
                  <a:gd name="connsiteY24" fmla="*/ 54474 h 866951"/>
                  <a:gd name="connsiteX25" fmla="*/ 555039 w 616190"/>
                  <a:gd name="connsiteY25" fmla="*/ 23942 h 866951"/>
                  <a:gd name="connsiteX26" fmla="*/ 552786 w 616190"/>
                  <a:gd name="connsiteY26" fmla="*/ 0 h 866951"/>
                  <a:gd name="connsiteX27" fmla="*/ 534182 w 616190"/>
                  <a:gd name="connsiteY27" fmla="*/ 16851 h 866951"/>
                  <a:gd name="connsiteX28" fmla="*/ 524004 w 616190"/>
                  <a:gd name="connsiteY28" fmla="*/ 27946 h 866951"/>
                  <a:gd name="connsiteX29" fmla="*/ 500060 w 616190"/>
                  <a:gd name="connsiteY29" fmla="*/ 42544 h 866951"/>
                  <a:gd name="connsiteX30" fmla="*/ 476617 w 616190"/>
                  <a:gd name="connsiteY30" fmla="*/ 65568 h 866951"/>
                  <a:gd name="connsiteX31" fmla="*/ 476200 w 616190"/>
                  <a:gd name="connsiteY31" fmla="*/ 77498 h 866951"/>
                  <a:gd name="connsiteX32" fmla="*/ 462018 w 616190"/>
                  <a:gd name="connsiteY32" fmla="*/ 113785 h 866951"/>
                  <a:gd name="connsiteX33" fmla="*/ 448252 w 616190"/>
                  <a:gd name="connsiteY33" fmla="*/ 120876 h 866951"/>
                  <a:gd name="connsiteX34" fmla="*/ 432735 w 616190"/>
                  <a:gd name="connsiteY34" fmla="*/ 132805 h 866951"/>
                  <a:gd name="connsiteX35" fmla="*/ 431400 w 616190"/>
                  <a:gd name="connsiteY35" fmla="*/ 154912 h 866951"/>
                  <a:gd name="connsiteX36" fmla="*/ 419470 w 616190"/>
                  <a:gd name="connsiteY36" fmla="*/ 194787 h 866951"/>
                  <a:gd name="connsiteX37" fmla="*/ 377423 w 616190"/>
                  <a:gd name="connsiteY37" fmla="*/ 204547 h 866951"/>
                  <a:gd name="connsiteX38" fmla="*/ 339797 w 616190"/>
                  <a:gd name="connsiteY38" fmla="*/ 215642 h 866951"/>
                  <a:gd name="connsiteX39" fmla="*/ 335376 w 616190"/>
                  <a:gd name="connsiteY39" fmla="*/ 270533 h 866951"/>
                  <a:gd name="connsiteX40" fmla="*/ 337128 w 616190"/>
                  <a:gd name="connsiteY40" fmla="*/ 307321 h 866951"/>
                  <a:gd name="connsiteX41" fmla="*/ 335793 w 616190"/>
                  <a:gd name="connsiteY41" fmla="*/ 321085 h 866951"/>
                  <a:gd name="connsiteX42" fmla="*/ 296833 w 616190"/>
                  <a:gd name="connsiteY42" fmla="*/ 396831 h 866951"/>
                  <a:gd name="connsiteX43" fmla="*/ 209151 w 616190"/>
                  <a:gd name="connsiteY43" fmla="*/ 415017 h 866951"/>
                  <a:gd name="connsiteX44" fmla="*/ 202477 w 616190"/>
                  <a:gd name="connsiteY44" fmla="*/ 415935 h 866951"/>
                  <a:gd name="connsiteX45" fmla="*/ 0 w 616190"/>
                  <a:gd name="connsiteY45" fmla="*/ 424777 h 866951"/>
                  <a:gd name="connsiteX46" fmla="*/ 11930 w 616190"/>
                  <a:gd name="connsiteY46" fmla="*/ 448218 h 866951"/>
                  <a:gd name="connsiteX47" fmla="*/ 28782 w 616190"/>
                  <a:gd name="connsiteY47" fmla="*/ 481920 h 866951"/>
                  <a:gd name="connsiteX48" fmla="*/ 65073 w 616190"/>
                  <a:gd name="connsiteY48" fmla="*/ 575852 h 866951"/>
                  <a:gd name="connsiteX49" fmla="*/ 67743 w 616190"/>
                  <a:gd name="connsiteY49" fmla="*/ 582943 h 866951"/>
                  <a:gd name="connsiteX50" fmla="*/ 75751 w 616190"/>
                  <a:gd name="connsiteY50" fmla="*/ 606884 h 866951"/>
                  <a:gd name="connsiteX51" fmla="*/ 106786 w 616190"/>
                  <a:gd name="connsiteY51" fmla="*/ 679960 h 866951"/>
                  <a:gd name="connsiteX52" fmla="*/ 129395 w 616190"/>
                  <a:gd name="connsiteY52" fmla="*/ 706071 h 866951"/>
                  <a:gd name="connsiteX53" fmla="*/ 153755 w 616190"/>
                  <a:gd name="connsiteY53" fmla="*/ 702067 h 866951"/>
                  <a:gd name="connsiteX54" fmla="*/ 179034 w 616190"/>
                  <a:gd name="connsiteY54" fmla="*/ 695894 h 866951"/>
                  <a:gd name="connsiteX55" fmla="*/ 196720 w 616190"/>
                  <a:gd name="connsiteY55" fmla="*/ 713162 h 866951"/>
                  <a:gd name="connsiteX56" fmla="*/ 199390 w 616190"/>
                  <a:gd name="connsiteY56" fmla="*/ 718000 h 866951"/>
                  <a:gd name="connsiteX57" fmla="*/ 201643 w 616190"/>
                  <a:gd name="connsiteY57" fmla="*/ 718000 h 866951"/>
                  <a:gd name="connsiteX58" fmla="*/ 204729 w 616190"/>
                  <a:gd name="connsiteY58" fmla="*/ 702484 h 866951"/>
                  <a:gd name="connsiteX59" fmla="*/ 205147 w 616190"/>
                  <a:gd name="connsiteY59" fmla="*/ 698980 h 866951"/>
                  <a:gd name="connsiteX60" fmla="*/ 213990 w 616190"/>
                  <a:gd name="connsiteY60" fmla="*/ 683881 h 866951"/>
                  <a:gd name="connsiteX61" fmla="*/ 232594 w 616190"/>
                  <a:gd name="connsiteY61" fmla="*/ 686134 h 866951"/>
                  <a:gd name="connsiteX62" fmla="*/ 262294 w 616190"/>
                  <a:gd name="connsiteY62" fmla="*/ 713579 h 866951"/>
                  <a:gd name="connsiteX63" fmla="*/ 267133 w 616190"/>
                  <a:gd name="connsiteY63" fmla="*/ 723756 h 866951"/>
                  <a:gd name="connsiteX64" fmla="*/ 279563 w 616190"/>
                  <a:gd name="connsiteY64" fmla="*/ 731765 h 866951"/>
                  <a:gd name="connsiteX65" fmla="*/ 311933 w 616190"/>
                  <a:gd name="connsiteY65" fmla="*/ 758793 h 866951"/>
                  <a:gd name="connsiteX66" fmla="*/ 314602 w 616190"/>
                  <a:gd name="connsiteY66" fmla="*/ 766301 h 866951"/>
                  <a:gd name="connsiteX67" fmla="*/ 327450 w 616190"/>
                  <a:gd name="connsiteY67" fmla="*/ 789325 h 866951"/>
                  <a:gd name="connsiteX68" fmla="*/ 335876 w 616190"/>
                  <a:gd name="connsiteY68" fmla="*/ 798668 h 866951"/>
                  <a:gd name="connsiteX69" fmla="*/ 336794 w 616190"/>
                  <a:gd name="connsiteY69" fmla="*/ 798668 h 866951"/>
                  <a:gd name="connsiteX70" fmla="*/ 362072 w 616190"/>
                  <a:gd name="connsiteY70" fmla="*/ 802172 h 866951"/>
                  <a:gd name="connsiteX71" fmla="*/ 371833 w 616190"/>
                  <a:gd name="connsiteY71" fmla="*/ 804424 h 866951"/>
                  <a:gd name="connsiteX72" fmla="*/ 397112 w 616190"/>
                  <a:gd name="connsiteY72" fmla="*/ 807093 h 866951"/>
                  <a:gd name="connsiteX73" fmla="*/ 415716 w 616190"/>
                  <a:gd name="connsiteY73" fmla="*/ 808428 h 866951"/>
                  <a:gd name="connsiteX74" fmla="*/ 452924 w 616190"/>
                  <a:gd name="connsiteY74" fmla="*/ 823527 h 866951"/>
                  <a:gd name="connsiteX75" fmla="*/ 462268 w 616190"/>
                  <a:gd name="connsiteY75" fmla="*/ 842547 h 866951"/>
                  <a:gd name="connsiteX76" fmla="*/ 467107 w 616190"/>
                  <a:gd name="connsiteY76" fmla="*/ 854977 h 866951"/>
                  <a:gd name="connsiteX77" fmla="*/ 491467 w 616190"/>
                  <a:gd name="connsiteY77" fmla="*/ 866906 h 866951"/>
                  <a:gd name="connsiteX78" fmla="*/ 491467 w 616190"/>
                  <a:gd name="connsiteY78" fmla="*/ 866489 h 866951"/>
                  <a:gd name="connsiteX79" fmla="*/ 510072 w 616190"/>
                  <a:gd name="connsiteY79" fmla="*/ 861150 h 866951"/>
                  <a:gd name="connsiteX80" fmla="*/ 510072 w 616190"/>
                  <a:gd name="connsiteY80" fmla="*/ 861567 h 866951"/>
                  <a:gd name="connsiteX81" fmla="*/ 514493 w 616190"/>
                  <a:gd name="connsiteY81" fmla="*/ 858897 h 866951"/>
                  <a:gd name="connsiteX82" fmla="*/ 525589 w 616190"/>
                  <a:gd name="connsiteY82" fmla="*/ 850889 h 866951"/>
                  <a:gd name="connsiteX83" fmla="*/ 547697 w 616190"/>
                  <a:gd name="connsiteY83" fmla="*/ 823444 h 866951"/>
                  <a:gd name="connsiteX84" fmla="*/ 548114 w 616190"/>
                  <a:gd name="connsiteY84" fmla="*/ 807511 h 866951"/>
                  <a:gd name="connsiteX85" fmla="*/ 562714 w 616190"/>
                  <a:gd name="connsiteY85" fmla="*/ 760128 h 866951"/>
                  <a:gd name="connsiteX86" fmla="*/ 573810 w 616190"/>
                  <a:gd name="connsiteY86" fmla="*/ 751285 h 866951"/>
                  <a:gd name="connsiteX87" fmla="*/ 593749 w 616190"/>
                  <a:gd name="connsiteY87" fmla="*/ 730430 h 866951"/>
                  <a:gd name="connsiteX88" fmla="*/ 589327 w 616190"/>
                  <a:gd name="connsiteY88" fmla="*/ 721087 h 866951"/>
                  <a:gd name="connsiteX89" fmla="*/ 581318 w 616190"/>
                  <a:gd name="connsiteY89" fmla="*/ 714413 h 866951"/>
                  <a:gd name="connsiteX90" fmla="*/ 566718 w 616190"/>
                  <a:gd name="connsiteY90" fmla="*/ 698480 h 866951"/>
                  <a:gd name="connsiteX91" fmla="*/ 561880 w 616190"/>
                  <a:gd name="connsiteY91" fmla="*/ 667948 h 866951"/>
                  <a:gd name="connsiteX92" fmla="*/ 576980 w 616190"/>
                  <a:gd name="connsiteY92" fmla="*/ 621399 h 866951"/>
                  <a:gd name="connsiteX93" fmla="*/ 588076 w 616190"/>
                  <a:gd name="connsiteY93" fmla="*/ 611639 h 866951"/>
                  <a:gd name="connsiteX94" fmla="*/ 594750 w 616190"/>
                  <a:gd name="connsiteY94" fmla="*/ 605883 h 866951"/>
                  <a:gd name="connsiteX95" fmla="*/ 595668 w 616190"/>
                  <a:gd name="connsiteY95" fmla="*/ 604966 h 866951"/>
                  <a:gd name="connsiteX96" fmla="*/ 588159 w 616190"/>
                  <a:gd name="connsiteY96" fmla="*/ 606300 h 866951"/>
                  <a:gd name="connsiteX97" fmla="*/ 565133 w 616190"/>
                  <a:gd name="connsiteY97" fmla="*/ 586363 h 86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616190" h="866951" extrusionOk="0">
                    <a:moveTo>
                      <a:pt x="565133" y="586363"/>
                    </a:moveTo>
                    <a:cubicBezTo>
                      <a:pt x="563381" y="581941"/>
                      <a:pt x="561629" y="577937"/>
                      <a:pt x="558960" y="575268"/>
                    </a:cubicBezTo>
                    <a:cubicBezTo>
                      <a:pt x="546112" y="561086"/>
                      <a:pt x="541690" y="534475"/>
                      <a:pt x="540356" y="514621"/>
                    </a:cubicBezTo>
                    <a:lnTo>
                      <a:pt x="540356" y="513286"/>
                    </a:lnTo>
                    <a:lnTo>
                      <a:pt x="540773" y="511952"/>
                    </a:lnTo>
                    <a:cubicBezTo>
                      <a:pt x="542525" y="507113"/>
                      <a:pt x="544777" y="502191"/>
                      <a:pt x="547447" y="496435"/>
                    </a:cubicBezTo>
                    <a:cubicBezTo>
                      <a:pt x="558960" y="469824"/>
                      <a:pt x="574060" y="433536"/>
                      <a:pt x="565634" y="410095"/>
                    </a:cubicBezTo>
                    <a:cubicBezTo>
                      <a:pt x="551869" y="412348"/>
                      <a:pt x="545695" y="403421"/>
                      <a:pt x="540356" y="395914"/>
                    </a:cubicBezTo>
                    <a:cubicBezTo>
                      <a:pt x="537686" y="392410"/>
                      <a:pt x="535016" y="388406"/>
                      <a:pt x="531512" y="385736"/>
                    </a:cubicBezTo>
                    <a:cubicBezTo>
                      <a:pt x="519582" y="379063"/>
                      <a:pt x="519999" y="367134"/>
                      <a:pt x="520416" y="357373"/>
                    </a:cubicBezTo>
                    <a:cubicBezTo>
                      <a:pt x="520416" y="352952"/>
                      <a:pt x="520834" y="348531"/>
                      <a:pt x="519999" y="344944"/>
                    </a:cubicBezTo>
                    <a:cubicBezTo>
                      <a:pt x="517747" y="341857"/>
                      <a:pt x="514660" y="338771"/>
                      <a:pt x="511573" y="335601"/>
                    </a:cubicBezTo>
                    <a:cubicBezTo>
                      <a:pt x="502230" y="325840"/>
                      <a:pt x="491634" y="315246"/>
                      <a:pt x="494304" y="297978"/>
                    </a:cubicBezTo>
                    <a:cubicBezTo>
                      <a:pt x="495222" y="287384"/>
                      <a:pt x="499643" y="278458"/>
                      <a:pt x="507152" y="271867"/>
                    </a:cubicBezTo>
                    <a:cubicBezTo>
                      <a:pt x="515578" y="264777"/>
                      <a:pt x="527091" y="260772"/>
                      <a:pt x="538604" y="261690"/>
                    </a:cubicBezTo>
                    <a:cubicBezTo>
                      <a:pt x="548782" y="256852"/>
                      <a:pt x="555456" y="251513"/>
                      <a:pt x="557208" y="245340"/>
                    </a:cubicBezTo>
                    <a:cubicBezTo>
                      <a:pt x="559877" y="237331"/>
                      <a:pt x="555456" y="228489"/>
                      <a:pt x="551034" y="219646"/>
                    </a:cubicBezTo>
                    <a:cubicBezTo>
                      <a:pt x="546613" y="210804"/>
                      <a:pt x="541690" y="201461"/>
                      <a:pt x="546195" y="193035"/>
                    </a:cubicBezTo>
                    <a:cubicBezTo>
                      <a:pt x="549699" y="186361"/>
                      <a:pt x="558126" y="181940"/>
                      <a:pt x="573226" y="179771"/>
                    </a:cubicBezTo>
                    <a:cubicBezTo>
                      <a:pt x="579399" y="178853"/>
                      <a:pt x="580317" y="176268"/>
                      <a:pt x="582069" y="167341"/>
                    </a:cubicBezTo>
                    <a:cubicBezTo>
                      <a:pt x="583821" y="157581"/>
                      <a:pt x="586491" y="142566"/>
                      <a:pt x="610851" y="144317"/>
                    </a:cubicBezTo>
                    <a:cubicBezTo>
                      <a:pt x="613521" y="143900"/>
                      <a:pt x="614856" y="143400"/>
                      <a:pt x="616190" y="142566"/>
                    </a:cubicBezTo>
                    <a:cubicBezTo>
                      <a:pt x="608182" y="127467"/>
                      <a:pt x="598003" y="112868"/>
                      <a:pt x="587825" y="98269"/>
                    </a:cubicBezTo>
                    <a:cubicBezTo>
                      <a:pt x="578064" y="84088"/>
                      <a:pt x="567886" y="69906"/>
                      <a:pt x="559877" y="54891"/>
                    </a:cubicBezTo>
                    <a:lnTo>
                      <a:pt x="559460" y="54474"/>
                    </a:lnTo>
                    <a:cubicBezTo>
                      <a:pt x="555956" y="45130"/>
                      <a:pt x="555456" y="34536"/>
                      <a:pt x="555039" y="23942"/>
                    </a:cubicBezTo>
                    <a:cubicBezTo>
                      <a:pt x="554621" y="15099"/>
                      <a:pt x="554621" y="7091"/>
                      <a:pt x="552786" y="0"/>
                    </a:cubicBezTo>
                    <a:cubicBezTo>
                      <a:pt x="545278" y="3504"/>
                      <a:pt x="539938" y="9760"/>
                      <a:pt x="534182" y="16851"/>
                    </a:cubicBezTo>
                    <a:cubicBezTo>
                      <a:pt x="531095" y="20355"/>
                      <a:pt x="527508" y="24359"/>
                      <a:pt x="524004" y="27946"/>
                    </a:cubicBezTo>
                    <a:cubicBezTo>
                      <a:pt x="517330" y="34620"/>
                      <a:pt x="508487" y="39041"/>
                      <a:pt x="500060" y="42544"/>
                    </a:cubicBezTo>
                    <a:cubicBezTo>
                      <a:pt x="486295" y="49218"/>
                      <a:pt x="477952" y="53139"/>
                      <a:pt x="476617" y="65568"/>
                    </a:cubicBezTo>
                    <a:cubicBezTo>
                      <a:pt x="475700" y="69573"/>
                      <a:pt x="476200" y="73994"/>
                      <a:pt x="476200" y="77498"/>
                    </a:cubicBezTo>
                    <a:cubicBezTo>
                      <a:pt x="476617" y="89427"/>
                      <a:pt x="476617" y="103191"/>
                      <a:pt x="462018" y="113785"/>
                    </a:cubicBezTo>
                    <a:cubicBezTo>
                      <a:pt x="457596" y="116872"/>
                      <a:pt x="452674" y="119125"/>
                      <a:pt x="448252" y="120876"/>
                    </a:cubicBezTo>
                    <a:cubicBezTo>
                      <a:pt x="440243" y="124380"/>
                      <a:pt x="435405" y="126632"/>
                      <a:pt x="432735" y="132805"/>
                    </a:cubicBezTo>
                    <a:cubicBezTo>
                      <a:pt x="430065" y="138978"/>
                      <a:pt x="430482" y="146987"/>
                      <a:pt x="431400" y="154912"/>
                    </a:cubicBezTo>
                    <a:cubicBezTo>
                      <a:pt x="432735" y="167759"/>
                      <a:pt x="434070" y="183692"/>
                      <a:pt x="419470" y="194787"/>
                    </a:cubicBezTo>
                    <a:cubicBezTo>
                      <a:pt x="406622" y="204547"/>
                      <a:pt x="391105" y="204547"/>
                      <a:pt x="377423" y="204547"/>
                    </a:cubicBezTo>
                    <a:cubicBezTo>
                      <a:pt x="361905" y="204547"/>
                      <a:pt x="348224" y="204547"/>
                      <a:pt x="339797" y="215642"/>
                    </a:cubicBezTo>
                    <a:cubicBezTo>
                      <a:pt x="330454" y="228072"/>
                      <a:pt x="332706" y="249761"/>
                      <a:pt x="335376" y="270533"/>
                    </a:cubicBezTo>
                    <a:cubicBezTo>
                      <a:pt x="337128" y="283797"/>
                      <a:pt x="338463" y="296226"/>
                      <a:pt x="337128" y="307321"/>
                    </a:cubicBezTo>
                    <a:cubicBezTo>
                      <a:pt x="336711" y="312160"/>
                      <a:pt x="336210" y="316664"/>
                      <a:pt x="335793" y="321085"/>
                    </a:cubicBezTo>
                    <a:cubicBezTo>
                      <a:pt x="333123" y="349866"/>
                      <a:pt x="329619" y="381732"/>
                      <a:pt x="296833" y="396831"/>
                    </a:cubicBezTo>
                    <a:cubicBezTo>
                      <a:pt x="268885" y="409261"/>
                      <a:pt x="238350" y="412348"/>
                      <a:pt x="209151" y="415017"/>
                    </a:cubicBezTo>
                    <a:lnTo>
                      <a:pt x="202477" y="415935"/>
                    </a:lnTo>
                    <a:cubicBezTo>
                      <a:pt x="136069" y="422108"/>
                      <a:pt x="67826" y="428781"/>
                      <a:pt x="0" y="424777"/>
                    </a:cubicBezTo>
                    <a:cubicBezTo>
                      <a:pt x="4004" y="432786"/>
                      <a:pt x="8009" y="440293"/>
                      <a:pt x="11930" y="448218"/>
                    </a:cubicBezTo>
                    <a:cubicBezTo>
                      <a:pt x="17686" y="459313"/>
                      <a:pt x="23026" y="469491"/>
                      <a:pt x="28782" y="481920"/>
                    </a:cubicBezTo>
                    <a:cubicBezTo>
                      <a:pt x="42548" y="512452"/>
                      <a:pt x="54060" y="544819"/>
                      <a:pt x="65073" y="575852"/>
                    </a:cubicBezTo>
                    <a:lnTo>
                      <a:pt x="67743" y="582943"/>
                    </a:lnTo>
                    <a:cubicBezTo>
                      <a:pt x="70412" y="590951"/>
                      <a:pt x="73082" y="598876"/>
                      <a:pt x="75751" y="606884"/>
                    </a:cubicBezTo>
                    <a:cubicBezTo>
                      <a:pt x="84178" y="632578"/>
                      <a:pt x="93021" y="658688"/>
                      <a:pt x="106786" y="679960"/>
                    </a:cubicBezTo>
                    <a:cubicBezTo>
                      <a:pt x="115212" y="692807"/>
                      <a:pt x="124973" y="703902"/>
                      <a:pt x="129395" y="706071"/>
                    </a:cubicBezTo>
                    <a:cubicBezTo>
                      <a:pt x="136486" y="709575"/>
                      <a:pt x="144912" y="706071"/>
                      <a:pt x="153755" y="702067"/>
                    </a:cubicBezTo>
                    <a:cubicBezTo>
                      <a:pt x="161765" y="698563"/>
                      <a:pt x="169690" y="694976"/>
                      <a:pt x="179034" y="695894"/>
                    </a:cubicBezTo>
                    <a:cubicBezTo>
                      <a:pt x="191882" y="697229"/>
                      <a:pt x="194968" y="706989"/>
                      <a:pt x="196720" y="713162"/>
                    </a:cubicBezTo>
                    <a:cubicBezTo>
                      <a:pt x="198472" y="717166"/>
                      <a:pt x="198472" y="718000"/>
                      <a:pt x="199390" y="718000"/>
                    </a:cubicBezTo>
                    <a:cubicBezTo>
                      <a:pt x="200725" y="718417"/>
                      <a:pt x="201142" y="718417"/>
                      <a:pt x="201643" y="718000"/>
                    </a:cubicBezTo>
                    <a:cubicBezTo>
                      <a:pt x="204312" y="715748"/>
                      <a:pt x="204729" y="706071"/>
                      <a:pt x="204729" y="702484"/>
                    </a:cubicBezTo>
                    <a:lnTo>
                      <a:pt x="205147" y="698980"/>
                    </a:lnTo>
                    <a:cubicBezTo>
                      <a:pt x="206064" y="689637"/>
                      <a:pt x="210486" y="685717"/>
                      <a:pt x="213990" y="683881"/>
                    </a:cubicBezTo>
                    <a:cubicBezTo>
                      <a:pt x="219329" y="681212"/>
                      <a:pt x="225920" y="682129"/>
                      <a:pt x="232594" y="686134"/>
                    </a:cubicBezTo>
                    <a:cubicBezTo>
                      <a:pt x="243189" y="692807"/>
                      <a:pt x="255203" y="701233"/>
                      <a:pt x="262294" y="713579"/>
                    </a:cubicBezTo>
                    <a:cubicBezTo>
                      <a:pt x="264546" y="717583"/>
                      <a:pt x="265798" y="721087"/>
                      <a:pt x="267133" y="723756"/>
                    </a:cubicBezTo>
                    <a:cubicBezTo>
                      <a:pt x="269802" y="729512"/>
                      <a:pt x="269802" y="729512"/>
                      <a:pt x="279563" y="731765"/>
                    </a:cubicBezTo>
                    <a:cubicBezTo>
                      <a:pt x="297250" y="735769"/>
                      <a:pt x="304842" y="740607"/>
                      <a:pt x="311933" y="758793"/>
                    </a:cubicBezTo>
                    <a:cubicBezTo>
                      <a:pt x="312851" y="761462"/>
                      <a:pt x="313685" y="764132"/>
                      <a:pt x="314602" y="766301"/>
                    </a:cubicBezTo>
                    <a:cubicBezTo>
                      <a:pt x="317689" y="775644"/>
                      <a:pt x="320359" y="781400"/>
                      <a:pt x="327450" y="789325"/>
                    </a:cubicBezTo>
                    <a:cubicBezTo>
                      <a:pt x="330537" y="792411"/>
                      <a:pt x="333207" y="795498"/>
                      <a:pt x="335876" y="798668"/>
                    </a:cubicBezTo>
                    <a:lnTo>
                      <a:pt x="336794" y="798668"/>
                    </a:lnTo>
                    <a:cubicBezTo>
                      <a:pt x="346138" y="797750"/>
                      <a:pt x="354063" y="800003"/>
                      <a:pt x="362072" y="802172"/>
                    </a:cubicBezTo>
                    <a:cubicBezTo>
                      <a:pt x="365576" y="803089"/>
                      <a:pt x="368747" y="803506"/>
                      <a:pt x="371833" y="804424"/>
                    </a:cubicBezTo>
                    <a:cubicBezTo>
                      <a:pt x="380259" y="806176"/>
                      <a:pt x="388185" y="806676"/>
                      <a:pt x="397112" y="807093"/>
                    </a:cubicBezTo>
                    <a:cubicBezTo>
                      <a:pt x="403285" y="807511"/>
                      <a:pt x="409542" y="807511"/>
                      <a:pt x="415716" y="808428"/>
                    </a:cubicBezTo>
                    <a:cubicBezTo>
                      <a:pt x="428564" y="809763"/>
                      <a:pt x="443163" y="812849"/>
                      <a:pt x="452924" y="823527"/>
                    </a:cubicBezTo>
                    <a:cubicBezTo>
                      <a:pt x="458681" y="829700"/>
                      <a:pt x="460433" y="836374"/>
                      <a:pt x="462268" y="842547"/>
                    </a:cubicBezTo>
                    <a:cubicBezTo>
                      <a:pt x="463603" y="847386"/>
                      <a:pt x="464520" y="851390"/>
                      <a:pt x="467107" y="854977"/>
                    </a:cubicBezTo>
                    <a:cubicBezTo>
                      <a:pt x="474198" y="863819"/>
                      <a:pt x="482624" y="867407"/>
                      <a:pt x="491467" y="866906"/>
                    </a:cubicBezTo>
                    <a:lnTo>
                      <a:pt x="491467" y="866489"/>
                    </a:lnTo>
                    <a:cubicBezTo>
                      <a:pt x="498142" y="866489"/>
                      <a:pt x="504315" y="864236"/>
                      <a:pt x="510072" y="861150"/>
                    </a:cubicBezTo>
                    <a:lnTo>
                      <a:pt x="510072" y="861567"/>
                    </a:lnTo>
                    <a:cubicBezTo>
                      <a:pt x="511407" y="861150"/>
                      <a:pt x="513158" y="859815"/>
                      <a:pt x="514493" y="858897"/>
                    </a:cubicBezTo>
                    <a:cubicBezTo>
                      <a:pt x="517997" y="855811"/>
                      <a:pt x="522002" y="853559"/>
                      <a:pt x="525589" y="850889"/>
                    </a:cubicBezTo>
                    <a:cubicBezTo>
                      <a:pt x="537519" y="842881"/>
                      <a:pt x="545945" y="837625"/>
                      <a:pt x="547697" y="823444"/>
                    </a:cubicBezTo>
                    <a:cubicBezTo>
                      <a:pt x="548114" y="818105"/>
                      <a:pt x="548114" y="812849"/>
                      <a:pt x="548114" y="807511"/>
                    </a:cubicBezTo>
                    <a:cubicBezTo>
                      <a:pt x="548114" y="791577"/>
                      <a:pt x="548114" y="773391"/>
                      <a:pt x="562714" y="760128"/>
                    </a:cubicBezTo>
                    <a:cubicBezTo>
                      <a:pt x="565384" y="757458"/>
                      <a:pt x="569388" y="754372"/>
                      <a:pt x="573810" y="751285"/>
                    </a:cubicBezTo>
                    <a:cubicBezTo>
                      <a:pt x="582653" y="745112"/>
                      <a:pt x="593332" y="737521"/>
                      <a:pt x="593749" y="730430"/>
                    </a:cubicBezTo>
                    <a:cubicBezTo>
                      <a:pt x="593749" y="729512"/>
                      <a:pt x="594166" y="726426"/>
                      <a:pt x="589327" y="721087"/>
                    </a:cubicBezTo>
                    <a:cubicBezTo>
                      <a:pt x="586657" y="718417"/>
                      <a:pt x="583988" y="716665"/>
                      <a:pt x="581318" y="714413"/>
                    </a:cubicBezTo>
                    <a:cubicBezTo>
                      <a:pt x="576479" y="710910"/>
                      <a:pt x="570723" y="706905"/>
                      <a:pt x="566718" y="698480"/>
                    </a:cubicBezTo>
                    <a:cubicBezTo>
                      <a:pt x="562714" y="690472"/>
                      <a:pt x="560962" y="680795"/>
                      <a:pt x="561880" y="667948"/>
                    </a:cubicBezTo>
                    <a:cubicBezTo>
                      <a:pt x="562797" y="650680"/>
                      <a:pt x="568554" y="633412"/>
                      <a:pt x="576980" y="621399"/>
                    </a:cubicBezTo>
                    <a:cubicBezTo>
                      <a:pt x="580067" y="616978"/>
                      <a:pt x="584488" y="614309"/>
                      <a:pt x="588076" y="611639"/>
                    </a:cubicBezTo>
                    <a:cubicBezTo>
                      <a:pt x="590328" y="609387"/>
                      <a:pt x="592914" y="608136"/>
                      <a:pt x="594750" y="605883"/>
                    </a:cubicBezTo>
                    <a:cubicBezTo>
                      <a:pt x="594750" y="605466"/>
                      <a:pt x="595167" y="604966"/>
                      <a:pt x="595668" y="604966"/>
                    </a:cubicBezTo>
                    <a:cubicBezTo>
                      <a:pt x="592998" y="605883"/>
                      <a:pt x="590328" y="606300"/>
                      <a:pt x="588159" y="606300"/>
                    </a:cubicBezTo>
                    <a:cubicBezTo>
                      <a:pt x="573977" y="605800"/>
                      <a:pt x="568637" y="594288"/>
                      <a:pt x="565133" y="58636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239004208" name="Полилиния 509"/>
              <p:cNvSpPr/>
              <p:nvPr/>
            </p:nvSpPr>
            <p:spPr bwMode="auto">
              <a:xfrm>
                <a:off x="2723873" y="2462398"/>
                <a:ext cx="300276" cy="666771"/>
              </a:xfrm>
              <a:custGeom>
                <a:avLst/>
                <a:gdLst>
                  <a:gd name="connsiteX0" fmla="*/ 313702 w 337221"/>
                  <a:gd name="connsiteY0" fmla="*/ 244923 h 748807"/>
                  <a:gd name="connsiteX1" fmla="*/ 312368 w 337221"/>
                  <a:gd name="connsiteY1" fmla="*/ 241419 h 748807"/>
                  <a:gd name="connsiteX2" fmla="*/ 324798 w 337221"/>
                  <a:gd name="connsiteY2" fmla="*/ 240084 h 748807"/>
                  <a:gd name="connsiteX3" fmla="*/ 332807 w 337221"/>
                  <a:gd name="connsiteY3" fmla="*/ 213974 h 748807"/>
                  <a:gd name="connsiteX4" fmla="*/ 331055 w 337221"/>
                  <a:gd name="connsiteY4" fmla="*/ 210470 h 748807"/>
                  <a:gd name="connsiteX5" fmla="*/ 316873 w 337221"/>
                  <a:gd name="connsiteY5" fmla="*/ 168843 h 748807"/>
                  <a:gd name="connsiteX6" fmla="*/ 311533 w 337221"/>
                  <a:gd name="connsiteY6" fmla="*/ 147571 h 748807"/>
                  <a:gd name="connsiteX7" fmla="*/ 303107 w 337221"/>
                  <a:gd name="connsiteY7" fmla="*/ 152409 h 748807"/>
                  <a:gd name="connsiteX8" fmla="*/ 300437 w 337221"/>
                  <a:gd name="connsiteY8" fmla="*/ 153744 h 748807"/>
                  <a:gd name="connsiteX9" fmla="*/ 241538 w 337221"/>
                  <a:gd name="connsiteY9" fmla="*/ 148906 h 748807"/>
                  <a:gd name="connsiteX10" fmla="*/ 239286 w 337221"/>
                  <a:gd name="connsiteY10" fmla="*/ 122295 h 748807"/>
                  <a:gd name="connsiteX11" fmla="*/ 240620 w 337221"/>
                  <a:gd name="connsiteY11" fmla="*/ 120543 h 748807"/>
                  <a:gd name="connsiteX12" fmla="*/ 243290 w 337221"/>
                  <a:gd name="connsiteY12" fmla="*/ 105443 h 748807"/>
                  <a:gd name="connsiteX13" fmla="*/ 242873 w 337221"/>
                  <a:gd name="connsiteY13" fmla="*/ 98353 h 748807"/>
                  <a:gd name="connsiteX14" fmla="*/ 243290 w 337221"/>
                  <a:gd name="connsiteY14" fmla="*/ 96100 h 748807"/>
                  <a:gd name="connsiteX15" fmla="*/ 242372 w 337221"/>
                  <a:gd name="connsiteY15" fmla="*/ 66903 h 748807"/>
                  <a:gd name="connsiteX16" fmla="*/ 210503 w 337221"/>
                  <a:gd name="connsiteY16" fmla="*/ 69156 h 748807"/>
                  <a:gd name="connsiteX17" fmla="*/ 203412 w 337221"/>
                  <a:gd name="connsiteY17" fmla="*/ 67821 h 748807"/>
                  <a:gd name="connsiteX18" fmla="*/ 203412 w 337221"/>
                  <a:gd name="connsiteY18" fmla="*/ 60730 h 748807"/>
                  <a:gd name="connsiteX19" fmla="*/ 186560 w 337221"/>
                  <a:gd name="connsiteY19" fmla="*/ 9760 h 748807"/>
                  <a:gd name="connsiteX20" fmla="*/ 176382 w 337221"/>
                  <a:gd name="connsiteY20" fmla="*/ 0 h 748807"/>
                  <a:gd name="connsiteX21" fmla="*/ 173295 w 337221"/>
                  <a:gd name="connsiteY21" fmla="*/ 7091 h 748807"/>
                  <a:gd name="connsiteX22" fmla="*/ 163117 w 337221"/>
                  <a:gd name="connsiteY22" fmla="*/ 27946 h 748807"/>
                  <a:gd name="connsiteX23" fmla="*/ 160030 w 337221"/>
                  <a:gd name="connsiteY23" fmla="*/ 33285 h 748807"/>
                  <a:gd name="connsiteX24" fmla="*/ 142344 w 337221"/>
                  <a:gd name="connsiteY24" fmla="*/ 68238 h 748807"/>
                  <a:gd name="connsiteX25" fmla="*/ 137505 w 337221"/>
                  <a:gd name="connsiteY25" fmla="*/ 80668 h 748807"/>
                  <a:gd name="connsiteX26" fmla="*/ 98962 w 337221"/>
                  <a:gd name="connsiteY26" fmla="*/ 141815 h 748807"/>
                  <a:gd name="connsiteX27" fmla="*/ 68427 w 337221"/>
                  <a:gd name="connsiteY27" fmla="*/ 149823 h 748807"/>
                  <a:gd name="connsiteX28" fmla="*/ 58249 w 337221"/>
                  <a:gd name="connsiteY28" fmla="*/ 151158 h 748807"/>
                  <a:gd name="connsiteX29" fmla="*/ 61336 w 337221"/>
                  <a:gd name="connsiteY29" fmla="*/ 178186 h 748807"/>
                  <a:gd name="connsiteX30" fmla="*/ 64840 w 337221"/>
                  <a:gd name="connsiteY30" fmla="*/ 204797 h 748807"/>
                  <a:gd name="connsiteX31" fmla="*/ 91870 w 337221"/>
                  <a:gd name="connsiteY31" fmla="*/ 246841 h 748807"/>
                  <a:gd name="connsiteX32" fmla="*/ 122404 w 337221"/>
                  <a:gd name="connsiteY32" fmla="*/ 294641 h 748807"/>
                  <a:gd name="connsiteX33" fmla="*/ 123322 w 337221"/>
                  <a:gd name="connsiteY33" fmla="*/ 296393 h 748807"/>
                  <a:gd name="connsiteX34" fmla="*/ 122905 w 337221"/>
                  <a:gd name="connsiteY34" fmla="*/ 298145 h 748807"/>
                  <a:gd name="connsiteX35" fmla="*/ 106971 w 337221"/>
                  <a:gd name="connsiteY35" fmla="*/ 309657 h 748807"/>
                  <a:gd name="connsiteX36" fmla="*/ 106553 w 337221"/>
                  <a:gd name="connsiteY36" fmla="*/ 309657 h 748807"/>
                  <a:gd name="connsiteX37" fmla="*/ 106136 w 337221"/>
                  <a:gd name="connsiteY37" fmla="*/ 309657 h 748807"/>
                  <a:gd name="connsiteX38" fmla="*/ 88450 w 337221"/>
                  <a:gd name="connsiteY38" fmla="*/ 323838 h 748807"/>
                  <a:gd name="connsiteX39" fmla="*/ 70263 w 337221"/>
                  <a:gd name="connsiteY39" fmla="*/ 345111 h 748807"/>
                  <a:gd name="connsiteX40" fmla="*/ 51659 w 337221"/>
                  <a:gd name="connsiteY40" fmla="*/ 352201 h 748807"/>
                  <a:gd name="connsiteX41" fmla="*/ 56497 w 337221"/>
                  <a:gd name="connsiteY41" fmla="*/ 368552 h 748807"/>
                  <a:gd name="connsiteX42" fmla="*/ 63171 w 337221"/>
                  <a:gd name="connsiteY42" fmla="*/ 403088 h 748807"/>
                  <a:gd name="connsiteX43" fmla="*/ 37059 w 337221"/>
                  <a:gd name="connsiteY43" fmla="*/ 426529 h 748807"/>
                  <a:gd name="connsiteX44" fmla="*/ 35724 w 337221"/>
                  <a:gd name="connsiteY44" fmla="*/ 426946 h 748807"/>
                  <a:gd name="connsiteX45" fmla="*/ 34389 w 337221"/>
                  <a:gd name="connsiteY45" fmla="*/ 426946 h 748807"/>
                  <a:gd name="connsiteX46" fmla="*/ 9611 w 337221"/>
                  <a:gd name="connsiteY46" fmla="*/ 434454 h 748807"/>
                  <a:gd name="connsiteX47" fmla="*/ 268 w 337221"/>
                  <a:gd name="connsiteY47" fmla="*/ 453057 h 748807"/>
                  <a:gd name="connsiteX48" fmla="*/ 268 w 337221"/>
                  <a:gd name="connsiteY48" fmla="*/ 453474 h 748807"/>
                  <a:gd name="connsiteX49" fmla="*/ 14450 w 337221"/>
                  <a:gd name="connsiteY49" fmla="*/ 481837 h 748807"/>
                  <a:gd name="connsiteX50" fmla="*/ 24628 w 337221"/>
                  <a:gd name="connsiteY50" fmla="*/ 493349 h 748807"/>
                  <a:gd name="connsiteX51" fmla="*/ 25045 w 337221"/>
                  <a:gd name="connsiteY51" fmla="*/ 494267 h 748807"/>
                  <a:gd name="connsiteX52" fmla="*/ 25463 w 337221"/>
                  <a:gd name="connsiteY52" fmla="*/ 495184 h 748807"/>
                  <a:gd name="connsiteX53" fmla="*/ 26797 w 337221"/>
                  <a:gd name="connsiteY53" fmla="*/ 512035 h 748807"/>
                  <a:gd name="connsiteX54" fmla="*/ 32554 w 337221"/>
                  <a:gd name="connsiteY54" fmla="*/ 530221 h 748807"/>
                  <a:gd name="connsiteX55" fmla="*/ 33472 w 337221"/>
                  <a:gd name="connsiteY55" fmla="*/ 530638 h 748807"/>
                  <a:gd name="connsiteX56" fmla="*/ 44985 w 337221"/>
                  <a:gd name="connsiteY56" fmla="*/ 543485 h 748807"/>
                  <a:gd name="connsiteX57" fmla="*/ 63171 w 337221"/>
                  <a:gd name="connsiteY57" fmla="*/ 552327 h 748807"/>
                  <a:gd name="connsiteX58" fmla="*/ 67593 w 337221"/>
                  <a:gd name="connsiteY58" fmla="*/ 550992 h 748807"/>
                  <a:gd name="connsiteX59" fmla="*/ 69846 w 337221"/>
                  <a:gd name="connsiteY59" fmla="*/ 554997 h 748807"/>
                  <a:gd name="connsiteX60" fmla="*/ 53494 w 337221"/>
                  <a:gd name="connsiteY60" fmla="*/ 654684 h 748807"/>
                  <a:gd name="connsiteX61" fmla="*/ 47737 w 337221"/>
                  <a:gd name="connsiteY61" fmla="*/ 668866 h 748807"/>
                  <a:gd name="connsiteX62" fmla="*/ 63672 w 337221"/>
                  <a:gd name="connsiteY62" fmla="*/ 721587 h 748807"/>
                  <a:gd name="connsiteX63" fmla="*/ 72098 w 337221"/>
                  <a:gd name="connsiteY63" fmla="*/ 735769 h 748807"/>
                  <a:gd name="connsiteX64" fmla="*/ 87616 w 337221"/>
                  <a:gd name="connsiteY64" fmla="*/ 748198 h 748807"/>
                  <a:gd name="connsiteX65" fmla="*/ 101381 w 337221"/>
                  <a:gd name="connsiteY65" fmla="*/ 739356 h 748807"/>
                  <a:gd name="connsiteX66" fmla="*/ 104468 w 337221"/>
                  <a:gd name="connsiteY66" fmla="*/ 730013 h 748807"/>
                  <a:gd name="connsiteX67" fmla="*/ 106720 w 337221"/>
                  <a:gd name="connsiteY67" fmla="*/ 718918 h 748807"/>
                  <a:gd name="connsiteX68" fmla="*/ 114229 w 337221"/>
                  <a:gd name="connsiteY68" fmla="*/ 694559 h 748807"/>
                  <a:gd name="connsiteX69" fmla="*/ 143428 w 337221"/>
                  <a:gd name="connsiteY69" fmla="*/ 691473 h 748807"/>
                  <a:gd name="connsiteX70" fmla="*/ 151854 w 337221"/>
                  <a:gd name="connsiteY70" fmla="*/ 694976 h 748807"/>
                  <a:gd name="connsiteX71" fmla="*/ 176215 w 337221"/>
                  <a:gd name="connsiteY71" fmla="*/ 691473 h 748807"/>
                  <a:gd name="connsiteX72" fmla="*/ 190397 w 337221"/>
                  <a:gd name="connsiteY72" fmla="*/ 682630 h 748807"/>
                  <a:gd name="connsiteX73" fmla="*/ 181971 w 337221"/>
                  <a:gd name="connsiteY73" fmla="*/ 651181 h 748807"/>
                  <a:gd name="connsiteX74" fmla="*/ 185976 w 337221"/>
                  <a:gd name="connsiteY74" fmla="*/ 577687 h 748807"/>
                  <a:gd name="connsiteX75" fmla="*/ 166454 w 337221"/>
                  <a:gd name="connsiteY75" fmla="*/ 540899 h 748807"/>
                  <a:gd name="connsiteX76" fmla="*/ 187728 w 337221"/>
                  <a:gd name="connsiteY76" fmla="*/ 506780 h 748807"/>
                  <a:gd name="connsiteX77" fmla="*/ 213840 w 337221"/>
                  <a:gd name="connsiteY77" fmla="*/ 472244 h 748807"/>
                  <a:gd name="connsiteX78" fmla="*/ 237784 w 337221"/>
                  <a:gd name="connsiteY78" fmla="*/ 427947 h 748807"/>
                  <a:gd name="connsiteX79" fmla="*/ 253301 w 337221"/>
                  <a:gd name="connsiteY79" fmla="*/ 398249 h 748807"/>
                  <a:gd name="connsiteX80" fmla="*/ 265732 w 337221"/>
                  <a:gd name="connsiteY80" fmla="*/ 399584 h 748807"/>
                  <a:gd name="connsiteX81" fmla="*/ 285671 w 337221"/>
                  <a:gd name="connsiteY81" fmla="*/ 393411 h 748807"/>
                  <a:gd name="connsiteX82" fmla="*/ 333474 w 337221"/>
                  <a:gd name="connsiteY82" fmla="*/ 334016 h 748807"/>
                  <a:gd name="connsiteX83" fmla="*/ 327718 w 337221"/>
                  <a:gd name="connsiteY83" fmla="*/ 274620 h 748807"/>
                  <a:gd name="connsiteX84" fmla="*/ 313702 w 337221"/>
                  <a:gd name="connsiteY84" fmla="*/ 244923 h 748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37221" h="748807" extrusionOk="0">
                    <a:moveTo>
                      <a:pt x="313702" y="244923"/>
                    </a:moveTo>
                    <a:cubicBezTo>
                      <a:pt x="313285" y="243588"/>
                      <a:pt x="312368" y="242670"/>
                      <a:pt x="312368" y="241419"/>
                    </a:cubicBezTo>
                    <a:cubicBezTo>
                      <a:pt x="311450" y="235246"/>
                      <a:pt x="322128" y="240501"/>
                      <a:pt x="324798" y="240084"/>
                    </a:cubicBezTo>
                    <a:cubicBezTo>
                      <a:pt x="341150" y="236998"/>
                      <a:pt x="338564" y="225903"/>
                      <a:pt x="332807" y="213974"/>
                    </a:cubicBezTo>
                    <a:cubicBezTo>
                      <a:pt x="331889" y="212639"/>
                      <a:pt x="331472" y="211304"/>
                      <a:pt x="331055" y="210470"/>
                    </a:cubicBezTo>
                    <a:cubicBezTo>
                      <a:pt x="321294" y="201127"/>
                      <a:pt x="318625" y="183859"/>
                      <a:pt x="316873" y="168843"/>
                    </a:cubicBezTo>
                    <a:cubicBezTo>
                      <a:pt x="315955" y="161752"/>
                      <a:pt x="314203" y="148906"/>
                      <a:pt x="311533" y="147571"/>
                    </a:cubicBezTo>
                    <a:cubicBezTo>
                      <a:pt x="311533" y="147571"/>
                      <a:pt x="309281" y="147154"/>
                      <a:pt x="303107" y="152409"/>
                    </a:cubicBezTo>
                    <a:cubicBezTo>
                      <a:pt x="302189" y="152826"/>
                      <a:pt x="301355" y="153327"/>
                      <a:pt x="300437" y="153744"/>
                    </a:cubicBezTo>
                    <a:cubicBezTo>
                      <a:pt x="276077" y="158165"/>
                      <a:pt x="252133" y="160835"/>
                      <a:pt x="241538" y="148906"/>
                    </a:cubicBezTo>
                    <a:cubicBezTo>
                      <a:pt x="236199" y="142733"/>
                      <a:pt x="235365" y="133806"/>
                      <a:pt x="239286" y="122295"/>
                    </a:cubicBezTo>
                    <a:cubicBezTo>
                      <a:pt x="239703" y="121377"/>
                      <a:pt x="240203" y="120960"/>
                      <a:pt x="240620" y="120543"/>
                    </a:cubicBezTo>
                    <a:cubicBezTo>
                      <a:pt x="244124" y="117039"/>
                      <a:pt x="243707" y="112534"/>
                      <a:pt x="243290" y="105443"/>
                    </a:cubicBezTo>
                    <a:cubicBezTo>
                      <a:pt x="243290" y="103191"/>
                      <a:pt x="242873" y="100605"/>
                      <a:pt x="242873" y="98353"/>
                    </a:cubicBezTo>
                    <a:cubicBezTo>
                      <a:pt x="242873" y="97435"/>
                      <a:pt x="242873" y="96601"/>
                      <a:pt x="243290" y="96100"/>
                    </a:cubicBezTo>
                    <a:cubicBezTo>
                      <a:pt x="249046" y="83254"/>
                      <a:pt x="248629" y="72659"/>
                      <a:pt x="242372" y="66903"/>
                    </a:cubicBezTo>
                    <a:cubicBezTo>
                      <a:pt x="235698" y="60730"/>
                      <a:pt x="223351" y="61564"/>
                      <a:pt x="210503" y="69156"/>
                    </a:cubicBezTo>
                    <a:cubicBezTo>
                      <a:pt x="208251" y="70490"/>
                      <a:pt x="205164" y="70073"/>
                      <a:pt x="203412" y="67821"/>
                    </a:cubicBezTo>
                    <a:cubicBezTo>
                      <a:pt x="201660" y="65569"/>
                      <a:pt x="201660" y="62982"/>
                      <a:pt x="203412" y="60730"/>
                    </a:cubicBezTo>
                    <a:cubicBezTo>
                      <a:pt x="218929" y="42127"/>
                      <a:pt x="206916" y="29281"/>
                      <a:pt x="186560" y="9760"/>
                    </a:cubicBezTo>
                    <a:cubicBezTo>
                      <a:pt x="183056" y="6674"/>
                      <a:pt x="179886" y="3087"/>
                      <a:pt x="176382" y="0"/>
                    </a:cubicBezTo>
                    <a:cubicBezTo>
                      <a:pt x="175464" y="2252"/>
                      <a:pt x="174129" y="4838"/>
                      <a:pt x="173295" y="7091"/>
                    </a:cubicBezTo>
                    <a:cubicBezTo>
                      <a:pt x="170208" y="14181"/>
                      <a:pt x="167121" y="21272"/>
                      <a:pt x="163117" y="27946"/>
                    </a:cubicBezTo>
                    <a:lnTo>
                      <a:pt x="160030" y="33285"/>
                    </a:lnTo>
                    <a:cubicBezTo>
                      <a:pt x="153356" y="45214"/>
                      <a:pt x="147182" y="56309"/>
                      <a:pt x="142344" y="68238"/>
                    </a:cubicBezTo>
                    <a:cubicBezTo>
                      <a:pt x="140592" y="72242"/>
                      <a:pt x="139257" y="76246"/>
                      <a:pt x="137505" y="80668"/>
                    </a:cubicBezTo>
                    <a:cubicBezTo>
                      <a:pt x="129079" y="102774"/>
                      <a:pt x="119318" y="128050"/>
                      <a:pt x="98962" y="141815"/>
                    </a:cubicBezTo>
                    <a:cubicBezTo>
                      <a:pt x="88784" y="148489"/>
                      <a:pt x="78105" y="148906"/>
                      <a:pt x="68427" y="149823"/>
                    </a:cubicBezTo>
                    <a:cubicBezTo>
                      <a:pt x="64923" y="150240"/>
                      <a:pt x="61336" y="150240"/>
                      <a:pt x="58249" y="151158"/>
                    </a:cubicBezTo>
                    <a:cubicBezTo>
                      <a:pt x="60502" y="159583"/>
                      <a:pt x="60919" y="169344"/>
                      <a:pt x="61336" y="178186"/>
                    </a:cubicBezTo>
                    <a:cubicBezTo>
                      <a:pt x="61753" y="187946"/>
                      <a:pt x="61753" y="197206"/>
                      <a:pt x="64840" y="204797"/>
                    </a:cubicBezTo>
                    <a:cubicBezTo>
                      <a:pt x="72348" y="218979"/>
                      <a:pt x="82527" y="233160"/>
                      <a:pt x="91870" y="246841"/>
                    </a:cubicBezTo>
                    <a:cubicBezTo>
                      <a:pt x="102966" y="262358"/>
                      <a:pt x="113978" y="278291"/>
                      <a:pt x="122404" y="294641"/>
                    </a:cubicBezTo>
                    <a:lnTo>
                      <a:pt x="123322" y="296393"/>
                    </a:lnTo>
                    <a:lnTo>
                      <a:pt x="122905" y="298145"/>
                    </a:lnTo>
                    <a:cubicBezTo>
                      <a:pt x="121987" y="301649"/>
                      <a:pt x="119401" y="307905"/>
                      <a:pt x="106971" y="309657"/>
                    </a:cubicBezTo>
                    <a:lnTo>
                      <a:pt x="106553" y="309657"/>
                    </a:lnTo>
                    <a:lnTo>
                      <a:pt x="106136" y="309657"/>
                    </a:lnTo>
                    <a:cubicBezTo>
                      <a:pt x="91036" y="308322"/>
                      <a:pt x="90202" y="313661"/>
                      <a:pt x="88450" y="323838"/>
                    </a:cubicBezTo>
                    <a:cubicBezTo>
                      <a:pt x="87115" y="331847"/>
                      <a:pt x="84946" y="343359"/>
                      <a:pt x="70263" y="345111"/>
                    </a:cubicBezTo>
                    <a:cubicBezTo>
                      <a:pt x="56497" y="347363"/>
                      <a:pt x="52576" y="350450"/>
                      <a:pt x="51659" y="352201"/>
                    </a:cubicBezTo>
                    <a:cubicBezTo>
                      <a:pt x="49907" y="355288"/>
                      <a:pt x="53411" y="362379"/>
                      <a:pt x="56497" y="368552"/>
                    </a:cubicBezTo>
                    <a:cubicBezTo>
                      <a:pt x="61336" y="378312"/>
                      <a:pt x="67593" y="390658"/>
                      <a:pt x="63171" y="403088"/>
                    </a:cubicBezTo>
                    <a:cubicBezTo>
                      <a:pt x="60085" y="412431"/>
                      <a:pt x="51242" y="419939"/>
                      <a:pt x="37059" y="426529"/>
                    </a:cubicBezTo>
                    <a:lnTo>
                      <a:pt x="35724" y="426946"/>
                    </a:lnTo>
                    <a:lnTo>
                      <a:pt x="34389" y="426946"/>
                    </a:lnTo>
                    <a:cubicBezTo>
                      <a:pt x="25045" y="426029"/>
                      <a:pt x="16202" y="428698"/>
                      <a:pt x="9611" y="434454"/>
                    </a:cubicBezTo>
                    <a:cubicBezTo>
                      <a:pt x="4272" y="439292"/>
                      <a:pt x="768" y="445549"/>
                      <a:pt x="268" y="453057"/>
                    </a:cubicBezTo>
                    <a:lnTo>
                      <a:pt x="268" y="453474"/>
                    </a:lnTo>
                    <a:cubicBezTo>
                      <a:pt x="-1484" y="465403"/>
                      <a:pt x="5607" y="472994"/>
                      <a:pt x="14450" y="481837"/>
                    </a:cubicBezTo>
                    <a:cubicBezTo>
                      <a:pt x="17954" y="485341"/>
                      <a:pt x="21542" y="488928"/>
                      <a:pt x="24628" y="493349"/>
                    </a:cubicBezTo>
                    <a:lnTo>
                      <a:pt x="25045" y="494267"/>
                    </a:lnTo>
                    <a:lnTo>
                      <a:pt x="25463" y="495184"/>
                    </a:lnTo>
                    <a:cubicBezTo>
                      <a:pt x="27215" y="500523"/>
                      <a:pt x="27215" y="506696"/>
                      <a:pt x="26797" y="512035"/>
                    </a:cubicBezTo>
                    <a:cubicBezTo>
                      <a:pt x="26380" y="521795"/>
                      <a:pt x="26380" y="527134"/>
                      <a:pt x="32554" y="530221"/>
                    </a:cubicBezTo>
                    <a:lnTo>
                      <a:pt x="33472" y="530638"/>
                    </a:lnTo>
                    <a:cubicBezTo>
                      <a:pt x="38310" y="534642"/>
                      <a:pt x="41898" y="539480"/>
                      <a:pt x="44985" y="543485"/>
                    </a:cubicBezTo>
                    <a:cubicBezTo>
                      <a:pt x="50741" y="551493"/>
                      <a:pt x="53411" y="554997"/>
                      <a:pt x="63171" y="552327"/>
                    </a:cubicBezTo>
                    <a:lnTo>
                      <a:pt x="67593" y="550992"/>
                    </a:lnTo>
                    <a:lnTo>
                      <a:pt x="69846" y="554997"/>
                    </a:lnTo>
                    <a:cubicBezTo>
                      <a:pt x="84028" y="582943"/>
                      <a:pt x="67176" y="622734"/>
                      <a:pt x="53494" y="654684"/>
                    </a:cubicBezTo>
                    <a:cubicBezTo>
                      <a:pt x="51242" y="659523"/>
                      <a:pt x="49490" y="664444"/>
                      <a:pt x="47737" y="668866"/>
                    </a:cubicBezTo>
                    <a:cubicBezTo>
                      <a:pt x="49490" y="693642"/>
                      <a:pt x="55246" y="712745"/>
                      <a:pt x="63672" y="721587"/>
                    </a:cubicBezTo>
                    <a:cubicBezTo>
                      <a:pt x="67677" y="725592"/>
                      <a:pt x="69846" y="730930"/>
                      <a:pt x="72098" y="735769"/>
                    </a:cubicBezTo>
                    <a:cubicBezTo>
                      <a:pt x="76937" y="746864"/>
                      <a:pt x="79190" y="750368"/>
                      <a:pt x="87616" y="748198"/>
                    </a:cubicBezTo>
                    <a:cubicBezTo>
                      <a:pt x="92037" y="746447"/>
                      <a:pt x="97376" y="742860"/>
                      <a:pt x="101381" y="739356"/>
                    </a:cubicBezTo>
                    <a:cubicBezTo>
                      <a:pt x="102716" y="736270"/>
                      <a:pt x="103633" y="733183"/>
                      <a:pt x="104468" y="730013"/>
                    </a:cubicBezTo>
                    <a:cubicBezTo>
                      <a:pt x="105803" y="726926"/>
                      <a:pt x="106220" y="723339"/>
                      <a:pt x="106720" y="718918"/>
                    </a:cubicBezTo>
                    <a:cubicBezTo>
                      <a:pt x="108055" y="710075"/>
                      <a:pt x="109390" y="700315"/>
                      <a:pt x="114229" y="694559"/>
                    </a:cubicBezTo>
                    <a:cubicBezTo>
                      <a:pt x="124407" y="681712"/>
                      <a:pt x="135920" y="687886"/>
                      <a:pt x="143428" y="691473"/>
                    </a:cubicBezTo>
                    <a:cubicBezTo>
                      <a:pt x="146098" y="692807"/>
                      <a:pt x="149185" y="694142"/>
                      <a:pt x="151854" y="694976"/>
                    </a:cubicBezTo>
                    <a:cubicBezTo>
                      <a:pt x="160698" y="697229"/>
                      <a:pt x="167789" y="696311"/>
                      <a:pt x="176215" y="691473"/>
                    </a:cubicBezTo>
                    <a:cubicBezTo>
                      <a:pt x="181554" y="687969"/>
                      <a:pt x="186393" y="685300"/>
                      <a:pt x="190397" y="682630"/>
                    </a:cubicBezTo>
                    <a:cubicBezTo>
                      <a:pt x="184641" y="673287"/>
                      <a:pt x="181054" y="663110"/>
                      <a:pt x="181971" y="651181"/>
                    </a:cubicBezTo>
                    <a:cubicBezTo>
                      <a:pt x="184641" y="623735"/>
                      <a:pt x="203245" y="605132"/>
                      <a:pt x="185976" y="577687"/>
                    </a:cubicBezTo>
                    <a:cubicBezTo>
                      <a:pt x="178467" y="566175"/>
                      <a:pt x="168289" y="555080"/>
                      <a:pt x="166454" y="540899"/>
                    </a:cubicBezTo>
                    <a:cubicBezTo>
                      <a:pt x="163784" y="522713"/>
                      <a:pt x="175297" y="516540"/>
                      <a:pt x="187728" y="506780"/>
                    </a:cubicBezTo>
                    <a:cubicBezTo>
                      <a:pt x="200158" y="497019"/>
                      <a:pt x="206332" y="486425"/>
                      <a:pt x="213840" y="472244"/>
                    </a:cubicBezTo>
                    <a:cubicBezTo>
                      <a:pt x="222267" y="455893"/>
                      <a:pt x="232445" y="445632"/>
                      <a:pt x="237784" y="427947"/>
                    </a:cubicBezTo>
                    <a:cubicBezTo>
                      <a:pt x="240453" y="419939"/>
                      <a:pt x="244875" y="402254"/>
                      <a:pt x="253301" y="398249"/>
                    </a:cubicBezTo>
                    <a:cubicBezTo>
                      <a:pt x="259475" y="395163"/>
                      <a:pt x="260393" y="399584"/>
                      <a:pt x="265732" y="399584"/>
                    </a:cubicBezTo>
                    <a:cubicBezTo>
                      <a:pt x="275076" y="399584"/>
                      <a:pt x="277662" y="398667"/>
                      <a:pt x="285671" y="393411"/>
                    </a:cubicBezTo>
                    <a:cubicBezTo>
                      <a:pt x="311366" y="376143"/>
                      <a:pt x="324631" y="364214"/>
                      <a:pt x="333474" y="334016"/>
                    </a:cubicBezTo>
                    <a:cubicBezTo>
                      <a:pt x="339648" y="313661"/>
                      <a:pt x="335727" y="294141"/>
                      <a:pt x="327718" y="274620"/>
                    </a:cubicBezTo>
                    <a:cubicBezTo>
                      <a:pt x="323463" y="263525"/>
                      <a:pt x="319459" y="253348"/>
                      <a:pt x="313702" y="2449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777381956" name="Полилиния 510"/>
              <p:cNvSpPr/>
              <p:nvPr/>
            </p:nvSpPr>
            <p:spPr bwMode="auto">
              <a:xfrm>
                <a:off x="2787760" y="2935777"/>
                <a:ext cx="913968" cy="535658"/>
              </a:xfrm>
              <a:custGeom>
                <a:avLst/>
                <a:gdLst>
                  <a:gd name="connsiteX0" fmla="*/ 105468 w 1026416"/>
                  <a:gd name="connsiteY0" fmla="*/ 422960 h 601562"/>
                  <a:gd name="connsiteX1" fmla="*/ 133833 w 1026416"/>
                  <a:gd name="connsiteY1" fmla="*/ 407443 h 601562"/>
                  <a:gd name="connsiteX2" fmla="*/ 138255 w 1026416"/>
                  <a:gd name="connsiteY2" fmla="*/ 401688 h 601562"/>
                  <a:gd name="connsiteX3" fmla="*/ 143094 w 1026416"/>
                  <a:gd name="connsiteY3" fmla="*/ 407026 h 601562"/>
                  <a:gd name="connsiteX4" fmla="*/ 194485 w 1026416"/>
                  <a:gd name="connsiteY4" fmla="*/ 432720 h 601562"/>
                  <a:gd name="connsiteX5" fmla="*/ 337562 w 1026416"/>
                  <a:gd name="connsiteY5" fmla="*/ 366734 h 601562"/>
                  <a:gd name="connsiteX6" fmla="*/ 337979 w 1026416"/>
                  <a:gd name="connsiteY6" fmla="*/ 366317 h 601562"/>
                  <a:gd name="connsiteX7" fmla="*/ 404887 w 1026416"/>
                  <a:gd name="connsiteY7" fmla="*/ 359226 h 601562"/>
                  <a:gd name="connsiteX8" fmla="*/ 446100 w 1026416"/>
                  <a:gd name="connsiteY8" fmla="*/ 361479 h 601562"/>
                  <a:gd name="connsiteX9" fmla="*/ 482390 w 1026416"/>
                  <a:gd name="connsiteY9" fmla="*/ 338455 h 601562"/>
                  <a:gd name="connsiteX10" fmla="*/ 528943 w 1026416"/>
                  <a:gd name="connsiteY10" fmla="*/ 311844 h 601562"/>
                  <a:gd name="connsiteX11" fmla="*/ 530278 w 1026416"/>
                  <a:gd name="connsiteY11" fmla="*/ 311844 h 601562"/>
                  <a:gd name="connsiteX12" fmla="*/ 602025 w 1026416"/>
                  <a:gd name="connsiteY12" fmla="*/ 376995 h 601562"/>
                  <a:gd name="connsiteX13" fmla="*/ 658755 w 1026416"/>
                  <a:gd name="connsiteY13" fmla="*/ 434555 h 601562"/>
                  <a:gd name="connsiteX14" fmla="*/ 869157 w 1026416"/>
                  <a:gd name="connsiteY14" fmla="*/ 529821 h 601562"/>
                  <a:gd name="connsiteX15" fmla="*/ 974609 w 1026416"/>
                  <a:gd name="connsiteY15" fmla="*/ 601563 h 601562"/>
                  <a:gd name="connsiteX16" fmla="*/ 975527 w 1026416"/>
                  <a:gd name="connsiteY16" fmla="*/ 590051 h 601562"/>
                  <a:gd name="connsiteX17" fmla="*/ 979030 w 1026416"/>
                  <a:gd name="connsiteY17" fmla="*/ 575453 h 601562"/>
                  <a:gd name="connsiteX18" fmla="*/ 975026 w 1026416"/>
                  <a:gd name="connsiteY18" fmla="*/ 552428 h 601562"/>
                  <a:gd name="connsiteX19" fmla="*/ 971022 w 1026416"/>
                  <a:gd name="connsiteY19" fmla="*/ 548007 h 601562"/>
                  <a:gd name="connsiteX20" fmla="*/ 962178 w 1026416"/>
                  <a:gd name="connsiteY20" fmla="*/ 501041 h 601562"/>
                  <a:gd name="connsiteX21" fmla="*/ 975026 w 1026416"/>
                  <a:gd name="connsiteY21" fmla="*/ 481521 h 601562"/>
                  <a:gd name="connsiteX22" fmla="*/ 989626 w 1026416"/>
                  <a:gd name="connsiteY22" fmla="*/ 460249 h 601562"/>
                  <a:gd name="connsiteX23" fmla="*/ 1026417 w 1026416"/>
                  <a:gd name="connsiteY23" fmla="*/ 415535 h 601562"/>
                  <a:gd name="connsiteX24" fmla="*/ 1013986 w 1026416"/>
                  <a:gd name="connsiteY24" fmla="*/ 403106 h 601562"/>
                  <a:gd name="connsiteX25" fmla="*/ 961678 w 1026416"/>
                  <a:gd name="connsiteY25" fmla="*/ 390259 h 601562"/>
                  <a:gd name="connsiteX26" fmla="*/ 951917 w 1026416"/>
                  <a:gd name="connsiteY26" fmla="*/ 396432 h 601562"/>
                  <a:gd name="connsiteX27" fmla="*/ 926638 w 1026416"/>
                  <a:gd name="connsiteY27" fmla="*/ 407026 h 601562"/>
                  <a:gd name="connsiteX28" fmla="*/ 926221 w 1026416"/>
                  <a:gd name="connsiteY28" fmla="*/ 407026 h 601562"/>
                  <a:gd name="connsiteX29" fmla="*/ 892100 w 1026416"/>
                  <a:gd name="connsiteY29" fmla="*/ 379998 h 601562"/>
                  <a:gd name="connsiteX30" fmla="*/ 879252 w 1026416"/>
                  <a:gd name="connsiteY30" fmla="*/ 353888 h 601562"/>
                  <a:gd name="connsiteX31" fmla="*/ 861065 w 1026416"/>
                  <a:gd name="connsiteY31" fmla="*/ 318434 h 601562"/>
                  <a:gd name="connsiteX32" fmla="*/ 856643 w 1026416"/>
                  <a:gd name="connsiteY32" fmla="*/ 311760 h 601562"/>
                  <a:gd name="connsiteX33" fmla="*/ 845548 w 1026416"/>
                  <a:gd name="connsiteY33" fmla="*/ 293157 h 601562"/>
                  <a:gd name="connsiteX34" fmla="*/ 842044 w 1026416"/>
                  <a:gd name="connsiteY34" fmla="*/ 282980 h 601562"/>
                  <a:gd name="connsiteX35" fmla="*/ 837205 w 1026416"/>
                  <a:gd name="connsiteY35" fmla="*/ 271468 h 601562"/>
                  <a:gd name="connsiteX36" fmla="*/ 822605 w 1026416"/>
                  <a:gd name="connsiteY36" fmla="*/ 253783 h 601562"/>
                  <a:gd name="connsiteX37" fmla="*/ 802249 w 1026416"/>
                  <a:gd name="connsiteY37" fmla="*/ 224586 h 601562"/>
                  <a:gd name="connsiteX38" fmla="*/ 799997 w 1026416"/>
                  <a:gd name="connsiteY38" fmla="*/ 205566 h 601562"/>
                  <a:gd name="connsiteX39" fmla="*/ 799579 w 1026416"/>
                  <a:gd name="connsiteY39" fmla="*/ 198892 h 601562"/>
                  <a:gd name="connsiteX40" fmla="*/ 795158 w 1026416"/>
                  <a:gd name="connsiteY40" fmla="*/ 178037 h 601562"/>
                  <a:gd name="connsiteX41" fmla="*/ 776136 w 1026416"/>
                  <a:gd name="connsiteY41" fmla="*/ 190884 h 601562"/>
                  <a:gd name="connsiteX42" fmla="*/ 746937 w 1026416"/>
                  <a:gd name="connsiteY42" fmla="*/ 231176 h 601562"/>
                  <a:gd name="connsiteX43" fmla="*/ 732754 w 1026416"/>
                  <a:gd name="connsiteY43" fmla="*/ 245357 h 601562"/>
                  <a:gd name="connsiteX44" fmla="*/ 743850 w 1026416"/>
                  <a:gd name="connsiteY44" fmla="*/ 219247 h 601562"/>
                  <a:gd name="connsiteX45" fmla="*/ 734089 w 1026416"/>
                  <a:gd name="connsiteY45" fmla="*/ 182041 h 601562"/>
                  <a:gd name="connsiteX46" fmla="*/ 708394 w 1026416"/>
                  <a:gd name="connsiteY46" fmla="*/ 190467 h 601562"/>
                  <a:gd name="connsiteX47" fmla="*/ 746520 w 1026416"/>
                  <a:gd name="connsiteY47" fmla="*/ 154596 h 601562"/>
                  <a:gd name="connsiteX48" fmla="*/ 727499 w 1026416"/>
                  <a:gd name="connsiteY48" fmla="*/ 128902 h 601562"/>
                  <a:gd name="connsiteX49" fmla="*/ 705390 w 1026416"/>
                  <a:gd name="connsiteY49" fmla="*/ 97453 h 601562"/>
                  <a:gd name="connsiteX50" fmla="*/ 642070 w 1026416"/>
                  <a:gd name="connsiteY50" fmla="*/ 98788 h 601562"/>
                  <a:gd name="connsiteX51" fmla="*/ 595517 w 1026416"/>
                  <a:gd name="connsiteY51" fmla="*/ 100539 h 601562"/>
                  <a:gd name="connsiteX52" fmla="*/ 545044 w 1026416"/>
                  <a:gd name="connsiteY52" fmla="*/ 86775 h 601562"/>
                  <a:gd name="connsiteX53" fmla="*/ 505583 w 1026416"/>
                  <a:gd name="connsiteY53" fmla="*/ 95618 h 601562"/>
                  <a:gd name="connsiteX54" fmla="*/ 456862 w 1026416"/>
                  <a:gd name="connsiteY54" fmla="*/ 104961 h 601562"/>
                  <a:gd name="connsiteX55" fmla="*/ 427162 w 1026416"/>
                  <a:gd name="connsiteY55" fmla="*/ 193136 h 601562"/>
                  <a:gd name="connsiteX56" fmla="*/ 412062 w 1026416"/>
                  <a:gd name="connsiteY56" fmla="*/ 229925 h 601562"/>
                  <a:gd name="connsiteX57" fmla="*/ 385949 w 1026416"/>
                  <a:gd name="connsiteY57" fmla="*/ 249445 h 601562"/>
                  <a:gd name="connsiteX58" fmla="*/ 361589 w 1026416"/>
                  <a:gd name="connsiteY58" fmla="*/ 218413 h 601562"/>
                  <a:gd name="connsiteX59" fmla="*/ 337228 w 1026416"/>
                  <a:gd name="connsiteY59" fmla="*/ 181207 h 601562"/>
                  <a:gd name="connsiteX60" fmla="*/ 323462 w 1026416"/>
                  <a:gd name="connsiteY60" fmla="*/ 139997 h 601562"/>
                  <a:gd name="connsiteX61" fmla="*/ 303106 w 1026416"/>
                  <a:gd name="connsiteY61" fmla="*/ 95701 h 601562"/>
                  <a:gd name="connsiteX62" fmla="*/ 296432 w 1026416"/>
                  <a:gd name="connsiteY62" fmla="*/ 17703 h 601562"/>
                  <a:gd name="connsiteX63" fmla="*/ 279163 w 1026416"/>
                  <a:gd name="connsiteY63" fmla="*/ 18 h 601562"/>
                  <a:gd name="connsiteX64" fmla="*/ 248629 w 1026416"/>
                  <a:gd name="connsiteY64" fmla="*/ 13282 h 601562"/>
                  <a:gd name="connsiteX65" fmla="*/ 224268 w 1026416"/>
                  <a:gd name="connsiteY65" fmla="*/ 7526 h 601562"/>
                  <a:gd name="connsiteX66" fmla="*/ 210085 w 1026416"/>
                  <a:gd name="connsiteY66" fmla="*/ 31884 h 601562"/>
                  <a:gd name="connsiteX67" fmla="*/ 200324 w 1026416"/>
                  <a:gd name="connsiteY67" fmla="*/ 98788 h 601562"/>
                  <a:gd name="connsiteX68" fmla="*/ 209668 w 1026416"/>
                  <a:gd name="connsiteY68" fmla="*/ 130237 h 601562"/>
                  <a:gd name="connsiteX69" fmla="*/ 234446 w 1026416"/>
                  <a:gd name="connsiteY69" fmla="*/ 150592 h 601562"/>
                  <a:gd name="connsiteX70" fmla="*/ 220263 w 1026416"/>
                  <a:gd name="connsiteY70" fmla="*/ 177620 h 601562"/>
                  <a:gd name="connsiteX71" fmla="*/ 198155 w 1026416"/>
                  <a:gd name="connsiteY71" fmla="*/ 212573 h 601562"/>
                  <a:gd name="connsiteX72" fmla="*/ 168956 w 1026416"/>
                  <a:gd name="connsiteY72" fmla="*/ 205900 h 601562"/>
                  <a:gd name="connsiteX73" fmla="*/ 149017 w 1026416"/>
                  <a:gd name="connsiteY73" fmla="*/ 204982 h 601562"/>
                  <a:gd name="connsiteX74" fmla="*/ 141509 w 1026416"/>
                  <a:gd name="connsiteY74" fmla="*/ 189049 h 601562"/>
                  <a:gd name="connsiteX75" fmla="*/ 127326 w 1026416"/>
                  <a:gd name="connsiteY75" fmla="*/ 157599 h 601562"/>
                  <a:gd name="connsiteX76" fmla="*/ 126909 w 1026416"/>
                  <a:gd name="connsiteY76" fmla="*/ 156682 h 601562"/>
                  <a:gd name="connsiteX77" fmla="*/ 111809 w 1026416"/>
                  <a:gd name="connsiteY77" fmla="*/ 166442 h 601562"/>
                  <a:gd name="connsiteX78" fmla="*/ 76853 w 1026416"/>
                  <a:gd name="connsiteY78" fmla="*/ 171280 h 601562"/>
                  <a:gd name="connsiteX79" fmla="*/ 65757 w 1026416"/>
                  <a:gd name="connsiteY79" fmla="*/ 166859 h 601562"/>
                  <a:gd name="connsiteX80" fmla="*/ 53827 w 1026416"/>
                  <a:gd name="connsiteY80" fmla="*/ 166442 h 601562"/>
                  <a:gd name="connsiteX81" fmla="*/ 49405 w 1026416"/>
                  <a:gd name="connsiteY81" fmla="*/ 184627 h 601562"/>
                  <a:gd name="connsiteX82" fmla="*/ 47153 w 1026416"/>
                  <a:gd name="connsiteY82" fmla="*/ 197474 h 601562"/>
                  <a:gd name="connsiteX83" fmla="*/ 30301 w 1026416"/>
                  <a:gd name="connsiteY83" fmla="*/ 232010 h 601562"/>
                  <a:gd name="connsiteX84" fmla="*/ 20540 w 1026416"/>
                  <a:gd name="connsiteY84" fmla="*/ 240436 h 601562"/>
                  <a:gd name="connsiteX85" fmla="*/ 12531 w 1026416"/>
                  <a:gd name="connsiteY85" fmla="*/ 247109 h 601562"/>
                  <a:gd name="connsiteX86" fmla="*/ 100 w 1026416"/>
                  <a:gd name="connsiteY86" fmla="*/ 285650 h 601562"/>
                  <a:gd name="connsiteX87" fmla="*/ 3604 w 1026416"/>
                  <a:gd name="connsiteY87" fmla="*/ 309591 h 601562"/>
                  <a:gd name="connsiteX88" fmla="*/ 13782 w 1026416"/>
                  <a:gd name="connsiteY88" fmla="*/ 319769 h 601562"/>
                  <a:gd name="connsiteX89" fmla="*/ 23960 w 1026416"/>
                  <a:gd name="connsiteY89" fmla="*/ 328194 h 601562"/>
                  <a:gd name="connsiteX90" fmla="*/ 32386 w 1026416"/>
                  <a:gd name="connsiteY90" fmla="*/ 348549 h 601562"/>
                  <a:gd name="connsiteX91" fmla="*/ 29299 w 1026416"/>
                  <a:gd name="connsiteY91" fmla="*/ 358309 h 601562"/>
                  <a:gd name="connsiteX92" fmla="*/ 105468 w 1026416"/>
                  <a:gd name="connsiteY92" fmla="*/ 422960 h 601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026416" h="601562" extrusionOk="0">
                    <a:moveTo>
                      <a:pt x="105468" y="422960"/>
                    </a:moveTo>
                    <a:cubicBezTo>
                      <a:pt x="115646" y="422960"/>
                      <a:pt x="124990" y="418121"/>
                      <a:pt x="133833" y="407443"/>
                    </a:cubicBezTo>
                    <a:lnTo>
                      <a:pt x="138255" y="401688"/>
                    </a:lnTo>
                    <a:lnTo>
                      <a:pt x="143094" y="407026"/>
                    </a:lnTo>
                    <a:cubicBezTo>
                      <a:pt x="156859" y="422960"/>
                      <a:pt x="174128" y="431385"/>
                      <a:pt x="194485" y="432720"/>
                    </a:cubicBezTo>
                    <a:cubicBezTo>
                      <a:pt x="252967" y="436724"/>
                      <a:pt x="318540" y="383085"/>
                      <a:pt x="337562" y="366734"/>
                    </a:cubicBezTo>
                    <a:lnTo>
                      <a:pt x="337979" y="366317"/>
                    </a:lnTo>
                    <a:cubicBezTo>
                      <a:pt x="358835" y="351218"/>
                      <a:pt x="382278" y="355222"/>
                      <a:pt x="404887" y="359226"/>
                    </a:cubicBezTo>
                    <a:cubicBezTo>
                      <a:pt x="419487" y="361896"/>
                      <a:pt x="433669" y="364065"/>
                      <a:pt x="446100" y="361479"/>
                    </a:cubicBezTo>
                    <a:cubicBezTo>
                      <a:pt x="459365" y="357058"/>
                      <a:pt x="470461" y="347715"/>
                      <a:pt x="482390" y="338455"/>
                    </a:cubicBezTo>
                    <a:cubicBezTo>
                      <a:pt x="496573" y="327360"/>
                      <a:pt x="511173" y="315848"/>
                      <a:pt x="528943" y="311844"/>
                    </a:cubicBezTo>
                    <a:lnTo>
                      <a:pt x="530278" y="311844"/>
                    </a:lnTo>
                    <a:cubicBezTo>
                      <a:pt x="572825" y="310926"/>
                      <a:pt x="588343" y="345963"/>
                      <a:pt x="602025" y="376995"/>
                    </a:cubicBezTo>
                    <a:cubicBezTo>
                      <a:pt x="614872" y="406192"/>
                      <a:pt x="626802" y="433721"/>
                      <a:pt x="658755" y="434555"/>
                    </a:cubicBezTo>
                    <a:cubicBezTo>
                      <a:pt x="744267" y="431469"/>
                      <a:pt x="807588" y="481521"/>
                      <a:pt x="869157" y="529821"/>
                    </a:cubicBezTo>
                    <a:cubicBezTo>
                      <a:pt x="902361" y="555932"/>
                      <a:pt x="936483" y="582960"/>
                      <a:pt x="974609" y="601563"/>
                    </a:cubicBezTo>
                    <a:cubicBezTo>
                      <a:pt x="974609" y="598060"/>
                      <a:pt x="974609" y="594055"/>
                      <a:pt x="975527" y="590051"/>
                    </a:cubicBezTo>
                    <a:cubicBezTo>
                      <a:pt x="976444" y="584295"/>
                      <a:pt x="977779" y="579874"/>
                      <a:pt x="979030" y="575453"/>
                    </a:cubicBezTo>
                    <a:cubicBezTo>
                      <a:pt x="982117" y="565275"/>
                      <a:pt x="983452" y="561271"/>
                      <a:pt x="975026" y="552428"/>
                    </a:cubicBezTo>
                    <a:lnTo>
                      <a:pt x="971022" y="548007"/>
                    </a:lnTo>
                    <a:cubicBezTo>
                      <a:pt x="959092" y="535577"/>
                      <a:pt x="947579" y="524065"/>
                      <a:pt x="962178" y="501041"/>
                    </a:cubicBezTo>
                    <a:cubicBezTo>
                      <a:pt x="966183" y="494368"/>
                      <a:pt x="970604" y="487777"/>
                      <a:pt x="975026" y="481521"/>
                    </a:cubicBezTo>
                    <a:cubicBezTo>
                      <a:pt x="979865" y="474430"/>
                      <a:pt x="985204" y="467339"/>
                      <a:pt x="989626" y="460249"/>
                    </a:cubicBezTo>
                    <a:cubicBezTo>
                      <a:pt x="998469" y="445650"/>
                      <a:pt x="1009565" y="427464"/>
                      <a:pt x="1026417" y="415535"/>
                    </a:cubicBezTo>
                    <a:cubicBezTo>
                      <a:pt x="1022412" y="411114"/>
                      <a:pt x="1018408" y="406693"/>
                      <a:pt x="1013986" y="403106"/>
                    </a:cubicBezTo>
                    <a:cubicBezTo>
                      <a:pt x="1000721" y="391594"/>
                      <a:pt x="979448" y="381416"/>
                      <a:pt x="961678" y="390259"/>
                    </a:cubicBezTo>
                    <a:cubicBezTo>
                      <a:pt x="958591" y="392011"/>
                      <a:pt x="955003" y="394263"/>
                      <a:pt x="951917" y="396432"/>
                    </a:cubicBezTo>
                    <a:cubicBezTo>
                      <a:pt x="944825" y="401270"/>
                      <a:pt x="936817" y="407026"/>
                      <a:pt x="926638" y="407026"/>
                    </a:cubicBezTo>
                    <a:cubicBezTo>
                      <a:pt x="926638" y="407026"/>
                      <a:pt x="926638" y="407026"/>
                      <a:pt x="926221" y="407026"/>
                    </a:cubicBezTo>
                    <a:cubicBezTo>
                      <a:pt x="913374" y="407026"/>
                      <a:pt x="901861" y="397683"/>
                      <a:pt x="892100" y="379998"/>
                    </a:cubicBezTo>
                    <a:cubicBezTo>
                      <a:pt x="887261" y="371573"/>
                      <a:pt x="883256" y="362730"/>
                      <a:pt x="879252" y="353888"/>
                    </a:cubicBezTo>
                    <a:cubicBezTo>
                      <a:pt x="873496" y="341458"/>
                      <a:pt x="868156" y="329529"/>
                      <a:pt x="861065" y="318434"/>
                    </a:cubicBezTo>
                    <a:cubicBezTo>
                      <a:pt x="859730" y="316182"/>
                      <a:pt x="857978" y="314012"/>
                      <a:pt x="856643" y="311760"/>
                    </a:cubicBezTo>
                    <a:cubicBezTo>
                      <a:pt x="852639" y="306004"/>
                      <a:pt x="848634" y="299831"/>
                      <a:pt x="845548" y="293157"/>
                    </a:cubicBezTo>
                    <a:cubicBezTo>
                      <a:pt x="844213" y="289654"/>
                      <a:pt x="843295" y="286067"/>
                      <a:pt x="842044" y="282980"/>
                    </a:cubicBezTo>
                    <a:cubicBezTo>
                      <a:pt x="840292" y="278976"/>
                      <a:pt x="839374" y="274972"/>
                      <a:pt x="837205" y="271468"/>
                    </a:cubicBezTo>
                    <a:cubicBezTo>
                      <a:pt x="833701" y="264794"/>
                      <a:pt x="828362" y="259539"/>
                      <a:pt x="822605" y="253783"/>
                    </a:cubicBezTo>
                    <a:cubicBezTo>
                      <a:pt x="814179" y="245774"/>
                      <a:pt x="805753" y="236932"/>
                      <a:pt x="802249" y="224586"/>
                    </a:cubicBezTo>
                    <a:cubicBezTo>
                      <a:pt x="799997" y="217912"/>
                      <a:pt x="799997" y="211739"/>
                      <a:pt x="799997" y="205566"/>
                    </a:cubicBezTo>
                    <a:cubicBezTo>
                      <a:pt x="799579" y="203314"/>
                      <a:pt x="799579" y="201145"/>
                      <a:pt x="799579" y="198892"/>
                    </a:cubicBezTo>
                    <a:cubicBezTo>
                      <a:pt x="799162" y="191801"/>
                      <a:pt x="797827" y="184711"/>
                      <a:pt x="795158" y="178037"/>
                    </a:cubicBezTo>
                    <a:cubicBezTo>
                      <a:pt x="788484" y="182041"/>
                      <a:pt x="782310" y="186046"/>
                      <a:pt x="776136" y="190884"/>
                    </a:cubicBezTo>
                    <a:cubicBezTo>
                      <a:pt x="761954" y="202396"/>
                      <a:pt x="756615" y="216577"/>
                      <a:pt x="746937" y="231176"/>
                    </a:cubicBezTo>
                    <a:cubicBezTo>
                      <a:pt x="745185" y="234263"/>
                      <a:pt x="735424" y="249779"/>
                      <a:pt x="732754" y="245357"/>
                    </a:cubicBezTo>
                    <a:cubicBezTo>
                      <a:pt x="726581" y="242688"/>
                      <a:pt x="742515" y="224085"/>
                      <a:pt x="743850" y="219247"/>
                    </a:cubicBezTo>
                    <a:cubicBezTo>
                      <a:pt x="746520" y="210404"/>
                      <a:pt x="746103" y="186463"/>
                      <a:pt x="734089" y="182041"/>
                    </a:cubicBezTo>
                    <a:cubicBezTo>
                      <a:pt x="730585" y="180706"/>
                      <a:pt x="708811" y="194471"/>
                      <a:pt x="708394" y="190467"/>
                    </a:cubicBezTo>
                    <a:cubicBezTo>
                      <a:pt x="707059" y="176285"/>
                      <a:pt x="749190" y="176702"/>
                      <a:pt x="746520" y="154596"/>
                    </a:cubicBezTo>
                    <a:cubicBezTo>
                      <a:pt x="745185" y="144836"/>
                      <a:pt x="734089" y="135576"/>
                      <a:pt x="727499" y="128902"/>
                    </a:cubicBezTo>
                    <a:cubicBezTo>
                      <a:pt x="717321" y="118725"/>
                      <a:pt x="710646" y="110717"/>
                      <a:pt x="705390" y="97453"/>
                    </a:cubicBezTo>
                    <a:cubicBezTo>
                      <a:pt x="690290" y="63334"/>
                      <a:pt x="665930" y="92615"/>
                      <a:pt x="642070" y="98788"/>
                    </a:cubicBezTo>
                    <a:cubicBezTo>
                      <a:pt x="626552" y="102792"/>
                      <a:pt x="611035" y="104961"/>
                      <a:pt x="595517" y="100539"/>
                    </a:cubicBezTo>
                    <a:cubicBezTo>
                      <a:pt x="578665" y="95701"/>
                      <a:pt x="563648" y="82854"/>
                      <a:pt x="545044" y="86775"/>
                    </a:cubicBezTo>
                    <a:cubicBezTo>
                      <a:pt x="530444" y="89445"/>
                      <a:pt x="521101" y="95618"/>
                      <a:pt x="505583" y="95618"/>
                    </a:cubicBezTo>
                    <a:cubicBezTo>
                      <a:pt x="488314" y="95200"/>
                      <a:pt x="472379" y="95200"/>
                      <a:pt x="456862" y="104961"/>
                    </a:cubicBezTo>
                    <a:cubicBezTo>
                      <a:pt x="431584" y="120477"/>
                      <a:pt x="432501" y="166942"/>
                      <a:pt x="427162" y="193136"/>
                    </a:cubicBezTo>
                    <a:cubicBezTo>
                      <a:pt x="424492" y="206400"/>
                      <a:pt x="415649" y="217078"/>
                      <a:pt x="412062" y="229925"/>
                    </a:cubicBezTo>
                    <a:cubicBezTo>
                      <a:pt x="408975" y="243689"/>
                      <a:pt x="404053" y="268048"/>
                      <a:pt x="385949" y="249445"/>
                    </a:cubicBezTo>
                    <a:cubicBezTo>
                      <a:pt x="375354" y="238851"/>
                      <a:pt x="375354" y="227339"/>
                      <a:pt x="361589" y="218413"/>
                    </a:cubicBezTo>
                    <a:cubicBezTo>
                      <a:pt x="347406" y="209069"/>
                      <a:pt x="341649" y="197558"/>
                      <a:pt x="337228" y="181207"/>
                    </a:cubicBezTo>
                    <a:cubicBezTo>
                      <a:pt x="333223" y="165274"/>
                      <a:pt x="334975" y="152844"/>
                      <a:pt x="323462" y="139997"/>
                    </a:cubicBezTo>
                    <a:cubicBezTo>
                      <a:pt x="310198" y="125399"/>
                      <a:pt x="307528" y="114304"/>
                      <a:pt x="303106" y="95701"/>
                    </a:cubicBezTo>
                    <a:cubicBezTo>
                      <a:pt x="296933" y="69590"/>
                      <a:pt x="306193" y="43897"/>
                      <a:pt x="296432" y="17703"/>
                    </a:cubicBezTo>
                    <a:cubicBezTo>
                      <a:pt x="293345" y="9694"/>
                      <a:pt x="289341" y="-483"/>
                      <a:pt x="279163" y="18"/>
                    </a:cubicBezTo>
                    <a:cubicBezTo>
                      <a:pt x="264563" y="435"/>
                      <a:pt x="265397" y="17703"/>
                      <a:pt x="248629" y="13282"/>
                    </a:cubicBezTo>
                    <a:cubicBezTo>
                      <a:pt x="239785" y="11029"/>
                      <a:pt x="234446" y="2687"/>
                      <a:pt x="224268" y="7526"/>
                    </a:cubicBezTo>
                    <a:cubicBezTo>
                      <a:pt x="215425" y="11530"/>
                      <a:pt x="212338" y="23459"/>
                      <a:pt x="210085" y="31884"/>
                    </a:cubicBezTo>
                    <a:cubicBezTo>
                      <a:pt x="204746" y="53157"/>
                      <a:pt x="202577" y="77098"/>
                      <a:pt x="200324" y="98788"/>
                    </a:cubicBezTo>
                    <a:cubicBezTo>
                      <a:pt x="198990" y="111217"/>
                      <a:pt x="199407" y="121812"/>
                      <a:pt x="209668" y="130237"/>
                    </a:cubicBezTo>
                    <a:cubicBezTo>
                      <a:pt x="216760" y="136410"/>
                      <a:pt x="233111" y="139080"/>
                      <a:pt x="234446" y="150592"/>
                    </a:cubicBezTo>
                    <a:cubicBezTo>
                      <a:pt x="235781" y="159017"/>
                      <a:pt x="223851" y="170112"/>
                      <a:pt x="220263" y="177620"/>
                    </a:cubicBezTo>
                    <a:cubicBezTo>
                      <a:pt x="215425" y="186963"/>
                      <a:pt x="209168" y="208152"/>
                      <a:pt x="198155" y="212573"/>
                    </a:cubicBezTo>
                    <a:cubicBezTo>
                      <a:pt x="187560" y="216577"/>
                      <a:pt x="179968" y="205900"/>
                      <a:pt x="168956" y="205900"/>
                    </a:cubicBezTo>
                    <a:cubicBezTo>
                      <a:pt x="160530" y="205900"/>
                      <a:pt x="157026" y="211656"/>
                      <a:pt x="149017" y="204982"/>
                    </a:cubicBezTo>
                    <a:cubicBezTo>
                      <a:pt x="144178" y="200978"/>
                      <a:pt x="142843" y="194388"/>
                      <a:pt x="141509" y="189049"/>
                    </a:cubicBezTo>
                    <a:cubicBezTo>
                      <a:pt x="137504" y="176202"/>
                      <a:pt x="135335" y="168193"/>
                      <a:pt x="127326" y="157599"/>
                    </a:cubicBezTo>
                    <a:cubicBezTo>
                      <a:pt x="127326" y="157182"/>
                      <a:pt x="127326" y="157182"/>
                      <a:pt x="126909" y="156682"/>
                    </a:cubicBezTo>
                    <a:cubicBezTo>
                      <a:pt x="122487" y="159768"/>
                      <a:pt x="117565" y="163355"/>
                      <a:pt x="111809" y="166442"/>
                    </a:cubicBezTo>
                    <a:cubicBezTo>
                      <a:pt x="100296" y="173115"/>
                      <a:pt x="89200" y="174450"/>
                      <a:pt x="76853" y="171280"/>
                    </a:cubicBezTo>
                    <a:cubicBezTo>
                      <a:pt x="72848" y="170362"/>
                      <a:pt x="68844" y="168611"/>
                      <a:pt x="65757" y="166859"/>
                    </a:cubicBezTo>
                    <a:cubicBezTo>
                      <a:pt x="56914" y="162855"/>
                      <a:pt x="56413" y="163355"/>
                      <a:pt x="53827" y="166442"/>
                    </a:cubicBezTo>
                    <a:cubicBezTo>
                      <a:pt x="51574" y="169528"/>
                      <a:pt x="50323" y="177954"/>
                      <a:pt x="49405" y="184627"/>
                    </a:cubicBezTo>
                    <a:cubicBezTo>
                      <a:pt x="48988" y="189466"/>
                      <a:pt x="48070" y="193970"/>
                      <a:pt x="47153" y="197474"/>
                    </a:cubicBezTo>
                    <a:cubicBezTo>
                      <a:pt x="44483" y="205483"/>
                      <a:pt x="39144" y="220915"/>
                      <a:pt x="30301" y="232010"/>
                    </a:cubicBezTo>
                    <a:cubicBezTo>
                      <a:pt x="27214" y="235514"/>
                      <a:pt x="23626" y="237766"/>
                      <a:pt x="20540" y="240436"/>
                    </a:cubicBezTo>
                    <a:cubicBezTo>
                      <a:pt x="17453" y="242188"/>
                      <a:pt x="14783" y="244440"/>
                      <a:pt x="12531" y="247109"/>
                    </a:cubicBezTo>
                    <a:cubicBezTo>
                      <a:pt x="5856" y="256452"/>
                      <a:pt x="1018" y="271051"/>
                      <a:pt x="100" y="285650"/>
                    </a:cubicBezTo>
                    <a:cubicBezTo>
                      <a:pt x="-317" y="295827"/>
                      <a:pt x="517" y="303335"/>
                      <a:pt x="3604" y="309591"/>
                    </a:cubicBezTo>
                    <a:cubicBezTo>
                      <a:pt x="5856" y="314430"/>
                      <a:pt x="9360" y="316682"/>
                      <a:pt x="13782" y="319769"/>
                    </a:cubicBezTo>
                    <a:cubicBezTo>
                      <a:pt x="16869" y="322021"/>
                      <a:pt x="20456" y="324607"/>
                      <a:pt x="23960" y="328194"/>
                    </a:cubicBezTo>
                    <a:cubicBezTo>
                      <a:pt x="30134" y="334367"/>
                      <a:pt x="33304" y="341458"/>
                      <a:pt x="32386" y="348549"/>
                    </a:cubicBezTo>
                    <a:cubicBezTo>
                      <a:pt x="31969" y="352052"/>
                      <a:pt x="31051" y="355222"/>
                      <a:pt x="29299" y="358309"/>
                    </a:cubicBezTo>
                    <a:cubicBezTo>
                      <a:pt x="46986" y="383085"/>
                      <a:pt x="77103" y="422459"/>
                      <a:pt x="105468" y="422960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2034920753" name="Полилиния 511"/>
              <p:cNvSpPr/>
              <p:nvPr/>
            </p:nvSpPr>
            <p:spPr bwMode="auto">
              <a:xfrm>
                <a:off x="4405333" y="3424676"/>
                <a:ext cx="300069" cy="287060"/>
              </a:xfrm>
              <a:custGeom>
                <a:avLst/>
                <a:gdLst>
                  <a:gd name="connsiteX0" fmla="*/ 331504 w 336988"/>
                  <a:gd name="connsiteY0" fmla="*/ 92723 h 322379"/>
                  <a:gd name="connsiteX1" fmla="*/ 323078 w 336988"/>
                  <a:gd name="connsiteY1" fmla="*/ 89219 h 322379"/>
                  <a:gd name="connsiteX2" fmla="*/ 305392 w 336988"/>
                  <a:gd name="connsiteY2" fmla="*/ 78124 h 322379"/>
                  <a:gd name="connsiteX3" fmla="*/ 314235 w 336988"/>
                  <a:gd name="connsiteY3" fmla="*/ 33411 h 322379"/>
                  <a:gd name="connsiteX4" fmla="*/ 315570 w 336988"/>
                  <a:gd name="connsiteY4" fmla="*/ 31659 h 322379"/>
                  <a:gd name="connsiteX5" fmla="*/ 328000 w 336988"/>
                  <a:gd name="connsiteY5" fmla="*/ 13974 h 322379"/>
                  <a:gd name="connsiteX6" fmla="*/ 333757 w 336988"/>
                  <a:gd name="connsiteY6" fmla="*/ 5965 h 322379"/>
                  <a:gd name="connsiteX7" fmla="*/ 332005 w 336988"/>
                  <a:gd name="connsiteY7" fmla="*/ 5548 h 322379"/>
                  <a:gd name="connsiteX8" fmla="*/ 281949 w 336988"/>
                  <a:gd name="connsiteY8" fmla="*/ 6883 h 322379"/>
                  <a:gd name="connsiteX9" fmla="*/ 272188 w 336988"/>
                  <a:gd name="connsiteY9" fmla="*/ 16643 h 322379"/>
                  <a:gd name="connsiteX10" fmla="*/ 248244 w 336988"/>
                  <a:gd name="connsiteY10" fmla="*/ 33911 h 322379"/>
                  <a:gd name="connsiteX11" fmla="*/ 222966 w 336988"/>
                  <a:gd name="connsiteY11" fmla="*/ 54266 h 322379"/>
                  <a:gd name="connsiteX12" fmla="*/ 175997 w 336988"/>
                  <a:gd name="connsiteY12" fmla="*/ 76873 h 322379"/>
                  <a:gd name="connsiteX13" fmla="*/ 144127 w 336988"/>
                  <a:gd name="connsiteY13" fmla="*/ 83546 h 322379"/>
                  <a:gd name="connsiteX14" fmla="*/ 130362 w 336988"/>
                  <a:gd name="connsiteY14" fmla="*/ 98145 h 322379"/>
                  <a:gd name="connsiteX15" fmla="*/ 114010 w 336988"/>
                  <a:gd name="connsiteY15" fmla="*/ 115830 h 322379"/>
                  <a:gd name="connsiteX16" fmla="*/ 76802 w 336988"/>
                  <a:gd name="connsiteY16" fmla="*/ 124255 h 322379"/>
                  <a:gd name="connsiteX17" fmla="*/ 64872 w 336988"/>
                  <a:gd name="connsiteY17" fmla="*/ 125173 h 322379"/>
                  <a:gd name="connsiteX18" fmla="*/ 41846 w 336988"/>
                  <a:gd name="connsiteY18" fmla="*/ 133182 h 322379"/>
                  <a:gd name="connsiteX19" fmla="*/ 28581 w 336988"/>
                  <a:gd name="connsiteY19" fmla="*/ 139355 h 322379"/>
                  <a:gd name="connsiteX20" fmla="*/ 16151 w 336988"/>
                  <a:gd name="connsiteY20" fmla="*/ 141607 h 322379"/>
                  <a:gd name="connsiteX21" fmla="*/ 19238 w 336988"/>
                  <a:gd name="connsiteY21" fmla="*/ 146445 h 322379"/>
                  <a:gd name="connsiteX22" fmla="*/ 23242 w 336988"/>
                  <a:gd name="connsiteY22" fmla="*/ 152201 h 322379"/>
                  <a:gd name="connsiteX23" fmla="*/ 14399 w 336988"/>
                  <a:gd name="connsiteY23" fmla="*/ 168135 h 322379"/>
                  <a:gd name="connsiteX24" fmla="*/ 2886 w 336988"/>
                  <a:gd name="connsiteY24" fmla="*/ 207593 h 322379"/>
                  <a:gd name="connsiteX25" fmla="*/ 6890 w 336988"/>
                  <a:gd name="connsiteY25" fmla="*/ 214266 h 322379"/>
                  <a:gd name="connsiteX26" fmla="*/ 13564 w 336988"/>
                  <a:gd name="connsiteY26" fmla="*/ 228865 h 322379"/>
                  <a:gd name="connsiteX27" fmla="*/ 12229 w 336988"/>
                  <a:gd name="connsiteY27" fmla="*/ 251472 h 322379"/>
                  <a:gd name="connsiteX28" fmla="*/ 15734 w 336988"/>
                  <a:gd name="connsiteY28" fmla="*/ 293099 h 322379"/>
                  <a:gd name="connsiteX29" fmla="*/ 19238 w 336988"/>
                  <a:gd name="connsiteY29" fmla="*/ 297103 h 322379"/>
                  <a:gd name="connsiteX30" fmla="*/ 28998 w 336988"/>
                  <a:gd name="connsiteY30" fmla="*/ 315706 h 322379"/>
                  <a:gd name="connsiteX31" fmla="*/ 28081 w 336988"/>
                  <a:gd name="connsiteY31" fmla="*/ 321044 h 322379"/>
                  <a:gd name="connsiteX32" fmla="*/ 27663 w 336988"/>
                  <a:gd name="connsiteY32" fmla="*/ 322379 h 322379"/>
                  <a:gd name="connsiteX33" fmla="*/ 45350 w 336988"/>
                  <a:gd name="connsiteY33" fmla="*/ 302859 h 322379"/>
                  <a:gd name="connsiteX34" fmla="*/ 71963 w 336988"/>
                  <a:gd name="connsiteY34" fmla="*/ 275831 h 322379"/>
                  <a:gd name="connsiteX35" fmla="*/ 170740 w 336988"/>
                  <a:gd name="connsiteY35" fmla="*/ 239543 h 322379"/>
                  <a:gd name="connsiteX36" fmla="*/ 179584 w 336988"/>
                  <a:gd name="connsiteY36" fmla="*/ 238208 h 322379"/>
                  <a:gd name="connsiteX37" fmla="*/ 219462 w 336988"/>
                  <a:gd name="connsiteY37" fmla="*/ 227113 h 322379"/>
                  <a:gd name="connsiteX38" fmla="*/ 232310 w 336988"/>
                  <a:gd name="connsiteY38" fmla="*/ 213349 h 322379"/>
                  <a:gd name="connsiteX39" fmla="*/ 246492 w 336988"/>
                  <a:gd name="connsiteY39" fmla="*/ 197833 h 322379"/>
                  <a:gd name="connsiteX40" fmla="*/ 278361 w 336988"/>
                  <a:gd name="connsiteY40" fmla="*/ 182316 h 322379"/>
                  <a:gd name="connsiteX41" fmla="*/ 319157 w 336988"/>
                  <a:gd name="connsiteY41" fmla="*/ 154370 h 322379"/>
                  <a:gd name="connsiteX42" fmla="*/ 320075 w 336988"/>
                  <a:gd name="connsiteY42" fmla="*/ 148614 h 322379"/>
                  <a:gd name="connsiteX43" fmla="*/ 325414 w 336988"/>
                  <a:gd name="connsiteY43" fmla="*/ 133515 h 322379"/>
                  <a:gd name="connsiteX44" fmla="*/ 329418 w 336988"/>
                  <a:gd name="connsiteY44" fmla="*/ 128677 h 322379"/>
                  <a:gd name="connsiteX45" fmla="*/ 333840 w 336988"/>
                  <a:gd name="connsiteY45" fmla="*/ 122504 h 322379"/>
                  <a:gd name="connsiteX46" fmla="*/ 331504 w 336988"/>
                  <a:gd name="connsiteY46" fmla="*/ 92723 h 322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36988" h="322379" extrusionOk="0">
                    <a:moveTo>
                      <a:pt x="331504" y="92723"/>
                    </a:moveTo>
                    <a:cubicBezTo>
                      <a:pt x="329752" y="91388"/>
                      <a:pt x="326666" y="90053"/>
                      <a:pt x="323078" y="89219"/>
                    </a:cubicBezTo>
                    <a:cubicBezTo>
                      <a:pt x="317322" y="87884"/>
                      <a:pt x="310230" y="85715"/>
                      <a:pt x="305392" y="78124"/>
                    </a:cubicBezTo>
                    <a:cubicBezTo>
                      <a:pt x="295631" y="62608"/>
                      <a:pt x="307143" y="44005"/>
                      <a:pt x="314235" y="33411"/>
                    </a:cubicBezTo>
                    <a:lnTo>
                      <a:pt x="315570" y="31659"/>
                    </a:lnTo>
                    <a:cubicBezTo>
                      <a:pt x="319574" y="25486"/>
                      <a:pt x="323996" y="19229"/>
                      <a:pt x="328000" y="13974"/>
                    </a:cubicBezTo>
                    <a:cubicBezTo>
                      <a:pt x="330253" y="11304"/>
                      <a:pt x="332005" y="8635"/>
                      <a:pt x="333757" y="5965"/>
                    </a:cubicBezTo>
                    <a:cubicBezTo>
                      <a:pt x="333340" y="5965"/>
                      <a:pt x="332422" y="5965"/>
                      <a:pt x="332005" y="5548"/>
                    </a:cubicBezTo>
                    <a:cubicBezTo>
                      <a:pt x="312983" y="209"/>
                      <a:pt x="296131" y="-4212"/>
                      <a:pt x="281949" y="6883"/>
                    </a:cubicBezTo>
                    <a:cubicBezTo>
                      <a:pt x="277944" y="9969"/>
                      <a:pt x="274857" y="13557"/>
                      <a:pt x="272188" y="16643"/>
                    </a:cubicBezTo>
                    <a:cubicBezTo>
                      <a:pt x="266431" y="23317"/>
                      <a:pt x="260675" y="30407"/>
                      <a:pt x="248244" y="33911"/>
                    </a:cubicBezTo>
                    <a:cubicBezTo>
                      <a:pt x="230975" y="39250"/>
                      <a:pt x="228722" y="39667"/>
                      <a:pt x="222966" y="54266"/>
                    </a:cubicBezTo>
                    <a:cubicBezTo>
                      <a:pt x="214540" y="74620"/>
                      <a:pt x="194183" y="75955"/>
                      <a:pt x="175997" y="76873"/>
                    </a:cubicBezTo>
                    <a:cubicBezTo>
                      <a:pt x="164483" y="77290"/>
                      <a:pt x="152971" y="78208"/>
                      <a:pt x="144127" y="83546"/>
                    </a:cubicBezTo>
                    <a:cubicBezTo>
                      <a:pt x="138788" y="87050"/>
                      <a:pt x="134784" y="92389"/>
                      <a:pt x="130362" y="98145"/>
                    </a:cubicBezTo>
                    <a:cubicBezTo>
                      <a:pt x="125940" y="104318"/>
                      <a:pt x="121018" y="110992"/>
                      <a:pt x="114010" y="115830"/>
                    </a:cubicBezTo>
                    <a:cubicBezTo>
                      <a:pt x="102497" y="123338"/>
                      <a:pt x="88732" y="123838"/>
                      <a:pt x="76802" y="124255"/>
                    </a:cubicBezTo>
                    <a:cubicBezTo>
                      <a:pt x="72797" y="124673"/>
                      <a:pt x="68793" y="124673"/>
                      <a:pt x="64872" y="125173"/>
                    </a:cubicBezTo>
                    <a:cubicBezTo>
                      <a:pt x="56029" y="126508"/>
                      <a:pt x="49354" y="129594"/>
                      <a:pt x="41846" y="133182"/>
                    </a:cubicBezTo>
                    <a:cubicBezTo>
                      <a:pt x="37425" y="135434"/>
                      <a:pt x="33420" y="137603"/>
                      <a:pt x="28581" y="139355"/>
                    </a:cubicBezTo>
                    <a:cubicBezTo>
                      <a:pt x="24160" y="141107"/>
                      <a:pt x="20155" y="141607"/>
                      <a:pt x="16151" y="141607"/>
                    </a:cubicBezTo>
                    <a:cubicBezTo>
                      <a:pt x="17068" y="143359"/>
                      <a:pt x="17903" y="145111"/>
                      <a:pt x="19238" y="146445"/>
                    </a:cubicBezTo>
                    <a:cubicBezTo>
                      <a:pt x="20572" y="147780"/>
                      <a:pt x="22324" y="149532"/>
                      <a:pt x="23242" y="152201"/>
                    </a:cubicBezTo>
                    <a:cubicBezTo>
                      <a:pt x="25912" y="160627"/>
                      <a:pt x="17486" y="166383"/>
                      <a:pt x="14399" y="168135"/>
                    </a:cubicBezTo>
                    <a:cubicBezTo>
                      <a:pt x="1551" y="176143"/>
                      <a:pt x="-3788" y="194245"/>
                      <a:pt x="2886" y="207593"/>
                    </a:cubicBezTo>
                    <a:cubicBezTo>
                      <a:pt x="3804" y="209845"/>
                      <a:pt x="5138" y="212014"/>
                      <a:pt x="6890" y="214266"/>
                    </a:cubicBezTo>
                    <a:cubicBezTo>
                      <a:pt x="9560" y="218688"/>
                      <a:pt x="12229" y="223109"/>
                      <a:pt x="13564" y="228865"/>
                    </a:cubicBezTo>
                    <a:cubicBezTo>
                      <a:pt x="15316" y="236873"/>
                      <a:pt x="13564" y="244381"/>
                      <a:pt x="12229" y="251472"/>
                    </a:cubicBezTo>
                    <a:cubicBezTo>
                      <a:pt x="9143" y="266571"/>
                      <a:pt x="6890" y="282921"/>
                      <a:pt x="15734" y="293099"/>
                    </a:cubicBezTo>
                    <a:cubicBezTo>
                      <a:pt x="16651" y="294433"/>
                      <a:pt x="17986" y="295768"/>
                      <a:pt x="19238" y="297103"/>
                    </a:cubicBezTo>
                    <a:cubicBezTo>
                      <a:pt x="23659" y="301524"/>
                      <a:pt x="29415" y="307280"/>
                      <a:pt x="28998" y="315706"/>
                    </a:cubicBezTo>
                    <a:cubicBezTo>
                      <a:pt x="28998" y="317958"/>
                      <a:pt x="28581" y="319710"/>
                      <a:pt x="28081" y="321044"/>
                    </a:cubicBezTo>
                    <a:cubicBezTo>
                      <a:pt x="28081" y="321462"/>
                      <a:pt x="28081" y="321962"/>
                      <a:pt x="27663" y="322379"/>
                    </a:cubicBezTo>
                    <a:cubicBezTo>
                      <a:pt x="34338" y="317541"/>
                      <a:pt x="39594" y="310450"/>
                      <a:pt x="45350" y="302859"/>
                    </a:cubicBezTo>
                    <a:cubicBezTo>
                      <a:pt x="52441" y="293099"/>
                      <a:pt x="60868" y="282921"/>
                      <a:pt x="71963" y="275831"/>
                    </a:cubicBezTo>
                    <a:cubicBezTo>
                      <a:pt x="99411" y="258563"/>
                      <a:pt x="136202" y="244798"/>
                      <a:pt x="170740" y="239543"/>
                    </a:cubicBezTo>
                    <a:lnTo>
                      <a:pt x="179584" y="238208"/>
                    </a:lnTo>
                    <a:cubicBezTo>
                      <a:pt x="194183" y="236456"/>
                      <a:pt x="208783" y="234204"/>
                      <a:pt x="219462" y="227113"/>
                    </a:cubicBezTo>
                    <a:cubicBezTo>
                      <a:pt x="224301" y="223609"/>
                      <a:pt x="228305" y="218688"/>
                      <a:pt x="232310" y="213349"/>
                    </a:cubicBezTo>
                    <a:cubicBezTo>
                      <a:pt x="236314" y="208010"/>
                      <a:pt x="240736" y="202254"/>
                      <a:pt x="246492" y="197833"/>
                    </a:cubicBezTo>
                    <a:cubicBezTo>
                      <a:pt x="254918" y="191159"/>
                      <a:pt x="266014" y="186737"/>
                      <a:pt x="278361" y="182316"/>
                    </a:cubicBezTo>
                    <a:cubicBezTo>
                      <a:pt x="296548" y="175226"/>
                      <a:pt x="315987" y="168135"/>
                      <a:pt x="319157" y="154370"/>
                    </a:cubicBezTo>
                    <a:cubicBezTo>
                      <a:pt x="319574" y="151701"/>
                      <a:pt x="320075" y="149949"/>
                      <a:pt x="320075" y="148614"/>
                    </a:cubicBezTo>
                    <a:cubicBezTo>
                      <a:pt x="320075" y="143776"/>
                      <a:pt x="320492" y="140189"/>
                      <a:pt x="325414" y="133515"/>
                    </a:cubicBezTo>
                    <a:cubicBezTo>
                      <a:pt x="326749" y="131763"/>
                      <a:pt x="328084" y="130011"/>
                      <a:pt x="329418" y="128677"/>
                    </a:cubicBezTo>
                    <a:cubicBezTo>
                      <a:pt x="331171" y="126425"/>
                      <a:pt x="332923" y="125173"/>
                      <a:pt x="333840" y="122504"/>
                    </a:cubicBezTo>
                    <a:cubicBezTo>
                      <a:pt x="338178" y="113077"/>
                      <a:pt x="338595" y="98896"/>
                      <a:pt x="331504" y="92723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453956088" name="Полилиния 512"/>
              <p:cNvSpPr/>
              <p:nvPr/>
            </p:nvSpPr>
            <p:spPr bwMode="auto">
              <a:xfrm>
                <a:off x="5474553" y="2162725"/>
                <a:ext cx="1660286" cy="2606370"/>
              </a:xfrm>
              <a:custGeom>
                <a:avLst/>
                <a:gdLst>
                  <a:gd name="connsiteX0" fmla="*/ 1864465 w 1864556"/>
                  <a:gd name="connsiteY0" fmla="*/ 1025344 h 2927039"/>
                  <a:gd name="connsiteX1" fmla="*/ 1841440 w 1864556"/>
                  <a:gd name="connsiteY1" fmla="*/ 1004072 h 2927039"/>
                  <a:gd name="connsiteX2" fmla="*/ 1807735 w 1864556"/>
                  <a:gd name="connsiteY2" fmla="*/ 973040 h 2927039"/>
                  <a:gd name="connsiteX3" fmla="*/ 1798892 w 1864556"/>
                  <a:gd name="connsiteY3" fmla="*/ 935834 h 2927039"/>
                  <a:gd name="connsiteX4" fmla="*/ 1791801 w 1864556"/>
                  <a:gd name="connsiteY4" fmla="*/ 903050 h 2927039"/>
                  <a:gd name="connsiteX5" fmla="*/ 1758096 w 1864556"/>
                  <a:gd name="connsiteY5" fmla="*/ 871600 h 2927039"/>
                  <a:gd name="connsiteX6" fmla="*/ 1743496 w 1864556"/>
                  <a:gd name="connsiteY6" fmla="*/ 863175 h 2927039"/>
                  <a:gd name="connsiteX7" fmla="*/ 1721388 w 1864556"/>
                  <a:gd name="connsiteY7" fmla="*/ 836147 h 2927039"/>
                  <a:gd name="connsiteX8" fmla="*/ 1708541 w 1864556"/>
                  <a:gd name="connsiteY8" fmla="*/ 817544 h 2927039"/>
                  <a:gd name="connsiteX9" fmla="*/ 1705037 w 1864556"/>
                  <a:gd name="connsiteY9" fmla="*/ 814457 h 2927039"/>
                  <a:gd name="connsiteX10" fmla="*/ 1678423 w 1864556"/>
                  <a:gd name="connsiteY10" fmla="*/ 771079 h 2927039"/>
                  <a:gd name="connsiteX11" fmla="*/ 1677089 w 1864556"/>
                  <a:gd name="connsiteY11" fmla="*/ 753393 h 2927039"/>
                  <a:gd name="connsiteX12" fmla="*/ 1667328 w 1864556"/>
                  <a:gd name="connsiteY12" fmla="*/ 724196 h 2927039"/>
                  <a:gd name="connsiteX13" fmla="*/ 1648307 w 1864556"/>
                  <a:gd name="connsiteY13" fmla="*/ 663049 h 2927039"/>
                  <a:gd name="connsiteX14" fmla="*/ 1652728 w 1864556"/>
                  <a:gd name="connsiteY14" fmla="*/ 654207 h 2927039"/>
                  <a:gd name="connsiteX15" fmla="*/ 1657150 w 1864556"/>
                  <a:gd name="connsiteY15" fmla="*/ 640025 h 2927039"/>
                  <a:gd name="connsiteX16" fmla="*/ 1654063 w 1864556"/>
                  <a:gd name="connsiteY16" fmla="*/ 632934 h 2927039"/>
                  <a:gd name="connsiteX17" fmla="*/ 1649224 w 1864556"/>
                  <a:gd name="connsiteY17" fmla="*/ 615666 h 2927039"/>
                  <a:gd name="connsiteX18" fmla="*/ 1661655 w 1864556"/>
                  <a:gd name="connsiteY18" fmla="*/ 587720 h 2927039"/>
                  <a:gd name="connsiteX19" fmla="*/ 1654564 w 1864556"/>
                  <a:gd name="connsiteY19" fmla="*/ 579295 h 2927039"/>
                  <a:gd name="connsiteX20" fmla="*/ 1661655 w 1864556"/>
                  <a:gd name="connsiteY20" fmla="*/ 556271 h 2927039"/>
                  <a:gd name="connsiteX21" fmla="*/ 1645303 w 1864556"/>
                  <a:gd name="connsiteY21" fmla="*/ 559775 h 2927039"/>
                  <a:gd name="connsiteX22" fmla="*/ 1612516 w 1864556"/>
                  <a:gd name="connsiteY22" fmla="*/ 569952 h 2927039"/>
                  <a:gd name="connsiteX23" fmla="*/ 1573973 w 1864556"/>
                  <a:gd name="connsiteY23" fmla="*/ 622674 h 2927039"/>
                  <a:gd name="connsiteX24" fmla="*/ 1632456 w 1864556"/>
                  <a:gd name="connsiteY24" fmla="*/ 612496 h 2927039"/>
                  <a:gd name="connsiteX25" fmla="*/ 1627617 w 1864556"/>
                  <a:gd name="connsiteY25" fmla="*/ 633769 h 2927039"/>
                  <a:gd name="connsiteX26" fmla="*/ 1601504 w 1864556"/>
                  <a:gd name="connsiteY26" fmla="*/ 672309 h 2927039"/>
                  <a:gd name="connsiteX27" fmla="*/ 1581982 w 1864556"/>
                  <a:gd name="connsiteY27" fmla="*/ 680317 h 2927039"/>
                  <a:gd name="connsiteX28" fmla="*/ 1570470 w 1864556"/>
                  <a:gd name="connsiteY28" fmla="*/ 698920 h 2927039"/>
                  <a:gd name="connsiteX29" fmla="*/ 1549196 w 1864556"/>
                  <a:gd name="connsiteY29" fmla="*/ 714019 h 2927039"/>
                  <a:gd name="connsiteX30" fmla="*/ 1529256 w 1864556"/>
                  <a:gd name="connsiteY30" fmla="*/ 735708 h 2927039"/>
                  <a:gd name="connsiteX31" fmla="*/ 1471692 w 1864556"/>
                  <a:gd name="connsiteY31" fmla="*/ 763154 h 2927039"/>
                  <a:gd name="connsiteX32" fmla="*/ 1436235 w 1864556"/>
                  <a:gd name="connsiteY32" fmla="*/ 778253 h 2927039"/>
                  <a:gd name="connsiteX33" fmla="*/ 1438488 w 1864556"/>
                  <a:gd name="connsiteY33" fmla="*/ 811454 h 2927039"/>
                  <a:gd name="connsiteX34" fmla="*/ 1422971 w 1864556"/>
                  <a:gd name="connsiteY34" fmla="*/ 833561 h 2927039"/>
                  <a:gd name="connsiteX35" fmla="*/ 1418549 w 1864556"/>
                  <a:gd name="connsiteY35" fmla="*/ 836647 h 2927039"/>
                  <a:gd name="connsiteX36" fmla="*/ 1410540 w 1864556"/>
                  <a:gd name="connsiteY36" fmla="*/ 840151 h 2927039"/>
                  <a:gd name="connsiteX37" fmla="*/ 1409622 w 1864556"/>
                  <a:gd name="connsiteY37" fmla="*/ 839233 h 2927039"/>
                  <a:gd name="connsiteX38" fmla="*/ 1408705 w 1864556"/>
                  <a:gd name="connsiteY38" fmla="*/ 836981 h 2927039"/>
                  <a:gd name="connsiteX39" fmla="*/ 1409622 w 1864556"/>
                  <a:gd name="connsiteY39" fmla="*/ 835229 h 2927039"/>
                  <a:gd name="connsiteX40" fmla="*/ 1411875 w 1864556"/>
                  <a:gd name="connsiteY40" fmla="*/ 831725 h 2927039"/>
                  <a:gd name="connsiteX41" fmla="*/ 1417214 w 1864556"/>
                  <a:gd name="connsiteY41" fmla="*/ 824635 h 2927039"/>
                  <a:gd name="connsiteX42" fmla="*/ 1426057 w 1864556"/>
                  <a:gd name="connsiteY42" fmla="*/ 809118 h 2927039"/>
                  <a:gd name="connsiteX43" fmla="*/ 1430479 w 1864556"/>
                  <a:gd name="connsiteY43" fmla="*/ 759984 h 2927039"/>
                  <a:gd name="connsiteX44" fmla="*/ 1443327 w 1864556"/>
                  <a:gd name="connsiteY44" fmla="*/ 741381 h 2927039"/>
                  <a:gd name="connsiteX45" fmla="*/ 1461013 w 1864556"/>
                  <a:gd name="connsiteY45" fmla="*/ 728117 h 2927039"/>
                  <a:gd name="connsiteX46" fmla="*/ 1478700 w 1864556"/>
                  <a:gd name="connsiteY46" fmla="*/ 679817 h 2927039"/>
                  <a:gd name="connsiteX47" fmla="*/ 1521665 w 1864556"/>
                  <a:gd name="connsiteY47" fmla="*/ 644363 h 2927039"/>
                  <a:gd name="connsiteX48" fmla="*/ 1541603 w 1864556"/>
                  <a:gd name="connsiteY48" fmla="*/ 588972 h 2927039"/>
                  <a:gd name="connsiteX49" fmla="*/ 1571304 w 1864556"/>
                  <a:gd name="connsiteY49" fmla="*/ 557939 h 2927039"/>
                  <a:gd name="connsiteX50" fmla="*/ 1566464 w 1864556"/>
                  <a:gd name="connsiteY50" fmla="*/ 523820 h 2927039"/>
                  <a:gd name="connsiteX51" fmla="*/ 1596582 w 1864556"/>
                  <a:gd name="connsiteY51" fmla="*/ 482194 h 2927039"/>
                  <a:gd name="connsiteX52" fmla="*/ 1603673 w 1864556"/>
                  <a:gd name="connsiteY52" fmla="*/ 464008 h 2927039"/>
                  <a:gd name="connsiteX53" fmla="*/ 1623195 w 1864556"/>
                  <a:gd name="connsiteY53" fmla="*/ 445822 h 2927039"/>
                  <a:gd name="connsiteX54" fmla="*/ 1642717 w 1864556"/>
                  <a:gd name="connsiteY54" fmla="*/ 402861 h 2927039"/>
                  <a:gd name="connsiteX55" fmla="*/ 1654647 w 1864556"/>
                  <a:gd name="connsiteY55" fmla="*/ 385593 h 2927039"/>
                  <a:gd name="connsiteX56" fmla="*/ 1664408 w 1864556"/>
                  <a:gd name="connsiteY56" fmla="*/ 355061 h 2927039"/>
                  <a:gd name="connsiteX57" fmla="*/ 1665742 w 1864556"/>
                  <a:gd name="connsiteY57" fmla="*/ 274894 h 2927039"/>
                  <a:gd name="connsiteX58" fmla="*/ 1617939 w 1864556"/>
                  <a:gd name="connsiteY58" fmla="*/ 255373 h 2927039"/>
                  <a:gd name="connsiteX59" fmla="*/ 1624613 w 1864556"/>
                  <a:gd name="connsiteY59" fmla="*/ 245613 h 2927039"/>
                  <a:gd name="connsiteX60" fmla="*/ 1664908 w 1864556"/>
                  <a:gd name="connsiteY60" fmla="*/ 228345 h 2927039"/>
                  <a:gd name="connsiteX61" fmla="*/ 1651143 w 1864556"/>
                  <a:gd name="connsiteY61" fmla="*/ 207073 h 2927039"/>
                  <a:gd name="connsiteX62" fmla="*/ 1636043 w 1864556"/>
                  <a:gd name="connsiteY62" fmla="*/ 189388 h 2927039"/>
                  <a:gd name="connsiteX63" fmla="*/ 1599752 w 1864556"/>
                  <a:gd name="connsiteY63" fmla="*/ 155268 h 2927039"/>
                  <a:gd name="connsiteX64" fmla="*/ 1600669 w 1864556"/>
                  <a:gd name="connsiteY64" fmla="*/ 184966 h 2927039"/>
                  <a:gd name="connsiteX65" fmla="*/ 1582483 w 1864556"/>
                  <a:gd name="connsiteY65" fmla="*/ 165029 h 2927039"/>
                  <a:gd name="connsiteX66" fmla="*/ 1560374 w 1864556"/>
                  <a:gd name="connsiteY66" fmla="*/ 137583 h 2927039"/>
                  <a:gd name="connsiteX67" fmla="*/ 1528005 w 1864556"/>
                  <a:gd name="connsiteY67" fmla="*/ 111890 h 2927039"/>
                  <a:gd name="connsiteX68" fmla="*/ 1454506 w 1864556"/>
                  <a:gd name="connsiteY68" fmla="*/ 110555 h 2927039"/>
                  <a:gd name="connsiteX69" fmla="*/ 1436820 w 1864556"/>
                  <a:gd name="connsiteY69" fmla="*/ 116728 h 2927039"/>
                  <a:gd name="connsiteX70" fmla="*/ 1379255 w 1864556"/>
                  <a:gd name="connsiteY70" fmla="*/ 133996 h 2927039"/>
                  <a:gd name="connsiteX71" fmla="*/ 1370412 w 1864556"/>
                  <a:gd name="connsiteY71" fmla="*/ 155686 h 2927039"/>
                  <a:gd name="connsiteX72" fmla="*/ 1346051 w 1864556"/>
                  <a:gd name="connsiteY72" fmla="*/ 180962 h 2927039"/>
                  <a:gd name="connsiteX73" fmla="*/ 1315934 w 1864556"/>
                  <a:gd name="connsiteY73" fmla="*/ 187135 h 2927039"/>
                  <a:gd name="connsiteX74" fmla="*/ 1318604 w 1864556"/>
                  <a:gd name="connsiteY74" fmla="*/ 158355 h 2927039"/>
                  <a:gd name="connsiteX75" fmla="*/ 1334121 w 1864556"/>
                  <a:gd name="connsiteY75" fmla="*/ 107886 h 2927039"/>
                  <a:gd name="connsiteX76" fmla="*/ 1295578 w 1864556"/>
                  <a:gd name="connsiteY76" fmla="*/ 95456 h 2927039"/>
                  <a:gd name="connsiteX77" fmla="*/ 1272135 w 1864556"/>
                  <a:gd name="connsiteY77" fmla="*/ 105633 h 2927039"/>
                  <a:gd name="connsiteX78" fmla="*/ 1253948 w 1864556"/>
                  <a:gd name="connsiteY78" fmla="*/ 98960 h 2927039"/>
                  <a:gd name="connsiteX79" fmla="*/ 1204309 w 1864556"/>
                  <a:gd name="connsiteY79" fmla="*/ 103381 h 2927039"/>
                  <a:gd name="connsiteX80" fmla="*/ 1231756 w 1864556"/>
                  <a:gd name="connsiteY80" fmla="*/ 78605 h 2927039"/>
                  <a:gd name="connsiteX81" fmla="*/ 1258786 w 1864556"/>
                  <a:gd name="connsiteY81" fmla="*/ 44903 h 2927039"/>
                  <a:gd name="connsiteX82" fmla="*/ 1242852 w 1864556"/>
                  <a:gd name="connsiteY82" fmla="*/ 13871 h 2927039"/>
                  <a:gd name="connsiteX83" fmla="*/ 1221578 w 1864556"/>
                  <a:gd name="connsiteY83" fmla="*/ 13454 h 2927039"/>
                  <a:gd name="connsiteX84" fmla="*/ 1197218 w 1864556"/>
                  <a:gd name="connsiteY84" fmla="*/ 2359 h 2927039"/>
                  <a:gd name="connsiteX85" fmla="*/ 1147162 w 1864556"/>
                  <a:gd name="connsiteY85" fmla="*/ 16957 h 2927039"/>
                  <a:gd name="connsiteX86" fmla="*/ 1117962 w 1864556"/>
                  <a:gd name="connsiteY86" fmla="*/ 48824 h 2927039"/>
                  <a:gd name="connsiteX87" fmla="*/ 1108618 w 1864556"/>
                  <a:gd name="connsiteY87" fmla="*/ 61254 h 2927039"/>
                  <a:gd name="connsiteX88" fmla="*/ 1107284 w 1864556"/>
                  <a:gd name="connsiteY88" fmla="*/ 79856 h 2927039"/>
                  <a:gd name="connsiteX89" fmla="*/ 1095353 w 1864556"/>
                  <a:gd name="connsiteY89" fmla="*/ 101129 h 2927039"/>
                  <a:gd name="connsiteX90" fmla="*/ 1085593 w 1864556"/>
                  <a:gd name="connsiteY90" fmla="*/ 121483 h 2927039"/>
                  <a:gd name="connsiteX91" fmla="*/ 1080253 w 1864556"/>
                  <a:gd name="connsiteY91" fmla="*/ 148511 h 2927039"/>
                  <a:gd name="connsiteX92" fmla="*/ 1076749 w 1864556"/>
                  <a:gd name="connsiteY92" fmla="*/ 164862 h 2927039"/>
                  <a:gd name="connsiteX93" fmla="*/ 1086093 w 1864556"/>
                  <a:gd name="connsiteY93" fmla="*/ 182130 h 2927039"/>
                  <a:gd name="connsiteX94" fmla="*/ 1092267 w 1864556"/>
                  <a:gd name="connsiteY94" fmla="*/ 209158 h 2927039"/>
                  <a:gd name="connsiteX95" fmla="*/ 1117962 w 1864556"/>
                  <a:gd name="connsiteY95" fmla="*/ 229096 h 2927039"/>
                  <a:gd name="connsiteX96" fmla="*/ 1134815 w 1864556"/>
                  <a:gd name="connsiteY96" fmla="*/ 241525 h 2927039"/>
                  <a:gd name="connsiteX97" fmla="*/ 1116210 w 1864556"/>
                  <a:gd name="connsiteY97" fmla="*/ 239273 h 2927039"/>
                  <a:gd name="connsiteX98" fmla="*/ 1053723 w 1864556"/>
                  <a:gd name="connsiteY98" fmla="*/ 246781 h 2927039"/>
                  <a:gd name="connsiteX99" fmla="*/ 1028945 w 1864556"/>
                  <a:gd name="connsiteY99" fmla="*/ 250284 h 2927039"/>
                  <a:gd name="connsiteX100" fmla="*/ 1010341 w 1864556"/>
                  <a:gd name="connsiteY100" fmla="*/ 241859 h 2927039"/>
                  <a:gd name="connsiteX101" fmla="*/ 1029863 w 1864556"/>
                  <a:gd name="connsiteY101" fmla="*/ 286572 h 2927039"/>
                  <a:gd name="connsiteX102" fmla="*/ 1055142 w 1864556"/>
                  <a:gd name="connsiteY102" fmla="*/ 360983 h 2927039"/>
                  <a:gd name="connsiteX103" fmla="*/ 1041877 w 1864556"/>
                  <a:gd name="connsiteY103" fmla="*/ 402193 h 2927039"/>
                  <a:gd name="connsiteX104" fmla="*/ 1064903 w 1864556"/>
                  <a:gd name="connsiteY104" fmla="*/ 429221 h 2927039"/>
                  <a:gd name="connsiteX105" fmla="*/ 1089681 w 1864556"/>
                  <a:gd name="connsiteY105" fmla="*/ 466844 h 2927039"/>
                  <a:gd name="connsiteX106" fmla="*/ 1117628 w 1864556"/>
                  <a:gd name="connsiteY106" fmla="*/ 511557 h 2927039"/>
                  <a:gd name="connsiteX107" fmla="*/ 1119881 w 1864556"/>
                  <a:gd name="connsiteY107" fmla="*/ 530160 h 2927039"/>
                  <a:gd name="connsiteX108" fmla="*/ 1134063 w 1864556"/>
                  <a:gd name="connsiteY108" fmla="*/ 547845 h 2927039"/>
                  <a:gd name="connsiteX109" fmla="*/ 1179281 w 1864556"/>
                  <a:gd name="connsiteY109" fmla="*/ 560275 h 2927039"/>
                  <a:gd name="connsiteX110" fmla="*/ 1194798 w 1864556"/>
                  <a:gd name="connsiteY110" fmla="*/ 551850 h 2927039"/>
                  <a:gd name="connsiteX111" fmla="*/ 1219576 w 1864556"/>
                  <a:gd name="connsiteY111" fmla="*/ 549180 h 2927039"/>
                  <a:gd name="connsiteX112" fmla="*/ 1267380 w 1864556"/>
                  <a:gd name="connsiteY112" fmla="*/ 518148 h 2927039"/>
                  <a:gd name="connsiteX113" fmla="*/ 1271384 w 1864556"/>
                  <a:gd name="connsiteY113" fmla="*/ 490202 h 2927039"/>
                  <a:gd name="connsiteX114" fmla="*/ 1286901 w 1864556"/>
                  <a:gd name="connsiteY114" fmla="*/ 445906 h 2927039"/>
                  <a:gd name="connsiteX115" fmla="*/ 1315267 w 1864556"/>
                  <a:gd name="connsiteY115" fmla="*/ 475103 h 2927039"/>
                  <a:gd name="connsiteX116" fmla="*/ 1352475 w 1864556"/>
                  <a:gd name="connsiteY116" fmla="*/ 495958 h 2927039"/>
                  <a:gd name="connsiteX117" fmla="*/ 1310428 w 1864556"/>
                  <a:gd name="connsiteY117" fmla="*/ 514978 h 2927039"/>
                  <a:gd name="connsiteX118" fmla="*/ 1296245 w 1864556"/>
                  <a:gd name="connsiteY118" fmla="*/ 527407 h 2927039"/>
                  <a:gd name="connsiteX119" fmla="*/ 1274972 w 1864556"/>
                  <a:gd name="connsiteY119" fmla="*/ 544258 h 2927039"/>
                  <a:gd name="connsiteX120" fmla="*/ 1250611 w 1864556"/>
                  <a:gd name="connsiteY120" fmla="*/ 557522 h 2927039"/>
                  <a:gd name="connsiteX121" fmla="*/ 1234676 w 1864556"/>
                  <a:gd name="connsiteY121" fmla="*/ 573455 h 2927039"/>
                  <a:gd name="connsiteX122" fmla="*/ 1199720 w 1864556"/>
                  <a:gd name="connsiteY122" fmla="*/ 588972 h 2927039"/>
                  <a:gd name="connsiteX123" fmla="*/ 1211650 w 1864556"/>
                  <a:gd name="connsiteY123" fmla="*/ 620838 h 2927039"/>
                  <a:gd name="connsiteX124" fmla="*/ 1187290 w 1864556"/>
                  <a:gd name="connsiteY124" fmla="*/ 624843 h 2927039"/>
                  <a:gd name="connsiteX125" fmla="*/ 1164264 w 1864556"/>
                  <a:gd name="connsiteY125" fmla="*/ 613748 h 2927039"/>
                  <a:gd name="connsiteX126" fmla="*/ 1169103 w 1864556"/>
                  <a:gd name="connsiteY126" fmla="*/ 641693 h 2927039"/>
                  <a:gd name="connsiteX127" fmla="*/ 1194798 w 1864556"/>
                  <a:gd name="connsiteY127" fmla="*/ 682486 h 2927039"/>
                  <a:gd name="connsiteX128" fmla="*/ 1169520 w 1864556"/>
                  <a:gd name="connsiteY128" fmla="*/ 698419 h 2927039"/>
                  <a:gd name="connsiteX129" fmla="*/ 1156672 w 1864556"/>
                  <a:gd name="connsiteY129" fmla="*/ 641693 h 2927039"/>
                  <a:gd name="connsiteX130" fmla="*/ 1119881 w 1864556"/>
                  <a:gd name="connsiteY130" fmla="*/ 621756 h 2927039"/>
                  <a:gd name="connsiteX131" fmla="*/ 1105281 w 1864556"/>
                  <a:gd name="connsiteY131" fmla="*/ 651454 h 2927039"/>
                  <a:gd name="connsiteX132" fmla="*/ 1115042 w 1864556"/>
                  <a:gd name="connsiteY132" fmla="*/ 679817 h 2927039"/>
                  <a:gd name="connsiteX133" fmla="*/ 1085843 w 1864556"/>
                  <a:gd name="connsiteY133" fmla="*/ 663466 h 2927039"/>
                  <a:gd name="connsiteX134" fmla="*/ 1082756 w 1864556"/>
                  <a:gd name="connsiteY134" fmla="*/ 640442 h 2927039"/>
                  <a:gd name="connsiteX135" fmla="*/ 1074747 w 1864556"/>
                  <a:gd name="connsiteY135" fmla="*/ 623591 h 2927039"/>
                  <a:gd name="connsiteX136" fmla="*/ 1071660 w 1864556"/>
                  <a:gd name="connsiteY136" fmla="*/ 611162 h 2927039"/>
                  <a:gd name="connsiteX137" fmla="*/ 1093768 w 1864556"/>
                  <a:gd name="connsiteY137" fmla="*/ 608075 h 2927039"/>
                  <a:gd name="connsiteX138" fmla="*/ 1116794 w 1864556"/>
                  <a:gd name="connsiteY138" fmla="*/ 581964 h 2927039"/>
                  <a:gd name="connsiteX139" fmla="*/ 1103029 w 1864556"/>
                  <a:gd name="connsiteY139" fmla="*/ 545176 h 2927039"/>
                  <a:gd name="connsiteX140" fmla="*/ 1107867 w 1864556"/>
                  <a:gd name="connsiteY140" fmla="*/ 504884 h 2927039"/>
                  <a:gd name="connsiteX141" fmla="*/ 1084842 w 1864556"/>
                  <a:gd name="connsiteY141" fmla="*/ 480942 h 2927039"/>
                  <a:gd name="connsiteX142" fmla="*/ 1080003 w 1864556"/>
                  <a:gd name="connsiteY142" fmla="*/ 463257 h 2927039"/>
                  <a:gd name="connsiteX143" fmla="*/ 1068073 w 1864556"/>
                  <a:gd name="connsiteY143" fmla="*/ 453080 h 2927039"/>
                  <a:gd name="connsiteX144" fmla="*/ 1057895 w 1864556"/>
                  <a:gd name="connsiteY144" fmla="*/ 435395 h 2927039"/>
                  <a:gd name="connsiteX145" fmla="*/ 1036621 w 1864556"/>
                  <a:gd name="connsiteY145" fmla="*/ 420796 h 2927039"/>
                  <a:gd name="connsiteX146" fmla="*/ 1050804 w 1864556"/>
                  <a:gd name="connsiteY146" fmla="*/ 349888 h 2927039"/>
                  <a:gd name="connsiteX147" fmla="*/ 1037038 w 1864556"/>
                  <a:gd name="connsiteY147" fmla="*/ 309596 h 2927039"/>
                  <a:gd name="connsiteX148" fmla="*/ 987399 w 1864556"/>
                  <a:gd name="connsiteY148" fmla="*/ 313100 h 2927039"/>
                  <a:gd name="connsiteX149" fmla="*/ 961704 w 1864556"/>
                  <a:gd name="connsiteY149" fmla="*/ 344133 h 2927039"/>
                  <a:gd name="connsiteX150" fmla="*/ 933756 w 1864556"/>
                  <a:gd name="connsiteY150" fmla="*/ 348554 h 2927039"/>
                  <a:gd name="connsiteX151" fmla="*/ 918238 w 1864556"/>
                  <a:gd name="connsiteY151" fmla="*/ 360983 h 2927039"/>
                  <a:gd name="connsiteX152" fmla="*/ 909395 w 1864556"/>
                  <a:gd name="connsiteY152" fmla="*/ 352141 h 2927039"/>
                  <a:gd name="connsiteX153" fmla="*/ 893878 w 1864556"/>
                  <a:gd name="connsiteY153" fmla="*/ 363653 h 2927039"/>
                  <a:gd name="connsiteX154" fmla="*/ 889039 w 1864556"/>
                  <a:gd name="connsiteY154" fmla="*/ 353893 h 2927039"/>
                  <a:gd name="connsiteX155" fmla="*/ 870017 w 1864556"/>
                  <a:gd name="connsiteY155" fmla="*/ 330869 h 2927039"/>
                  <a:gd name="connsiteX156" fmla="*/ 774327 w 1864556"/>
                  <a:gd name="connsiteY156" fmla="*/ 350806 h 2927039"/>
                  <a:gd name="connsiteX157" fmla="*/ 767236 w 1864556"/>
                  <a:gd name="connsiteY157" fmla="*/ 368491 h 2927039"/>
                  <a:gd name="connsiteX158" fmla="*/ 796936 w 1864556"/>
                  <a:gd name="connsiteY158" fmla="*/ 371995 h 2927039"/>
                  <a:gd name="connsiteX159" fmla="*/ 790762 w 1864556"/>
                  <a:gd name="connsiteY159" fmla="*/ 386176 h 2927039"/>
                  <a:gd name="connsiteX160" fmla="*/ 764649 w 1864556"/>
                  <a:gd name="connsiteY160" fmla="*/ 394185 h 2927039"/>
                  <a:gd name="connsiteX161" fmla="*/ 716846 w 1864556"/>
                  <a:gd name="connsiteY161" fmla="*/ 412370 h 2927039"/>
                  <a:gd name="connsiteX162" fmla="*/ 670294 w 1864556"/>
                  <a:gd name="connsiteY162" fmla="*/ 429639 h 2927039"/>
                  <a:gd name="connsiteX163" fmla="*/ 646851 w 1864556"/>
                  <a:gd name="connsiteY163" fmla="*/ 431891 h 2927039"/>
                  <a:gd name="connsiteX164" fmla="*/ 629164 w 1864556"/>
                  <a:gd name="connsiteY164" fmla="*/ 447824 h 2927039"/>
                  <a:gd name="connsiteX165" fmla="*/ 586617 w 1864556"/>
                  <a:gd name="connsiteY165" fmla="*/ 463340 h 2927039"/>
                  <a:gd name="connsiteX166" fmla="*/ 561338 w 1864556"/>
                  <a:gd name="connsiteY166" fmla="*/ 501881 h 2927039"/>
                  <a:gd name="connsiteX167" fmla="*/ 488674 w 1864556"/>
                  <a:gd name="connsiteY167" fmla="*/ 578544 h 2927039"/>
                  <a:gd name="connsiteX168" fmla="*/ 479830 w 1864556"/>
                  <a:gd name="connsiteY168" fmla="*/ 596730 h 2927039"/>
                  <a:gd name="connsiteX169" fmla="*/ 482083 w 1864556"/>
                  <a:gd name="connsiteY169" fmla="*/ 607324 h 2927039"/>
                  <a:gd name="connsiteX170" fmla="*/ 477661 w 1864556"/>
                  <a:gd name="connsiteY170" fmla="*/ 632601 h 2927039"/>
                  <a:gd name="connsiteX171" fmla="*/ 494931 w 1864556"/>
                  <a:gd name="connsiteY171" fmla="*/ 643696 h 2927039"/>
                  <a:gd name="connsiteX172" fmla="*/ 486922 w 1864556"/>
                  <a:gd name="connsiteY172" fmla="*/ 653456 h 2927039"/>
                  <a:gd name="connsiteX173" fmla="*/ 449713 w 1864556"/>
                  <a:gd name="connsiteY173" fmla="*/ 637940 h 2927039"/>
                  <a:gd name="connsiteX174" fmla="*/ 464313 w 1864556"/>
                  <a:gd name="connsiteY174" fmla="*/ 674728 h 2927039"/>
                  <a:gd name="connsiteX175" fmla="*/ 477578 w 1864556"/>
                  <a:gd name="connsiteY175" fmla="*/ 692914 h 2927039"/>
                  <a:gd name="connsiteX176" fmla="*/ 493095 w 1864556"/>
                  <a:gd name="connsiteY176" fmla="*/ 707512 h 2927039"/>
                  <a:gd name="connsiteX177" fmla="*/ 472739 w 1864556"/>
                  <a:gd name="connsiteY177" fmla="*/ 732789 h 2927039"/>
                  <a:gd name="connsiteX178" fmla="*/ 424435 w 1864556"/>
                  <a:gd name="connsiteY178" fmla="*/ 742549 h 2927039"/>
                  <a:gd name="connsiteX179" fmla="*/ 386809 w 1864556"/>
                  <a:gd name="connsiteY179" fmla="*/ 760735 h 2927039"/>
                  <a:gd name="connsiteX180" fmla="*/ 360697 w 1864556"/>
                  <a:gd name="connsiteY180" fmla="*/ 750557 h 2927039"/>
                  <a:gd name="connsiteX181" fmla="*/ 328327 w 1864556"/>
                  <a:gd name="connsiteY181" fmla="*/ 758983 h 2927039"/>
                  <a:gd name="connsiteX182" fmla="*/ 272515 w 1864556"/>
                  <a:gd name="connsiteY182" fmla="*/ 752810 h 2927039"/>
                  <a:gd name="connsiteX183" fmla="*/ 216702 w 1864556"/>
                  <a:gd name="connsiteY183" fmla="*/ 756313 h 2927039"/>
                  <a:gd name="connsiteX184" fmla="*/ 167063 w 1864556"/>
                  <a:gd name="connsiteY184" fmla="*/ 769160 h 2927039"/>
                  <a:gd name="connsiteX185" fmla="*/ 143620 w 1864556"/>
                  <a:gd name="connsiteY185" fmla="*/ 815208 h 2927039"/>
                  <a:gd name="connsiteX186" fmla="*/ 160472 w 1864556"/>
                  <a:gd name="connsiteY186" fmla="*/ 851496 h 2927039"/>
                  <a:gd name="connsiteX187" fmla="*/ 149377 w 1864556"/>
                  <a:gd name="connsiteY187" fmla="*/ 918399 h 2927039"/>
                  <a:gd name="connsiteX188" fmla="*/ 161306 w 1864556"/>
                  <a:gd name="connsiteY188" fmla="*/ 965365 h 2927039"/>
                  <a:gd name="connsiteX189" fmla="*/ 208276 w 1864556"/>
                  <a:gd name="connsiteY189" fmla="*/ 993728 h 2927039"/>
                  <a:gd name="connsiteX190" fmla="*/ 241480 w 1864556"/>
                  <a:gd name="connsiteY190" fmla="*/ 1064135 h 2927039"/>
                  <a:gd name="connsiteX191" fmla="*/ 280440 w 1864556"/>
                  <a:gd name="connsiteY191" fmla="*/ 1095167 h 2927039"/>
                  <a:gd name="connsiteX192" fmla="*/ 268510 w 1864556"/>
                  <a:gd name="connsiteY192" fmla="*/ 1143885 h 2927039"/>
                  <a:gd name="connsiteX193" fmla="*/ 270262 w 1864556"/>
                  <a:gd name="connsiteY193" fmla="*/ 1263927 h 2927039"/>
                  <a:gd name="connsiteX194" fmla="*/ 262253 w 1864556"/>
                  <a:gd name="connsiteY194" fmla="*/ 1330830 h 2927039"/>
                  <a:gd name="connsiteX195" fmla="*/ 237475 w 1864556"/>
                  <a:gd name="connsiteY195" fmla="*/ 1340591 h 2927039"/>
                  <a:gd name="connsiteX196" fmla="*/ 233471 w 1864556"/>
                  <a:gd name="connsiteY196" fmla="*/ 1358776 h 2927039"/>
                  <a:gd name="connsiteX197" fmla="*/ 212197 w 1864556"/>
                  <a:gd name="connsiteY197" fmla="*/ 1373375 h 2927039"/>
                  <a:gd name="connsiteX198" fmla="*/ 214867 w 1864556"/>
                  <a:gd name="connsiteY198" fmla="*/ 1336169 h 2927039"/>
                  <a:gd name="connsiteX199" fmla="*/ 234388 w 1864556"/>
                  <a:gd name="connsiteY199" fmla="*/ 1282530 h 2927039"/>
                  <a:gd name="connsiteX200" fmla="*/ 240562 w 1864556"/>
                  <a:gd name="connsiteY200" fmla="*/ 1235147 h 2927039"/>
                  <a:gd name="connsiteX201" fmla="*/ 225962 w 1864556"/>
                  <a:gd name="connsiteY201" fmla="*/ 1226304 h 2927039"/>
                  <a:gd name="connsiteX202" fmla="*/ 214032 w 1864556"/>
                  <a:gd name="connsiteY202" fmla="*/ 1244490 h 2927039"/>
                  <a:gd name="connsiteX203" fmla="*/ 207358 w 1864556"/>
                  <a:gd name="connsiteY203" fmla="*/ 1260840 h 2927039"/>
                  <a:gd name="connsiteX204" fmla="*/ 200267 w 1864556"/>
                  <a:gd name="connsiteY204" fmla="*/ 1272353 h 2927039"/>
                  <a:gd name="connsiteX205" fmla="*/ 195845 w 1864556"/>
                  <a:gd name="connsiteY205" fmla="*/ 1267014 h 2927039"/>
                  <a:gd name="connsiteX206" fmla="*/ 196263 w 1864556"/>
                  <a:gd name="connsiteY206" fmla="*/ 1261675 h 2927039"/>
                  <a:gd name="connsiteX207" fmla="*/ 197180 w 1864556"/>
                  <a:gd name="connsiteY207" fmla="*/ 1245741 h 2927039"/>
                  <a:gd name="connsiteX208" fmla="*/ 199850 w 1864556"/>
                  <a:gd name="connsiteY208" fmla="*/ 1223635 h 2927039"/>
                  <a:gd name="connsiteX209" fmla="*/ 224211 w 1864556"/>
                  <a:gd name="connsiteY209" fmla="*/ 1157649 h 2927039"/>
                  <a:gd name="connsiteX210" fmla="*/ 255245 w 1864556"/>
                  <a:gd name="connsiteY210" fmla="*/ 1094333 h 2927039"/>
                  <a:gd name="connsiteX211" fmla="*/ 167063 w 1864556"/>
                  <a:gd name="connsiteY211" fmla="*/ 1079734 h 2927039"/>
                  <a:gd name="connsiteX212" fmla="*/ 145372 w 1864556"/>
                  <a:gd name="connsiteY212" fmla="*/ 1035438 h 2927039"/>
                  <a:gd name="connsiteX213" fmla="*/ 111250 w 1864556"/>
                  <a:gd name="connsiteY213" fmla="*/ 999150 h 2927039"/>
                  <a:gd name="connsiteX214" fmla="*/ 82468 w 1864556"/>
                  <a:gd name="connsiteY214" fmla="*/ 965448 h 2927039"/>
                  <a:gd name="connsiteX215" fmla="*/ 44843 w 1864556"/>
                  <a:gd name="connsiteY215" fmla="*/ 951684 h 2927039"/>
                  <a:gd name="connsiteX216" fmla="*/ 49681 w 1864556"/>
                  <a:gd name="connsiteY216" fmla="*/ 973790 h 2927039"/>
                  <a:gd name="connsiteX217" fmla="*/ 75794 w 1864556"/>
                  <a:gd name="connsiteY217" fmla="*/ 1013665 h 2927039"/>
                  <a:gd name="connsiteX218" fmla="*/ 85972 w 1864556"/>
                  <a:gd name="connsiteY218" fmla="*/ 1018504 h 2927039"/>
                  <a:gd name="connsiteX219" fmla="*/ 118759 w 1864556"/>
                  <a:gd name="connsiteY219" fmla="*/ 1054375 h 2927039"/>
                  <a:gd name="connsiteX220" fmla="*/ 87307 w 1864556"/>
                  <a:gd name="connsiteY220" fmla="*/ 1105762 h 2927039"/>
                  <a:gd name="connsiteX221" fmla="*/ 83803 w 1864556"/>
                  <a:gd name="connsiteY221" fmla="*/ 1108014 h 2927039"/>
                  <a:gd name="connsiteX222" fmla="*/ 54103 w 1864556"/>
                  <a:gd name="connsiteY222" fmla="*/ 1141216 h 2927039"/>
                  <a:gd name="connsiteX223" fmla="*/ 79799 w 1864556"/>
                  <a:gd name="connsiteY223" fmla="*/ 1170413 h 2927039"/>
                  <a:gd name="connsiteX224" fmla="*/ 85138 w 1864556"/>
                  <a:gd name="connsiteY224" fmla="*/ 1173499 h 2927039"/>
                  <a:gd name="connsiteX225" fmla="*/ 117924 w 1864556"/>
                  <a:gd name="connsiteY225" fmla="*/ 1277191 h 2927039"/>
                  <a:gd name="connsiteX226" fmla="*/ 82468 w 1864556"/>
                  <a:gd name="connsiteY226" fmla="*/ 1320570 h 2927039"/>
                  <a:gd name="connsiteX227" fmla="*/ 26238 w 1864556"/>
                  <a:gd name="connsiteY227" fmla="*/ 1358192 h 2927039"/>
                  <a:gd name="connsiteX228" fmla="*/ 543 w 1864556"/>
                  <a:gd name="connsiteY228" fmla="*/ 1404240 h 2927039"/>
                  <a:gd name="connsiteX229" fmla="*/ 12974 w 1864556"/>
                  <a:gd name="connsiteY229" fmla="*/ 1425930 h 2927039"/>
                  <a:gd name="connsiteX230" fmla="*/ 27156 w 1864556"/>
                  <a:gd name="connsiteY230" fmla="*/ 1448954 h 2927039"/>
                  <a:gd name="connsiteX231" fmla="*/ 60861 w 1864556"/>
                  <a:gd name="connsiteY231" fmla="*/ 1480821 h 2927039"/>
                  <a:gd name="connsiteX232" fmla="*/ 80382 w 1864556"/>
                  <a:gd name="connsiteY232" fmla="*/ 1495002 h 2927039"/>
                  <a:gd name="connsiteX233" fmla="*/ 102073 w 1864556"/>
                  <a:gd name="connsiteY233" fmla="*/ 1506931 h 2927039"/>
                  <a:gd name="connsiteX234" fmla="*/ 114504 w 1864556"/>
                  <a:gd name="connsiteY234" fmla="*/ 1500758 h 2927039"/>
                  <a:gd name="connsiteX235" fmla="*/ 145038 w 1864556"/>
                  <a:gd name="connsiteY235" fmla="*/ 1493250 h 2927039"/>
                  <a:gd name="connsiteX236" fmla="*/ 156968 w 1864556"/>
                  <a:gd name="connsiteY236" fmla="*/ 1510935 h 2927039"/>
                  <a:gd name="connsiteX237" fmla="*/ 157886 w 1864556"/>
                  <a:gd name="connsiteY237" fmla="*/ 1515774 h 2927039"/>
                  <a:gd name="connsiteX238" fmla="*/ 164060 w 1864556"/>
                  <a:gd name="connsiteY238" fmla="*/ 1525117 h 2927039"/>
                  <a:gd name="connsiteX239" fmla="*/ 168481 w 1864556"/>
                  <a:gd name="connsiteY239" fmla="*/ 1529121 h 2927039"/>
                  <a:gd name="connsiteX240" fmla="*/ 171568 w 1864556"/>
                  <a:gd name="connsiteY240" fmla="*/ 1531790 h 2927039"/>
                  <a:gd name="connsiteX241" fmla="*/ 178659 w 1864556"/>
                  <a:gd name="connsiteY241" fmla="*/ 1541551 h 2927039"/>
                  <a:gd name="connsiteX242" fmla="*/ 183081 w 1864556"/>
                  <a:gd name="connsiteY242" fmla="*/ 1559736 h 2927039"/>
                  <a:gd name="connsiteX243" fmla="*/ 185334 w 1864556"/>
                  <a:gd name="connsiteY243" fmla="*/ 1571665 h 2927039"/>
                  <a:gd name="connsiteX244" fmla="*/ 191507 w 1864556"/>
                  <a:gd name="connsiteY244" fmla="*/ 1584929 h 2927039"/>
                  <a:gd name="connsiteX245" fmla="*/ 194177 w 1864556"/>
                  <a:gd name="connsiteY245" fmla="*/ 1631478 h 2927039"/>
                  <a:gd name="connsiteX246" fmla="*/ 188837 w 1864556"/>
                  <a:gd name="connsiteY246" fmla="*/ 1637651 h 2927039"/>
                  <a:gd name="connsiteX247" fmla="*/ 183999 w 1864556"/>
                  <a:gd name="connsiteY247" fmla="*/ 1644325 h 2927039"/>
                  <a:gd name="connsiteX248" fmla="*/ 185334 w 1864556"/>
                  <a:gd name="connsiteY248" fmla="*/ 1655420 h 2927039"/>
                  <a:gd name="connsiteX249" fmla="*/ 188003 w 1864556"/>
                  <a:gd name="connsiteY249" fmla="*/ 1666931 h 2927039"/>
                  <a:gd name="connsiteX250" fmla="*/ 184916 w 1864556"/>
                  <a:gd name="connsiteY250" fmla="*/ 1688621 h 2927039"/>
                  <a:gd name="connsiteX251" fmla="*/ 179577 w 1864556"/>
                  <a:gd name="connsiteY251" fmla="*/ 1697463 h 2927039"/>
                  <a:gd name="connsiteX252" fmla="*/ 176490 w 1864556"/>
                  <a:gd name="connsiteY252" fmla="*/ 1701885 h 2927039"/>
                  <a:gd name="connsiteX253" fmla="*/ 171151 w 1864556"/>
                  <a:gd name="connsiteY253" fmla="*/ 1713814 h 2927039"/>
                  <a:gd name="connsiteX254" fmla="*/ 160973 w 1864556"/>
                  <a:gd name="connsiteY254" fmla="*/ 1732416 h 2927039"/>
                  <a:gd name="connsiteX255" fmla="*/ 141451 w 1864556"/>
                  <a:gd name="connsiteY255" fmla="*/ 1744346 h 2927039"/>
                  <a:gd name="connsiteX256" fmla="*/ 127686 w 1864556"/>
                  <a:gd name="connsiteY256" fmla="*/ 1761614 h 2927039"/>
                  <a:gd name="connsiteX257" fmla="*/ 136529 w 1864556"/>
                  <a:gd name="connsiteY257" fmla="*/ 1782886 h 2927039"/>
                  <a:gd name="connsiteX258" fmla="*/ 146290 w 1864556"/>
                  <a:gd name="connsiteY258" fmla="*/ 1825430 h 2927039"/>
                  <a:gd name="connsiteX259" fmla="*/ 144037 w 1864556"/>
                  <a:gd name="connsiteY259" fmla="*/ 1835608 h 2927039"/>
                  <a:gd name="connsiteX260" fmla="*/ 146707 w 1864556"/>
                  <a:gd name="connsiteY260" fmla="*/ 1874565 h 2927039"/>
                  <a:gd name="connsiteX261" fmla="*/ 163058 w 1864556"/>
                  <a:gd name="connsiteY261" fmla="*/ 1894086 h 2927039"/>
                  <a:gd name="connsiteX262" fmla="*/ 189171 w 1864556"/>
                  <a:gd name="connsiteY262" fmla="*/ 1931291 h 2927039"/>
                  <a:gd name="connsiteX263" fmla="*/ 191841 w 1864556"/>
                  <a:gd name="connsiteY263" fmla="*/ 1964993 h 2927039"/>
                  <a:gd name="connsiteX264" fmla="*/ 187002 w 1864556"/>
                  <a:gd name="connsiteY264" fmla="*/ 1977840 h 2927039"/>
                  <a:gd name="connsiteX265" fmla="*/ 183498 w 1864556"/>
                  <a:gd name="connsiteY265" fmla="*/ 1991604 h 2927039"/>
                  <a:gd name="connsiteX266" fmla="*/ 190589 w 1864556"/>
                  <a:gd name="connsiteY266" fmla="*/ 2004868 h 2927039"/>
                  <a:gd name="connsiteX267" fmla="*/ 198598 w 1864556"/>
                  <a:gd name="connsiteY267" fmla="*/ 2017715 h 2927039"/>
                  <a:gd name="connsiteX268" fmla="*/ 198598 w 1864556"/>
                  <a:gd name="connsiteY268" fmla="*/ 2053168 h 2927039"/>
                  <a:gd name="connsiteX269" fmla="*/ 197681 w 1864556"/>
                  <a:gd name="connsiteY269" fmla="*/ 2055421 h 2927039"/>
                  <a:gd name="connsiteX270" fmla="*/ 225629 w 1864556"/>
                  <a:gd name="connsiteY270" fmla="*/ 2109477 h 2927039"/>
                  <a:gd name="connsiteX271" fmla="*/ 258416 w 1864556"/>
                  <a:gd name="connsiteY271" fmla="*/ 2144431 h 2927039"/>
                  <a:gd name="connsiteX272" fmla="*/ 257081 w 1864556"/>
                  <a:gd name="connsiteY272" fmla="*/ 2209999 h 2927039"/>
                  <a:gd name="connsiteX273" fmla="*/ 254828 w 1864556"/>
                  <a:gd name="connsiteY273" fmla="*/ 2213503 h 2927039"/>
                  <a:gd name="connsiteX274" fmla="*/ 246819 w 1864556"/>
                  <a:gd name="connsiteY274" fmla="*/ 2252961 h 2927039"/>
                  <a:gd name="connsiteX275" fmla="*/ 252576 w 1864556"/>
                  <a:gd name="connsiteY275" fmla="*/ 2253378 h 2927039"/>
                  <a:gd name="connsiteX276" fmla="*/ 259250 w 1864556"/>
                  <a:gd name="connsiteY276" fmla="*/ 2253378 h 2927039"/>
                  <a:gd name="connsiteX277" fmla="*/ 286697 w 1864556"/>
                  <a:gd name="connsiteY277" fmla="*/ 2266225 h 2927039"/>
                  <a:gd name="connsiteX278" fmla="*/ 303966 w 1864556"/>
                  <a:gd name="connsiteY278" fmla="*/ 2275067 h 2927039"/>
                  <a:gd name="connsiteX279" fmla="*/ 312392 w 1864556"/>
                  <a:gd name="connsiteY279" fmla="*/ 2274150 h 2927039"/>
                  <a:gd name="connsiteX280" fmla="*/ 336753 w 1864556"/>
                  <a:gd name="connsiteY280" fmla="*/ 2278988 h 2927039"/>
                  <a:gd name="connsiteX281" fmla="*/ 347849 w 1864556"/>
                  <a:gd name="connsiteY281" fmla="*/ 2321032 h 2927039"/>
                  <a:gd name="connsiteX282" fmla="*/ 348266 w 1864556"/>
                  <a:gd name="connsiteY282" fmla="*/ 2329040 h 2927039"/>
                  <a:gd name="connsiteX283" fmla="*/ 349184 w 1864556"/>
                  <a:gd name="connsiteY283" fmla="*/ 2343222 h 2927039"/>
                  <a:gd name="connsiteX284" fmla="*/ 344345 w 1864556"/>
                  <a:gd name="connsiteY284" fmla="*/ 2402617 h 2927039"/>
                  <a:gd name="connsiteX285" fmla="*/ 321319 w 1864556"/>
                  <a:gd name="connsiteY285" fmla="*/ 2429645 h 2927039"/>
                  <a:gd name="connsiteX286" fmla="*/ 304467 w 1864556"/>
                  <a:gd name="connsiteY286" fmla="*/ 2445996 h 2927039"/>
                  <a:gd name="connsiteX287" fmla="*/ 295624 w 1864556"/>
                  <a:gd name="connsiteY287" fmla="*/ 2458425 h 2927039"/>
                  <a:gd name="connsiteX288" fmla="*/ 285029 w 1864556"/>
                  <a:gd name="connsiteY288" fmla="*/ 2494713 h 2927039"/>
                  <a:gd name="connsiteX289" fmla="*/ 295206 w 1864556"/>
                  <a:gd name="connsiteY289" fmla="*/ 2507560 h 2927039"/>
                  <a:gd name="connsiteX290" fmla="*/ 307137 w 1864556"/>
                  <a:gd name="connsiteY290" fmla="*/ 2544766 h 2927039"/>
                  <a:gd name="connsiteX291" fmla="*/ 306219 w 1864556"/>
                  <a:gd name="connsiteY291" fmla="*/ 2558947 h 2927039"/>
                  <a:gd name="connsiteX292" fmla="*/ 303966 w 1864556"/>
                  <a:gd name="connsiteY292" fmla="*/ 2580219 h 2927039"/>
                  <a:gd name="connsiteX293" fmla="*/ 285779 w 1864556"/>
                  <a:gd name="connsiteY293" fmla="*/ 2611669 h 2927039"/>
                  <a:gd name="connsiteX294" fmla="*/ 283110 w 1864556"/>
                  <a:gd name="connsiteY294" fmla="*/ 2614755 h 2927039"/>
                  <a:gd name="connsiteX295" fmla="*/ 265423 w 1864556"/>
                  <a:gd name="connsiteY295" fmla="*/ 2640032 h 2927039"/>
                  <a:gd name="connsiteX296" fmla="*/ 245067 w 1864556"/>
                  <a:gd name="connsiteY296" fmla="*/ 2668812 h 2927039"/>
                  <a:gd name="connsiteX297" fmla="*/ 235306 w 1864556"/>
                  <a:gd name="connsiteY297" fmla="*/ 2679406 h 2927039"/>
                  <a:gd name="connsiteX298" fmla="*/ 220706 w 1864556"/>
                  <a:gd name="connsiteY298" fmla="*/ 2696675 h 2927039"/>
                  <a:gd name="connsiteX299" fmla="*/ 215367 w 1864556"/>
                  <a:gd name="connsiteY299" fmla="*/ 2709104 h 2927039"/>
                  <a:gd name="connsiteX300" fmla="*/ 215367 w 1864556"/>
                  <a:gd name="connsiteY300" fmla="*/ 2710022 h 2927039"/>
                  <a:gd name="connsiteX301" fmla="*/ 221541 w 1864556"/>
                  <a:gd name="connsiteY301" fmla="*/ 2759657 h 2927039"/>
                  <a:gd name="connsiteX302" fmla="*/ 265840 w 1864556"/>
                  <a:gd name="connsiteY302" fmla="*/ 2788437 h 2927039"/>
                  <a:gd name="connsiteX303" fmla="*/ 288866 w 1864556"/>
                  <a:gd name="connsiteY303" fmla="*/ 2799532 h 2927039"/>
                  <a:gd name="connsiteX304" fmla="*/ 292871 w 1864556"/>
                  <a:gd name="connsiteY304" fmla="*/ 2801784 h 2927039"/>
                  <a:gd name="connsiteX305" fmla="*/ 304383 w 1864556"/>
                  <a:gd name="connsiteY305" fmla="*/ 2809292 h 2927039"/>
                  <a:gd name="connsiteX306" fmla="*/ 332331 w 1864556"/>
                  <a:gd name="connsiteY306" fmla="*/ 2796028 h 2927039"/>
                  <a:gd name="connsiteX307" fmla="*/ 363784 w 1864556"/>
                  <a:gd name="connsiteY307" fmla="*/ 2808875 h 2927039"/>
                  <a:gd name="connsiteX308" fmla="*/ 369957 w 1864556"/>
                  <a:gd name="connsiteY308" fmla="*/ 2817300 h 2927039"/>
                  <a:gd name="connsiteX309" fmla="*/ 373461 w 1864556"/>
                  <a:gd name="connsiteY309" fmla="*/ 2822139 h 2927039"/>
                  <a:gd name="connsiteX310" fmla="*/ 388061 w 1864556"/>
                  <a:gd name="connsiteY310" fmla="*/ 2834986 h 2927039"/>
                  <a:gd name="connsiteX311" fmla="*/ 401326 w 1864556"/>
                  <a:gd name="connsiteY311" fmla="*/ 2838489 h 2927039"/>
                  <a:gd name="connsiteX312" fmla="*/ 403578 w 1864556"/>
                  <a:gd name="connsiteY312" fmla="*/ 2836737 h 2927039"/>
                  <a:gd name="connsiteX313" fmla="*/ 403995 w 1864556"/>
                  <a:gd name="connsiteY313" fmla="*/ 2835820 h 2927039"/>
                  <a:gd name="connsiteX314" fmla="*/ 405747 w 1864556"/>
                  <a:gd name="connsiteY314" fmla="*/ 2832316 h 2927039"/>
                  <a:gd name="connsiteX315" fmla="*/ 415925 w 1864556"/>
                  <a:gd name="connsiteY315" fmla="*/ 2826977 h 2927039"/>
                  <a:gd name="connsiteX316" fmla="*/ 415925 w 1864556"/>
                  <a:gd name="connsiteY316" fmla="*/ 2826977 h 2927039"/>
                  <a:gd name="connsiteX317" fmla="*/ 436782 w 1864556"/>
                  <a:gd name="connsiteY317" fmla="*/ 2842911 h 2927039"/>
                  <a:gd name="connsiteX318" fmla="*/ 438117 w 1864556"/>
                  <a:gd name="connsiteY318" fmla="*/ 2844662 h 2927039"/>
                  <a:gd name="connsiteX319" fmla="*/ 454969 w 1864556"/>
                  <a:gd name="connsiteY319" fmla="*/ 2854005 h 2927039"/>
                  <a:gd name="connsiteX320" fmla="*/ 460726 w 1864556"/>
                  <a:gd name="connsiteY320" fmla="*/ 2847332 h 2927039"/>
                  <a:gd name="connsiteX321" fmla="*/ 469151 w 1864556"/>
                  <a:gd name="connsiteY321" fmla="*/ 2837572 h 2927039"/>
                  <a:gd name="connsiteX322" fmla="*/ 503273 w 1864556"/>
                  <a:gd name="connsiteY322" fmla="*/ 2843745 h 2927039"/>
                  <a:gd name="connsiteX323" fmla="*/ 515704 w 1864556"/>
                  <a:gd name="connsiteY323" fmla="*/ 2869855 h 2927039"/>
                  <a:gd name="connsiteX324" fmla="*/ 516121 w 1864556"/>
                  <a:gd name="connsiteY324" fmla="*/ 2871607 h 2927039"/>
                  <a:gd name="connsiteX325" fmla="*/ 540064 w 1864556"/>
                  <a:gd name="connsiteY325" fmla="*/ 2913651 h 2927039"/>
                  <a:gd name="connsiteX326" fmla="*/ 579943 w 1864556"/>
                  <a:gd name="connsiteY326" fmla="*/ 2926081 h 2927039"/>
                  <a:gd name="connsiteX327" fmla="*/ 702246 w 1864556"/>
                  <a:gd name="connsiteY327" fmla="*/ 2908813 h 2927039"/>
                  <a:gd name="connsiteX328" fmla="*/ 696490 w 1864556"/>
                  <a:gd name="connsiteY328" fmla="*/ 2895966 h 2927039"/>
                  <a:gd name="connsiteX329" fmla="*/ 684059 w 1864556"/>
                  <a:gd name="connsiteY329" fmla="*/ 2825559 h 2927039"/>
                  <a:gd name="connsiteX330" fmla="*/ 692902 w 1864556"/>
                  <a:gd name="connsiteY330" fmla="*/ 2805621 h 2927039"/>
                  <a:gd name="connsiteX331" fmla="*/ 705750 w 1864556"/>
                  <a:gd name="connsiteY331" fmla="*/ 2772420 h 2927039"/>
                  <a:gd name="connsiteX332" fmla="*/ 708420 w 1864556"/>
                  <a:gd name="connsiteY332" fmla="*/ 2761826 h 2927039"/>
                  <a:gd name="connsiteX333" fmla="*/ 711924 w 1864556"/>
                  <a:gd name="connsiteY333" fmla="*/ 2744141 h 2927039"/>
                  <a:gd name="connsiteX334" fmla="*/ 707502 w 1864556"/>
                  <a:gd name="connsiteY334" fmla="*/ 2722451 h 2927039"/>
                  <a:gd name="connsiteX335" fmla="*/ 703081 w 1864556"/>
                  <a:gd name="connsiteY335" fmla="*/ 2702931 h 2927039"/>
                  <a:gd name="connsiteX336" fmla="*/ 716846 w 1864556"/>
                  <a:gd name="connsiteY336" fmla="*/ 2637780 h 2927039"/>
                  <a:gd name="connsiteX337" fmla="*/ 733197 w 1864556"/>
                  <a:gd name="connsiteY337" fmla="*/ 2621429 h 2927039"/>
                  <a:gd name="connsiteX338" fmla="*/ 754471 w 1864556"/>
                  <a:gd name="connsiteY338" fmla="*/ 2592649 h 2927039"/>
                  <a:gd name="connsiteX339" fmla="*/ 757141 w 1864556"/>
                  <a:gd name="connsiteY339" fmla="*/ 2564703 h 2927039"/>
                  <a:gd name="connsiteX340" fmla="*/ 762897 w 1864556"/>
                  <a:gd name="connsiteY340" fmla="*/ 2525245 h 2927039"/>
                  <a:gd name="connsiteX341" fmla="*/ 774411 w 1864556"/>
                  <a:gd name="connsiteY341" fmla="*/ 2500886 h 2927039"/>
                  <a:gd name="connsiteX342" fmla="*/ 788176 w 1864556"/>
                  <a:gd name="connsiteY342" fmla="*/ 2463264 h 2927039"/>
                  <a:gd name="connsiteX343" fmla="*/ 769572 w 1864556"/>
                  <a:gd name="connsiteY343" fmla="*/ 2408373 h 2927039"/>
                  <a:gd name="connsiteX344" fmla="*/ 726190 w 1864556"/>
                  <a:gd name="connsiteY344" fmla="*/ 2378675 h 2927039"/>
                  <a:gd name="connsiteX345" fmla="*/ 705834 w 1864556"/>
                  <a:gd name="connsiteY345" fmla="*/ 2368081 h 2927039"/>
                  <a:gd name="connsiteX346" fmla="*/ 681056 w 1864556"/>
                  <a:gd name="connsiteY346" fmla="*/ 2351731 h 2927039"/>
                  <a:gd name="connsiteX347" fmla="*/ 644265 w 1864556"/>
                  <a:gd name="connsiteY347" fmla="*/ 2329624 h 2927039"/>
                  <a:gd name="connsiteX348" fmla="*/ 622157 w 1864556"/>
                  <a:gd name="connsiteY348" fmla="*/ 2325203 h 2927039"/>
                  <a:gd name="connsiteX349" fmla="*/ 587618 w 1864556"/>
                  <a:gd name="connsiteY349" fmla="*/ 2315026 h 2927039"/>
                  <a:gd name="connsiteX350" fmla="*/ 583196 w 1864556"/>
                  <a:gd name="connsiteY350" fmla="*/ 2260552 h 2927039"/>
                  <a:gd name="connsiteX351" fmla="*/ 585449 w 1864556"/>
                  <a:gd name="connsiteY351" fmla="*/ 2255714 h 2927039"/>
                  <a:gd name="connsiteX352" fmla="*/ 577940 w 1864556"/>
                  <a:gd name="connsiteY352" fmla="*/ 2204327 h 2927039"/>
                  <a:gd name="connsiteX353" fmla="*/ 564175 w 1864556"/>
                  <a:gd name="connsiteY353" fmla="*/ 2194566 h 2927039"/>
                  <a:gd name="connsiteX354" fmla="*/ 540732 w 1864556"/>
                  <a:gd name="connsiteY354" fmla="*/ 2170625 h 2927039"/>
                  <a:gd name="connsiteX355" fmla="*/ 547823 w 1864556"/>
                  <a:gd name="connsiteY355" fmla="*/ 2144014 h 2927039"/>
                  <a:gd name="connsiteX356" fmla="*/ 550493 w 1864556"/>
                  <a:gd name="connsiteY356" fmla="*/ 2139175 h 2927039"/>
                  <a:gd name="connsiteX357" fmla="*/ 560671 w 1864556"/>
                  <a:gd name="connsiteY357" fmla="*/ 2104222 h 2927039"/>
                  <a:gd name="connsiteX358" fmla="*/ 561589 w 1864556"/>
                  <a:gd name="connsiteY358" fmla="*/ 2089623 h 2927039"/>
                  <a:gd name="connsiteX359" fmla="*/ 572184 w 1864556"/>
                  <a:gd name="connsiteY359" fmla="*/ 2041323 h 2927039"/>
                  <a:gd name="connsiteX360" fmla="*/ 602301 w 1864556"/>
                  <a:gd name="connsiteY360" fmla="*/ 2016964 h 2927039"/>
                  <a:gd name="connsiteX361" fmla="*/ 623575 w 1864556"/>
                  <a:gd name="connsiteY361" fmla="*/ 2002782 h 2927039"/>
                  <a:gd name="connsiteX362" fmla="*/ 648353 w 1864556"/>
                  <a:gd name="connsiteY362" fmla="*/ 1968664 h 2927039"/>
                  <a:gd name="connsiteX363" fmla="*/ 664287 w 1864556"/>
                  <a:gd name="connsiteY363" fmla="*/ 1944722 h 2927039"/>
                  <a:gd name="connsiteX364" fmla="*/ 685144 w 1864556"/>
                  <a:gd name="connsiteY364" fmla="*/ 1905264 h 2927039"/>
                  <a:gd name="connsiteX365" fmla="*/ 697991 w 1864556"/>
                  <a:gd name="connsiteY365" fmla="*/ 1876901 h 2927039"/>
                  <a:gd name="connsiteX366" fmla="*/ 712591 w 1864556"/>
                  <a:gd name="connsiteY366" fmla="*/ 1856046 h 2927039"/>
                  <a:gd name="connsiteX367" fmla="*/ 727692 w 1864556"/>
                  <a:gd name="connsiteY367" fmla="*/ 1834774 h 2927039"/>
                  <a:gd name="connsiteX368" fmla="*/ 728609 w 1864556"/>
                  <a:gd name="connsiteY368" fmla="*/ 1834774 h 2927039"/>
                  <a:gd name="connsiteX369" fmla="*/ 729026 w 1864556"/>
                  <a:gd name="connsiteY369" fmla="*/ 1834774 h 2927039"/>
                  <a:gd name="connsiteX370" fmla="*/ 729026 w 1864556"/>
                  <a:gd name="connsiteY370" fmla="*/ 1834356 h 2927039"/>
                  <a:gd name="connsiteX371" fmla="*/ 737869 w 1864556"/>
                  <a:gd name="connsiteY371" fmla="*/ 1820175 h 2927039"/>
                  <a:gd name="connsiteX372" fmla="*/ 745878 w 1864556"/>
                  <a:gd name="connsiteY372" fmla="*/ 1802490 h 2927039"/>
                  <a:gd name="connsiteX373" fmla="*/ 774661 w 1864556"/>
                  <a:gd name="connsiteY373" fmla="*/ 1757777 h 2927039"/>
                  <a:gd name="connsiteX374" fmla="*/ 811869 w 1864556"/>
                  <a:gd name="connsiteY374" fmla="*/ 1709476 h 2927039"/>
                  <a:gd name="connsiteX375" fmla="*/ 859673 w 1864556"/>
                  <a:gd name="connsiteY375" fmla="*/ 1678027 h 2927039"/>
                  <a:gd name="connsiteX376" fmla="*/ 889373 w 1864556"/>
                  <a:gd name="connsiteY376" fmla="*/ 1653250 h 2927039"/>
                  <a:gd name="connsiteX377" fmla="*/ 890290 w 1864556"/>
                  <a:gd name="connsiteY377" fmla="*/ 1647912 h 2927039"/>
                  <a:gd name="connsiteX378" fmla="*/ 901803 w 1864556"/>
                  <a:gd name="connsiteY378" fmla="*/ 1614710 h 2927039"/>
                  <a:gd name="connsiteX379" fmla="*/ 910646 w 1864556"/>
                  <a:gd name="connsiteY379" fmla="*/ 1601863 h 2927039"/>
                  <a:gd name="connsiteX380" fmla="*/ 923494 w 1864556"/>
                  <a:gd name="connsiteY380" fmla="*/ 1582343 h 2927039"/>
                  <a:gd name="connsiteX381" fmla="*/ 931920 w 1864556"/>
                  <a:gd name="connsiteY381" fmla="*/ 1564158 h 2927039"/>
                  <a:gd name="connsiteX382" fmla="*/ 954529 w 1864556"/>
                  <a:gd name="connsiteY382" fmla="*/ 1525617 h 2927039"/>
                  <a:gd name="connsiteX383" fmla="*/ 996576 w 1864556"/>
                  <a:gd name="connsiteY383" fmla="*/ 1497671 h 2927039"/>
                  <a:gd name="connsiteX384" fmla="*/ 1008506 w 1864556"/>
                  <a:gd name="connsiteY384" fmla="*/ 1490998 h 2927039"/>
                  <a:gd name="connsiteX385" fmla="*/ 1049719 w 1864556"/>
                  <a:gd name="connsiteY385" fmla="*/ 1457296 h 2927039"/>
                  <a:gd name="connsiteX386" fmla="*/ 1109119 w 1864556"/>
                  <a:gd name="connsiteY386" fmla="*/ 1420507 h 2927039"/>
                  <a:gd name="connsiteX387" fmla="*/ 1130810 w 1864556"/>
                  <a:gd name="connsiteY387" fmla="*/ 1421842 h 2927039"/>
                  <a:gd name="connsiteX388" fmla="*/ 1170271 w 1864556"/>
                  <a:gd name="connsiteY388" fmla="*/ 1417004 h 2927039"/>
                  <a:gd name="connsiteX389" fmla="*/ 1181367 w 1864556"/>
                  <a:gd name="connsiteY389" fmla="*/ 1406409 h 2927039"/>
                  <a:gd name="connsiteX390" fmla="*/ 1225666 w 1864556"/>
                  <a:gd name="connsiteY390" fmla="*/ 1390476 h 2927039"/>
                  <a:gd name="connsiteX391" fmla="*/ 1252279 w 1864556"/>
                  <a:gd name="connsiteY391" fmla="*/ 1413917 h 2927039"/>
                  <a:gd name="connsiteX392" fmla="*/ 1264209 w 1864556"/>
                  <a:gd name="connsiteY392" fmla="*/ 1428516 h 2927039"/>
                  <a:gd name="connsiteX393" fmla="*/ 1300083 w 1864556"/>
                  <a:gd name="connsiteY393" fmla="*/ 1428933 h 2927039"/>
                  <a:gd name="connsiteX394" fmla="*/ 1306757 w 1864556"/>
                  <a:gd name="connsiteY394" fmla="*/ 1427598 h 2927039"/>
                  <a:gd name="connsiteX395" fmla="*/ 1369244 w 1864556"/>
                  <a:gd name="connsiteY395" fmla="*/ 1434272 h 2927039"/>
                  <a:gd name="connsiteX396" fmla="*/ 1376752 w 1864556"/>
                  <a:gd name="connsiteY396" fmla="*/ 1440445 h 2927039"/>
                  <a:gd name="connsiteX397" fmla="*/ 1415712 w 1864556"/>
                  <a:gd name="connsiteY397" fmla="*/ 1451039 h 2927039"/>
                  <a:gd name="connsiteX398" fmla="*/ 1419216 w 1864556"/>
                  <a:gd name="connsiteY398" fmla="*/ 1450122 h 2927039"/>
                  <a:gd name="connsiteX399" fmla="*/ 1452420 w 1864556"/>
                  <a:gd name="connsiteY399" fmla="*/ 1447452 h 2927039"/>
                  <a:gd name="connsiteX400" fmla="*/ 1457759 w 1864556"/>
                  <a:gd name="connsiteY400" fmla="*/ 1448787 h 2927039"/>
                  <a:gd name="connsiteX401" fmla="*/ 1471942 w 1864556"/>
                  <a:gd name="connsiteY401" fmla="*/ 1450122 h 2927039"/>
                  <a:gd name="connsiteX402" fmla="*/ 1486542 w 1864556"/>
                  <a:gd name="connsiteY402" fmla="*/ 1435022 h 2927039"/>
                  <a:gd name="connsiteX403" fmla="*/ 1508233 w 1864556"/>
                  <a:gd name="connsiteY403" fmla="*/ 1414668 h 2927039"/>
                  <a:gd name="connsiteX404" fmla="*/ 1536598 w 1864556"/>
                  <a:gd name="connsiteY404" fmla="*/ 1417755 h 2927039"/>
                  <a:gd name="connsiteX405" fmla="*/ 1559624 w 1864556"/>
                  <a:gd name="connsiteY405" fmla="*/ 1420007 h 2927039"/>
                  <a:gd name="connsiteX406" fmla="*/ 1576476 w 1864556"/>
                  <a:gd name="connsiteY406" fmla="*/ 1408495 h 2927039"/>
                  <a:gd name="connsiteX407" fmla="*/ 1581815 w 1864556"/>
                  <a:gd name="connsiteY407" fmla="*/ 1403656 h 2927039"/>
                  <a:gd name="connsiteX408" fmla="*/ 1586654 w 1864556"/>
                  <a:gd name="connsiteY408" fmla="*/ 1399235 h 2927039"/>
                  <a:gd name="connsiteX409" fmla="*/ 1612766 w 1864556"/>
                  <a:gd name="connsiteY409" fmla="*/ 1382885 h 2927039"/>
                  <a:gd name="connsiteX410" fmla="*/ 1644218 w 1864556"/>
                  <a:gd name="connsiteY410" fmla="*/ 1362530 h 2927039"/>
                  <a:gd name="connsiteX411" fmla="*/ 1662822 w 1864556"/>
                  <a:gd name="connsiteY411" fmla="*/ 1347431 h 2927039"/>
                  <a:gd name="connsiteX412" fmla="*/ 1668996 w 1864556"/>
                  <a:gd name="connsiteY412" fmla="*/ 1343427 h 2927039"/>
                  <a:gd name="connsiteX413" fmla="*/ 1681427 w 1864556"/>
                  <a:gd name="connsiteY413" fmla="*/ 1332332 h 2927039"/>
                  <a:gd name="connsiteX414" fmla="*/ 1684513 w 1864556"/>
                  <a:gd name="connsiteY414" fmla="*/ 1323489 h 2927039"/>
                  <a:gd name="connsiteX415" fmla="*/ 1702701 w 1864556"/>
                  <a:gd name="connsiteY415" fmla="*/ 1302217 h 2927039"/>
                  <a:gd name="connsiteX416" fmla="*/ 1728396 w 1864556"/>
                  <a:gd name="connsiteY416" fmla="*/ 1299965 h 2927039"/>
                  <a:gd name="connsiteX417" fmla="*/ 1755009 w 1864556"/>
                  <a:gd name="connsiteY417" fmla="*/ 1293792 h 2927039"/>
                  <a:gd name="connsiteX418" fmla="*/ 1748836 w 1864556"/>
                  <a:gd name="connsiteY418" fmla="*/ 1259673 h 2927039"/>
                  <a:gd name="connsiteX419" fmla="*/ 1742162 w 1864556"/>
                  <a:gd name="connsiteY419" fmla="*/ 1249078 h 2927039"/>
                  <a:gd name="connsiteX420" fmla="*/ 1758096 w 1864556"/>
                  <a:gd name="connsiteY420" fmla="*/ 1194188 h 2927039"/>
                  <a:gd name="connsiteX421" fmla="*/ 1761183 w 1864556"/>
                  <a:gd name="connsiteY421" fmla="*/ 1191101 h 2927039"/>
                  <a:gd name="connsiteX422" fmla="*/ 1768691 w 1864556"/>
                  <a:gd name="connsiteY422" fmla="*/ 1178671 h 2927039"/>
                  <a:gd name="connsiteX423" fmla="*/ 1765187 w 1864556"/>
                  <a:gd name="connsiteY423" fmla="*/ 1168494 h 2927039"/>
                  <a:gd name="connsiteX424" fmla="*/ 1760349 w 1864556"/>
                  <a:gd name="connsiteY424" fmla="*/ 1150308 h 2927039"/>
                  <a:gd name="connsiteX425" fmla="*/ 1792218 w 1864556"/>
                  <a:gd name="connsiteY425" fmla="*/ 1104260 h 2927039"/>
                  <a:gd name="connsiteX426" fmla="*/ 1797057 w 1864556"/>
                  <a:gd name="connsiteY426" fmla="*/ 1099839 h 2927039"/>
                  <a:gd name="connsiteX427" fmla="*/ 1842691 w 1864556"/>
                  <a:gd name="connsiteY427" fmla="*/ 1055960 h 2927039"/>
                  <a:gd name="connsiteX428" fmla="*/ 1854621 w 1864556"/>
                  <a:gd name="connsiteY428" fmla="*/ 1044031 h 2927039"/>
                  <a:gd name="connsiteX429" fmla="*/ 1864465 w 1864556"/>
                  <a:gd name="connsiteY429" fmla="*/ 1025344 h 2927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</a:cxnLst>
                <a:rect l="l" t="t" r="r" b="b"/>
                <a:pathLst>
                  <a:path w="1864556" h="2927039" extrusionOk="0">
                    <a:moveTo>
                      <a:pt x="1864465" y="1025344"/>
                    </a:moveTo>
                    <a:cubicBezTo>
                      <a:pt x="1863548" y="1017836"/>
                      <a:pt x="1852035" y="1010746"/>
                      <a:pt x="1841440" y="1004072"/>
                    </a:cubicBezTo>
                    <a:cubicBezTo>
                      <a:pt x="1828592" y="996064"/>
                      <a:pt x="1813992" y="987221"/>
                      <a:pt x="1807735" y="973040"/>
                    </a:cubicBezTo>
                    <a:cubicBezTo>
                      <a:pt x="1802396" y="961111"/>
                      <a:pt x="1800644" y="948264"/>
                      <a:pt x="1798892" y="935834"/>
                    </a:cubicBezTo>
                    <a:cubicBezTo>
                      <a:pt x="1797557" y="924322"/>
                      <a:pt x="1796222" y="913227"/>
                      <a:pt x="1791801" y="903050"/>
                    </a:cubicBezTo>
                    <a:cubicBezTo>
                      <a:pt x="1785127" y="886199"/>
                      <a:pt x="1773614" y="879609"/>
                      <a:pt x="1758096" y="871600"/>
                    </a:cubicBezTo>
                    <a:cubicBezTo>
                      <a:pt x="1753675" y="868931"/>
                      <a:pt x="1748335" y="866261"/>
                      <a:pt x="1743496" y="863175"/>
                    </a:cubicBezTo>
                    <a:cubicBezTo>
                      <a:pt x="1731984" y="855667"/>
                      <a:pt x="1726644" y="845907"/>
                      <a:pt x="1721388" y="836147"/>
                    </a:cubicBezTo>
                    <a:cubicBezTo>
                      <a:pt x="1717884" y="829473"/>
                      <a:pt x="1713880" y="822883"/>
                      <a:pt x="1708541" y="817544"/>
                    </a:cubicBezTo>
                    <a:lnTo>
                      <a:pt x="1705037" y="814457"/>
                    </a:lnTo>
                    <a:cubicBezTo>
                      <a:pt x="1691271" y="802028"/>
                      <a:pt x="1682011" y="793185"/>
                      <a:pt x="1678423" y="771079"/>
                    </a:cubicBezTo>
                    <a:cubicBezTo>
                      <a:pt x="1677506" y="764906"/>
                      <a:pt x="1677506" y="758649"/>
                      <a:pt x="1677089" y="753393"/>
                    </a:cubicBezTo>
                    <a:cubicBezTo>
                      <a:pt x="1676672" y="740547"/>
                      <a:pt x="1676672" y="731704"/>
                      <a:pt x="1667328" y="724196"/>
                    </a:cubicBezTo>
                    <a:cubicBezTo>
                      <a:pt x="1647388" y="707345"/>
                      <a:pt x="1637628" y="691412"/>
                      <a:pt x="1648307" y="663049"/>
                    </a:cubicBezTo>
                    <a:cubicBezTo>
                      <a:pt x="1649641" y="659963"/>
                      <a:pt x="1651394" y="657293"/>
                      <a:pt x="1652728" y="654207"/>
                    </a:cubicBezTo>
                    <a:cubicBezTo>
                      <a:pt x="1655815" y="648450"/>
                      <a:pt x="1658068" y="644446"/>
                      <a:pt x="1657150" y="640025"/>
                    </a:cubicBezTo>
                    <a:cubicBezTo>
                      <a:pt x="1657150" y="637773"/>
                      <a:pt x="1655815" y="635604"/>
                      <a:pt x="1654063" y="632934"/>
                    </a:cubicBezTo>
                    <a:cubicBezTo>
                      <a:pt x="1651811" y="628513"/>
                      <a:pt x="1648724" y="623591"/>
                      <a:pt x="1649224" y="615666"/>
                    </a:cubicBezTo>
                    <a:cubicBezTo>
                      <a:pt x="1649641" y="605489"/>
                      <a:pt x="1655398" y="596146"/>
                      <a:pt x="1661655" y="587720"/>
                    </a:cubicBezTo>
                    <a:cubicBezTo>
                      <a:pt x="1658568" y="585468"/>
                      <a:pt x="1656315" y="582381"/>
                      <a:pt x="1654564" y="579295"/>
                    </a:cubicBezTo>
                    <a:cubicBezTo>
                      <a:pt x="1647055" y="564196"/>
                      <a:pt x="1661655" y="567366"/>
                      <a:pt x="1661655" y="556271"/>
                    </a:cubicBezTo>
                    <a:cubicBezTo>
                      <a:pt x="1661655" y="540338"/>
                      <a:pt x="1648807" y="556271"/>
                      <a:pt x="1645303" y="559775"/>
                    </a:cubicBezTo>
                    <a:cubicBezTo>
                      <a:pt x="1633373" y="573539"/>
                      <a:pt x="1628951" y="569952"/>
                      <a:pt x="1612516" y="569952"/>
                    </a:cubicBezTo>
                    <a:cubicBezTo>
                      <a:pt x="1590408" y="570369"/>
                      <a:pt x="1569551" y="600984"/>
                      <a:pt x="1573973" y="622674"/>
                    </a:cubicBezTo>
                    <a:cubicBezTo>
                      <a:pt x="1581982" y="658544"/>
                      <a:pt x="1615186" y="612913"/>
                      <a:pt x="1632456" y="612496"/>
                    </a:cubicBezTo>
                    <a:cubicBezTo>
                      <a:pt x="1648807" y="612079"/>
                      <a:pt x="1633373" y="627095"/>
                      <a:pt x="1627617" y="633769"/>
                    </a:cubicBezTo>
                    <a:cubicBezTo>
                      <a:pt x="1617439" y="646198"/>
                      <a:pt x="1617439" y="664300"/>
                      <a:pt x="1601504" y="672309"/>
                    </a:cubicBezTo>
                    <a:cubicBezTo>
                      <a:pt x="1593495" y="675812"/>
                      <a:pt x="1588656" y="672726"/>
                      <a:pt x="1581982" y="680317"/>
                    </a:cubicBezTo>
                    <a:cubicBezTo>
                      <a:pt x="1577144" y="685656"/>
                      <a:pt x="1575308" y="693581"/>
                      <a:pt x="1570470" y="698920"/>
                    </a:cubicBezTo>
                    <a:cubicBezTo>
                      <a:pt x="1564713" y="705593"/>
                      <a:pt x="1555870" y="707762"/>
                      <a:pt x="1549196" y="714019"/>
                    </a:cubicBezTo>
                    <a:cubicBezTo>
                      <a:pt x="1542104" y="720693"/>
                      <a:pt x="1537265" y="729118"/>
                      <a:pt x="1529256" y="735708"/>
                    </a:cubicBezTo>
                    <a:cubicBezTo>
                      <a:pt x="1511987" y="751225"/>
                      <a:pt x="1493383" y="756563"/>
                      <a:pt x="1471692" y="763154"/>
                    </a:cubicBezTo>
                    <a:cubicBezTo>
                      <a:pt x="1461931" y="766240"/>
                      <a:pt x="1441575" y="767992"/>
                      <a:pt x="1436235" y="778253"/>
                    </a:cubicBezTo>
                    <a:cubicBezTo>
                      <a:pt x="1430479" y="789765"/>
                      <a:pt x="1443744" y="798607"/>
                      <a:pt x="1438488" y="811454"/>
                    </a:cubicBezTo>
                    <a:cubicBezTo>
                      <a:pt x="1435401" y="818962"/>
                      <a:pt x="1428310" y="827805"/>
                      <a:pt x="1422971" y="833561"/>
                    </a:cubicBezTo>
                    <a:cubicBezTo>
                      <a:pt x="1421636" y="834478"/>
                      <a:pt x="1419884" y="835813"/>
                      <a:pt x="1418549" y="836647"/>
                    </a:cubicBezTo>
                    <a:cubicBezTo>
                      <a:pt x="1415879" y="838399"/>
                      <a:pt x="1414127" y="840151"/>
                      <a:pt x="1410540" y="840151"/>
                    </a:cubicBezTo>
                    <a:cubicBezTo>
                      <a:pt x="1410123" y="840151"/>
                      <a:pt x="1410123" y="839233"/>
                      <a:pt x="1409622" y="839233"/>
                    </a:cubicBezTo>
                    <a:cubicBezTo>
                      <a:pt x="1409622" y="839233"/>
                      <a:pt x="1408705" y="837481"/>
                      <a:pt x="1408705" y="836981"/>
                    </a:cubicBezTo>
                    <a:cubicBezTo>
                      <a:pt x="1408705" y="836564"/>
                      <a:pt x="1409122" y="835646"/>
                      <a:pt x="1409622" y="835229"/>
                    </a:cubicBezTo>
                    <a:cubicBezTo>
                      <a:pt x="1410540" y="834311"/>
                      <a:pt x="1410957" y="832977"/>
                      <a:pt x="1411875" y="831725"/>
                    </a:cubicBezTo>
                    <a:cubicBezTo>
                      <a:pt x="1413627" y="829056"/>
                      <a:pt x="1415379" y="826887"/>
                      <a:pt x="1417214" y="824635"/>
                    </a:cubicBezTo>
                    <a:cubicBezTo>
                      <a:pt x="1420718" y="819796"/>
                      <a:pt x="1424723" y="814874"/>
                      <a:pt x="1426057" y="809118"/>
                    </a:cubicBezTo>
                    <a:cubicBezTo>
                      <a:pt x="1430062" y="791850"/>
                      <a:pt x="1422554" y="777669"/>
                      <a:pt x="1430479" y="759984"/>
                    </a:cubicBezTo>
                    <a:cubicBezTo>
                      <a:pt x="1433566" y="751975"/>
                      <a:pt x="1436653" y="746720"/>
                      <a:pt x="1443327" y="741381"/>
                    </a:cubicBezTo>
                    <a:cubicBezTo>
                      <a:pt x="1449500" y="736543"/>
                      <a:pt x="1456592" y="736042"/>
                      <a:pt x="1461013" y="728117"/>
                    </a:cubicBezTo>
                    <a:cubicBezTo>
                      <a:pt x="1470357" y="710849"/>
                      <a:pt x="1460596" y="693581"/>
                      <a:pt x="1478700" y="679817"/>
                    </a:cubicBezTo>
                    <a:cubicBezTo>
                      <a:pt x="1494634" y="667387"/>
                      <a:pt x="1511904" y="663883"/>
                      <a:pt x="1521665" y="644363"/>
                    </a:cubicBezTo>
                    <a:cubicBezTo>
                      <a:pt x="1530508" y="626678"/>
                      <a:pt x="1531842" y="606240"/>
                      <a:pt x="1541603" y="588972"/>
                    </a:cubicBezTo>
                    <a:cubicBezTo>
                      <a:pt x="1549112" y="576125"/>
                      <a:pt x="1564213" y="570369"/>
                      <a:pt x="1571304" y="557939"/>
                    </a:cubicBezTo>
                    <a:cubicBezTo>
                      <a:pt x="1581064" y="541088"/>
                      <a:pt x="1565964" y="538419"/>
                      <a:pt x="1566464" y="523820"/>
                    </a:cubicBezTo>
                    <a:cubicBezTo>
                      <a:pt x="1567383" y="509639"/>
                      <a:pt x="1590408" y="495457"/>
                      <a:pt x="1596582" y="482194"/>
                    </a:cubicBezTo>
                    <a:cubicBezTo>
                      <a:pt x="1599669" y="476437"/>
                      <a:pt x="1599669" y="469764"/>
                      <a:pt x="1603673" y="464008"/>
                    </a:cubicBezTo>
                    <a:cubicBezTo>
                      <a:pt x="1608512" y="456917"/>
                      <a:pt x="1617439" y="452079"/>
                      <a:pt x="1623195" y="445822"/>
                    </a:cubicBezTo>
                    <a:cubicBezTo>
                      <a:pt x="1638295" y="430306"/>
                      <a:pt x="1637377" y="422381"/>
                      <a:pt x="1642717" y="402861"/>
                    </a:cubicBezTo>
                    <a:cubicBezTo>
                      <a:pt x="1644469" y="394435"/>
                      <a:pt x="1649808" y="391766"/>
                      <a:pt x="1654647" y="385593"/>
                    </a:cubicBezTo>
                    <a:cubicBezTo>
                      <a:pt x="1663073" y="375415"/>
                      <a:pt x="1662656" y="367907"/>
                      <a:pt x="1664408" y="355061"/>
                    </a:cubicBezTo>
                    <a:cubicBezTo>
                      <a:pt x="1668412" y="330285"/>
                      <a:pt x="1692356" y="294831"/>
                      <a:pt x="1665742" y="274894"/>
                    </a:cubicBezTo>
                    <a:cubicBezTo>
                      <a:pt x="1651560" y="264299"/>
                      <a:pt x="1632038" y="266468"/>
                      <a:pt x="1617939" y="255373"/>
                    </a:cubicBezTo>
                    <a:cubicBezTo>
                      <a:pt x="1600669" y="241609"/>
                      <a:pt x="1608178" y="237187"/>
                      <a:pt x="1624613" y="245613"/>
                    </a:cubicBezTo>
                    <a:cubicBezTo>
                      <a:pt x="1641883" y="254038"/>
                      <a:pt x="1667995" y="257125"/>
                      <a:pt x="1664908" y="228345"/>
                    </a:cubicBezTo>
                    <a:cubicBezTo>
                      <a:pt x="1663574" y="217750"/>
                      <a:pt x="1657817" y="213746"/>
                      <a:pt x="1651143" y="207073"/>
                    </a:cubicBezTo>
                    <a:cubicBezTo>
                      <a:pt x="1644469" y="199982"/>
                      <a:pt x="1640965" y="199064"/>
                      <a:pt x="1636043" y="189388"/>
                    </a:cubicBezTo>
                    <a:cubicBezTo>
                      <a:pt x="1629869" y="178293"/>
                      <a:pt x="1613935" y="155686"/>
                      <a:pt x="1599752" y="155268"/>
                    </a:cubicBezTo>
                    <a:cubicBezTo>
                      <a:pt x="1568717" y="154351"/>
                      <a:pt x="1602839" y="176958"/>
                      <a:pt x="1600669" y="184966"/>
                    </a:cubicBezTo>
                    <a:cubicBezTo>
                      <a:pt x="1599752" y="190305"/>
                      <a:pt x="1583401" y="169450"/>
                      <a:pt x="1582483" y="165029"/>
                    </a:cubicBezTo>
                    <a:cubicBezTo>
                      <a:pt x="1578061" y="146843"/>
                      <a:pt x="1582065" y="142422"/>
                      <a:pt x="1560374" y="137583"/>
                    </a:cubicBezTo>
                    <a:cubicBezTo>
                      <a:pt x="1541770" y="133579"/>
                      <a:pt x="1548445" y="123402"/>
                      <a:pt x="1528005" y="111890"/>
                    </a:cubicBezTo>
                    <a:cubicBezTo>
                      <a:pt x="1508483" y="100795"/>
                      <a:pt x="1474862" y="101295"/>
                      <a:pt x="1454506" y="110555"/>
                    </a:cubicBezTo>
                    <a:cubicBezTo>
                      <a:pt x="1448750" y="113225"/>
                      <a:pt x="1442993" y="115393"/>
                      <a:pt x="1436820" y="116728"/>
                    </a:cubicBezTo>
                    <a:cubicBezTo>
                      <a:pt x="1417798" y="120232"/>
                      <a:pt x="1397359" y="126071"/>
                      <a:pt x="1379255" y="133996"/>
                    </a:cubicBezTo>
                    <a:cubicBezTo>
                      <a:pt x="1363738" y="140670"/>
                      <a:pt x="1369494" y="142839"/>
                      <a:pt x="1370412" y="155686"/>
                    </a:cubicBezTo>
                    <a:cubicBezTo>
                      <a:pt x="1371747" y="172954"/>
                      <a:pt x="1360234" y="175623"/>
                      <a:pt x="1346051" y="180962"/>
                    </a:cubicBezTo>
                    <a:cubicBezTo>
                      <a:pt x="1337625" y="184048"/>
                      <a:pt x="1325194" y="191139"/>
                      <a:pt x="1315934" y="187135"/>
                    </a:cubicBezTo>
                    <a:cubicBezTo>
                      <a:pt x="1300000" y="180461"/>
                      <a:pt x="1311930" y="167615"/>
                      <a:pt x="1318604" y="158355"/>
                    </a:cubicBezTo>
                    <a:cubicBezTo>
                      <a:pt x="1328365" y="145091"/>
                      <a:pt x="1342047" y="125571"/>
                      <a:pt x="1334121" y="107886"/>
                    </a:cubicBezTo>
                    <a:cubicBezTo>
                      <a:pt x="1327948" y="93704"/>
                      <a:pt x="1308843" y="91535"/>
                      <a:pt x="1295578" y="95456"/>
                    </a:cubicBezTo>
                    <a:cubicBezTo>
                      <a:pt x="1287569" y="98125"/>
                      <a:pt x="1280978" y="105216"/>
                      <a:pt x="1272135" y="105633"/>
                    </a:cubicBezTo>
                    <a:cubicBezTo>
                      <a:pt x="1265043" y="105633"/>
                      <a:pt x="1260622" y="101212"/>
                      <a:pt x="1253948" y="98960"/>
                    </a:cubicBezTo>
                    <a:cubicBezTo>
                      <a:pt x="1245105" y="96290"/>
                      <a:pt x="1206979" y="109137"/>
                      <a:pt x="1204309" y="103381"/>
                    </a:cubicBezTo>
                    <a:cubicBezTo>
                      <a:pt x="1202056" y="98960"/>
                      <a:pt x="1228670" y="81274"/>
                      <a:pt x="1231756" y="78605"/>
                    </a:cubicBezTo>
                    <a:cubicBezTo>
                      <a:pt x="1242352" y="69762"/>
                      <a:pt x="1254782" y="58250"/>
                      <a:pt x="1258786" y="44903"/>
                    </a:cubicBezTo>
                    <a:cubicBezTo>
                      <a:pt x="1263208" y="30304"/>
                      <a:pt x="1257869" y="17458"/>
                      <a:pt x="1242852" y="13871"/>
                    </a:cubicBezTo>
                    <a:cubicBezTo>
                      <a:pt x="1235761" y="12119"/>
                      <a:pt x="1228670" y="14788"/>
                      <a:pt x="1221578" y="13454"/>
                    </a:cubicBezTo>
                    <a:cubicBezTo>
                      <a:pt x="1211817" y="12119"/>
                      <a:pt x="1206061" y="5946"/>
                      <a:pt x="1197218" y="2359"/>
                    </a:cubicBezTo>
                    <a:cubicBezTo>
                      <a:pt x="1177696" y="-5149"/>
                      <a:pt x="1163096" y="6780"/>
                      <a:pt x="1147162" y="16957"/>
                    </a:cubicBezTo>
                    <a:cubicBezTo>
                      <a:pt x="1131644" y="26718"/>
                      <a:pt x="1128140" y="34642"/>
                      <a:pt x="1117962" y="48824"/>
                    </a:cubicBezTo>
                    <a:cubicBezTo>
                      <a:pt x="1114875" y="52828"/>
                      <a:pt x="1109953" y="56332"/>
                      <a:pt x="1108618" y="61254"/>
                    </a:cubicBezTo>
                    <a:cubicBezTo>
                      <a:pt x="1106366" y="67427"/>
                      <a:pt x="1109536" y="73683"/>
                      <a:pt x="1107284" y="79856"/>
                    </a:cubicBezTo>
                    <a:cubicBezTo>
                      <a:pt x="1104614" y="87865"/>
                      <a:pt x="1097940" y="92286"/>
                      <a:pt x="1095353" y="101129"/>
                    </a:cubicBezTo>
                    <a:cubicBezTo>
                      <a:pt x="1092684" y="109137"/>
                      <a:pt x="1088679" y="113975"/>
                      <a:pt x="1085593" y="121483"/>
                    </a:cubicBezTo>
                    <a:cubicBezTo>
                      <a:pt x="1082089" y="129909"/>
                      <a:pt x="1082506" y="139669"/>
                      <a:pt x="1080253" y="148511"/>
                    </a:cubicBezTo>
                    <a:cubicBezTo>
                      <a:pt x="1079336" y="154267"/>
                      <a:pt x="1076249" y="159106"/>
                      <a:pt x="1076749" y="164862"/>
                    </a:cubicBezTo>
                    <a:cubicBezTo>
                      <a:pt x="1077667" y="171953"/>
                      <a:pt x="1082923" y="176374"/>
                      <a:pt x="1086093" y="182130"/>
                    </a:cubicBezTo>
                    <a:cubicBezTo>
                      <a:pt x="1091850" y="192307"/>
                      <a:pt x="1090515" y="198480"/>
                      <a:pt x="1092267" y="209158"/>
                    </a:cubicBezTo>
                    <a:cubicBezTo>
                      <a:pt x="1095771" y="228678"/>
                      <a:pt x="1102445" y="222923"/>
                      <a:pt x="1117962" y="229096"/>
                    </a:cubicBezTo>
                    <a:cubicBezTo>
                      <a:pt x="1121049" y="230430"/>
                      <a:pt x="1135649" y="236603"/>
                      <a:pt x="1134815" y="241525"/>
                    </a:cubicBezTo>
                    <a:cubicBezTo>
                      <a:pt x="1133897" y="244612"/>
                      <a:pt x="1118880" y="239773"/>
                      <a:pt x="1116210" y="239273"/>
                    </a:cubicBezTo>
                    <a:cubicBezTo>
                      <a:pt x="1093184" y="234852"/>
                      <a:pt x="1075915" y="240608"/>
                      <a:pt x="1053723" y="246781"/>
                    </a:cubicBezTo>
                    <a:cubicBezTo>
                      <a:pt x="1045714" y="249033"/>
                      <a:pt x="1037372" y="252537"/>
                      <a:pt x="1028945" y="250284"/>
                    </a:cubicBezTo>
                    <a:cubicBezTo>
                      <a:pt x="1024107" y="249367"/>
                      <a:pt x="1015180" y="240941"/>
                      <a:pt x="1010341" y="241859"/>
                    </a:cubicBezTo>
                    <a:cubicBezTo>
                      <a:pt x="989068" y="246280"/>
                      <a:pt x="1024524" y="281317"/>
                      <a:pt x="1029863" y="286572"/>
                    </a:cubicBezTo>
                    <a:cubicBezTo>
                      <a:pt x="1049802" y="307845"/>
                      <a:pt x="1069324" y="330451"/>
                      <a:pt x="1055142" y="360983"/>
                    </a:cubicBezTo>
                    <a:cubicBezTo>
                      <a:pt x="1048968" y="374247"/>
                      <a:pt x="1036955" y="386260"/>
                      <a:pt x="1041877" y="402193"/>
                    </a:cubicBezTo>
                    <a:cubicBezTo>
                      <a:pt x="1045381" y="413705"/>
                      <a:pt x="1056977" y="420796"/>
                      <a:pt x="1064903" y="429221"/>
                    </a:cubicBezTo>
                    <a:cubicBezTo>
                      <a:pt x="1075999" y="440316"/>
                      <a:pt x="1079502" y="455332"/>
                      <a:pt x="1089681" y="466844"/>
                    </a:cubicBezTo>
                    <a:cubicBezTo>
                      <a:pt x="1100776" y="478773"/>
                      <a:pt x="1116294" y="494289"/>
                      <a:pt x="1117628" y="511557"/>
                    </a:cubicBezTo>
                    <a:cubicBezTo>
                      <a:pt x="1118546" y="519065"/>
                      <a:pt x="1115876" y="522152"/>
                      <a:pt x="1119881" y="530160"/>
                    </a:cubicBezTo>
                    <a:cubicBezTo>
                      <a:pt x="1122551" y="535916"/>
                      <a:pt x="1129225" y="543424"/>
                      <a:pt x="1134063" y="547845"/>
                    </a:cubicBezTo>
                    <a:cubicBezTo>
                      <a:pt x="1144242" y="557188"/>
                      <a:pt x="1165098" y="563362"/>
                      <a:pt x="1179281" y="560275"/>
                    </a:cubicBezTo>
                    <a:cubicBezTo>
                      <a:pt x="1186372" y="558940"/>
                      <a:pt x="1188625" y="554519"/>
                      <a:pt x="1194798" y="551850"/>
                    </a:cubicBezTo>
                    <a:cubicBezTo>
                      <a:pt x="1203225" y="548346"/>
                      <a:pt x="1211150" y="550515"/>
                      <a:pt x="1219576" y="549180"/>
                    </a:cubicBezTo>
                    <a:cubicBezTo>
                      <a:pt x="1238597" y="545676"/>
                      <a:pt x="1253698" y="530577"/>
                      <a:pt x="1267380" y="518148"/>
                    </a:cubicBezTo>
                    <a:cubicBezTo>
                      <a:pt x="1281562" y="504884"/>
                      <a:pt x="1279310" y="505718"/>
                      <a:pt x="1271384" y="490202"/>
                    </a:cubicBezTo>
                    <a:cubicBezTo>
                      <a:pt x="1265628" y="479607"/>
                      <a:pt x="1265210" y="442819"/>
                      <a:pt x="1286901" y="445906"/>
                    </a:cubicBezTo>
                    <a:cubicBezTo>
                      <a:pt x="1296663" y="447240"/>
                      <a:pt x="1307258" y="469347"/>
                      <a:pt x="1315267" y="475103"/>
                    </a:cubicBezTo>
                    <a:cubicBezTo>
                      <a:pt x="1320606" y="479107"/>
                      <a:pt x="1352892" y="487949"/>
                      <a:pt x="1352475" y="495958"/>
                    </a:cubicBezTo>
                    <a:cubicBezTo>
                      <a:pt x="1352058" y="502632"/>
                      <a:pt x="1315684" y="510139"/>
                      <a:pt x="1310428" y="514978"/>
                    </a:cubicBezTo>
                    <a:cubicBezTo>
                      <a:pt x="1305088" y="519399"/>
                      <a:pt x="1302419" y="523403"/>
                      <a:pt x="1296245" y="527407"/>
                    </a:cubicBezTo>
                    <a:cubicBezTo>
                      <a:pt x="1287819" y="533163"/>
                      <a:pt x="1282063" y="537168"/>
                      <a:pt x="1274972" y="544258"/>
                    </a:cubicBezTo>
                    <a:cubicBezTo>
                      <a:pt x="1266963" y="551766"/>
                      <a:pt x="1259454" y="552267"/>
                      <a:pt x="1250611" y="557522"/>
                    </a:cubicBezTo>
                    <a:cubicBezTo>
                      <a:pt x="1243520" y="561943"/>
                      <a:pt x="1240850" y="569034"/>
                      <a:pt x="1234676" y="573455"/>
                    </a:cubicBezTo>
                    <a:cubicBezTo>
                      <a:pt x="1224498" y="580129"/>
                      <a:pt x="1204559" y="575207"/>
                      <a:pt x="1199720" y="588972"/>
                    </a:cubicBezTo>
                    <a:cubicBezTo>
                      <a:pt x="1194882" y="602736"/>
                      <a:pt x="1214320" y="608492"/>
                      <a:pt x="1211650" y="620838"/>
                    </a:cubicBezTo>
                    <a:cubicBezTo>
                      <a:pt x="1208564" y="634102"/>
                      <a:pt x="1195299" y="628346"/>
                      <a:pt x="1187290" y="624843"/>
                    </a:cubicBezTo>
                    <a:cubicBezTo>
                      <a:pt x="1181534" y="622173"/>
                      <a:pt x="1170938" y="612413"/>
                      <a:pt x="1164264" y="613748"/>
                    </a:cubicBezTo>
                    <a:cubicBezTo>
                      <a:pt x="1149164" y="617752"/>
                      <a:pt x="1164264" y="635437"/>
                      <a:pt x="1169103" y="641693"/>
                    </a:cubicBezTo>
                    <a:cubicBezTo>
                      <a:pt x="1178864" y="653206"/>
                      <a:pt x="1193046" y="666469"/>
                      <a:pt x="1194798" y="682486"/>
                    </a:cubicBezTo>
                    <a:cubicBezTo>
                      <a:pt x="1197051" y="701506"/>
                      <a:pt x="1185037" y="703341"/>
                      <a:pt x="1169520" y="698419"/>
                    </a:cubicBezTo>
                    <a:cubicBezTo>
                      <a:pt x="1146077" y="690411"/>
                      <a:pt x="1167768" y="660296"/>
                      <a:pt x="1156672" y="641693"/>
                    </a:cubicBezTo>
                    <a:cubicBezTo>
                      <a:pt x="1153586" y="636354"/>
                      <a:pt x="1126555" y="622173"/>
                      <a:pt x="1119881" y="621756"/>
                    </a:cubicBezTo>
                    <a:cubicBezTo>
                      <a:pt x="1102195" y="620421"/>
                      <a:pt x="1100359" y="639024"/>
                      <a:pt x="1105281" y="651454"/>
                    </a:cubicBezTo>
                    <a:cubicBezTo>
                      <a:pt x="1108368" y="659462"/>
                      <a:pt x="1122133" y="670974"/>
                      <a:pt x="1115042" y="679817"/>
                    </a:cubicBezTo>
                    <a:cubicBezTo>
                      <a:pt x="1107033" y="689994"/>
                      <a:pt x="1089347" y="670056"/>
                      <a:pt x="1085843" y="663466"/>
                    </a:cubicBezTo>
                    <a:cubicBezTo>
                      <a:pt x="1081421" y="654624"/>
                      <a:pt x="1083173" y="650202"/>
                      <a:pt x="1082756" y="640442"/>
                    </a:cubicBezTo>
                    <a:cubicBezTo>
                      <a:pt x="1081838" y="630682"/>
                      <a:pt x="1079252" y="630682"/>
                      <a:pt x="1074747" y="623591"/>
                    </a:cubicBezTo>
                    <a:cubicBezTo>
                      <a:pt x="1072077" y="619170"/>
                      <a:pt x="1065403" y="617418"/>
                      <a:pt x="1071660" y="611162"/>
                    </a:cubicBezTo>
                    <a:cubicBezTo>
                      <a:pt x="1075164" y="607658"/>
                      <a:pt x="1088930" y="610244"/>
                      <a:pt x="1093768" y="608075"/>
                    </a:cubicBezTo>
                    <a:cubicBezTo>
                      <a:pt x="1102612" y="604071"/>
                      <a:pt x="1112372" y="590807"/>
                      <a:pt x="1116794" y="581964"/>
                    </a:cubicBezTo>
                    <a:cubicBezTo>
                      <a:pt x="1124303" y="565614"/>
                      <a:pt x="1108785" y="559775"/>
                      <a:pt x="1103029" y="545176"/>
                    </a:cubicBezTo>
                    <a:cubicBezTo>
                      <a:pt x="1095938" y="527908"/>
                      <a:pt x="1111038" y="520400"/>
                      <a:pt x="1107867" y="504884"/>
                    </a:cubicBezTo>
                    <a:cubicBezTo>
                      <a:pt x="1105198" y="492955"/>
                      <a:pt x="1089681" y="492955"/>
                      <a:pt x="1084842" y="480942"/>
                    </a:cubicBezTo>
                    <a:cubicBezTo>
                      <a:pt x="1082589" y="475603"/>
                      <a:pt x="1083507" y="468512"/>
                      <a:pt x="1080003" y="463257"/>
                    </a:cubicBezTo>
                    <a:cubicBezTo>
                      <a:pt x="1076499" y="458419"/>
                      <a:pt x="1071160" y="457084"/>
                      <a:pt x="1068073" y="453080"/>
                    </a:cubicBezTo>
                    <a:cubicBezTo>
                      <a:pt x="1063651" y="447324"/>
                      <a:pt x="1064569" y="441150"/>
                      <a:pt x="1057895" y="435395"/>
                    </a:cubicBezTo>
                    <a:cubicBezTo>
                      <a:pt x="1051221" y="429639"/>
                      <a:pt x="1042794" y="426552"/>
                      <a:pt x="1036621" y="420796"/>
                    </a:cubicBezTo>
                    <a:cubicBezTo>
                      <a:pt x="1007839" y="395102"/>
                      <a:pt x="1048134" y="376500"/>
                      <a:pt x="1050804" y="349888"/>
                    </a:cubicBezTo>
                    <a:cubicBezTo>
                      <a:pt x="1052138" y="334789"/>
                      <a:pt x="1051221" y="318022"/>
                      <a:pt x="1037038" y="309596"/>
                    </a:cubicBezTo>
                    <a:cubicBezTo>
                      <a:pt x="1020686" y="299419"/>
                      <a:pt x="1002082" y="301171"/>
                      <a:pt x="987399" y="313100"/>
                    </a:cubicBezTo>
                    <a:cubicBezTo>
                      <a:pt x="979390" y="319774"/>
                      <a:pt x="970130" y="341463"/>
                      <a:pt x="961704" y="344133"/>
                    </a:cubicBezTo>
                    <a:cubicBezTo>
                      <a:pt x="947938" y="348971"/>
                      <a:pt x="944017" y="328616"/>
                      <a:pt x="933756" y="348554"/>
                    </a:cubicBezTo>
                    <a:cubicBezTo>
                      <a:pt x="927999" y="359649"/>
                      <a:pt x="930252" y="367157"/>
                      <a:pt x="918238" y="360983"/>
                    </a:cubicBezTo>
                    <a:cubicBezTo>
                      <a:pt x="914734" y="359232"/>
                      <a:pt x="914734" y="353476"/>
                      <a:pt x="909395" y="352141"/>
                    </a:cubicBezTo>
                    <a:cubicBezTo>
                      <a:pt x="900051" y="349888"/>
                      <a:pt x="899634" y="359232"/>
                      <a:pt x="893878" y="363653"/>
                    </a:cubicBezTo>
                    <a:cubicBezTo>
                      <a:pt x="886369" y="369409"/>
                      <a:pt x="885451" y="366739"/>
                      <a:pt x="889039" y="353893"/>
                    </a:cubicBezTo>
                    <a:cubicBezTo>
                      <a:pt x="893460" y="337542"/>
                      <a:pt x="888121" y="327281"/>
                      <a:pt x="870017" y="330869"/>
                    </a:cubicBezTo>
                    <a:cubicBezTo>
                      <a:pt x="837231" y="336625"/>
                      <a:pt x="805362" y="340212"/>
                      <a:pt x="774327" y="350806"/>
                    </a:cubicBezTo>
                    <a:cubicBezTo>
                      <a:pt x="764983" y="353893"/>
                      <a:pt x="754388" y="360983"/>
                      <a:pt x="767236" y="368491"/>
                    </a:cubicBezTo>
                    <a:cubicBezTo>
                      <a:pt x="772992" y="371578"/>
                      <a:pt x="794266" y="361818"/>
                      <a:pt x="796936" y="371995"/>
                    </a:cubicBezTo>
                    <a:cubicBezTo>
                      <a:pt x="797853" y="378168"/>
                      <a:pt x="795184" y="382589"/>
                      <a:pt x="790762" y="386176"/>
                    </a:cubicBezTo>
                    <a:cubicBezTo>
                      <a:pt x="777914" y="396771"/>
                      <a:pt x="771240" y="393267"/>
                      <a:pt x="764649" y="394185"/>
                    </a:cubicBezTo>
                    <a:cubicBezTo>
                      <a:pt x="747797" y="396854"/>
                      <a:pt x="732280" y="403945"/>
                      <a:pt x="716846" y="412370"/>
                    </a:cubicBezTo>
                    <a:cubicBezTo>
                      <a:pt x="699994" y="421213"/>
                      <a:pt x="689398" y="428304"/>
                      <a:pt x="670294" y="429639"/>
                    </a:cubicBezTo>
                    <a:cubicBezTo>
                      <a:pt x="662785" y="430556"/>
                      <a:pt x="654359" y="429639"/>
                      <a:pt x="646851" y="431891"/>
                    </a:cubicBezTo>
                    <a:cubicBezTo>
                      <a:pt x="634921" y="435395"/>
                      <a:pt x="636256" y="439899"/>
                      <a:pt x="629164" y="447824"/>
                    </a:cubicBezTo>
                    <a:cubicBezTo>
                      <a:pt x="617651" y="460254"/>
                      <a:pt x="599464" y="450911"/>
                      <a:pt x="586617" y="463340"/>
                    </a:cubicBezTo>
                    <a:cubicBezTo>
                      <a:pt x="575521" y="474435"/>
                      <a:pt x="572434" y="490786"/>
                      <a:pt x="561338" y="501881"/>
                    </a:cubicBezTo>
                    <a:cubicBezTo>
                      <a:pt x="534725" y="527991"/>
                      <a:pt x="505108" y="543508"/>
                      <a:pt x="488674" y="578544"/>
                    </a:cubicBezTo>
                    <a:cubicBezTo>
                      <a:pt x="486421" y="584300"/>
                      <a:pt x="480665" y="590473"/>
                      <a:pt x="479830" y="596730"/>
                    </a:cubicBezTo>
                    <a:cubicBezTo>
                      <a:pt x="478913" y="602069"/>
                      <a:pt x="483835" y="601151"/>
                      <a:pt x="482083" y="607324"/>
                    </a:cubicBezTo>
                    <a:cubicBezTo>
                      <a:pt x="478579" y="618836"/>
                      <a:pt x="462144" y="620171"/>
                      <a:pt x="477661" y="632601"/>
                    </a:cubicBezTo>
                    <a:cubicBezTo>
                      <a:pt x="483418" y="637022"/>
                      <a:pt x="492761" y="635270"/>
                      <a:pt x="494931" y="643696"/>
                    </a:cubicBezTo>
                    <a:cubicBezTo>
                      <a:pt x="496682" y="650369"/>
                      <a:pt x="494514" y="654290"/>
                      <a:pt x="486922" y="653456"/>
                    </a:cubicBezTo>
                    <a:cubicBezTo>
                      <a:pt x="476326" y="652538"/>
                      <a:pt x="462978" y="631766"/>
                      <a:pt x="449713" y="637940"/>
                    </a:cubicBezTo>
                    <a:cubicBezTo>
                      <a:pt x="429357" y="647283"/>
                      <a:pt x="458139" y="668471"/>
                      <a:pt x="464313" y="674728"/>
                    </a:cubicBezTo>
                    <a:cubicBezTo>
                      <a:pt x="469652" y="680484"/>
                      <a:pt x="472739" y="687575"/>
                      <a:pt x="477578" y="692914"/>
                    </a:cubicBezTo>
                    <a:cubicBezTo>
                      <a:pt x="481082" y="696918"/>
                      <a:pt x="492177" y="701756"/>
                      <a:pt x="493095" y="707512"/>
                    </a:cubicBezTo>
                    <a:cubicBezTo>
                      <a:pt x="495348" y="718607"/>
                      <a:pt x="481165" y="730119"/>
                      <a:pt x="472739" y="732789"/>
                    </a:cubicBezTo>
                    <a:cubicBezTo>
                      <a:pt x="455887" y="737627"/>
                      <a:pt x="439952" y="733706"/>
                      <a:pt x="424435" y="742549"/>
                    </a:cubicBezTo>
                    <a:cubicBezTo>
                      <a:pt x="412505" y="749640"/>
                      <a:pt x="402744" y="763821"/>
                      <a:pt x="386809" y="760735"/>
                    </a:cubicBezTo>
                    <a:cubicBezTo>
                      <a:pt x="376631" y="758482"/>
                      <a:pt x="372210" y="749640"/>
                      <a:pt x="360697" y="750557"/>
                    </a:cubicBezTo>
                    <a:cubicBezTo>
                      <a:pt x="350102" y="750974"/>
                      <a:pt x="339423" y="758065"/>
                      <a:pt x="328327" y="758983"/>
                    </a:cubicBezTo>
                    <a:cubicBezTo>
                      <a:pt x="309723" y="760735"/>
                      <a:pt x="289784" y="759400"/>
                      <a:pt x="272515" y="752810"/>
                    </a:cubicBezTo>
                    <a:cubicBezTo>
                      <a:pt x="250407" y="744384"/>
                      <a:pt x="238810" y="755062"/>
                      <a:pt x="216702" y="756313"/>
                    </a:cubicBezTo>
                    <a:cubicBezTo>
                      <a:pt x="197180" y="757648"/>
                      <a:pt x="182163" y="754979"/>
                      <a:pt x="167063" y="769160"/>
                    </a:cubicBezTo>
                    <a:cubicBezTo>
                      <a:pt x="155550" y="780255"/>
                      <a:pt x="141785" y="798357"/>
                      <a:pt x="143620" y="815208"/>
                    </a:cubicBezTo>
                    <a:cubicBezTo>
                      <a:pt x="144955" y="828973"/>
                      <a:pt x="157803" y="838232"/>
                      <a:pt x="160472" y="851496"/>
                    </a:cubicBezTo>
                    <a:cubicBezTo>
                      <a:pt x="164477" y="873185"/>
                      <a:pt x="151129" y="897127"/>
                      <a:pt x="149377" y="918399"/>
                    </a:cubicBezTo>
                    <a:cubicBezTo>
                      <a:pt x="148042" y="937419"/>
                      <a:pt x="146707" y="951184"/>
                      <a:pt x="161306" y="965365"/>
                    </a:cubicBezTo>
                    <a:cubicBezTo>
                      <a:pt x="175072" y="978629"/>
                      <a:pt x="193676" y="982216"/>
                      <a:pt x="208276" y="993728"/>
                    </a:cubicBezTo>
                    <a:cubicBezTo>
                      <a:pt x="230384" y="1011413"/>
                      <a:pt x="218454" y="1046867"/>
                      <a:pt x="241480" y="1064135"/>
                    </a:cubicBezTo>
                    <a:cubicBezTo>
                      <a:pt x="255245" y="1075230"/>
                      <a:pt x="270679" y="1078316"/>
                      <a:pt x="280440" y="1095167"/>
                    </a:cubicBezTo>
                    <a:cubicBezTo>
                      <a:pt x="292370" y="1116857"/>
                      <a:pt x="279522" y="1126617"/>
                      <a:pt x="268510" y="1143885"/>
                    </a:cubicBezTo>
                    <a:cubicBezTo>
                      <a:pt x="240562" y="1185929"/>
                      <a:pt x="262336" y="1220548"/>
                      <a:pt x="270262" y="1263927"/>
                    </a:cubicBezTo>
                    <a:cubicBezTo>
                      <a:pt x="273349" y="1282113"/>
                      <a:pt x="279606" y="1317566"/>
                      <a:pt x="262253" y="1330830"/>
                    </a:cubicBezTo>
                    <a:cubicBezTo>
                      <a:pt x="255162" y="1336586"/>
                      <a:pt x="243649" y="1333500"/>
                      <a:pt x="237475" y="1340591"/>
                    </a:cubicBezTo>
                    <a:cubicBezTo>
                      <a:pt x="233053" y="1345929"/>
                      <a:pt x="234388" y="1352520"/>
                      <a:pt x="233471" y="1358776"/>
                    </a:cubicBezTo>
                    <a:cubicBezTo>
                      <a:pt x="231719" y="1370288"/>
                      <a:pt x="225962" y="1385387"/>
                      <a:pt x="212197" y="1373375"/>
                    </a:cubicBezTo>
                    <a:cubicBezTo>
                      <a:pt x="201101" y="1364032"/>
                      <a:pt x="208693" y="1345012"/>
                      <a:pt x="214867" y="1336169"/>
                    </a:cubicBezTo>
                    <a:cubicBezTo>
                      <a:pt x="227297" y="1318484"/>
                      <a:pt x="228632" y="1303385"/>
                      <a:pt x="234388" y="1282530"/>
                    </a:cubicBezTo>
                    <a:cubicBezTo>
                      <a:pt x="237892" y="1268765"/>
                      <a:pt x="247653" y="1249328"/>
                      <a:pt x="240562" y="1235147"/>
                    </a:cubicBezTo>
                    <a:cubicBezTo>
                      <a:pt x="237892" y="1229808"/>
                      <a:pt x="232553" y="1222300"/>
                      <a:pt x="225962" y="1226304"/>
                    </a:cubicBezTo>
                    <a:cubicBezTo>
                      <a:pt x="219288" y="1229808"/>
                      <a:pt x="217119" y="1238233"/>
                      <a:pt x="214032" y="1244490"/>
                    </a:cubicBezTo>
                    <a:cubicBezTo>
                      <a:pt x="211780" y="1249829"/>
                      <a:pt x="210028" y="1255585"/>
                      <a:pt x="207358" y="1260840"/>
                    </a:cubicBezTo>
                    <a:cubicBezTo>
                      <a:pt x="206440" y="1263093"/>
                      <a:pt x="204271" y="1272770"/>
                      <a:pt x="200267" y="1272353"/>
                    </a:cubicBezTo>
                    <a:cubicBezTo>
                      <a:pt x="195845" y="1272353"/>
                      <a:pt x="195845" y="1268348"/>
                      <a:pt x="195845" y="1267014"/>
                    </a:cubicBezTo>
                    <a:cubicBezTo>
                      <a:pt x="196263" y="1264761"/>
                      <a:pt x="195845" y="1264344"/>
                      <a:pt x="196263" y="1261675"/>
                    </a:cubicBezTo>
                    <a:cubicBezTo>
                      <a:pt x="196680" y="1256336"/>
                      <a:pt x="196680" y="1251080"/>
                      <a:pt x="197180" y="1245741"/>
                    </a:cubicBezTo>
                    <a:cubicBezTo>
                      <a:pt x="197597" y="1238233"/>
                      <a:pt x="199433" y="1231143"/>
                      <a:pt x="199850" y="1223635"/>
                    </a:cubicBezTo>
                    <a:cubicBezTo>
                      <a:pt x="201185" y="1198859"/>
                      <a:pt x="206941" y="1177086"/>
                      <a:pt x="224211" y="1157649"/>
                    </a:cubicBezTo>
                    <a:cubicBezTo>
                      <a:pt x="236140" y="1144385"/>
                      <a:pt x="281358" y="1114271"/>
                      <a:pt x="255245" y="1094333"/>
                    </a:cubicBezTo>
                    <a:cubicBezTo>
                      <a:pt x="226880" y="1072644"/>
                      <a:pt x="190589" y="1106763"/>
                      <a:pt x="167063" y="1079734"/>
                    </a:cubicBezTo>
                    <a:cubicBezTo>
                      <a:pt x="155967" y="1067305"/>
                      <a:pt x="151963" y="1050537"/>
                      <a:pt x="145372" y="1035438"/>
                    </a:cubicBezTo>
                    <a:cubicBezTo>
                      <a:pt x="136946" y="1016418"/>
                      <a:pt x="128520" y="1009745"/>
                      <a:pt x="111250" y="999150"/>
                    </a:cubicBezTo>
                    <a:cubicBezTo>
                      <a:pt x="96150" y="989390"/>
                      <a:pt x="94398" y="977461"/>
                      <a:pt x="82468" y="965448"/>
                    </a:cubicBezTo>
                    <a:cubicBezTo>
                      <a:pt x="73625" y="956606"/>
                      <a:pt x="57691" y="954354"/>
                      <a:pt x="44843" y="951684"/>
                    </a:cubicBezTo>
                    <a:cubicBezTo>
                      <a:pt x="45260" y="958775"/>
                      <a:pt x="46595" y="965865"/>
                      <a:pt x="49681" y="973790"/>
                    </a:cubicBezTo>
                    <a:cubicBezTo>
                      <a:pt x="57190" y="992810"/>
                      <a:pt x="62529" y="1004823"/>
                      <a:pt x="75794" y="1013665"/>
                    </a:cubicBezTo>
                    <a:cubicBezTo>
                      <a:pt x="78881" y="1015417"/>
                      <a:pt x="82468" y="1017169"/>
                      <a:pt x="85972" y="1018504"/>
                    </a:cubicBezTo>
                    <a:cubicBezTo>
                      <a:pt x="99738" y="1025178"/>
                      <a:pt x="116506" y="1033102"/>
                      <a:pt x="118759" y="1054375"/>
                    </a:cubicBezTo>
                    <a:cubicBezTo>
                      <a:pt x="120511" y="1074312"/>
                      <a:pt x="110333" y="1091163"/>
                      <a:pt x="87307" y="1105762"/>
                    </a:cubicBezTo>
                    <a:lnTo>
                      <a:pt x="83803" y="1108014"/>
                    </a:lnTo>
                    <a:cubicBezTo>
                      <a:pt x="70538" y="1116022"/>
                      <a:pt x="55021" y="1125699"/>
                      <a:pt x="54103" y="1141216"/>
                    </a:cubicBezTo>
                    <a:cubicBezTo>
                      <a:pt x="53186" y="1154062"/>
                      <a:pt x="64281" y="1161570"/>
                      <a:pt x="79799" y="1170413"/>
                    </a:cubicBezTo>
                    <a:lnTo>
                      <a:pt x="85138" y="1173499"/>
                    </a:lnTo>
                    <a:cubicBezTo>
                      <a:pt x="117924" y="1193437"/>
                      <a:pt x="130773" y="1234146"/>
                      <a:pt x="117924" y="1277191"/>
                    </a:cubicBezTo>
                    <a:cubicBezTo>
                      <a:pt x="112168" y="1297128"/>
                      <a:pt x="101072" y="1310392"/>
                      <a:pt x="82468" y="1320570"/>
                    </a:cubicBezTo>
                    <a:cubicBezTo>
                      <a:pt x="59860" y="1332499"/>
                      <a:pt x="43007" y="1341842"/>
                      <a:pt x="26238" y="1358192"/>
                    </a:cubicBezTo>
                    <a:cubicBezTo>
                      <a:pt x="15643" y="1368369"/>
                      <a:pt x="-3462" y="1386972"/>
                      <a:pt x="543" y="1404240"/>
                    </a:cubicBezTo>
                    <a:cubicBezTo>
                      <a:pt x="1878" y="1411331"/>
                      <a:pt x="7634" y="1418422"/>
                      <a:pt x="12974" y="1425930"/>
                    </a:cubicBezTo>
                    <a:cubicBezTo>
                      <a:pt x="18730" y="1433020"/>
                      <a:pt x="24069" y="1440528"/>
                      <a:pt x="27156" y="1448954"/>
                    </a:cubicBezTo>
                    <a:cubicBezTo>
                      <a:pt x="35165" y="1469809"/>
                      <a:pt x="39587" y="1471978"/>
                      <a:pt x="60861" y="1480821"/>
                    </a:cubicBezTo>
                    <a:cubicBezTo>
                      <a:pt x="68369" y="1483907"/>
                      <a:pt x="74626" y="1489663"/>
                      <a:pt x="80382" y="1495002"/>
                    </a:cubicBezTo>
                    <a:cubicBezTo>
                      <a:pt x="89226" y="1503427"/>
                      <a:pt x="94565" y="1508266"/>
                      <a:pt x="102073" y="1506931"/>
                    </a:cubicBezTo>
                    <a:cubicBezTo>
                      <a:pt x="105577" y="1506013"/>
                      <a:pt x="110082" y="1503427"/>
                      <a:pt x="114504" y="1500758"/>
                    </a:cubicBezTo>
                    <a:cubicBezTo>
                      <a:pt x="123848" y="1495419"/>
                      <a:pt x="134443" y="1488829"/>
                      <a:pt x="145038" y="1493250"/>
                    </a:cubicBezTo>
                    <a:cubicBezTo>
                      <a:pt x="154799" y="1497254"/>
                      <a:pt x="156134" y="1505680"/>
                      <a:pt x="156968" y="1510935"/>
                    </a:cubicBezTo>
                    <a:cubicBezTo>
                      <a:pt x="156968" y="1512687"/>
                      <a:pt x="157386" y="1514439"/>
                      <a:pt x="157886" y="1515774"/>
                    </a:cubicBezTo>
                    <a:cubicBezTo>
                      <a:pt x="159638" y="1521112"/>
                      <a:pt x="160556" y="1521947"/>
                      <a:pt x="164060" y="1525117"/>
                    </a:cubicBezTo>
                    <a:cubicBezTo>
                      <a:pt x="165395" y="1526034"/>
                      <a:pt x="166729" y="1527369"/>
                      <a:pt x="168481" y="1529121"/>
                    </a:cubicBezTo>
                    <a:cubicBezTo>
                      <a:pt x="169816" y="1530456"/>
                      <a:pt x="170734" y="1531373"/>
                      <a:pt x="171568" y="1531790"/>
                    </a:cubicBezTo>
                    <a:cubicBezTo>
                      <a:pt x="174238" y="1534043"/>
                      <a:pt x="175990" y="1535795"/>
                      <a:pt x="178659" y="1541551"/>
                    </a:cubicBezTo>
                    <a:cubicBezTo>
                      <a:pt x="181329" y="1546889"/>
                      <a:pt x="182163" y="1553479"/>
                      <a:pt x="183081" y="1559736"/>
                    </a:cubicBezTo>
                    <a:cubicBezTo>
                      <a:pt x="183498" y="1564158"/>
                      <a:pt x="184416" y="1568579"/>
                      <a:pt x="185334" y="1571665"/>
                    </a:cubicBezTo>
                    <a:cubicBezTo>
                      <a:pt x="187086" y="1576087"/>
                      <a:pt x="189338" y="1580508"/>
                      <a:pt x="191507" y="1584929"/>
                    </a:cubicBezTo>
                    <a:cubicBezTo>
                      <a:pt x="198181" y="1598193"/>
                      <a:pt x="206607" y="1614627"/>
                      <a:pt x="194177" y="1631478"/>
                    </a:cubicBezTo>
                    <a:cubicBezTo>
                      <a:pt x="192425" y="1634147"/>
                      <a:pt x="190673" y="1635899"/>
                      <a:pt x="188837" y="1637651"/>
                    </a:cubicBezTo>
                    <a:cubicBezTo>
                      <a:pt x="186168" y="1639903"/>
                      <a:pt x="184833" y="1641655"/>
                      <a:pt x="183999" y="1644325"/>
                    </a:cubicBezTo>
                    <a:cubicBezTo>
                      <a:pt x="183081" y="1646994"/>
                      <a:pt x="183999" y="1650998"/>
                      <a:pt x="185334" y="1655420"/>
                    </a:cubicBezTo>
                    <a:cubicBezTo>
                      <a:pt x="186668" y="1658923"/>
                      <a:pt x="187586" y="1662927"/>
                      <a:pt x="188003" y="1666931"/>
                    </a:cubicBezTo>
                    <a:lnTo>
                      <a:pt x="184916" y="1688621"/>
                    </a:lnTo>
                    <a:cubicBezTo>
                      <a:pt x="183582" y="1692125"/>
                      <a:pt x="181829" y="1694794"/>
                      <a:pt x="179577" y="1697463"/>
                    </a:cubicBezTo>
                    <a:lnTo>
                      <a:pt x="176490" y="1701885"/>
                    </a:lnTo>
                    <a:cubicBezTo>
                      <a:pt x="174238" y="1705388"/>
                      <a:pt x="172986" y="1709393"/>
                      <a:pt x="171151" y="1713814"/>
                    </a:cubicBezTo>
                    <a:cubicBezTo>
                      <a:pt x="168064" y="1720487"/>
                      <a:pt x="165395" y="1727078"/>
                      <a:pt x="160973" y="1732416"/>
                    </a:cubicBezTo>
                    <a:cubicBezTo>
                      <a:pt x="155216" y="1738173"/>
                      <a:pt x="148125" y="1741760"/>
                      <a:pt x="141451" y="1744346"/>
                    </a:cubicBezTo>
                    <a:cubicBezTo>
                      <a:pt x="129938" y="1749685"/>
                      <a:pt x="125516" y="1751854"/>
                      <a:pt x="127686" y="1761614"/>
                    </a:cubicBezTo>
                    <a:cubicBezTo>
                      <a:pt x="129020" y="1770039"/>
                      <a:pt x="133025" y="1776212"/>
                      <a:pt x="136529" y="1782886"/>
                    </a:cubicBezTo>
                    <a:cubicBezTo>
                      <a:pt x="143203" y="1793981"/>
                      <a:pt x="150711" y="1806327"/>
                      <a:pt x="146290" y="1825430"/>
                    </a:cubicBezTo>
                    <a:cubicBezTo>
                      <a:pt x="145372" y="1828934"/>
                      <a:pt x="144955" y="1832521"/>
                      <a:pt x="144037" y="1835608"/>
                    </a:cubicBezTo>
                    <a:cubicBezTo>
                      <a:pt x="140033" y="1851124"/>
                      <a:pt x="137363" y="1861301"/>
                      <a:pt x="146707" y="1874565"/>
                    </a:cubicBezTo>
                    <a:cubicBezTo>
                      <a:pt x="151129" y="1881656"/>
                      <a:pt x="156885" y="1887829"/>
                      <a:pt x="163058" y="1894086"/>
                    </a:cubicBezTo>
                    <a:cubicBezTo>
                      <a:pt x="173237" y="1905180"/>
                      <a:pt x="183915" y="1915775"/>
                      <a:pt x="189171" y="1931291"/>
                    </a:cubicBezTo>
                    <a:cubicBezTo>
                      <a:pt x="193176" y="1942386"/>
                      <a:pt x="194511" y="1953898"/>
                      <a:pt x="191841" y="1964993"/>
                    </a:cubicBezTo>
                    <a:cubicBezTo>
                      <a:pt x="190506" y="1969831"/>
                      <a:pt x="188754" y="1974336"/>
                      <a:pt x="187002" y="1977840"/>
                    </a:cubicBezTo>
                    <a:cubicBezTo>
                      <a:pt x="184749" y="1982678"/>
                      <a:pt x="182580" y="1987183"/>
                      <a:pt x="183498" y="1991604"/>
                    </a:cubicBezTo>
                    <a:cubicBezTo>
                      <a:pt x="183915" y="1996025"/>
                      <a:pt x="187503" y="2000030"/>
                      <a:pt x="190589" y="2004868"/>
                    </a:cubicBezTo>
                    <a:cubicBezTo>
                      <a:pt x="193676" y="2008872"/>
                      <a:pt x="196763" y="2013293"/>
                      <a:pt x="198598" y="2017715"/>
                    </a:cubicBezTo>
                    <a:cubicBezTo>
                      <a:pt x="204772" y="2032313"/>
                      <a:pt x="202102" y="2041156"/>
                      <a:pt x="198598" y="2053168"/>
                    </a:cubicBezTo>
                    <a:lnTo>
                      <a:pt x="197681" y="2055421"/>
                    </a:lnTo>
                    <a:cubicBezTo>
                      <a:pt x="190589" y="2079780"/>
                      <a:pt x="203854" y="2091709"/>
                      <a:pt x="225629" y="2109477"/>
                    </a:cubicBezTo>
                    <a:cubicBezTo>
                      <a:pt x="238059" y="2119238"/>
                      <a:pt x="250407" y="2129832"/>
                      <a:pt x="258416" y="2144431"/>
                    </a:cubicBezTo>
                    <a:cubicBezTo>
                      <a:pt x="269928" y="2167037"/>
                      <a:pt x="269511" y="2186057"/>
                      <a:pt x="257081" y="2209999"/>
                    </a:cubicBezTo>
                    <a:lnTo>
                      <a:pt x="254828" y="2213503"/>
                    </a:lnTo>
                    <a:cubicBezTo>
                      <a:pt x="249489" y="2223680"/>
                      <a:pt x="237142" y="2247205"/>
                      <a:pt x="246819" y="2252961"/>
                    </a:cubicBezTo>
                    <a:cubicBezTo>
                      <a:pt x="247737" y="2253878"/>
                      <a:pt x="251241" y="2253878"/>
                      <a:pt x="252576" y="2253378"/>
                    </a:cubicBezTo>
                    <a:cubicBezTo>
                      <a:pt x="254828" y="2253378"/>
                      <a:pt x="256997" y="2252961"/>
                      <a:pt x="259250" y="2253378"/>
                    </a:cubicBezTo>
                    <a:cubicBezTo>
                      <a:pt x="272515" y="2254295"/>
                      <a:pt x="276936" y="2257799"/>
                      <a:pt x="286697" y="2266225"/>
                    </a:cubicBezTo>
                    <a:cubicBezTo>
                      <a:pt x="293371" y="2271981"/>
                      <a:pt x="296875" y="2274650"/>
                      <a:pt x="303966" y="2275067"/>
                    </a:cubicBezTo>
                    <a:cubicBezTo>
                      <a:pt x="307053" y="2275067"/>
                      <a:pt x="309723" y="2274650"/>
                      <a:pt x="312392" y="2274150"/>
                    </a:cubicBezTo>
                    <a:cubicBezTo>
                      <a:pt x="319484" y="2272815"/>
                      <a:pt x="327910" y="2271897"/>
                      <a:pt x="336753" y="2278988"/>
                    </a:cubicBezTo>
                    <a:cubicBezTo>
                      <a:pt x="348266" y="2289165"/>
                      <a:pt x="348266" y="2306934"/>
                      <a:pt x="347849" y="2321032"/>
                    </a:cubicBezTo>
                    <a:cubicBezTo>
                      <a:pt x="347849" y="2324118"/>
                      <a:pt x="347849" y="2326371"/>
                      <a:pt x="348266" y="2329040"/>
                    </a:cubicBezTo>
                    <a:cubicBezTo>
                      <a:pt x="348683" y="2333878"/>
                      <a:pt x="348683" y="2338801"/>
                      <a:pt x="349184" y="2343222"/>
                    </a:cubicBezTo>
                    <a:cubicBezTo>
                      <a:pt x="350519" y="2363159"/>
                      <a:pt x="351854" y="2381345"/>
                      <a:pt x="344345" y="2402617"/>
                    </a:cubicBezTo>
                    <a:cubicBezTo>
                      <a:pt x="339506" y="2415881"/>
                      <a:pt x="329746" y="2423472"/>
                      <a:pt x="321319" y="2429645"/>
                    </a:cubicBezTo>
                    <a:cubicBezTo>
                      <a:pt x="314645" y="2434484"/>
                      <a:pt x="308889" y="2439405"/>
                      <a:pt x="304467" y="2445996"/>
                    </a:cubicBezTo>
                    <a:cubicBezTo>
                      <a:pt x="301798" y="2450000"/>
                      <a:pt x="298711" y="2454004"/>
                      <a:pt x="295624" y="2458425"/>
                    </a:cubicBezTo>
                    <a:cubicBezTo>
                      <a:pt x="284528" y="2473525"/>
                      <a:pt x="278355" y="2483201"/>
                      <a:pt x="285029" y="2494713"/>
                    </a:cubicBezTo>
                    <a:cubicBezTo>
                      <a:pt x="288115" y="2500052"/>
                      <a:pt x="291703" y="2504056"/>
                      <a:pt x="295206" y="2507560"/>
                    </a:cubicBezTo>
                    <a:cubicBezTo>
                      <a:pt x="303216" y="2515986"/>
                      <a:pt x="310307" y="2524411"/>
                      <a:pt x="307137" y="2544766"/>
                    </a:cubicBezTo>
                    <a:cubicBezTo>
                      <a:pt x="306720" y="2549187"/>
                      <a:pt x="306720" y="2554109"/>
                      <a:pt x="306219" y="2558947"/>
                    </a:cubicBezTo>
                    <a:cubicBezTo>
                      <a:pt x="306219" y="2566038"/>
                      <a:pt x="305802" y="2573129"/>
                      <a:pt x="303966" y="2580219"/>
                    </a:cubicBezTo>
                    <a:cubicBezTo>
                      <a:pt x="300880" y="2593483"/>
                      <a:pt x="292871" y="2602826"/>
                      <a:pt x="285779" y="2611669"/>
                    </a:cubicBezTo>
                    <a:lnTo>
                      <a:pt x="283110" y="2614755"/>
                    </a:lnTo>
                    <a:cubicBezTo>
                      <a:pt x="276936" y="2622764"/>
                      <a:pt x="270679" y="2631607"/>
                      <a:pt x="265423" y="2640032"/>
                    </a:cubicBezTo>
                    <a:cubicBezTo>
                      <a:pt x="259250" y="2649792"/>
                      <a:pt x="252993" y="2659552"/>
                      <a:pt x="245067" y="2668812"/>
                    </a:cubicBezTo>
                    <a:cubicBezTo>
                      <a:pt x="241980" y="2672316"/>
                      <a:pt x="238393" y="2675902"/>
                      <a:pt x="235306" y="2679406"/>
                    </a:cubicBezTo>
                    <a:cubicBezTo>
                      <a:pt x="229550" y="2685162"/>
                      <a:pt x="224211" y="2690501"/>
                      <a:pt x="220706" y="2696675"/>
                    </a:cubicBezTo>
                    <a:cubicBezTo>
                      <a:pt x="218037" y="2700679"/>
                      <a:pt x="216285" y="2704683"/>
                      <a:pt x="215367" y="2709104"/>
                    </a:cubicBezTo>
                    <a:lnTo>
                      <a:pt x="215367" y="2710022"/>
                    </a:lnTo>
                    <a:cubicBezTo>
                      <a:pt x="212280" y="2724620"/>
                      <a:pt x="213615" y="2748562"/>
                      <a:pt x="221541" y="2759657"/>
                    </a:cubicBezTo>
                    <a:cubicBezTo>
                      <a:pt x="229967" y="2772087"/>
                      <a:pt x="248988" y="2780512"/>
                      <a:pt x="265840" y="2788437"/>
                    </a:cubicBezTo>
                    <a:cubicBezTo>
                      <a:pt x="274267" y="2791940"/>
                      <a:pt x="282192" y="2795945"/>
                      <a:pt x="288866" y="2799532"/>
                    </a:cubicBezTo>
                    <a:lnTo>
                      <a:pt x="292871" y="2801784"/>
                    </a:lnTo>
                    <a:cubicBezTo>
                      <a:pt x="296375" y="2804036"/>
                      <a:pt x="300880" y="2806623"/>
                      <a:pt x="304383" y="2809292"/>
                    </a:cubicBezTo>
                    <a:cubicBezTo>
                      <a:pt x="313727" y="2802619"/>
                      <a:pt x="325240" y="2796445"/>
                      <a:pt x="332331" y="2796028"/>
                    </a:cubicBezTo>
                    <a:cubicBezTo>
                      <a:pt x="343845" y="2795111"/>
                      <a:pt x="355774" y="2800032"/>
                      <a:pt x="363784" y="2808875"/>
                    </a:cubicBezTo>
                    <a:cubicBezTo>
                      <a:pt x="366453" y="2811544"/>
                      <a:pt x="368205" y="2814631"/>
                      <a:pt x="369957" y="2817300"/>
                    </a:cubicBezTo>
                    <a:cubicBezTo>
                      <a:pt x="370875" y="2819052"/>
                      <a:pt x="372210" y="2820804"/>
                      <a:pt x="373461" y="2822139"/>
                    </a:cubicBezTo>
                    <a:cubicBezTo>
                      <a:pt x="376965" y="2826977"/>
                      <a:pt x="381887" y="2831482"/>
                      <a:pt x="388061" y="2834986"/>
                    </a:cubicBezTo>
                    <a:cubicBezTo>
                      <a:pt x="392899" y="2837655"/>
                      <a:pt x="398239" y="2839407"/>
                      <a:pt x="401326" y="2838489"/>
                    </a:cubicBezTo>
                    <a:cubicBezTo>
                      <a:pt x="402243" y="2838072"/>
                      <a:pt x="403078" y="2837572"/>
                      <a:pt x="403578" y="2836737"/>
                    </a:cubicBezTo>
                    <a:cubicBezTo>
                      <a:pt x="403578" y="2836320"/>
                      <a:pt x="403995" y="2836320"/>
                      <a:pt x="403995" y="2835820"/>
                    </a:cubicBezTo>
                    <a:cubicBezTo>
                      <a:pt x="404413" y="2834902"/>
                      <a:pt x="404913" y="2833567"/>
                      <a:pt x="405747" y="2832316"/>
                    </a:cubicBezTo>
                    <a:cubicBezTo>
                      <a:pt x="409251" y="2827895"/>
                      <a:pt x="413255" y="2826977"/>
                      <a:pt x="415925" y="2826977"/>
                    </a:cubicBezTo>
                    <a:lnTo>
                      <a:pt x="415925" y="2826977"/>
                    </a:lnTo>
                    <a:cubicBezTo>
                      <a:pt x="424769" y="2826977"/>
                      <a:pt x="432277" y="2837155"/>
                      <a:pt x="436782" y="2842911"/>
                    </a:cubicBezTo>
                    <a:cubicBezTo>
                      <a:pt x="437199" y="2843828"/>
                      <a:pt x="437700" y="2844245"/>
                      <a:pt x="438117" y="2844662"/>
                    </a:cubicBezTo>
                    <a:cubicBezTo>
                      <a:pt x="442955" y="2850835"/>
                      <a:pt x="450547" y="2856174"/>
                      <a:pt x="454969" y="2854005"/>
                    </a:cubicBezTo>
                    <a:cubicBezTo>
                      <a:pt x="457222" y="2853088"/>
                      <a:pt x="458974" y="2850502"/>
                      <a:pt x="460726" y="2847332"/>
                    </a:cubicBezTo>
                    <a:cubicBezTo>
                      <a:pt x="462978" y="2844245"/>
                      <a:pt x="465147" y="2840658"/>
                      <a:pt x="469151" y="2837572"/>
                    </a:cubicBezTo>
                    <a:cubicBezTo>
                      <a:pt x="480247" y="2829563"/>
                      <a:pt x="494847" y="2834485"/>
                      <a:pt x="503273" y="2843745"/>
                    </a:cubicBezTo>
                    <a:cubicBezTo>
                      <a:pt x="509947" y="2851253"/>
                      <a:pt x="513034" y="2861430"/>
                      <a:pt x="515704" y="2869855"/>
                    </a:cubicBezTo>
                    <a:lnTo>
                      <a:pt x="516121" y="2871607"/>
                    </a:lnTo>
                    <a:cubicBezTo>
                      <a:pt x="520542" y="2886706"/>
                      <a:pt x="527217" y="2903474"/>
                      <a:pt x="540064" y="2913651"/>
                    </a:cubicBezTo>
                    <a:cubicBezTo>
                      <a:pt x="551577" y="2922494"/>
                      <a:pt x="566678" y="2924746"/>
                      <a:pt x="579943" y="2926081"/>
                    </a:cubicBezTo>
                    <a:cubicBezTo>
                      <a:pt x="621155" y="2929584"/>
                      <a:pt x="663703" y="2923411"/>
                      <a:pt x="702246" y="2908813"/>
                    </a:cubicBezTo>
                    <a:cubicBezTo>
                      <a:pt x="700494" y="2904392"/>
                      <a:pt x="698742" y="2899970"/>
                      <a:pt x="696490" y="2895966"/>
                    </a:cubicBezTo>
                    <a:cubicBezTo>
                      <a:pt x="686312" y="2876946"/>
                      <a:pt x="673464" y="2853422"/>
                      <a:pt x="684059" y="2825559"/>
                    </a:cubicBezTo>
                    <a:cubicBezTo>
                      <a:pt x="686729" y="2818468"/>
                      <a:pt x="689815" y="2811795"/>
                      <a:pt x="692902" y="2805621"/>
                    </a:cubicBezTo>
                    <a:cubicBezTo>
                      <a:pt x="698242" y="2794527"/>
                      <a:pt x="703081" y="2784766"/>
                      <a:pt x="705750" y="2772420"/>
                    </a:cubicBezTo>
                    <a:cubicBezTo>
                      <a:pt x="706167" y="2768916"/>
                      <a:pt x="707502" y="2765329"/>
                      <a:pt x="708420" y="2761826"/>
                    </a:cubicBezTo>
                    <a:cubicBezTo>
                      <a:pt x="710672" y="2755152"/>
                      <a:pt x="712424" y="2749396"/>
                      <a:pt x="711924" y="2744141"/>
                    </a:cubicBezTo>
                    <a:cubicBezTo>
                      <a:pt x="711924" y="2737467"/>
                      <a:pt x="709671" y="2730376"/>
                      <a:pt x="707502" y="2722451"/>
                    </a:cubicBezTo>
                    <a:cubicBezTo>
                      <a:pt x="705750" y="2716278"/>
                      <a:pt x="703998" y="2709605"/>
                      <a:pt x="703081" y="2702931"/>
                    </a:cubicBezTo>
                    <a:cubicBezTo>
                      <a:pt x="700828" y="2682993"/>
                      <a:pt x="700411" y="2658218"/>
                      <a:pt x="716846" y="2637780"/>
                    </a:cubicBezTo>
                    <a:cubicBezTo>
                      <a:pt x="722185" y="2631607"/>
                      <a:pt x="727942" y="2626267"/>
                      <a:pt x="733197" y="2621429"/>
                    </a:cubicBezTo>
                    <a:cubicBezTo>
                      <a:pt x="743376" y="2612586"/>
                      <a:pt x="751802" y="2605079"/>
                      <a:pt x="754471" y="2592649"/>
                    </a:cubicBezTo>
                    <a:cubicBezTo>
                      <a:pt x="756223" y="2583306"/>
                      <a:pt x="756724" y="2574463"/>
                      <a:pt x="757141" y="2564703"/>
                    </a:cubicBezTo>
                    <a:cubicBezTo>
                      <a:pt x="757558" y="2552274"/>
                      <a:pt x="758476" y="2539010"/>
                      <a:pt x="762897" y="2525245"/>
                    </a:cubicBezTo>
                    <a:cubicBezTo>
                      <a:pt x="765984" y="2516820"/>
                      <a:pt x="769989" y="2508895"/>
                      <a:pt x="774411" y="2500886"/>
                    </a:cubicBezTo>
                    <a:cubicBezTo>
                      <a:pt x="781502" y="2488457"/>
                      <a:pt x="787675" y="2476527"/>
                      <a:pt x="788176" y="2463264"/>
                    </a:cubicBezTo>
                    <a:cubicBezTo>
                      <a:pt x="788176" y="2445996"/>
                      <a:pt x="780668" y="2422972"/>
                      <a:pt x="769572" y="2408373"/>
                    </a:cubicBezTo>
                    <a:cubicBezTo>
                      <a:pt x="759394" y="2394609"/>
                      <a:pt x="742541" y="2386684"/>
                      <a:pt x="726190" y="2378675"/>
                    </a:cubicBezTo>
                    <a:cubicBezTo>
                      <a:pt x="719098" y="2375172"/>
                      <a:pt x="712007" y="2371585"/>
                      <a:pt x="705834" y="2368081"/>
                    </a:cubicBezTo>
                    <a:cubicBezTo>
                      <a:pt x="696990" y="2363243"/>
                      <a:pt x="688981" y="2357487"/>
                      <a:pt x="681056" y="2351731"/>
                    </a:cubicBezTo>
                    <a:cubicBezTo>
                      <a:pt x="668625" y="2343305"/>
                      <a:pt x="657112" y="2334880"/>
                      <a:pt x="644265" y="2329624"/>
                    </a:cubicBezTo>
                    <a:cubicBezTo>
                      <a:pt x="638091" y="2326955"/>
                      <a:pt x="630082" y="2326120"/>
                      <a:pt x="622157" y="2325203"/>
                    </a:cubicBezTo>
                    <a:cubicBezTo>
                      <a:pt x="610226" y="2323451"/>
                      <a:pt x="597796" y="2322116"/>
                      <a:pt x="587618" y="2315026"/>
                    </a:cubicBezTo>
                    <a:cubicBezTo>
                      <a:pt x="565509" y="2299092"/>
                      <a:pt x="575688" y="2276902"/>
                      <a:pt x="583196" y="2260552"/>
                    </a:cubicBezTo>
                    <a:lnTo>
                      <a:pt x="585449" y="2255714"/>
                    </a:lnTo>
                    <a:cubicBezTo>
                      <a:pt x="593457" y="2237528"/>
                      <a:pt x="590788" y="2219843"/>
                      <a:pt x="577940" y="2204327"/>
                    </a:cubicBezTo>
                    <a:cubicBezTo>
                      <a:pt x="574853" y="2200823"/>
                      <a:pt x="569514" y="2197653"/>
                      <a:pt x="564175" y="2194566"/>
                    </a:cubicBezTo>
                    <a:cubicBezTo>
                      <a:pt x="554831" y="2188810"/>
                      <a:pt x="543818" y="2182637"/>
                      <a:pt x="540732" y="2170625"/>
                    </a:cubicBezTo>
                    <a:cubicBezTo>
                      <a:pt x="538062" y="2160447"/>
                      <a:pt x="543401" y="2151605"/>
                      <a:pt x="547823" y="2144014"/>
                    </a:cubicBezTo>
                    <a:cubicBezTo>
                      <a:pt x="549158" y="2142262"/>
                      <a:pt x="549575" y="2140510"/>
                      <a:pt x="550493" y="2139175"/>
                    </a:cubicBezTo>
                    <a:cubicBezTo>
                      <a:pt x="556249" y="2127663"/>
                      <a:pt x="559336" y="2117069"/>
                      <a:pt x="560671" y="2104222"/>
                    </a:cubicBezTo>
                    <a:cubicBezTo>
                      <a:pt x="561088" y="2099384"/>
                      <a:pt x="561589" y="2094461"/>
                      <a:pt x="561589" y="2089623"/>
                    </a:cubicBezTo>
                    <a:cubicBezTo>
                      <a:pt x="562006" y="2074107"/>
                      <a:pt x="562924" y="2055921"/>
                      <a:pt x="572184" y="2041323"/>
                    </a:cubicBezTo>
                    <a:cubicBezTo>
                      <a:pt x="579275" y="2029393"/>
                      <a:pt x="591205" y="2023137"/>
                      <a:pt x="602301" y="2016964"/>
                    </a:cubicBezTo>
                    <a:cubicBezTo>
                      <a:pt x="610727" y="2012960"/>
                      <a:pt x="618235" y="2008955"/>
                      <a:pt x="623575" y="2002782"/>
                    </a:cubicBezTo>
                    <a:cubicBezTo>
                      <a:pt x="632919" y="1993022"/>
                      <a:pt x="640844" y="1980676"/>
                      <a:pt x="648353" y="1968664"/>
                    </a:cubicBezTo>
                    <a:cubicBezTo>
                      <a:pt x="653692" y="1960238"/>
                      <a:pt x="658947" y="1951812"/>
                      <a:pt x="664287" y="1944722"/>
                    </a:cubicBezTo>
                    <a:cubicBezTo>
                      <a:pt x="674048" y="1932292"/>
                      <a:pt x="679387" y="1919028"/>
                      <a:pt x="685144" y="1905264"/>
                    </a:cubicBezTo>
                    <a:cubicBezTo>
                      <a:pt x="688648" y="1895921"/>
                      <a:pt x="692652" y="1886661"/>
                      <a:pt x="697991" y="1876901"/>
                    </a:cubicBezTo>
                    <a:cubicBezTo>
                      <a:pt x="701996" y="1868893"/>
                      <a:pt x="707335" y="1862302"/>
                      <a:pt x="712591" y="1856046"/>
                    </a:cubicBezTo>
                    <a:lnTo>
                      <a:pt x="727692" y="1834774"/>
                    </a:lnTo>
                    <a:cubicBezTo>
                      <a:pt x="728109" y="1834774"/>
                      <a:pt x="728609" y="1834774"/>
                      <a:pt x="728609" y="1834774"/>
                    </a:cubicBezTo>
                    <a:lnTo>
                      <a:pt x="729026" y="1834774"/>
                    </a:lnTo>
                    <a:lnTo>
                      <a:pt x="729026" y="1834356"/>
                    </a:lnTo>
                    <a:cubicBezTo>
                      <a:pt x="732113" y="1829935"/>
                      <a:pt x="735200" y="1825013"/>
                      <a:pt x="737869" y="1820175"/>
                    </a:cubicBezTo>
                    <a:cubicBezTo>
                      <a:pt x="740956" y="1813501"/>
                      <a:pt x="743209" y="1807745"/>
                      <a:pt x="745878" y="1802490"/>
                    </a:cubicBezTo>
                    <a:cubicBezTo>
                      <a:pt x="752553" y="1786974"/>
                      <a:pt x="758726" y="1772375"/>
                      <a:pt x="774661" y="1757777"/>
                    </a:cubicBezTo>
                    <a:cubicBezTo>
                      <a:pt x="790178" y="1743595"/>
                      <a:pt x="802108" y="1729831"/>
                      <a:pt x="811869" y="1709476"/>
                    </a:cubicBezTo>
                    <a:cubicBezTo>
                      <a:pt x="823382" y="1684700"/>
                      <a:pt x="836230" y="1681530"/>
                      <a:pt x="859673" y="1678027"/>
                    </a:cubicBezTo>
                    <a:cubicBezTo>
                      <a:pt x="879194" y="1674940"/>
                      <a:pt x="886286" y="1670936"/>
                      <a:pt x="889373" y="1653250"/>
                    </a:cubicBezTo>
                    <a:lnTo>
                      <a:pt x="890290" y="1647912"/>
                    </a:lnTo>
                    <a:cubicBezTo>
                      <a:pt x="892042" y="1636400"/>
                      <a:pt x="893794" y="1627057"/>
                      <a:pt x="901803" y="1614710"/>
                    </a:cubicBezTo>
                    <a:cubicBezTo>
                      <a:pt x="904473" y="1610289"/>
                      <a:pt x="907559" y="1606285"/>
                      <a:pt x="910646" y="1601863"/>
                    </a:cubicBezTo>
                    <a:cubicBezTo>
                      <a:pt x="915485" y="1595190"/>
                      <a:pt x="919990" y="1589017"/>
                      <a:pt x="923494" y="1582343"/>
                    </a:cubicBezTo>
                    <a:cubicBezTo>
                      <a:pt x="926998" y="1576587"/>
                      <a:pt x="929250" y="1570414"/>
                      <a:pt x="931920" y="1564158"/>
                    </a:cubicBezTo>
                    <a:cubicBezTo>
                      <a:pt x="937677" y="1550894"/>
                      <a:pt x="943433" y="1536712"/>
                      <a:pt x="954529" y="1525617"/>
                    </a:cubicBezTo>
                    <a:cubicBezTo>
                      <a:pt x="966459" y="1513688"/>
                      <a:pt x="981976" y="1505680"/>
                      <a:pt x="996576" y="1497671"/>
                    </a:cubicBezTo>
                    <a:cubicBezTo>
                      <a:pt x="1000580" y="1495419"/>
                      <a:pt x="1005002" y="1493250"/>
                      <a:pt x="1008506" y="1490998"/>
                    </a:cubicBezTo>
                    <a:cubicBezTo>
                      <a:pt x="1026693" y="1480821"/>
                      <a:pt x="1039040" y="1471060"/>
                      <a:pt x="1049719" y="1457296"/>
                    </a:cubicBezTo>
                    <a:cubicBezTo>
                      <a:pt x="1062984" y="1440945"/>
                      <a:pt x="1078501" y="1421842"/>
                      <a:pt x="1109119" y="1420507"/>
                    </a:cubicBezTo>
                    <a:cubicBezTo>
                      <a:pt x="1116210" y="1420090"/>
                      <a:pt x="1123718" y="1420924"/>
                      <a:pt x="1130810" y="1421842"/>
                    </a:cubicBezTo>
                    <a:cubicBezTo>
                      <a:pt x="1145409" y="1423594"/>
                      <a:pt x="1159592" y="1424929"/>
                      <a:pt x="1170271" y="1417004"/>
                    </a:cubicBezTo>
                    <a:cubicBezTo>
                      <a:pt x="1174275" y="1413917"/>
                      <a:pt x="1177779" y="1409913"/>
                      <a:pt x="1181367" y="1406409"/>
                    </a:cubicBezTo>
                    <a:cubicBezTo>
                      <a:pt x="1191128" y="1395314"/>
                      <a:pt x="1202640" y="1383385"/>
                      <a:pt x="1225666" y="1390476"/>
                    </a:cubicBezTo>
                    <a:cubicBezTo>
                      <a:pt x="1239849" y="1394480"/>
                      <a:pt x="1246523" y="1405074"/>
                      <a:pt x="1252279" y="1413917"/>
                    </a:cubicBezTo>
                    <a:cubicBezTo>
                      <a:pt x="1255783" y="1419673"/>
                      <a:pt x="1259371" y="1425012"/>
                      <a:pt x="1264209" y="1428516"/>
                    </a:cubicBezTo>
                    <a:cubicBezTo>
                      <a:pt x="1273053" y="1435189"/>
                      <a:pt x="1287652" y="1432020"/>
                      <a:pt x="1300083" y="1428933"/>
                    </a:cubicBezTo>
                    <a:lnTo>
                      <a:pt x="1306757" y="1427598"/>
                    </a:lnTo>
                    <a:cubicBezTo>
                      <a:pt x="1328031" y="1423177"/>
                      <a:pt x="1349722" y="1418755"/>
                      <a:pt x="1369244" y="1434272"/>
                    </a:cubicBezTo>
                    <a:cubicBezTo>
                      <a:pt x="1371913" y="1436524"/>
                      <a:pt x="1374583" y="1438276"/>
                      <a:pt x="1376752" y="1440445"/>
                    </a:cubicBezTo>
                    <a:cubicBezTo>
                      <a:pt x="1390518" y="1451957"/>
                      <a:pt x="1396691" y="1457296"/>
                      <a:pt x="1415712" y="1451039"/>
                    </a:cubicBezTo>
                    <a:lnTo>
                      <a:pt x="1419216" y="1450122"/>
                    </a:lnTo>
                    <a:cubicBezTo>
                      <a:pt x="1430729" y="1446118"/>
                      <a:pt x="1437821" y="1443949"/>
                      <a:pt x="1452420" y="1447452"/>
                    </a:cubicBezTo>
                    <a:cubicBezTo>
                      <a:pt x="1454172" y="1447869"/>
                      <a:pt x="1455924" y="1448370"/>
                      <a:pt x="1457759" y="1448787"/>
                    </a:cubicBezTo>
                    <a:cubicBezTo>
                      <a:pt x="1463099" y="1450122"/>
                      <a:pt x="1467521" y="1451456"/>
                      <a:pt x="1471942" y="1450122"/>
                    </a:cubicBezTo>
                    <a:cubicBezTo>
                      <a:pt x="1478116" y="1447869"/>
                      <a:pt x="1482120" y="1442113"/>
                      <a:pt x="1486542" y="1435022"/>
                    </a:cubicBezTo>
                    <a:cubicBezTo>
                      <a:pt x="1491881" y="1427014"/>
                      <a:pt x="1497637" y="1418172"/>
                      <a:pt x="1508233" y="1414668"/>
                    </a:cubicBezTo>
                    <a:cubicBezTo>
                      <a:pt x="1519328" y="1411164"/>
                      <a:pt x="1528172" y="1414668"/>
                      <a:pt x="1536598" y="1417755"/>
                    </a:cubicBezTo>
                    <a:cubicBezTo>
                      <a:pt x="1545024" y="1420841"/>
                      <a:pt x="1551198" y="1423510"/>
                      <a:pt x="1559624" y="1420007"/>
                    </a:cubicBezTo>
                    <a:cubicBezTo>
                      <a:pt x="1565797" y="1417337"/>
                      <a:pt x="1571137" y="1412916"/>
                      <a:pt x="1576476" y="1408495"/>
                    </a:cubicBezTo>
                    <a:cubicBezTo>
                      <a:pt x="1578228" y="1407160"/>
                      <a:pt x="1579980" y="1405408"/>
                      <a:pt x="1581815" y="1403656"/>
                    </a:cubicBezTo>
                    <a:cubicBezTo>
                      <a:pt x="1583567" y="1402322"/>
                      <a:pt x="1584902" y="1400570"/>
                      <a:pt x="1586654" y="1399235"/>
                    </a:cubicBezTo>
                    <a:cubicBezTo>
                      <a:pt x="1594162" y="1392561"/>
                      <a:pt x="1602172" y="1386388"/>
                      <a:pt x="1612766" y="1382885"/>
                    </a:cubicBezTo>
                    <a:cubicBezTo>
                      <a:pt x="1626032" y="1378463"/>
                      <a:pt x="1634457" y="1370956"/>
                      <a:pt x="1644218" y="1362530"/>
                    </a:cubicBezTo>
                    <a:cubicBezTo>
                      <a:pt x="1649975" y="1357692"/>
                      <a:pt x="1655731" y="1352353"/>
                      <a:pt x="1662822" y="1347431"/>
                    </a:cubicBezTo>
                    <a:cubicBezTo>
                      <a:pt x="1664575" y="1346096"/>
                      <a:pt x="1666828" y="1344762"/>
                      <a:pt x="1668996" y="1343427"/>
                    </a:cubicBezTo>
                    <a:cubicBezTo>
                      <a:pt x="1674336" y="1340340"/>
                      <a:pt x="1678757" y="1337254"/>
                      <a:pt x="1681427" y="1332332"/>
                    </a:cubicBezTo>
                    <a:cubicBezTo>
                      <a:pt x="1683179" y="1328828"/>
                      <a:pt x="1683679" y="1326159"/>
                      <a:pt x="1684513" y="1323489"/>
                    </a:cubicBezTo>
                    <a:cubicBezTo>
                      <a:pt x="1686766" y="1315481"/>
                      <a:pt x="1689353" y="1307139"/>
                      <a:pt x="1702701" y="1302217"/>
                    </a:cubicBezTo>
                    <a:cubicBezTo>
                      <a:pt x="1711544" y="1298713"/>
                      <a:pt x="1720387" y="1299548"/>
                      <a:pt x="1728396" y="1299965"/>
                    </a:cubicBezTo>
                    <a:cubicBezTo>
                      <a:pt x="1740827" y="1300882"/>
                      <a:pt x="1748335" y="1300882"/>
                      <a:pt x="1755009" y="1293792"/>
                    </a:cubicBezTo>
                    <a:cubicBezTo>
                      <a:pt x="1763019" y="1284449"/>
                      <a:pt x="1759014" y="1275606"/>
                      <a:pt x="1748836" y="1259673"/>
                    </a:cubicBezTo>
                    <a:cubicBezTo>
                      <a:pt x="1746583" y="1256169"/>
                      <a:pt x="1743997" y="1252582"/>
                      <a:pt x="1742162" y="1249078"/>
                    </a:cubicBezTo>
                    <a:cubicBezTo>
                      <a:pt x="1728897" y="1223802"/>
                      <a:pt x="1745249" y="1207451"/>
                      <a:pt x="1758096" y="1194188"/>
                    </a:cubicBezTo>
                    <a:lnTo>
                      <a:pt x="1761183" y="1191101"/>
                    </a:lnTo>
                    <a:cubicBezTo>
                      <a:pt x="1766523" y="1186263"/>
                      <a:pt x="1768691" y="1183593"/>
                      <a:pt x="1768691" y="1178671"/>
                    </a:cubicBezTo>
                    <a:cubicBezTo>
                      <a:pt x="1768691" y="1175585"/>
                      <a:pt x="1766940" y="1171998"/>
                      <a:pt x="1765187" y="1168494"/>
                    </a:cubicBezTo>
                    <a:cubicBezTo>
                      <a:pt x="1762935" y="1163155"/>
                      <a:pt x="1759849" y="1157399"/>
                      <a:pt x="1760349" y="1150308"/>
                    </a:cubicBezTo>
                    <a:cubicBezTo>
                      <a:pt x="1761266" y="1131706"/>
                      <a:pt x="1779370" y="1115772"/>
                      <a:pt x="1792218" y="1104260"/>
                    </a:cubicBezTo>
                    <a:lnTo>
                      <a:pt x="1797057" y="1099839"/>
                    </a:lnTo>
                    <a:cubicBezTo>
                      <a:pt x="1812991" y="1085657"/>
                      <a:pt x="1827173" y="1071476"/>
                      <a:pt x="1842691" y="1055960"/>
                    </a:cubicBezTo>
                    <a:lnTo>
                      <a:pt x="1854621" y="1044031"/>
                    </a:lnTo>
                    <a:cubicBezTo>
                      <a:pt x="1859210" y="1038191"/>
                      <a:pt x="1865383" y="1031100"/>
                      <a:pt x="1864465" y="1025344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1446789698" name="Полилиния 513"/>
              <p:cNvSpPr/>
              <p:nvPr/>
            </p:nvSpPr>
            <p:spPr bwMode="auto">
              <a:xfrm>
                <a:off x="6895703" y="1682368"/>
                <a:ext cx="2646997" cy="2130465"/>
              </a:xfrm>
              <a:custGeom>
                <a:avLst/>
                <a:gdLst>
                  <a:gd name="connsiteX0" fmla="*/ 2921108 w 2972665"/>
                  <a:gd name="connsiteY0" fmla="*/ 499022 h 2392583"/>
                  <a:gd name="connsiteX1" fmla="*/ 2908260 w 2972665"/>
                  <a:gd name="connsiteY1" fmla="*/ 481753 h 2392583"/>
                  <a:gd name="connsiteX2" fmla="*/ 2886151 w 2972665"/>
                  <a:gd name="connsiteY2" fmla="*/ 456977 h 2392583"/>
                  <a:gd name="connsiteX3" fmla="*/ 2855618 w 2972665"/>
                  <a:gd name="connsiteY3" fmla="*/ 452556 h 2392583"/>
                  <a:gd name="connsiteX4" fmla="*/ 2833927 w 2972665"/>
                  <a:gd name="connsiteY4" fmla="*/ 458729 h 2392583"/>
                  <a:gd name="connsiteX5" fmla="*/ 2801139 w 2972665"/>
                  <a:gd name="connsiteY5" fmla="*/ 465820 h 2392583"/>
                  <a:gd name="connsiteX6" fmla="*/ 2801139 w 2972665"/>
                  <a:gd name="connsiteY6" fmla="*/ 465820 h 2392583"/>
                  <a:gd name="connsiteX7" fmla="*/ 2762179 w 2972665"/>
                  <a:gd name="connsiteY7" fmla="*/ 459147 h 2392583"/>
                  <a:gd name="connsiteX8" fmla="*/ 2739153 w 2972665"/>
                  <a:gd name="connsiteY8" fmla="*/ 423693 h 2392583"/>
                  <a:gd name="connsiteX9" fmla="*/ 2740906 w 2972665"/>
                  <a:gd name="connsiteY9" fmla="*/ 414850 h 2392583"/>
                  <a:gd name="connsiteX10" fmla="*/ 2741823 w 2972665"/>
                  <a:gd name="connsiteY10" fmla="*/ 404256 h 2392583"/>
                  <a:gd name="connsiteX11" fmla="*/ 2731228 w 2972665"/>
                  <a:gd name="connsiteY11" fmla="*/ 397165 h 2392583"/>
                  <a:gd name="connsiteX12" fmla="*/ 2726806 w 2972665"/>
                  <a:gd name="connsiteY12" fmla="*/ 395830 h 2392583"/>
                  <a:gd name="connsiteX13" fmla="*/ 2711289 w 2972665"/>
                  <a:gd name="connsiteY13" fmla="*/ 389657 h 2392583"/>
                  <a:gd name="connsiteX14" fmla="*/ 2697107 w 2972665"/>
                  <a:gd name="connsiteY14" fmla="*/ 349365 h 2392583"/>
                  <a:gd name="connsiteX15" fmla="*/ 2704615 w 2972665"/>
                  <a:gd name="connsiteY15" fmla="*/ 329845 h 2392583"/>
                  <a:gd name="connsiteX16" fmla="*/ 2705532 w 2972665"/>
                  <a:gd name="connsiteY16" fmla="*/ 327592 h 2392583"/>
                  <a:gd name="connsiteX17" fmla="*/ 2715293 w 2972665"/>
                  <a:gd name="connsiteY17" fmla="*/ 305486 h 2392583"/>
                  <a:gd name="connsiteX18" fmla="*/ 2734815 w 2972665"/>
                  <a:gd name="connsiteY18" fmla="*/ 265194 h 2392583"/>
                  <a:gd name="connsiteX19" fmla="*/ 2753420 w 2972665"/>
                  <a:gd name="connsiteY19" fmla="*/ 216476 h 2392583"/>
                  <a:gd name="connsiteX20" fmla="*/ 2753420 w 2972665"/>
                  <a:gd name="connsiteY20" fmla="*/ 204547 h 2392583"/>
                  <a:gd name="connsiteX21" fmla="*/ 2759176 w 2972665"/>
                  <a:gd name="connsiteY21" fmla="*/ 173515 h 2392583"/>
                  <a:gd name="connsiteX22" fmla="*/ 2776862 w 2972665"/>
                  <a:gd name="connsiteY22" fmla="*/ 157581 h 2392583"/>
                  <a:gd name="connsiteX23" fmla="*/ 2787958 w 2972665"/>
                  <a:gd name="connsiteY23" fmla="*/ 149156 h 2392583"/>
                  <a:gd name="connsiteX24" fmla="*/ 2795967 w 2972665"/>
                  <a:gd name="connsiteY24" fmla="*/ 125214 h 2392583"/>
                  <a:gd name="connsiteX25" fmla="*/ 2781785 w 2972665"/>
                  <a:gd name="connsiteY25" fmla="*/ 104359 h 2392583"/>
                  <a:gd name="connsiteX26" fmla="*/ 2772024 w 2972665"/>
                  <a:gd name="connsiteY26" fmla="*/ 99938 h 2392583"/>
                  <a:gd name="connsiteX27" fmla="*/ 2752084 w 2972665"/>
                  <a:gd name="connsiteY27" fmla="*/ 88009 h 2392583"/>
                  <a:gd name="connsiteX28" fmla="*/ 2745410 w 2972665"/>
                  <a:gd name="connsiteY28" fmla="*/ 77414 h 2392583"/>
                  <a:gd name="connsiteX29" fmla="*/ 2736066 w 2972665"/>
                  <a:gd name="connsiteY29" fmla="*/ 66820 h 2392583"/>
                  <a:gd name="connsiteX30" fmla="*/ 2720966 w 2972665"/>
                  <a:gd name="connsiteY30" fmla="*/ 65902 h 2392583"/>
                  <a:gd name="connsiteX31" fmla="*/ 2718296 w 2972665"/>
                  <a:gd name="connsiteY31" fmla="*/ 65902 h 2392583"/>
                  <a:gd name="connsiteX32" fmla="*/ 2694353 w 2972665"/>
                  <a:gd name="connsiteY32" fmla="*/ 61064 h 2392583"/>
                  <a:gd name="connsiteX33" fmla="*/ 2684593 w 2972665"/>
                  <a:gd name="connsiteY33" fmla="*/ 50887 h 2392583"/>
                  <a:gd name="connsiteX34" fmla="*/ 2677501 w 2972665"/>
                  <a:gd name="connsiteY34" fmla="*/ 43379 h 2392583"/>
                  <a:gd name="connsiteX35" fmla="*/ 2662400 w 2972665"/>
                  <a:gd name="connsiteY35" fmla="*/ 40709 h 2392583"/>
                  <a:gd name="connsiteX36" fmla="*/ 2653558 w 2972665"/>
                  <a:gd name="connsiteY36" fmla="*/ 40292 h 2392583"/>
                  <a:gd name="connsiteX37" fmla="*/ 2616766 w 2972665"/>
                  <a:gd name="connsiteY37" fmla="*/ 18186 h 2392583"/>
                  <a:gd name="connsiteX38" fmla="*/ 2606588 w 2972665"/>
                  <a:gd name="connsiteY38" fmla="*/ 0 h 2392583"/>
                  <a:gd name="connsiteX39" fmla="*/ 2602166 w 2972665"/>
                  <a:gd name="connsiteY39" fmla="*/ 31032 h 2392583"/>
                  <a:gd name="connsiteX40" fmla="*/ 2647801 w 2972665"/>
                  <a:gd name="connsiteY40" fmla="*/ 81502 h 2392583"/>
                  <a:gd name="connsiteX41" fmla="*/ 2662400 w 2972665"/>
                  <a:gd name="connsiteY41" fmla="*/ 99688 h 2392583"/>
                  <a:gd name="connsiteX42" fmla="*/ 2633618 w 2972665"/>
                  <a:gd name="connsiteY42" fmla="*/ 100605 h 2392583"/>
                  <a:gd name="connsiteX43" fmla="*/ 2546354 w 2972665"/>
                  <a:gd name="connsiteY43" fmla="*/ 83754 h 2392583"/>
                  <a:gd name="connsiteX44" fmla="*/ 2508728 w 2972665"/>
                  <a:gd name="connsiteY44" fmla="*/ 109031 h 2392583"/>
                  <a:gd name="connsiteX45" fmla="*/ 2479529 w 2972665"/>
                  <a:gd name="connsiteY45" fmla="*/ 86424 h 2392583"/>
                  <a:gd name="connsiteX46" fmla="*/ 2395769 w 2972665"/>
                  <a:gd name="connsiteY46" fmla="*/ 30615 h 2392583"/>
                  <a:gd name="connsiteX47" fmla="*/ 2289483 w 2972665"/>
                  <a:gd name="connsiteY47" fmla="*/ 67404 h 2392583"/>
                  <a:gd name="connsiteX48" fmla="*/ 2209310 w 2972665"/>
                  <a:gd name="connsiteY48" fmla="*/ 147571 h 2392583"/>
                  <a:gd name="connsiteX49" fmla="*/ 2186283 w 2972665"/>
                  <a:gd name="connsiteY49" fmla="*/ 199375 h 2392583"/>
                  <a:gd name="connsiteX50" fmla="*/ 2163258 w 2972665"/>
                  <a:gd name="connsiteY50" fmla="*/ 247676 h 2392583"/>
                  <a:gd name="connsiteX51" fmla="*/ 2146406 w 2972665"/>
                  <a:gd name="connsiteY51" fmla="*/ 299480 h 2392583"/>
                  <a:gd name="connsiteX52" fmla="*/ 2112284 w 2972665"/>
                  <a:gd name="connsiteY52" fmla="*/ 338437 h 2392583"/>
                  <a:gd name="connsiteX53" fmla="*/ 2074658 w 2972665"/>
                  <a:gd name="connsiteY53" fmla="*/ 346862 h 2392583"/>
                  <a:gd name="connsiteX54" fmla="*/ 2058724 w 2972665"/>
                  <a:gd name="connsiteY54" fmla="*/ 334933 h 2392583"/>
                  <a:gd name="connsiteX55" fmla="*/ 2033029 w 2972665"/>
                  <a:gd name="connsiteY55" fmla="*/ 329594 h 2392583"/>
                  <a:gd name="connsiteX56" fmla="*/ 1980303 w 2972665"/>
                  <a:gd name="connsiteY56" fmla="*/ 380982 h 2392583"/>
                  <a:gd name="connsiteX57" fmla="*/ 1937338 w 2972665"/>
                  <a:gd name="connsiteY57" fmla="*/ 378312 h 2392583"/>
                  <a:gd name="connsiteX58" fmla="*/ 1900546 w 2972665"/>
                  <a:gd name="connsiteY58" fmla="*/ 379230 h 2392583"/>
                  <a:gd name="connsiteX59" fmla="*/ 1868678 w 2972665"/>
                  <a:gd name="connsiteY59" fmla="*/ 392076 h 2392583"/>
                  <a:gd name="connsiteX60" fmla="*/ 1895708 w 2972665"/>
                  <a:gd name="connsiteY60" fmla="*/ 348197 h 2392583"/>
                  <a:gd name="connsiteX61" fmla="*/ 1875769 w 2972665"/>
                  <a:gd name="connsiteY61" fmla="*/ 319000 h 2392583"/>
                  <a:gd name="connsiteX62" fmla="*/ 1825296 w 2972665"/>
                  <a:gd name="connsiteY62" fmla="*/ 321252 h 2392583"/>
                  <a:gd name="connsiteX63" fmla="*/ 1739366 w 2972665"/>
                  <a:gd name="connsiteY63" fmla="*/ 377978 h 2392583"/>
                  <a:gd name="connsiteX64" fmla="*/ 1747792 w 2972665"/>
                  <a:gd name="connsiteY64" fmla="*/ 475914 h 2392583"/>
                  <a:gd name="connsiteX65" fmla="*/ 1750879 w 2972665"/>
                  <a:gd name="connsiteY65" fmla="*/ 521962 h 2392583"/>
                  <a:gd name="connsiteX66" fmla="*/ 1723849 w 2972665"/>
                  <a:gd name="connsiteY66" fmla="*/ 550742 h 2392583"/>
                  <a:gd name="connsiteX67" fmla="*/ 1717174 w 2972665"/>
                  <a:gd name="connsiteY67" fmla="*/ 516206 h 2392583"/>
                  <a:gd name="connsiteX68" fmla="*/ 1734861 w 2972665"/>
                  <a:gd name="connsiteY68" fmla="*/ 483005 h 2392583"/>
                  <a:gd name="connsiteX69" fmla="*/ 1722013 w 2972665"/>
                  <a:gd name="connsiteY69" fmla="*/ 484757 h 2392583"/>
                  <a:gd name="connsiteX70" fmla="*/ 1701657 w 2972665"/>
                  <a:gd name="connsiteY70" fmla="*/ 468823 h 2392583"/>
                  <a:gd name="connsiteX71" fmla="*/ 1703910 w 2972665"/>
                  <a:gd name="connsiteY71" fmla="*/ 455059 h 2392583"/>
                  <a:gd name="connsiteX72" fmla="*/ 1665784 w 2972665"/>
                  <a:gd name="connsiteY72" fmla="*/ 473662 h 2392583"/>
                  <a:gd name="connsiteX73" fmla="*/ 1636083 w 2972665"/>
                  <a:gd name="connsiteY73" fmla="*/ 501107 h 2392583"/>
                  <a:gd name="connsiteX74" fmla="*/ 1637002 w 2972665"/>
                  <a:gd name="connsiteY74" fmla="*/ 467906 h 2392583"/>
                  <a:gd name="connsiteX75" fmla="*/ 1677797 w 2972665"/>
                  <a:gd name="connsiteY75" fmla="*/ 447968 h 2392583"/>
                  <a:gd name="connsiteX76" fmla="*/ 1699905 w 2972665"/>
                  <a:gd name="connsiteY76" fmla="*/ 415184 h 2392583"/>
                  <a:gd name="connsiteX77" fmla="*/ 1660945 w 2972665"/>
                  <a:gd name="connsiteY77" fmla="*/ 421858 h 2392583"/>
                  <a:gd name="connsiteX78" fmla="*/ 1553325 w 2972665"/>
                  <a:gd name="connsiteY78" fmla="*/ 484757 h 2392583"/>
                  <a:gd name="connsiteX79" fmla="*/ 1508107 w 2972665"/>
                  <a:gd name="connsiteY79" fmla="*/ 522379 h 2392583"/>
                  <a:gd name="connsiteX80" fmla="*/ 1450960 w 2972665"/>
                  <a:gd name="connsiteY80" fmla="*/ 542734 h 2392583"/>
                  <a:gd name="connsiteX81" fmla="*/ 1427016 w 2972665"/>
                  <a:gd name="connsiteY81" fmla="*/ 562671 h 2392583"/>
                  <a:gd name="connsiteX82" fmla="*/ 1464224 w 2972665"/>
                  <a:gd name="connsiteY82" fmla="*/ 584361 h 2392583"/>
                  <a:gd name="connsiteX83" fmla="*/ 1431855 w 2972665"/>
                  <a:gd name="connsiteY83" fmla="*/ 640586 h 2392583"/>
                  <a:gd name="connsiteX84" fmla="*/ 1419007 w 2972665"/>
                  <a:gd name="connsiteY84" fmla="*/ 671619 h 2392583"/>
                  <a:gd name="connsiteX85" fmla="*/ 1446037 w 2972665"/>
                  <a:gd name="connsiteY85" fmla="*/ 701733 h 2392583"/>
                  <a:gd name="connsiteX86" fmla="*/ 1476572 w 2972665"/>
                  <a:gd name="connsiteY86" fmla="*/ 685800 h 2392583"/>
                  <a:gd name="connsiteX87" fmla="*/ 1538558 w 2972665"/>
                  <a:gd name="connsiteY87" fmla="*/ 758459 h 2392583"/>
                  <a:gd name="connsiteX88" fmla="*/ 1541645 w 2972665"/>
                  <a:gd name="connsiteY88" fmla="*/ 781900 h 2392583"/>
                  <a:gd name="connsiteX89" fmla="*/ 1525710 w 2972665"/>
                  <a:gd name="connsiteY89" fmla="*/ 794330 h 2392583"/>
                  <a:gd name="connsiteX90" fmla="*/ 1500432 w 2972665"/>
                  <a:gd name="connsiteY90" fmla="*/ 791661 h 2392583"/>
                  <a:gd name="connsiteX91" fmla="*/ 1466727 w 2972665"/>
                  <a:gd name="connsiteY91" fmla="*/ 840795 h 2392583"/>
                  <a:gd name="connsiteX92" fmla="*/ 1498596 w 2972665"/>
                  <a:gd name="connsiteY92" fmla="*/ 862485 h 2392583"/>
                  <a:gd name="connsiteX93" fmla="*/ 1474652 w 2972665"/>
                  <a:gd name="connsiteY93" fmla="*/ 877083 h 2392583"/>
                  <a:gd name="connsiteX94" fmla="*/ 1380714 w 2972665"/>
                  <a:gd name="connsiteY94" fmla="*/ 877500 h 2392583"/>
                  <a:gd name="connsiteX95" fmla="*/ 1332410 w 2972665"/>
                  <a:gd name="connsiteY95" fmla="*/ 954581 h 2392583"/>
                  <a:gd name="connsiteX96" fmla="*/ 1322649 w 2972665"/>
                  <a:gd name="connsiteY96" fmla="*/ 974936 h 2392583"/>
                  <a:gd name="connsiteX97" fmla="*/ 1274345 w 2972665"/>
                  <a:gd name="connsiteY97" fmla="*/ 985113 h 2392583"/>
                  <a:gd name="connsiteX98" fmla="*/ 1230963 w 2972665"/>
                  <a:gd name="connsiteY98" fmla="*/ 970514 h 2392583"/>
                  <a:gd name="connsiteX99" fmla="*/ 1197759 w 2972665"/>
                  <a:gd name="connsiteY99" fmla="*/ 954164 h 2392583"/>
                  <a:gd name="connsiteX100" fmla="*/ 1211942 w 2972665"/>
                  <a:gd name="connsiteY100" fmla="*/ 1034748 h 2392583"/>
                  <a:gd name="connsiteX101" fmla="*/ 1235885 w 2972665"/>
                  <a:gd name="connsiteY101" fmla="*/ 1123341 h 2392583"/>
                  <a:gd name="connsiteX102" fmla="*/ 1233633 w 2972665"/>
                  <a:gd name="connsiteY102" fmla="*/ 1160546 h 2392583"/>
                  <a:gd name="connsiteX103" fmla="*/ 1202181 w 2972665"/>
                  <a:gd name="connsiteY103" fmla="*/ 1152538 h 2392583"/>
                  <a:gd name="connsiteX104" fmla="*/ 1187581 w 2972665"/>
                  <a:gd name="connsiteY104" fmla="*/ 1157877 h 2392583"/>
                  <a:gd name="connsiteX105" fmla="*/ 1165890 w 2972665"/>
                  <a:gd name="connsiteY105" fmla="*/ 1153873 h 2392583"/>
                  <a:gd name="connsiteX106" fmla="*/ 1137942 w 2972665"/>
                  <a:gd name="connsiteY106" fmla="*/ 1150369 h 2392583"/>
                  <a:gd name="connsiteX107" fmla="*/ 1116251 w 2972665"/>
                  <a:gd name="connsiteY107" fmla="*/ 1137522 h 2392583"/>
                  <a:gd name="connsiteX108" fmla="*/ 1093643 w 2972665"/>
                  <a:gd name="connsiteY108" fmla="*/ 1125093 h 2392583"/>
                  <a:gd name="connsiteX109" fmla="*/ 1077291 w 2972665"/>
                  <a:gd name="connsiteY109" fmla="*/ 1112246 h 2392583"/>
                  <a:gd name="connsiteX110" fmla="*/ 1054682 w 2972665"/>
                  <a:gd name="connsiteY110" fmla="*/ 1107824 h 2392583"/>
                  <a:gd name="connsiteX111" fmla="*/ 1039164 w 2972665"/>
                  <a:gd name="connsiteY111" fmla="*/ 1089222 h 2392583"/>
                  <a:gd name="connsiteX112" fmla="*/ 979348 w 2972665"/>
                  <a:gd name="connsiteY112" fmla="*/ 1051599 h 2392583"/>
                  <a:gd name="connsiteX113" fmla="*/ 978931 w 2972665"/>
                  <a:gd name="connsiteY113" fmla="*/ 1046761 h 2392583"/>
                  <a:gd name="connsiteX114" fmla="*/ 986022 w 2972665"/>
                  <a:gd name="connsiteY114" fmla="*/ 1039253 h 2392583"/>
                  <a:gd name="connsiteX115" fmla="*/ 1008130 w 2972665"/>
                  <a:gd name="connsiteY115" fmla="*/ 1031244 h 2392583"/>
                  <a:gd name="connsiteX116" fmla="*/ 1011633 w 2972665"/>
                  <a:gd name="connsiteY116" fmla="*/ 988283 h 2392583"/>
                  <a:gd name="connsiteX117" fmla="*/ 974843 w 2972665"/>
                  <a:gd name="connsiteY117" fmla="*/ 974518 h 2392583"/>
                  <a:gd name="connsiteX118" fmla="*/ 966417 w 2972665"/>
                  <a:gd name="connsiteY118" fmla="*/ 977605 h 2392583"/>
                  <a:gd name="connsiteX119" fmla="*/ 966000 w 2972665"/>
                  <a:gd name="connsiteY119" fmla="*/ 977605 h 2392583"/>
                  <a:gd name="connsiteX120" fmla="*/ 958491 w 2972665"/>
                  <a:gd name="connsiteY120" fmla="*/ 975353 h 2392583"/>
                  <a:gd name="connsiteX121" fmla="*/ 954987 w 2972665"/>
                  <a:gd name="connsiteY121" fmla="*/ 968262 h 2392583"/>
                  <a:gd name="connsiteX122" fmla="*/ 957657 w 2972665"/>
                  <a:gd name="connsiteY122" fmla="*/ 953163 h 2392583"/>
                  <a:gd name="connsiteX123" fmla="*/ 957657 w 2972665"/>
                  <a:gd name="connsiteY123" fmla="*/ 928804 h 2392583"/>
                  <a:gd name="connsiteX124" fmla="*/ 946561 w 2972665"/>
                  <a:gd name="connsiteY124" fmla="*/ 924383 h 2392583"/>
                  <a:gd name="connsiteX125" fmla="*/ 930209 w 2972665"/>
                  <a:gd name="connsiteY125" fmla="*/ 914205 h 2392583"/>
                  <a:gd name="connsiteX126" fmla="*/ 929292 w 2972665"/>
                  <a:gd name="connsiteY126" fmla="*/ 913788 h 2392583"/>
                  <a:gd name="connsiteX127" fmla="*/ 920865 w 2972665"/>
                  <a:gd name="connsiteY127" fmla="*/ 902276 h 2392583"/>
                  <a:gd name="connsiteX128" fmla="*/ 911104 w 2972665"/>
                  <a:gd name="connsiteY128" fmla="*/ 880587 h 2392583"/>
                  <a:gd name="connsiteX129" fmla="*/ 876149 w 2972665"/>
                  <a:gd name="connsiteY129" fmla="*/ 870410 h 2392583"/>
                  <a:gd name="connsiteX130" fmla="*/ 790636 w 2972665"/>
                  <a:gd name="connsiteY130" fmla="*/ 872662 h 2392583"/>
                  <a:gd name="connsiteX131" fmla="*/ 786215 w 2972665"/>
                  <a:gd name="connsiteY131" fmla="*/ 895686 h 2392583"/>
                  <a:gd name="connsiteX132" fmla="*/ 780041 w 2972665"/>
                  <a:gd name="connsiteY132" fmla="*/ 901442 h 2392583"/>
                  <a:gd name="connsiteX133" fmla="*/ 772950 w 2972665"/>
                  <a:gd name="connsiteY133" fmla="*/ 900524 h 2392583"/>
                  <a:gd name="connsiteX134" fmla="*/ 751676 w 2972665"/>
                  <a:gd name="connsiteY134" fmla="*/ 897855 h 2392583"/>
                  <a:gd name="connsiteX135" fmla="*/ 726398 w 2972665"/>
                  <a:gd name="connsiteY135" fmla="*/ 903194 h 2392583"/>
                  <a:gd name="connsiteX136" fmla="*/ 709128 w 2972665"/>
                  <a:gd name="connsiteY136" fmla="*/ 900107 h 2392583"/>
                  <a:gd name="connsiteX137" fmla="*/ 700702 w 2972665"/>
                  <a:gd name="connsiteY137" fmla="*/ 897021 h 2392583"/>
                  <a:gd name="connsiteX138" fmla="*/ 692693 w 2972665"/>
                  <a:gd name="connsiteY138" fmla="*/ 893517 h 2392583"/>
                  <a:gd name="connsiteX139" fmla="*/ 682932 w 2972665"/>
                  <a:gd name="connsiteY139" fmla="*/ 899273 h 2392583"/>
                  <a:gd name="connsiteX140" fmla="*/ 676258 w 2972665"/>
                  <a:gd name="connsiteY140" fmla="*/ 898856 h 2392583"/>
                  <a:gd name="connsiteX141" fmla="*/ 666080 w 2972665"/>
                  <a:gd name="connsiteY141" fmla="*/ 884674 h 2392583"/>
                  <a:gd name="connsiteX142" fmla="*/ 659406 w 2972665"/>
                  <a:gd name="connsiteY142" fmla="*/ 873580 h 2392583"/>
                  <a:gd name="connsiteX143" fmla="*/ 655902 w 2972665"/>
                  <a:gd name="connsiteY143" fmla="*/ 870493 h 2392583"/>
                  <a:gd name="connsiteX144" fmla="*/ 652398 w 2972665"/>
                  <a:gd name="connsiteY144" fmla="*/ 870910 h 2392583"/>
                  <a:gd name="connsiteX145" fmla="*/ 656819 w 2972665"/>
                  <a:gd name="connsiteY145" fmla="*/ 893934 h 2392583"/>
                  <a:gd name="connsiteX146" fmla="*/ 647976 w 2972665"/>
                  <a:gd name="connsiteY146" fmla="*/ 910285 h 2392583"/>
                  <a:gd name="connsiteX147" fmla="*/ 642220 w 2972665"/>
                  <a:gd name="connsiteY147" fmla="*/ 926218 h 2392583"/>
                  <a:gd name="connsiteX148" fmla="*/ 629790 w 2972665"/>
                  <a:gd name="connsiteY148" fmla="*/ 934226 h 2392583"/>
                  <a:gd name="connsiteX149" fmla="*/ 674506 w 2972665"/>
                  <a:gd name="connsiteY149" fmla="*/ 1018398 h 2392583"/>
                  <a:gd name="connsiteX150" fmla="*/ 674923 w 2972665"/>
                  <a:gd name="connsiteY150" fmla="*/ 1019732 h 2392583"/>
                  <a:gd name="connsiteX151" fmla="*/ 674923 w 2972665"/>
                  <a:gd name="connsiteY151" fmla="*/ 1020149 h 2392583"/>
                  <a:gd name="connsiteX152" fmla="*/ 675340 w 2972665"/>
                  <a:gd name="connsiteY152" fmla="*/ 1035248 h 2392583"/>
                  <a:gd name="connsiteX153" fmla="*/ 667332 w 2972665"/>
                  <a:gd name="connsiteY153" fmla="*/ 1052934 h 2392583"/>
                  <a:gd name="connsiteX154" fmla="*/ 654901 w 2972665"/>
                  <a:gd name="connsiteY154" fmla="*/ 1061359 h 2392583"/>
                  <a:gd name="connsiteX155" fmla="*/ 652648 w 2972665"/>
                  <a:gd name="connsiteY155" fmla="*/ 1062277 h 2392583"/>
                  <a:gd name="connsiteX156" fmla="*/ 641135 w 2972665"/>
                  <a:gd name="connsiteY156" fmla="*/ 1070702 h 2392583"/>
                  <a:gd name="connsiteX157" fmla="*/ 630957 w 2972665"/>
                  <a:gd name="connsiteY157" fmla="*/ 1076875 h 2392583"/>
                  <a:gd name="connsiteX158" fmla="*/ 609683 w 2972665"/>
                  <a:gd name="connsiteY158" fmla="*/ 1077293 h 2392583"/>
                  <a:gd name="connsiteX159" fmla="*/ 597253 w 2972665"/>
                  <a:gd name="connsiteY159" fmla="*/ 1085718 h 2392583"/>
                  <a:gd name="connsiteX160" fmla="*/ 552536 w 2972665"/>
                  <a:gd name="connsiteY160" fmla="*/ 1107824 h 2392583"/>
                  <a:gd name="connsiteX161" fmla="*/ 535266 w 2972665"/>
                  <a:gd name="connsiteY161" fmla="*/ 1105155 h 2392583"/>
                  <a:gd name="connsiteX162" fmla="*/ 521084 w 2972665"/>
                  <a:gd name="connsiteY162" fmla="*/ 1090973 h 2392583"/>
                  <a:gd name="connsiteX163" fmla="*/ 494971 w 2972665"/>
                  <a:gd name="connsiteY163" fmla="*/ 1115749 h 2392583"/>
                  <a:gd name="connsiteX164" fmla="*/ 454176 w 2972665"/>
                  <a:gd name="connsiteY164" fmla="*/ 1118002 h 2392583"/>
                  <a:gd name="connsiteX165" fmla="*/ 424977 w 2972665"/>
                  <a:gd name="connsiteY165" fmla="*/ 1094060 h 2392583"/>
                  <a:gd name="connsiteX166" fmla="*/ 423641 w 2972665"/>
                  <a:gd name="connsiteY166" fmla="*/ 1076792 h 2392583"/>
                  <a:gd name="connsiteX167" fmla="*/ 436072 w 2972665"/>
                  <a:gd name="connsiteY167" fmla="*/ 1059524 h 2392583"/>
                  <a:gd name="connsiteX168" fmla="*/ 394859 w 2972665"/>
                  <a:gd name="connsiteY168" fmla="*/ 1056020 h 2392583"/>
                  <a:gd name="connsiteX169" fmla="*/ 349642 w 2972665"/>
                  <a:gd name="connsiteY169" fmla="*/ 1075958 h 2392583"/>
                  <a:gd name="connsiteX170" fmla="*/ 325282 w 2972665"/>
                  <a:gd name="connsiteY170" fmla="*/ 1077710 h 2392583"/>
                  <a:gd name="connsiteX171" fmla="*/ 287155 w 2972665"/>
                  <a:gd name="connsiteY171" fmla="*/ 1083048 h 2392583"/>
                  <a:gd name="connsiteX172" fmla="*/ 247695 w 2972665"/>
                  <a:gd name="connsiteY172" fmla="*/ 1100734 h 2392583"/>
                  <a:gd name="connsiteX173" fmla="*/ 201643 w 2972665"/>
                  <a:gd name="connsiteY173" fmla="*/ 1135687 h 2392583"/>
                  <a:gd name="connsiteX174" fmla="*/ 189212 w 2972665"/>
                  <a:gd name="connsiteY174" fmla="*/ 1165384 h 2392583"/>
                  <a:gd name="connsiteX175" fmla="*/ 201643 w 2972665"/>
                  <a:gd name="connsiteY175" fmla="*/ 1181318 h 2392583"/>
                  <a:gd name="connsiteX176" fmla="*/ 187043 w 2972665"/>
                  <a:gd name="connsiteY176" fmla="*/ 1178231 h 2392583"/>
                  <a:gd name="connsiteX177" fmla="*/ 172443 w 2972665"/>
                  <a:gd name="connsiteY177" fmla="*/ 1139274 h 2392583"/>
                  <a:gd name="connsiteX178" fmla="*/ 147165 w 2972665"/>
                  <a:gd name="connsiteY178" fmla="*/ 1098064 h 2392583"/>
                  <a:gd name="connsiteX179" fmla="*/ 133400 w 2972665"/>
                  <a:gd name="connsiteY179" fmla="*/ 1116250 h 2392583"/>
                  <a:gd name="connsiteX180" fmla="*/ 101030 w 2972665"/>
                  <a:gd name="connsiteY180" fmla="*/ 1141943 h 2392583"/>
                  <a:gd name="connsiteX181" fmla="*/ 79756 w 2972665"/>
                  <a:gd name="connsiteY181" fmla="*/ 1138440 h 2392583"/>
                  <a:gd name="connsiteX182" fmla="*/ 68660 w 2972665"/>
                  <a:gd name="connsiteY182" fmla="*/ 1160546 h 2392583"/>
                  <a:gd name="connsiteX183" fmla="*/ 71747 w 2972665"/>
                  <a:gd name="connsiteY183" fmla="*/ 1169389 h 2392583"/>
                  <a:gd name="connsiteX184" fmla="*/ 76586 w 2972665"/>
                  <a:gd name="connsiteY184" fmla="*/ 1182236 h 2392583"/>
                  <a:gd name="connsiteX185" fmla="*/ 70413 w 2972665"/>
                  <a:gd name="connsiteY185" fmla="*/ 1204842 h 2392583"/>
                  <a:gd name="connsiteX186" fmla="*/ 66908 w 2972665"/>
                  <a:gd name="connsiteY186" fmla="*/ 1211933 h 2392583"/>
                  <a:gd name="connsiteX187" fmla="*/ 81508 w 2972665"/>
                  <a:gd name="connsiteY187" fmla="*/ 1256647 h 2392583"/>
                  <a:gd name="connsiteX188" fmla="*/ 96108 w 2972665"/>
                  <a:gd name="connsiteY188" fmla="*/ 1296522 h 2392583"/>
                  <a:gd name="connsiteX189" fmla="*/ 97025 w 2972665"/>
                  <a:gd name="connsiteY189" fmla="*/ 1312455 h 2392583"/>
                  <a:gd name="connsiteX190" fmla="*/ 119133 w 2972665"/>
                  <a:gd name="connsiteY190" fmla="*/ 1347408 h 2392583"/>
                  <a:gd name="connsiteX191" fmla="*/ 122637 w 2972665"/>
                  <a:gd name="connsiteY191" fmla="*/ 1350495 h 2392583"/>
                  <a:gd name="connsiteX192" fmla="*/ 138572 w 2972665"/>
                  <a:gd name="connsiteY192" fmla="*/ 1372601 h 2392583"/>
                  <a:gd name="connsiteX193" fmla="*/ 156258 w 2972665"/>
                  <a:gd name="connsiteY193" fmla="*/ 1394290 h 2392583"/>
                  <a:gd name="connsiteX194" fmla="*/ 170024 w 2972665"/>
                  <a:gd name="connsiteY194" fmla="*/ 1402299 h 2392583"/>
                  <a:gd name="connsiteX195" fmla="*/ 210319 w 2972665"/>
                  <a:gd name="connsiteY195" fmla="*/ 1440839 h 2392583"/>
                  <a:gd name="connsiteX196" fmla="*/ 218328 w 2972665"/>
                  <a:gd name="connsiteY196" fmla="*/ 1476710 h 2392583"/>
                  <a:gd name="connsiteX197" fmla="*/ 226337 w 2972665"/>
                  <a:gd name="connsiteY197" fmla="*/ 1510412 h 2392583"/>
                  <a:gd name="connsiteX198" fmla="*/ 254285 w 2972665"/>
                  <a:gd name="connsiteY198" fmla="*/ 1534771 h 2392583"/>
                  <a:gd name="connsiteX199" fmla="*/ 283985 w 2972665"/>
                  <a:gd name="connsiteY199" fmla="*/ 1566220 h 2392583"/>
                  <a:gd name="connsiteX200" fmla="*/ 269386 w 2972665"/>
                  <a:gd name="connsiteY200" fmla="*/ 1596335 h 2392583"/>
                  <a:gd name="connsiteX201" fmla="*/ 257455 w 2972665"/>
                  <a:gd name="connsiteY201" fmla="*/ 1608264 h 2392583"/>
                  <a:gd name="connsiteX202" fmla="*/ 211404 w 2972665"/>
                  <a:gd name="connsiteY202" fmla="*/ 1652560 h 2392583"/>
                  <a:gd name="connsiteX203" fmla="*/ 206565 w 2972665"/>
                  <a:gd name="connsiteY203" fmla="*/ 1656982 h 2392583"/>
                  <a:gd name="connsiteX204" fmla="*/ 179118 w 2972665"/>
                  <a:gd name="connsiteY204" fmla="*/ 1693269 h 2392583"/>
                  <a:gd name="connsiteX205" fmla="*/ 182622 w 2972665"/>
                  <a:gd name="connsiteY205" fmla="*/ 1704364 h 2392583"/>
                  <a:gd name="connsiteX206" fmla="*/ 187043 w 2972665"/>
                  <a:gd name="connsiteY206" fmla="*/ 1720715 h 2392583"/>
                  <a:gd name="connsiteX207" fmla="*/ 175113 w 2972665"/>
                  <a:gd name="connsiteY207" fmla="*/ 1742821 h 2392583"/>
                  <a:gd name="connsiteX208" fmla="*/ 172443 w 2972665"/>
                  <a:gd name="connsiteY208" fmla="*/ 1745491 h 2392583"/>
                  <a:gd name="connsiteX209" fmla="*/ 158678 w 2972665"/>
                  <a:gd name="connsiteY209" fmla="*/ 1784031 h 2392583"/>
                  <a:gd name="connsiteX210" fmla="*/ 164851 w 2972665"/>
                  <a:gd name="connsiteY210" fmla="*/ 1793791 h 2392583"/>
                  <a:gd name="connsiteX211" fmla="*/ 169273 w 2972665"/>
                  <a:gd name="connsiteY211" fmla="*/ 1845178 h 2392583"/>
                  <a:gd name="connsiteX212" fmla="*/ 131147 w 2972665"/>
                  <a:gd name="connsiteY212" fmla="*/ 1855773 h 2392583"/>
                  <a:gd name="connsiteX213" fmla="*/ 111625 w 2972665"/>
                  <a:gd name="connsiteY213" fmla="*/ 1856690 h 2392583"/>
                  <a:gd name="connsiteX214" fmla="*/ 101864 w 2972665"/>
                  <a:gd name="connsiteY214" fmla="*/ 1868619 h 2392583"/>
                  <a:gd name="connsiteX215" fmla="*/ 97442 w 2972665"/>
                  <a:gd name="connsiteY215" fmla="*/ 1879714 h 2392583"/>
                  <a:gd name="connsiteX216" fmla="*/ 79255 w 2972665"/>
                  <a:gd name="connsiteY216" fmla="*/ 1896565 h 2392583"/>
                  <a:gd name="connsiteX217" fmla="*/ 73916 w 2972665"/>
                  <a:gd name="connsiteY217" fmla="*/ 1900069 h 2392583"/>
                  <a:gd name="connsiteX218" fmla="*/ 56647 w 2972665"/>
                  <a:gd name="connsiteY218" fmla="*/ 1913833 h 2392583"/>
                  <a:gd name="connsiteX219" fmla="*/ 20356 w 2972665"/>
                  <a:gd name="connsiteY219" fmla="*/ 1937274 h 2392583"/>
                  <a:gd name="connsiteX220" fmla="*/ 0 w 2972665"/>
                  <a:gd name="connsiteY220" fmla="*/ 1950121 h 2392583"/>
                  <a:gd name="connsiteX221" fmla="*/ 11096 w 2972665"/>
                  <a:gd name="connsiteY221" fmla="*/ 1959881 h 2392583"/>
                  <a:gd name="connsiteX222" fmla="*/ 47386 w 2972665"/>
                  <a:gd name="connsiteY222" fmla="*/ 1997087 h 2392583"/>
                  <a:gd name="connsiteX223" fmla="*/ 96525 w 2972665"/>
                  <a:gd name="connsiteY223" fmla="*/ 2126889 h 2392583"/>
                  <a:gd name="connsiteX224" fmla="*/ 98778 w 2972665"/>
                  <a:gd name="connsiteY224" fmla="*/ 2135315 h 2392583"/>
                  <a:gd name="connsiteX225" fmla="*/ 108955 w 2972665"/>
                  <a:gd name="connsiteY225" fmla="*/ 2216399 h 2392583"/>
                  <a:gd name="connsiteX226" fmla="*/ 108955 w 2972665"/>
                  <a:gd name="connsiteY226" fmla="*/ 2218151 h 2392583"/>
                  <a:gd name="connsiteX227" fmla="*/ 114712 w 2972665"/>
                  <a:gd name="connsiteY227" fmla="*/ 2243428 h 2392583"/>
                  <a:gd name="connsiteX228" fmla="*/ 120469 w 2972665"/>
                  <a:gd name="connsiteY228" fmla="*/ 2288141 h 2392583"/>
                  <a:gd name="connsiteX229" fmla="*/ 97025 w 2972665"/>
                  <a:gd name="connsiteY229" fmla="*/ 2318673 h 2392583"/>
                  <a:gd name="connsiteX230" fmla="*/ 71330 w 2972665"/>
                  <a:gd name="connsiteY230" fmla="*/ 2355879 h 2392583"/>
                  <a:gd name="connsiteX231" fmla="*/ 79339 w 2972665"/>
                  <a:gd name="connsiteY231" fmla="*/ 2366473 h 2392583"/>
                  <a:gd name="connsiteX232" fmla="*/ 93521 w 2972665"/>
                  <a:gd name="connsiteY232" fmla="*/ 2373981 h 2392583"/>
                  <a:gd name="connsiteX233" fmla="*/ 118299 w 2972665"/>
                  <a:gd name="connsiteY233" fmla="*/ 2392584 h 2392583"/>
                  <a:gd name="connsiteX234" fmla="*/ 128060 w 2972665"/>
                  <a:gd name="connsiteY234" fmla="*/ 2378402 h 2392583"/>
                  <a:gd name="connsiteX235" fmla="*/ 140491 w 2972665"/>
                  <a:gd name="connsiteY235" fmla="*/ 2362469 h 2392583"/>
                  <a:gd name="connsiteX236" fmla="*/ 182538 w 2972665"/>
                  <a:gd name="connsiteY236" fmla="*/ 2339445 h 2392583"/>
                  <a:gd name="connsiteX237" fmla="*/ 256538 w 2972665"/>
                  <a:gd name="connsiteY237" fmla="*/ 2340779 h 2392583"/>
                  <a:gd name="connsiteX238" fmla="*/ 257455 w 2972665"/>
                  <a:gd name="connsiteY238" fmla="*/ 2341197 h 2392583"/>
                  <a:gd name="connsiteX239" fmla="*/ 271637 w 2972665"/>
                  <a:gd name="connsiteY239" fmla="*/ 2343449 h 2392583"/>
                  <a:gd name="connsiteX240" fmla="*/ 284903 w 2972665"/>
                  <a:gd name="connsiteY240" fmla="*/ 2335941 h 2392583"/>
                  <a:gd name="connsiteX241" fmla="*/ 308846 w 2972665"/>
                  <a:gd name="connsiteY241" fmla="*/ 2289392 h 2392583"/>
                  <a:gd name="connsiteX242" fmla="*/ 316855 w 2972665"/>
                  <a:gd name="connsiteY242" fmla="*/ 2273042 h 2392583"/>
                  <a:gd name="connsiteX243" fmla="*/ 325699 w 2972665"/>
                  <a:gd name="connsiteY243" fmla="*/ 2273042 h 2392583"/>
                  <a:gd name="connsiteX244" fmla="*/ 363824 w 2972665"/>
                  <a:gd name="connsiteY244" fmla="*/ 2292062 h 2392583"/>
                  <a:gd name="connsiteX245" fmla="*/ 366494 w 2972665"/>
                  <a:gd name="connsiteY245" fmla="*/ 2294315 h 2392583"/>
                  <a:gd name="connsiteX246" fmla="*/ 374921 w 2972665"/>
                  <a:gd name="connsiteY246" fmla="*/ 2300488 h 2392583"/>
                  <a:gd name="connsiteX247" fmla="*/ 397946 w 2972665"/>
                  <a:gd name="connsiteY247" fmla="*/ 2296483 h 2392583"/>
                  <a:gd name="connsiteX248" fmla="*/ 416967 w 2972665"/>
                  <a:gd name="connsiteY248" fmla="*/ 2274377 h 2392583"/>
                  <a:gd name="connsiteX249" fmla="*/ 526840 w 2972665"/>
                  <a:gd name="connsiteY249" fmla="*/ 2165430 h 2392583"/>
                  <a:gd name="connsiteX250" fmla="*/ 566301 w 2972665"/>
                  <a:gd name="connsiteY250" fmla="*/ 2165430 h 2392583"/>
                  <a:gd name="connsiteX251" fmla="*/ 576897 w 2972665"/>
                  <a:gd name="connsiteY251" fmla="*/ 2183615 h 2392583"/>
                  <a:gd name="connsiteX252" fmla="*/ 572475 w 2972665"/>
                  <a:gd name="connsiteY252" fmla="*/ 2237255 h 2392583"/>
                  <a:gd name="connsiteX253" fmla="*/ 568471 w 2972665"/>
                  <a:gd name="connsiteY253" fmla="*/ 2289059 h 2392583"/>
                  <a:gd name="connsiteX254" fmla="*/ 570723 w 2972665"/>
                  <a:gd name="connsiteY254" fmla="*/ 2302823 h 2392583"/>
                  <a:gd name="connsiteX255" fmla="*/ 578732 w 2972665"/>
                  <a:gd name="connsiteY255" fmla="*/ 2315253 h 2392583"/>
                  <a:gd name="connsiteX256" fmla="*/ 597336 w 2972665"/>
                  <a:gd name="connsiteY256" fmla="*/ 2332938 h 2392583"/>
                  <a:gd name="connsiteX257" fmla="*/ 614189 w 2972665"/>
                  <a:gd name="connsiteY257" fmla="*/ 2337359 h 2392583"/>
                  <a:gd name="connsiteX258" fmla="*/ 686436 w 2972665"/>
                  <a:gd name="connsiteY258" fmla="*/ 2340029 h 2392583"/>
                  <a:gd name="connsiteX259" fmla="*/ 713466 w 2972665"/>
                  <a:gd name="connsiteY259" fmla="*/ 2331186 h 2392583"/>
                  <a:gd name="connsiteX260" fmla="*/ 739579 w 2972665"/>
                  <a:gd name="connsiteY260" fmla="*/ 2315253 h 2392583"/>
                  <a:gd name="connsiteX261" fmla="*/ 753761 w 2972665"/>
                  <a:gd name="connsiteY261" fmla="*/ 2275378 h 2392583"/>
                  <a:gd name="connsiteX262" fmla="*/ 754179 w 2972665"/>
                  <a:gd name="connsiteY262" fmla="*/ 2273626 h 2392583"/>
                  <a:gd name="connsiteX263" fmla="*/ 775870 w 2972665"/>
                  <a:gd name="connsiteY263" fmla="*/ 2225826 h 2392583"/>
                  <a:gd name="connsiteX264" fmla="*/ 823256 w 2972665"/>
                  <a:gd name="connsiteY264" fmla="*/ 2212562 h 2392583"/>
                  <a:gd name="connsiteX265" fmla="*/ 853791 w 2972665"/>
                  <a:gd name="connsiteY265" fmla="*/ 2201467 h 2392583"/>
                  <a:gd name="connsiteX266" fmla="*/ 857294 w 2972665"/>
                  <a:gd name="connsiteY266" fmla="*/ 2189538 h 2392583"/>
                  <a:gd name="connsiteX267" fmla="*/ 866138 w 2972665"/>
                  <a:gd name="connsiteY267" fmla="*/ 2123553 h 2392583"/>
                  <a:gd name="connsiteX268" fmla="*/ 857294 w 2972665"/>
                  <a:gd name="connsiteY268" fmla="*/ 2059736 h 2392583"/>
                  <a:gd name="connsiteX269" fmla="*/ 855959 w 2972665"/>
                  <a:gd name="connsiteY269" fmla="*/ 2056232 h 2392583"/>
                  <a:gd name="connsiteX270" fmla="*/ 851121 w 2972665"/>
                  <a:gd name="connsiteY270" fmla="*/ 2037212 h 2392583"/>
                  <a:gd name="connsiteX271" fmla="*/ 852038 w 2972665"/>
                  <a:gd name="connsiteY271" fmla="*/ 2026118 h 2392583"/>
                  <a:gd name="connsiteX272" fmla="*/ 852956 w 2972665"/>
                  <a:gd name="connsiteY272" fmla="*/ 2019444 h 2392583"/>
                  <a:gd name="connsiteX273" fmla="*/ 861382 w 2972665"/>
                  <a:gd name="connsiteY273" fmla="*/ 1975148 h 2392583"/>
                  <a:gd name="connsiteX274" fmla="*/ 883990 w 2972665"/>
                  <a:gd name="connsiteY274" fmla="*/ 1949037 h 2392583"/>
                  <a:gd name="connsiteX275" fmla="*/ 905681 w 2972665"/>
                  <a:gd name="connsiteY275" fmla="*/ 1958797 h 2392583"/>
                  <a:gd name="connsiteX276" fmla="*/ 953068 w 2972665"/>
                  <a:gd name="connsiteY276" fmla="*/ 2018610 h 2392583"/>
                  <a:gd name="connsiteX277" fmla="*/ 958824 w 2972665"/>
                  <a:gd name="connsiteY277" fmla="*/ 2029704 h 2392583"/>
                  <a:gd name="connsiteX278" fmla="*/ 992946 w 2972665"/>
                  <a:gd name="connsiteY278" fmla="*/ 2073083 h 2392583"/>
                  <a:gd name="connsiteX279" fmla="*/ 1028820 w 2972665"/>
                  <a:gd name="connsiteY279" fmla="*/ 2081092 h 2392583"/>
                  <a:gd name="connsiteX280" fmla="*/ 1050928 w 2972665"/>
                  <a:gd name="connsiteY280" fmla="*/ 2084178 h 2392583"/>
                  <a:gd name="connsiteX281" fmla="*/ 1078876 w 2972665"/>
                  <a:gd name="connsiteY281" fmla="*/ 2094772 h 2392583"/>
                  <a:gd name="connsiteX282" fmla="*/ 1086384 w 2972665"/>
                  <a:gd name="connsiteY282" fmla="*/ 2099194 h 2392583"/>
                  <a:gd name="connsiteX283" fmla="*/ 1097897 w 2972665"/>
                  <a:gd name="connsiteY283" fmla="*/ 2105867 h 2392583"/>
                  <a:gd name="connsiteX284" fmla="*/ 1151540 w 2972665"/>
                  <a:gd name="connsiteY284" fmla="*/ 2104116 h 2392583"/>
                  <a:gd name="connsiteX285" fmla="*/ 1182993 w 2972665"/>
                  <a:gd name="connsiteY285" fmla="*/ 2089517 h 2392583"/>
                  <a:gd name="connsiteX286" fmla="*/ 1205101 w 2972665"/>
                  <a:gd name="connsiteY286" fmla="*/ 2078422 h 2392583"/>
                  <a:gd name="connsiteX287" fmla="*/ 1217949 w 2972665"/>
                  <a:gd name="connsiteY287" fmla="*/ 2073083 h 2392583"/>
                  <a:gd name="connsiteX288" fmla="*/ 1239223 w 2972665"/>
                  <a:gd name="connsiteY288" fmla="*/ 2063323 h 2392583"/>
                  <a:gd name="connsiteX289" fmla="*/ 1285775 w 2972665"/>
                  <a:gd name="connsiteY289" fmla="*/ 2016774 h 2392583"/>
                  <a:gd name="connsiteX290" fmla="*/ 1294617 w 2972665"/>
                  <a:gd name="connsiteY290" fmla="*/ 2002176 h 2392583"/>
                  <a:gd name="connsiteX291" fmla="*/ 1326987 w 2972665"/>
                  <a:gd name="connsiteY291" fmla="*/ 1945033 h 2392583"/>
                  <a:gd name="connsiteX292" fmla="*/ 1343339 w 2972665"/>
                  <a:gd name="connsiteY292" fmla="*/ 1886555 h 2392583"/>
                  <a:gd name="connsiteX293" fmla="*/ 1343756 w 2972665"/>
                  <a:gd name="connsiteY293" fmla="*/ 1876795 h 2392583"/>
                  <a:gd name="connsiteX294" fmla="*/ 1343756 w 2972665"/>
                  <a:gd name="connsiteY294" fmla="*/ 1871039 h 2392583"/>
                  <a:gd name="connsiteX295" fmla="*/ 1344674 w 2972665"/>
                  <a:gd name="connsiteY295" fmla="*/ 1862613 h 2392583"/>
                  <a:gd name="connsiteX296" fmla="*/ 1345592 w 2972665"/>
                  <a:gd name="connsiteY296" fmla="*/ 1858192 h 2392583"/>
                  <a:gd name="connsiteX297" fmla="*/ 1346926 w 2972665"/>
                  <a:gd name="connsiteY297" fmla="*/ 1847097 h 2392583"/>
                  <a:gd name="connsiteX298" fmla="*/ 1349179 w 2972665"/>
                  <a:gd name="connsiteY298" fmla="*/ 1826242 h 2392583"/>
                  <a:gd name="connsiteX299" fmla="*/ 1346926 w 2972665"/>
                  <a:gd name="connsiteY299" fmla="*/ 1804970 h 2392583"/>
                  <a:gd name="connsiteX300" fmla="*/ 1340752 w 2972665"/>
                  <a:gd name="connsiteY300" fmla="*/ 1797879 h 2392583"/>
                  <a:gd name="connsiteX301" fmla="*/ 1328322 w 2972665"/>
                  <a:gd name="connsiteY301" fmla="*/ 1786784 h 2392583"/>
                  <a:gd name="connsiteX302" fmla="*/ 1327905 w 2972665"/>
                  <a:gd name="connsiteY302" fmla="*/ 1786367 h 2392583"/>
                  <a:gd name="connsiteX303" fmla="*/ 1318561 w 2972665"/>
                  <a:gd name="connsiteY303" fmla="*/ 1776607 h 2392583"/>
                  <a:gd name="connsiteX304" fmla="*/ 1315474 w 2972665"/>
                  <a:gd name="connsiteY304" fmla="*/ 1758921 h 2392583"/>
                  <a:gd name="connsiteX305" fmla="*/ 1327905 w 2972665"/>
                  <a:gd name="connsiteY305" fmla="*/ 1745658 h 2392583"/>
                  <a:gd name="connsiteX306" fmla="*/ 1333661 w 2972665"/>
                  <a:gd name="connsiteY306" fmla="*/ 1741236 h 2392583"/>
                  <a:gd name="connsiteX307" fmla="*/ 1337666 w 2972665"/>
                  <a:gd name="connsiteY307" fmla="*/ 1734563 h 2392583"/>
                  <a:gd name="connsiteX308" fmla="*/ 1345175 w 2972665"/>
                  <a:gd name="connsiteY308" fmla="*/ 1723468 h 2392583"/>
                  <a:gd name="connsiteX309" fmla="*/ 1352683 w 2972665"/>
                  <a:gd name="connsiteY309" fmla="*/ 1718629 h 2392583"/>
                  <a:gd name="connsiteX310" fmla="*/ 1357522 w 2972665"/>
                  <a:gd name="connsiteY310" fmla="*/ 1715543 h 2392583"/>
                  <a:gd name="connsiteX311" fmla="*/ 1360191 w 2972665"/>
                  <a:gd name="connsiteY311" fmla="*/ 1711539 h 2392583"/>
                  <a:gd name="connsiteX312" fmla="*/ 1369034 w 2972665"/>
                  <a:gd name="connsiteY312" fmla="*/ 1701361 h 2392583"/>
                  <a:gd name="connsiteX313" fmla="*/ 1389391 w 2972665"/>
                  <a:gd name="connsiteY313" fmla="*/ 1701361 h 2392583"/>
                  <a:gd name="connsiteX314" fmla="*/ 1395564 w 2972665"/>
                  <a:gd name="connsiteY314" fmla="*/ 1703614 h 2392583"/>
                  <a:gd name="connsiteX315" fmla="*/ 1402655 w 2972665"/>
                  <a:gd name="connsiteY315" fmla="*/ 1705866 h 2392583"/>
                  <a:gd name="connsiteX316" fmla="*/ 1418173 w 2972665"/>
                  <a:gd name="connsiteY316" fmla="*/ 1705866 h 2392583"/>
                  <a:gd name="connsiteX317" fmla="*/ 1426182 w 2972665"/>
                  <a:gd name="connsiteY317" fmla="*/ 1705449 h 2392583"/>
                  <a:gd name="connsiteX318" fmla="*/ 1455381 w 2972665"/>
                  <a:gd name="connsiteY318" fmla="*/ 1717378 h 2392583"/>
                  <a:gd name="connsiteX319" fmla="*/ 1459803 w 2972665"/>
                  <a:gd name="connsiteY319" fmla="*/ 1727972 h 2392583"/>
                  <a:gd name="connsiteX320" fmla="*/ 1462055 w 2972665"/>
                  <a:gd name="connsiteY320" fmla="*/ 1734646 h 2392583"/>
                  <a:gd name="connsiteX321" fmla="*/ 1481995 w 2972665"/>
                  <a:gd name="connsiteY321" fmla="*/ 1740819 h 2392583"/>
                  <a:gd name="connsiteX322" fmla="*/ 1484247 w 2972665"/>
                  <a:gd name="connsiteY322" fmla="*/ 1740819 h 2392583"/>
                  <a:gd name="connsiteX323" fmla="*/ 1503769 w 2972665"/>
                  <a:gd name="connsiteY323" fmla="*/ 1743071 h 2392583"/>
                  <a:gd name="connsiteX324" fmla="*/ 1513530 w 2972665"/>
                  <a:gd name="connsiteY324" fmla="*/ 1750579 h 2392583"/>
                  <a:gd name="connsiteX325" fmla="*/ 1514447 w 2972665"/>
                  <a:gd name="connsiteY325" fmla="*/ 1751497 h 2392583"/>
                  <a:gd name="connsiteX326" fmla="*/ 1530382 w 2972665"/>
                  <a:gd name="connsiteY326" fmla="*/ 1763426 h 2392583"/>
                  <a:gd name="connsiteX327" fmla="*/ 1533051 w 2972665"/>
                  <a:gd name="connsiteY327" fmla="*/ 1764761 h 2392583"/>
                  <a:gd name="connsiteX328" fmla="*/ 1541478 w 2972665"/>
                  <a:gd name="connsiteY328" fmla="*/ 1768265 h 2392583"/>
                  <a:gd name="connsiteX329" fmla="*/ 1541478 w 2972665"/>
                  <a:gd name="connsiteY329" fmla="*/ 1768265 h 2392583"/>
                  <a:gd name="connsiteX330" fmla="*/ 1544148 w 2972665"/>
                  <a:gd name="connsiteY330" fmla="*/ 1765595 h 2392583"/>
                  <a:gd name="connsiteX331" fmla="*/ 1551656 w 2972665"/>
                  <a:gd name="connsiteY331" fmla="*/ 1759839 h 2392583"/>
                  <a:gd name="connsiteX332" fmla="*/ 1575099 w 2972665"/>
                  <a:gd name="connsiteY332" fmla="*/ 1767848 h 2392583"/>
                  <a:gd name="connsiteX333" fmla="*/ 1579937 w 2972665"/>
                  <a:gd name="connsiteY333" fmla="*/ 1776690 h 2392583"/>
                  <a:gd name="connsiteX334" fmla="*/ 1583441 w 2972665"/>
                  <a:gd name="connsiteY334" fmla="*/ 1782863 h 2392583"/>
                  <a:gd name="connsiteX335" fmla="*/ 1597624 w 2972665"/>
                  <a:gd name="connsiteY335" fmla="*/ 1794792 h 2392583"/>
                  <a:gd name="connsiteX336" fmla="*/ 1611389 w 2972665"/>
                  <a:gd name="connsiteY336" fmla="*/ 1803635 h 2392583"/>
                  <a:gd name="connsiteX337" fmla="*/ 1623820 w 2972665"/>
                  <a:gd name="connsiteY337" fmla="*/ 1812978 h 2392583"/>
                  <a:gd name="connsiteX338" fmla="*/ 1627825 w 2972665"/>
                  <a:gd name="connsiteY338" fmla="*/ 1817399 h 2392583"/>
                  <a:gd name="connsiteX339" fmla="*/ 1630494 w 2972665"/>
                  <a:gd name="connsiteY339" fmla="*/ 1820486 h 2392583"/>
                  <a:gd name="connsiteX340" fmla="*/ 1650850 w 2972665"/>
                  <a:gd name="connsiteY340" fmla="*/ 1833750 h 2392583"/>
                  <a:gd name="connsiteX341" fmla="*/ 1701323 w 2972665"/>
                  <a:gd name="connsiteY341" fmla="*/ 1849266 h 2392583"/>
                  <a:gd name="connsiteX342" fmla="*/ 1707080 w 2972665"/>
                  <a:gd name="connsiteY342" fmla="*/ 1848348 h 2392583"/>
                  <a:gd name="connsiteX343" fmla="*/ 1708832 w 2972665"/>
                  <a:gd name="connsiteY343" fmla="*/ 1841675 h 2392583"/>
                  <a:gd name="connsiteX344" fmla="*/ 1709249 w 2972665"/>
                  <a:gd name="connsiteY344" fmla="*/ 1809307 h 2392583"/>
                  <a:gd name="connsiteX345" fmla="*/ 1707914 w 2972665"/>
                  <a:gd name="connsiteY345" fmla="*/ 1801299 h 2392583"/>
                  <a:gd name="connsiteX346" fmla="*/ 1709666 w 2972665"/>
                  <a:gd name="connsiteY346" fmla="*/ 1775188 h 2392583"/>
                  <a:gd name="connsiteX347" fmla="*/ 1727353 w 2972665"/>
                  <a:gd name="connsiteY347" fmla="*/ 1759255 h 2392583"/>
                  <a:gd name="connsiteX348" fmla="*/ 1733527 w 2972665"/>
                  <a:gd name="connsiteY348" fmla="*/ 1755251 h 2392583"/>
                  <a:gd name="connsiteX349" fmla="*/ 1753465 w 2972665"/>
                  <a:gd name="connsiteY349" fmla="*/ 1724219 h 2392583"/>
                  <a:gd name="connsiteX350" fmla="*/ 1757469 w 2972665"/>
                  <a:gd name="connsiteY350" fmla="*/ 1684344 h 2392583"/>
                  <a:gd name="connsiteX351" fmla="*/ 1757469 w 2972665"/>
                  <a:gd name="connsiteY351" fmla="*/ 1683926 h 2392583"/>
                  <a:gd name="connsiteX352" fmla="*/ 1763226 w 2972665"/>
                  <a:gd name="connsiteY352" fmla="*/ 1653394 h 2392583"/>
                  <a:gd name="connsiteX353" fmla="*/ 1769400 w 2972665"/>
                  <a:gd name="connsiteY353" fmla="*/ 1645386 h 2392583"/>
                  <a:gd name="connsiteX354" fmla="*/ 1772903 w 2972665"/>
                  <a:gd name="connsiteY354" fmla="*/ 1641382 h 2392583"/>
                  <a:gd name="connsiteX355" fmla="*/ 1782664 w 2972665"/>
                  <a:gd name="connsiteY355" fmla="*/ 1617440 h 2392583"/>
                  <a:gd name="connsiteX356" fmla="*/ 1792008 w 2972665"/>
                  <a:gd name="connsiteY356" fmla="*/ 1592664 h 2392583"/>
                  <a:gd name="connsiteX357" fmla="*/ 1824795 w 2972665"/>
                  <a:gd name="connsiteY357" fmla="*/ 1564301 h 2392583"/>
                  <a:gd name="connsiteX358" fmla="*/ 1890369 w 2972665"/>
                  <a:gd name="connsiteY358" fmla="*/ 1539525 h 2392583"/>
                  <a:gd name="connsiteX359" fmla="*/ 1897460 w 2972665"/>
                  <a:gd name="connsiteY359" fmla="*/ 1538608 h 2392583"/>
                  <a:gd name="connsiteX360" fmla="*/ 1915647 w 2972665"/>
                  <a:gd name="connsiteY360" fmla="*/ 1535104 h 2392583"/>
                  <a:gd name="connsiteX361" fmla="*/ 1927160 w 2972665"/>
                  <a:gd name="connsiteY361" fmla="*/ 1529348 h 2392583"/>
                  <a:gd name="connsiteX362" fmla="*/ 1934251 w 2972665"/>
                  <a:gd name="connsiteY362" fmla="*/ 1525344 h 2392583"/>
                  <a:gd name="connsiteX363" fmla="*/ 1988312 w 2972665"/>
                  <a:gd name="connsiteY363" fmla="*/ 1511580 h 2392583"/>
                  <a:gd name="connsiteX364" fmla="*/ 1992316 w 2972665"/>
                  <a:gd name="connsiteY364" fmla="*/ 1511580 h 2392583"/>
                  <a:gd name="connsiteX365" fmla="*/ 2005581 w 2972665"/>
                  <a:gd name="connsiteY365" fmla="*/ 1509828 h 2392583"/>
                  <a:gd name="connsiteX366" fmla="*/ 2012255 w 2972665"/>
                  <a:gd name="connsiteY366" fmla="*/ 1505407 h 2392583"/>
                  <a:gd name="connsiteX367" fmla="*/ 2023768 w 2972665"/>
                  <a:gd name="connsiteY367" fmla="*/ 1498316 h 2392583"/>
                  <a:gd name="connsiteX368" fmla="*/ 2039286 w 2972665"/>
                  <a:gd name="connsiteY368" fmla="*/ 1496981 h 2392583"/>
                  <a:gd name="connsiteX369" fmla="*/ 2049880 w 2972665"/>
                  <a:gd name="connsiteY369" fmla="*/ 1496063 h 2392583"/>
                  <a:gd name="connsiteX370" fmla="*/ 2051216 w 2972665"/>
                  <a:gd name="connsiteY370" fmla="*/ 1495146 h 2392583"/>
                  <a:gd name="connsiteX371" fmla="*/ 2050799 w 2972665"/>
                  <a:gd name="connsiteY371" fmla="*/ 1492893 h 2392583"/>
                  <a:gd name="connsiteX372" fmla="*/ 2037533 w 2972665"/>
                  <a:gd name="connsiteY372" fmla="*/ 1478712 h 2392583"/>
                  <a:gd name="connsiteX373" fmla="*/ 2023768 w 2972665"/>
                  <a:gd name="connsiteY373" fmla="*/ 1465865 h 2392583"/>
                  <a:gd name="connsiteX374" fmla="*/ 2012672 w 2972665"/>
                  <a:gd name="connsiteY374" fmla="*/ 1433081 h 2392583"/>
                  <a:gd name="connsiteX375" fmla="*/ 2013090 w 2972665"/>
                  <a:gd name="connsiteY375" fmla="*/ 1405636 h 2392583"/>
                  <a:gd name="connsiteX376" fmla="*/ 2027689 w 2972665"/>
                  <a:gd name="connsiteY376" fmla="*/ 1383529 h 2392583"/>
                  <a:gd name="connsiteX377" fmla="*/ 2042289 w 2972665"/>
                  <a:gd name="connsiteY377" fmla="*/ 1371100 h 2392583"/>
                  <a:gd name="connsiteX378" fmla="*/ 2063980 w 2972665"/>
                  <a:gd name="connsiteY378" fmla="*/ 1365344 h 2392583"/>
                  <a:gd name="connsiteX379" fmla="*/ 2075910 w 2972665"/>
                  <a:gd name="connsiteY379" fmla="*/ 1363091 h 2392583"/>
                  <a:gd name="connsiteX380" fmla="*/ 2093179 w 2972665"/>
                  <a:gd name="connsiteY380" fmla="*/ 1351996 h 2392583"/>
                  <a:gd name="connsiteX381" fmla="*/ 2117957 w 2972665"/>
                  <a:gd name="connsiteY381" fmla="*/ 1342653 h 2392583"/>
                  <a:gd name="connsiteX382" fmla="*/ 2137896 w 2972665"/>
                  <a:gd name="connsiteY382" fmla="*/ 1343988 h 2392583"/>
                  <a:gd name="connsiteX383" fmla="*/ 2165344 w 2972665"/>
                  <a:gd name="connsiteY383" fmla="*/ 1343571 h 2392583"/>
                  <a:gd name="connsiteX384" fmla="*/ 2172852 w 2972665"/>
                  <a:gd name="connsiteY384" fmla="*/ 1340484 h 2392583"/>
                  <a:gd name="connsiteX385" fmla="*/ 2180360 w 2972665"/>
                  <a:gd name="connsiteY385" fmla="*/ 1337398 h 2392583"/>
                  <a:gd name="connsiteX386" fmla="*/ 2234004 w 2972665"/>
                  <a:gd name="connsiteY386" fmla="*/ 1339650 h 2392583"/>
                  <a:gd name="connsiteX387" fmla="*/ 2269460 w 2972665"/>
                  <a:gd name="connsiteY387" fmla="*/ 1352914 h 2392583"/>
                  <a:gd name="connsiteX388" fmla="*/ 2277470 w 2972665"/>
                  <a:gd name="connsiteY388" fmla="*/ 1358670 h 2392583"/>
                  <a:gd name="connsiteX389" fmla="*/ 2287230 w 2972665"/>
                  <a:gd name="connsiteY389" fmla="*/ 1365344 h 2392583"/>
                  <a:gd name="connsiteX390" fmla="*/ 2326691 w 2972665"/>
                  <a:gd name="connsiteY390" fmla="*/ 1366261 h 2392583"/>
                  <a:gd name="connsiteX391" fmla="*/ 2343960 w 2972665"/>
                  <a:gd name="connsiteY391" fmla="*/ 1360505 h 2392583"/>
                  <a:gd name="connsiteX392" fmla="*/ 2370991 w 2972665"/>
                  <a:gd name="connsiteY392" fmla="*/ 1352080 h 2392583"/>
                  <a:gd name="connsiteX393" fmla="*/ 2393099 w 2972665"/>
                  <a:gd name="connsiteY393" fmla="*/ 1349410 h 2392583"/>
                  <a:gd name="connsiteX394" fmla="*/ 2424551 w 2972665"/>
                  <a:gd name="connsiteY394" fmla="*/ 1343654 h 2392583"/>
                  <a:gd name="connsiteX395" fmla="*/ 2428972 w 2972665"/>
                  <a:gd name="connsiteY395" fmla="*/ 1341402 h 2392583"/>
                  <a:gd name="connsiteX396" fmla="*/ 2447576 w 2972665"/>
                  <a:gd name="connsiteY396" fmla="*/ 1336063 h 2392583"/>
                  <a:gd name="connsiteX397" fmla="*/ 2447576 w 2972665"/>
                  <a:gd name="connsiteY397" fmla="*/ 1336063 h 2392583"/>
                  <a:gd name="connsiteX398" fmla="*/ 2463929 w 2972665"/>
                  <a:gd name="connsiteY398" fmla="*/ 1340484 h 2392583"/>
                  <a:gd name="connsiteX399" fmla="*/ 2474106 w 2972665"/>
                  <a:gd name="connsiteY399" fmla="*/ 1343571 h 2392583"/>
                  <a:gd name="connsiteX400" fmla="*/ 2492711 w 2972665"/>
                  <a:gd name="connsiteY400" fmla="*/ 1331642 h 2392583"/>
                  <a:gd name="connsiteX401" fmla="*/ 2500219 w 2972665"/>
                  <a:gd name="connsiteY401" fmla="*/ 1304196 h 2392583"/>
                  <a:gd name="connsiteX402" fmla="*/ 2501137 w 2972665"/>
                  <a:gd name="connsiteY402" fmla="*/ 1226699 h 2392583"/>
                  <a:gd name="connsiteX403" fmla="*/ 2499385 w 2972665"/>
                  <a:gd name="connsiteY403" fmla="*/ 1219608 h 2392583"/>
                  <a:gd name="connsiteX404" fmla="*/ 2495380 w 2972665"/>
                  <a:gd name="connsiteY404" fmla="*/ 1204092 h 2392583"/>
                  <a:gd name="connsiteX405" fmla="*/ 2495380 w 2972665"/>
                  <a:gd name="connsiteY405" fmla="*/ 1180650 h 2392583"/>
                  <a:gd name="connsiteX406" fmla="*/ 2495797 w 2972665"/>
                  <a:gd name="connsiteY406" fmla="*/ 1166886 h 2392583"/>
                  <a:gd name="connsiteX407" fmla="*/ 2484701 w 2972665"/>
                  <a:gd name="connsiteY407" fmla="*/ 1141610 h 2392583"/>
                  <a:gd name="connsiteX408" fmla="*/ 2472771 w 2972665"/>
                  <a:gd name="connsiteY408" fmla="*/ 1138523 h 2392583"/>
                  <a:gd name="connsiteX409" fmla="*/ 2417877 w 2972665"/>
                  <a:gd name="connsiteY409" fmla="*/ 1136771 h 2392583"/>
                  <a:gd name="connsiteX410" fmla="*/ 2409033 w 2972665"/>
                  <a:gd name="connsiteY410" fmla="*/ 1137689 h 2392583"/>
                  <a:gd name="connsiteX411" fmla="*/ 2358060 w 2972665"/>
                  <a:gd name="connsiteY411" fmla="*/ 1134602 h 2392583"/>
                  <a:gd name="connsiteX412" fmla="*/ 2349217 w 2972665"/>
                  <a:gd name="connsiteY412" fmla="*/ 1128429 h 2392583"/>
                  <a:gd name="connsiteX413" fmla="*/ 2346547 w 2972665"/>
                  <a:gd name="connsiteY413" fmla="*/ 1116000 h 2392583"/>
                  <a:gd name="connsiteX414" fmla="*/ 2359394 w 2972665"/>
                  <a:gd name="connsiteY414" fmla="*/ 1091641 h 2392583"/>
                  <a:gd name="connsiteX415" fmla="*/ 2360312 w 2972665"/>
                  <a:gd name="connsiteY415" fmla="*/ 1090723 h 2392583"/>
                  <a:gd name="connsiteX416" fmla="*/ 2385590 w 2972665"/>
                  <a:gd name="connsiteY416" fmla="*/ 1077876 h 2392583"/>
                  <a:gd name="connsiteX417" fmla="*/ 2413956 w 2972665"/>
                  <a:gd name="connsiteY417" fmla="*/ 1096479 h 2392583"/>
                  <a:gd name="connsiteX418" fmla="*/ 2443655 w 2972665"/>
                  <a:gd name="connsiteY418" fmla="*/ 1107074 h 2392583"/>
                  <a:gd name="connsiteX419" fmla="*/ 2454752 w 2972665"/>
                  <a:gd name="connsiteY419" fmla="*/ 1107074 h 2392583"/>
                  <a:gd name="connsiteX420" fmla="*/ 2474273 w 2972665"/>
                  <a:gd name="connsiteY420" fmla="*/ 1103987 h 2392583"/>
                  <a:gd name="connsiteX421" fmla="*/ 2492460 w 2972665"/>
                  <a:gd name="connsiteY421" fmla="*/ 1099983 h 2392583"/>
                  <a:gd name="connsiteX422" fmla="*/ 2493378 w 2972665"/>
                  <a:gd name="connsiteY422" fmla="*/ 1099983 h 2392583"/>
                  <a:gd name="connsiteX423" fmla="*/ 2516821 w 2972665"/>
                  <a:gd name="connsiteY423" fmla="*/ 1108408 h 2392583"/>
                  <a:gd name="connsiteX424" fmla="*/ 2520325 w 2972665"/>
                  <a:gd name="connsiteY424" fmla="*/ 1110661 h 2392583"/>
                  <a:gd name="connsiteX425" fmla="*/ 2584146 w 2972665"/>
                  <a:gd name="connsiteY425" fmla="*/ 1078794 h 2392583"/>
                  <a:gd name="connsiteX426" fmla="*/ 2592572 w 2972665"/>
                  <a:gd name="connsiteY426" fmla="*/ 1066364 h 2392583"/>
                  <a:gd name="connsiteX427" fmla="*/ 2612929 w 2972665"/>
                  <a:gd name="connsiteY427" fmla="*/ 1041088 h 2392583"/>
                  <a:gd name="connsiteX428" fmla="*/ 2617767 w 2972665"/>
                  <a:gd name="connsiteY428" fmla="*/ 1036667 h 2392583"/>
                  <a:gd name="connsiteX429" fmla="*/ 2633702 w 2972665"/>
                  <a:gd name="connsiteY429" fmla="*/ 1010556 h 2392583"/>
                  <a:gd name="connsiteX430" fmla="*/ 2639875 w 2972665"/>
                  <a:gd name="connsiteY430" fmla="*/ 956917 h 2392583"/>
                  <a:gd name="connsiteX431" fmla="*/ 2634536 w 2972665"/>
                  <a:gd name="connsiteY431" fmla="*/ 832036 h 2392583"/>
                  <a:gd name="connsiteX432" fmla="*/ 2628363 w 2972665"/>
                  <a:gd name="connsiteY432" fmla="*/ 820107 h 2392583"/>
                  <a:gd name="connsiteX433" fmla="*/ 2615514 w 2972665"/>
                  <a:gd name="connsiteY433" fmla="*/ 812599 h 2392583"/>
                  <a:gd name="connsiteX434" fmla="*/ 2597829 w 2972665"/>
                  <a:gd name="connsiteY434" fmla="*/ 801087 h 2392583"/>
                  <a:gd name="connsiteX435" fmla="*/ 2591655 w 2972665"/>
                  <a:gd name="connsiteY435" fmla="*/ 777145 h 2392583"/>
                  <a:gd name="connsiteX436" fmla="*/ 2619603 w 2972665"/>
                  <a:gd name="connsiteY436" fmla="*/ 751035 h 2392583"/>
                  <a:gd name="connsiteX437" fmla="*/ 2679837 w 2972665"/>
                  <a:gd name="connsiteY437" fmla="*/ 759460 h 2392583"/>
                  <a:gd name="connsiteX438" fmla="*/ 2682507 w 2972665"/>
                  <a:gd name="connsiteY438" fmla="*/ 760795 h 2392583"/>
                  <a:gd name="connsiteX439" fmla="*/ 2695771 w 2972665"/>
                  <a:gd name="connsiteY439" fmla="*/ 765633 h 2392583"/>
                  <a:gd name="connsiteX440" fmla="*/ 2701528 w 2972665"/>
                  <a:gd name="connsiteY440" fmla="*/ 762547 h 2392583"/>
                  <a:gd name="connsiteX441" fmla="*/ 2702863 w 2972665"/>
                  <a:gd name="connsiteY441" fmla="*/ 761629 h 2392583"/>
                  <a:gd name="connsiteX442" fmla="*/ 2775111 w 2972665"/>
                  <a:gd name="connsiteY442" fmla="*/ 758126 h 2392583"/>
                  <a:gd name="connsiteX443" fmla="*/ 2776862 w 2972665"/>
                  <a:gd name="connsiteY443" fmla="*/ 759043 h 2392583"/>
                  <a:gd name="connsiteX444" fmla="*/ 2783954 w 2972665"/>
                  <a:gd name="connsiteY444" fmla="*/ 761713 h 2392583"/>
                  <a:gd name="connsiteX445" fmla="*/ 2795883 w 2972665"/>
                  <a:gd name="connsiteY445" fmla="*/ 758209 h 2392583"/>
                  <a:gd name="connsiteX446" fmla="*/ 2814905 w 2972665"/>
                  <a:gd name="connsiteY446" fmla="*/ 753788 h 2392583"/>
                  <a:gd name="connsiteX447" fmla="*/ 2826835 w 2972665"/>
                  <a:gd name="connsiteY447" fmla="*/ 734267 h 2392583"/>
                  <a:gd name="connsiteX448" fmla="*/ 2880479 w 2972665"/>
                  <a:gd name="connsiteY448" fmla="*/ 683297 h 2392583"/>
                  <a:gd name="connsiteX449" fmla="*/ 2887570 w 2972665"/>
                  <a:gd name="connsiteY449" fmla="*/ 678876 h 2392583"/>
                  <a:gd name="connsiteX450" fmla="*/ 2899500 w 2972665"/>
                  <a:gd name="connsiteY450" fmla="*/ 669116 h 2392583"/>
                  <a:gd name="connsiteX451" fmla="*/ 2900417 w 2972665"/>
                  <a:gd name="connsiteY451" fmla="*/ 659356 h 2392583"/>
                  <a:gd name="connsiteX452" fmla="*/ 2902670 w 2972665"/>
                  <a:gd name="connsiteY452" fmla="*/ 643422 h 2392583"/>
                  <a:gd name="connsiteX453" fmla="*/ 2940296 w 2972665"/>
                  <a:gd name="connsiteY453" fmla="*/ 630576 h 2392583"/>
                  <a:gd name="connsiteX454" fmla="*/ 2958483 w 2972665"/>
                  <a:gd name="connsiteY454" fmla="*/ 629241 h 2392583"/>
                  <a:gd name="connsiteX455" fmla="*/ 2957147 w 2972665"/>
                  <a:gd name="connsiteY455" fmla="*/ 613308 h 2392583"/>
                  <a:gd name="connsiteX456" fmla="*/ 2954478 w 2972665"/>
                  <a:gd name="connsiteY456" fmla="*/ 599543 h 2392583"/>
                  <a:gd name="connsiteX457" fmla="*/ 2959317 w 2972665"/>
                  <a:gd name="connsiteY457" fmla="*/ 576936 h 2392583"/>
                  <a:gd name="connsiteX458" fmla="*/ 2961987 w 2972665"/>
                  <a:gd name="connsiteY458" fmla="*/ 569846 h 2392583"/>
                  <a:gd name="connsiteX459" fmla="*/ 2965991 w 2972665"/>
                  <a:gd name="connsiteY459" fmla="*/ 559668 h 2392583"/>
                  <a:gd name="connsiteX460" fmla="*/ 2972665 w 2972665"/>
                  <a:gd name="connsiteY460" fmla="*/ 541983 h 2392583"/>
                  <a:gd name="connsiteX461" fmla="*/ 2968661 w 2972665"/>
                  <a:gd name="connsiteY461" fmla="*/ 535810 h 2392583"/>
                  <a:gd name="connsiteX462" fmla="*/ 2947387 w 2972665"/>
                  <a:gd name="connsiteY462" fmla="*/ 522045 h 2392583"/>
                  <a:gd name="connsiteX463" fmla="*/ 2921108 w 2972665"/>
                  <a:gd name="connsiteY463" fmla="*/ 499022 h 239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</a:cxnLst>
                <a:rect l="l" t="t" r="r" b="b"/>
                <a:pathLst>
                  <a:path w="2972665" h="2392583" extrusionOk="0">
                    <a:moveTo>
                      <a:pt x="2921108" y="499022"/>
                    </a:moveTo>
                    <a:cubicBezTo>
                      <a:pt x="2916268" y="493683"/>
                      <a:pt x="2912264" y="487509"/>
                      <a:pt x="2908260" y="481753"/>
                    </a:cubicBezTo>
                    <a:cubicBezTo>
                      <a:pt x="2901585" y="471993"/>
                      <a:pt x="2895411" y="462233"/>
                      <a:pt x="2886151" y="456977"/>
                    </a:cubicBezTo>
                    <a:cubicBezTo>
                      <a:pt x="2875973" y="450804"/>
                      <a:pt x="2863543" y="451222"/>
                      <a:pt x="2855618" y="452556"/>
                    </a:cubicBezTo>
                    <a:cubicBezTo>
                      <a:pt x="2848109" y="453474"/>
                      <a:pt x="2841018" y="456060"/>
                      <a:pt x="2833927" y="458729"/>
                    </a:cubicBezTo>
                    <a:cubicBezTo>
                      <a:pt x="2823748" y="462233"/>
                      <a:pt x="2813570" y="465820"/>
                      <a:pt x="2801139" y="465820"/>
                    </a:cubicBezTo>
                    <a:lnTo>
                      <a:pt x="2801139" y="465820"/>
                    </a:lnTo>
                    <a:cubicBezTo>
                      <a:pt x="2788709" y="465820"/>
                      <a:pt x="2774526" y="465403"/>
                      <a:pt x="2762179" y="459147"/>
                    </a:cubicBezTo>
                    <a:cubicBezTo>
                      <a:pt x="2749749" y="453390"/>
                      <a:pt x="2737819" y="440127"/>
                      <a:pt x="2739153" y="423693"/>
                    </a:cubicBezTo>
                    <a:cubicBezTo>
                      <a:pt x="2739570" y="420606"/>
                      <a:pt x="2740071" y="417520"/>
                      <a:pt x="2740906" y="414850"/>
                    </a:cubicBezTo>
                    <a:cubicBezTo>
                      <a:pt x="2741823" y="410429"/>
                      <a:pt x="2742657" y="406842"/>
                      <a:pt x="2741823" y="404256"/>
                    </a:cubicBezTo>
                    <a:cubicBezTo>
                      <a:pt x="2740488" y="400252"/>
                      <a:pt x="2734732" y="398083"/>
                      <a:pt x="2731228" y="397165"/>
                    </a:cubicBezTo>
                    <a:cubicBezTo>
                      <a:pt x="2729893" y="396748"/>
                      <a:pt x="2728141" y="396247"/>
                      <a:pt x="2726806" y="395830"/>
                    </a:cubicBezTo>
                    <a:cubicBezTo>
                      <a:pt x="2721968" y="394496"/>
                      <a:pt x="2716211" y="393161"/>
                      <a:pt x="2711289" y="389657"/>
                    </a:cubicBezTo>
                    <a:cubicBezTo>
                      <a:pt x="2698441" y="381232"/>
                      <a:pt x="2694020" y="362212"/>
                      <a:pt x="2697107" y="349365"/>
                    </a:cubicBezTo>
                    <a:cubicBezTo>
                      <a:pt x="2698858" y="342274"/>
                      <a:pt x="2701945" y="336101"/>
                      <a:pt x="2704615" y="329845"/>
                    </a:cubicBezTo>
                    <a:lnTo>
                      <a:pt x="2705532" y="327592"/>
                    </a:lnTo>
                    <a:cubicBezTo>
                      <a:pt x="2709036" y="320085"/>
                      <a:pt x="2712206" y="312493"/>
                      <a:pt x="2715293" y="305486"/>
                    </a:cubicBezTo>
                    <a:cubicBezTo>
                      <a:pt x="2720632" y="292222"/>
                      <a:pt x="2726389" y="278041"/>
                      <a:pt x="2734815" y="265194"/>
                    </a:cubicBezTo>
                    <a:cubicBezTo>
                      <a:pt x="2744576" y="249678"/>
                      <a:pt x="2751667" y="235496"/>
                      <a:pt x="2753420" y="216476"/>
                    </a:cubicBezTo>
                    <a:cubicBezTo>
                      <a:pt x="2753837" y="212472"/>
                      <a:pt x="2753837" y="208468"/>
                      <a:pt x="2753420" y="204547"/>
                    </a:cubicBezTo>
                    <a:cubicBezTo>
                      <a:pt x="2753003" y="194787"/>
                      <a:pt x="2753003" y="183692"/>
                      <a:pt x="2759176" y="173515"/>
                    </a:cubicBezTo>
                    <a:cubicBezTo>
                      <a:pt x="2763597" y="166424"/>
                      <a:pt x="2770688" y="161585"/>
                      <a:pt x="2776862" y="157581"/>
                    </a:cubicBezTo>
                    <a:cubicBezTo>
                      <a:pt x="2780867" y="154912"/>
                      <a:pt x="2784871" y="152242"/>
                      <a:pt x="2787958" y="149156"/>
                    </a:cubicBezTo>
                    <a:cubicBezTo>
                      <a:pt x="2794132" y="142983"/>
                      <a:pt x="2796802" y="133640"/>
                      <a:pt x="2795967" y="125214"/>
                    </a:cubicBezTo>
                    <a:cubicBezTo>
                      <a:pt x="2794632" y="116789"/>
                      <a:pt x="2789293" y="108864"/>
                      <a:pt x="2781785" y="104359"/>
                    </a:cubicBezTo>
                    <a:cubicBezTo>
                      <a:pt x="2778698" y="102607"/>
                      <a:pt x="2775611" y="101273"/>
                      <a:pt x="2772024" y="99938"/>
                    </a:cubicBezTo>
                    <a:cubicBezTo>
                      <a:pt x="2765350" y="97268"/>
                      <a:pt x="2757841" y="94599"/>
                      <a:pt x="2752084" y="88009"/>
                    </a:cubicBezTo>
                    <a:cubicBezTo>
                      <a:pt x="2748997" y="84505"/>
                      <a:pt x="2747246" y="80501"/>
                      <a:pt x="2745410" y="77414"/>
                    </a:cubicBezTo>
                    <a:cubicBezTo>
                      <a:pt x="2742323" y="71658"/>
                      <a:pt x="2740572" y="68071"/>
                      <a:pt x="2736066" y="66820"/>
                    </a:cubicBezTo>
                    <a:cubicBezTo>
                      <a:pt x="2731645" y="65485"/>
                      <a:pt x="2726306" y="65902"/>
                      <a:pt x="2720966" y="65902"/>
                    </a:cubicBezTo>
                    <a:lnTo>
                      <a:pt x="2718296" y="65902"/>
                    </a:lnTo>
                    <a:cubicBezTo>
                      <a:pt x="2710788" y="66319"/>
                      <a:pt x="2701945" y="65902"/>
                      <a:pt x="2694353" y="61064"/>
                    </a:cubicBezTo>
                    <a:cubicBezTo>
                      <a:pt x="2689931" y="58394"/>
                      <a:pt x="2687262" y="54390"/>
                      <a:pt x="2684593" y="50887"/>
                    </a:cubicBezTo>
                    <a:cubicBezTo>
                      <a:pt x="2682340" y="47800"/>
                      <a:pt x="2680170" y="45130"/>
                      <a:pt x="2677501" y="43379"/>
                    </a:cubicBezTo>
                    <a:cubicBezTo>
                      <a:pt x="2673496" y="41126"/>
                      <a:pt x="2668157" y="40709"/>
                      <a:pt x="2662400" y="40709"/>
                    </a:cubicBezTo>
                    <a:cubicBezTo>
                      <a:pt x="2659731" y="40709"/>
                      <a:pt x="2656645" y="40709"/>
                      <a:pt x="2653558" y="40292"/>
                    </a:cubicBezTo>
                    <a:cubicBezTo>
                      <a:pt x="2639375" y="38957"/>
                      <a:pt x="2626110" y="30949"/>
                      <a:pt x="2616766" y="18186"/>
                    </a:cubicBezTo>
                    <a:cubicBezTo>
                      <a:pt x="2612762" y="12430"/>
                      <a:pt x="2609257" y="6674"/>
                      <a:pt x="2606588" y="0"/>
                    </a:cubicBezTo>
                    <a:cubicBezTo>
                      <a:pt x="2603919" y="10594"/>
                      <a:pt x="2602583" y="21272"/>
                      <a:pt x="2602166" y="31032"/>
                    </a:cubicBezTo>
                    <a:cubicBezTo>
                      <a:pt x="2601749" y="59812"/>
                      <a:pt x="2628780" y="67821"/>
                      <a:pt x="2647801" y="81502"/>
                    </a:cubicBezTo>
                    <a:cubicBezTo>
                      <a:pt x="2652639" y="85006"/>
                      <a:pt x="2664153" y="92096"/>
                      <a:pt x="2662400" y="99688"/>
                    </a:cubicBezTo>
                    <a:cubicBezTo>
                      <a:pt x="2659314" y="112951"/>
                      <a:pt x="2639792" y="104109"/>
                      <a:pt x="2633618" y="100605"/>
                    </a:cubicBezTo>
                    <a:cubicBezTo>
                      <a:pt x="2603919" y="83337"/>
                      <a:pt x="2580892" y="58561"/>
                      <a:pt x="2546354" y="83754"/>
                    </a:cubicBezTo>
                    <a:cubicBezTo>
                      <a:pt x="2534841" y="92597"/>
                      <a:pt x="2522911" y="105861"/>
                      <a:pt x="2508728" y="109031"/>
                    </a:cubicBezTo>
                    <a:cubicBezTo>
                      <a:pt x="2491042" y="113035"/>
                      <a:pt x="2488790" y="97519"/>
                      <a:pt x="2479529" y="86424"/>
                    </a:cubicBezTo>
                    <a:cubicBezTo>
                      <a:pt x="2456920" y="58478"/>
                      <a:pt x="2432142" y="37289"/>
                      <a:pt x="2395769" y="30615"/>
                    </a:cubicBezTo>
                    <a:cubicBezTo>
                      <a:pt x="2358560" y="24442"/>
                      <a:pt x="2318682" y="47466"/>
                      <a:pt x="2289483" y="67404"/>
                    </a:cubicBezTo>
                    <a:cubicBezTo>
                      <a:pt x="2258030" y="89093"/>
                      <a:pt x="2231001" y="116121"/>
                      <a:pt x="2209310" y="147571"/>
                    </a:cubicBezTo>
                    <a:cubicBezTo>
                      <a:pt x="2198214" y="163921"/>
                      <a:pt x="2196462" y="182524"/>
                      <a:pt x="2186283" y="199375"/>
                    </a:cubicBezTo>
                    <a:cubicBezTo>
                      <a:pt x="2176940" y="215725"/>
                      <a:pt x="2168598" y="229073"/>
                      <a:pt x="2163258" y="247676"/>
                    </a:cubicBezTo>
                    <a:cubicBezTo>
                      <a:pt x="2158419" y="265861"/>
                      <a:pt x="2156584" y="283129"/>
                      <a:pt x="2146406" y="299480"/>
                    </a:cubicBezTo>
                    <a:cubicBezTo>
                      <a:pt x="2137563" y="314078"/>
                      <a:pt x="2125132" y="326925"/>
                      <a:pt x="2112284" y="338437"/>
                    </a:cubicBezTo>
                    <a:cubicBezTo>
                      <a:pt x="2100771" y="349031"/>
                      <a:pt x="2088341" y="359709"/>
                      <a:pt x="2074658" y="346862"/>
                    </a:cubicBezTo>
                    <a:cubicBezTo>
                      <a:pt x="2067984" y="340189"/>
                      <a:pt x="2069320" y="337519"/>
                      <a:pt x="2058724" y="334933"/>
                    </a:cubicBezTo>
                    <a:cubicBezTo>
                      <a:pt x="2050298" y="332681"/>
                      <a:pt x="2041872" y="332264"/>
                      <a:pt x="2033029" y="329594"/>
                    </a:cubicBezTo>
                    <a:cubicBezTo>
                      <a:pt x="2002494" y="321169"/>
                      <a:pt x="1985225" y="355288"/>
                      <a:pt x="1980303" y="380982"/>
                    </a:cubicBezTo>
                    <a:cubicBezTo>
                      <a:pt x="1972795" y="416852"/>
                      <a:pt x="1956359" y="394746"/>
                      <a:pt x="1937338" y="378312"/>
                    </a:cubicBezTo>
                    <a:cubicBezTo>
                      <a:pt x="1922237" y="365048"/>
                      <a:pt x="1915230" y="366383"/>
                      <a:pt x="1900546" y="379230"/>
                    </a:cubicBezTo>
                    <a:cubicBezTo>
                      <a:pt x="1890369" y="388573"/>
                      <a:pt x="1881525" y="399584"/>
                      <a:pt x="1868678" y="392076"/>
                    </a:cubicBezTo>
                    <a:cubicBezTo>
                      <a:pt x="1842982" y="376977"/>
                      <a:pt x="1889535" y="361545"/>
                      <a:pt x="1895708" y="348197"/>
                    </a:cubicBezTo>
                    <a:cubicBezTo>
                      <a:pt x="1901465" y="335350"/>
                      <a:pt x="1886865" y="323838"/>
                      <a:pt x="1875769" y="319000"/>
                    </a:cubicBezTo>
                    <a:cubicBezTo>
                      <a:pt x="1859834" y="312326"/>
                      <a:pt x="1841230" y="315914"/>
                      <a:pt x="1825296" y="321252"/>
                    </a:cubicBezTo>
                    <a:cubicBezTo>
                      <a:pt x="1793844" y="331847"/>
                      <a:pt x="1760640" y="352285"/>
                      <a:pt x="1739366" y="377978"/>
                    </a:cubicBezTo>
                    <a:cubicBezTo>
                      <a:pt x="1715006" y="408093"/>
                      <a:pt x="1738031" y="443964"/>
                      <a:pt x="1747792" y="475914"/>
                    </a:cubicBezTo>
                    <a:cubicBezTo>
                      <a:pt x="1752214" y="491430"/>
                      <a:pt x="1756218" y="506029"/>
                      <a:pt x="1750879" y="521962"/>
                    </a:cubicBezTo>
                    <a:cubicBezTo>
                      <a:pt x="1747375" y="532139"/>
                      <a:pt x="1736279" y="556915"/>
                      <a:pt x="1723849" y="550742"/>
                    </a:cubicBezTo>
                    <a:cubicBezTo>
                      <a:pt x="1711001" y="544069"/>
                      <a:pt x="1712336" y="526383"/>
                      <a:pt x="1717174" y="516206"/>
                    </a:cubicBezTo>
                    <a:cubicBezTo>
                      <a:pt x="1721179" y="506863"/>
                      <a:pt x="1738448" y="489178"/>
                      <a:pt x="1734861" y="483005"/>
                    </a:cubicBezTo>
                    <a:cubicBezTo>
                      <a:pt x="1730857" y="476832"/>
                      <a:pt x="1729104" y="481670"/>
                      <a:pt x="1722013" y="484757"/>
                    </a:cubicBezTo>
                    <a:cubicBezTo>
                      <a:pt x="1711836" y="488761"/>
                      <a:pt x="1691896" y="479418"/>
                      <a:pt x="1701657" y="468823"/>
                    </a:cubicBezTo>
                    <a:cubicBezTo>
                      <a:pt x="1707830" y="461732"/>
                      <a:pt x="1706996" y="455559"/>
                      <a:pt x="1703910" y="455059"/>
                    </a:cubicBezTo>
                    <a:cubicBezTo>
                      <a:pt x="1689310" y="451972"/>
                      <a:pt x="1672875" y="463067"/>
                      <a:pt x="1665784" y="473662"/>
                    </a:cubicBezTo>
                    <a:cubicBezTo>
                      <a:pt x="1659610" y="482504"/>
                      <a:pt x="1638753" y="538313"/>
                      <a:pt x="1636083" y="501107"/>
                    </a:cubicBezTo>
                    <a:cubicBezTo>
                      <a:pt x="1635166" y="489595"/>
                      <a:pt x="1628992" y="476748"/>
                      <a:pt x="1637002" y="467906"/>
                    </a:cubicBezTo>
                    <a:cubicBezTo>
                      <a:pt x="1645844" y="457728"/>
                      <a:pt x="1666201" y="455059"/>
                      <a:pt x="1677797" y="447968"/>
                    </a:cubicBezTo>
                    <a:cubicBezTo>
                      <a:pt x="1683971" y="443964"/>
                      <a:pt x="1706996" y="425361"/>
                      <a:pt x="1699905" y="415184"/>
                    </a:cubicBezTo>
                    <a:cubicBezTo>
                      <a:pt x="1692396" y="404589"/>
                      <a:pt x="1668871" y="418270"/>
                      <a:pt x="1660945" y="421858"/>
                    </a:cubicBezTo>
                    <a:cubicBezTo>
                      <a:pt x="1624153" y="438208"/>
                      <a:pt x="1584776" y="459480"/>
                      <a:pt x="1553325" y="484757"/>
                    </a:cubicBezTo>
                    <a:cubicBezTo>
                      <a:pt x="1537807" y="497186"/>
                      <a:pt x="1523624" y="510450"/>
                      <a:pt x="1508107" y="522379"/>
                    </a:cubicBezTo>
                    <a:cubicBezTo>
                      <a:pt x="1489503" y="536978"/>
                      <a:pt x="1473568" y="539647"/>
                      <a:pt x="1450960" y="542734"/>
                    </a:cubicBezTo>
                    <a:cubicBezTo>
                      <a:pt x="1440364" y="544069"/>
                      <a:pt x="1420842" y="548073"/>
                      <a:pt x="1427016" y="562671"/>
                    </a:cubicBezTo>
                    <a:cubicBezTo>
                      <a:pt x="1432773" y="576436"/>
                      <a:pt x="1456215" y="571514"/>
                      <a:pt x="1464224" y="584361"/>
                    </a:cubicBezTo>
                    <a:cubicBezTo>
                      <a:pt x="1477990" y="606467"/>
                      <a:pt x="1444286" y="626905"/>
                      <a:pt x="1431855" y="640586"/>
                    </a:cubicBezTo>
                    <a:cubicBezTo>
                      <a:pt x="1423429" y="649929"/>
                      <a:pt x="1417255" y="658772"/>
                      <a:pt x="1419007" y="671619"/>
                    </a:cubicBezTo>
                    <a:cubicBezTo>
                      <a:pt x="1420342" y="682213"/>
                      <a:pt x="1431855" y="705737"/>
                      <a:pt x="1446037" y="701733"/>
                    </a:cubicBezTo>
                    <a:cubicBezTo>
                      <a:pt x="1454464" y="699481"/>
                      <a:pt x="1480576" y="633495"/>
                      <a:pt x="1476572" y="685800"/>
                    </a:cubicBezTo>
                    <a:cubicBezTo>
                      <a:pt x="1473485" y="721671"/>
                      <a:pt x="1512445" y="739857"/>
                      <a:pt x="1538558" y="758459"/>
                    </a:cubicBezTo>
                    <a:cubicBezTo>
                      <a:pt x="1554075" y="769554"/>
                      <a:pt x="1555410" y="772224"/>
                      <a:pt x="1541645" y="781900"/>
                    </a:cubicBezTo>
                    <a:cubicBezTo>
                      <a:pt x="1536805" y="785404"/>
                      <a:pt x="1531049" y="791661"/>
                      <a:pt x="1525710" y="794330"/>
                    </a:cubicBezTo>
                    <a:cubicBezTo>
                      <a:pt x="1514197" y="799669"/>
                      <a:pt x="1511527" y="792995"/>
                      <a:pt x="1500432" y="791661"/>
                    </a:cubicBezTo>
                    <a:cubicBezTo>
                      <a:pt x="1478741" y="788574"/>
                      <a:pt x="1445537" y="822693"/>
                      <a:pt x="1466727" y="840795"/>
                    </a:cubicBezTo>
                    <a:cubicBezTo>
                      <a:pt x="1475153" y="847886"/>
                      <a:pt x="1494675" y="851390"/>
                      <a:pt x="1498596" y="862485"/>
                    </a:cubicBezTo>
                    <a:cubicBezTo>
                      <a:pt x="1506105" y="884174"/>
                      <a:pt x="1485749" y="882005"/>
                      <a:pt x="1474652" y="877083"/>
                    </a:cubicBezTo>
                    <a:cubicBezTo>
                      <a:pt x="1451210" y="866906"/>
                      <a:pt x="1405075" y="869075"/>
                      <a:pt x="1380714" y="877500"/>
                    </a:cubicBezTo>
                    <a:cubicBezTo>
                      <a:pt x="1355936" y="885926"/>
                      <a:pt x="1321314" y="927553"/>
                      <a:pt x="1332410" y="954581"/>
                    </a:cubicBezTo>
                    <a:cubicBezTo>
                      <a:pt x="1338584" y="969680"/>
                      <a:pt x="1339918" y="968345"/>
                      <a:pt x="1322649" y="974936"/>
                    </a:cubicBezTo>
                    <a:cubicBezTo>
                      <a:pt x="1305797" y="981609"/>
                      <a:pt x="1292949" y="986865"/>
                      <a:pt x="1274345" y="985113"/>
                    </a:cubicBezTo>
                    <a:cubicBezTo>
                      <a:pt x="1257994" y="983361"/>
                      <a:pt x="1245146" y="979357"/>
                      <a:pt x="1230963" y="970514"/>
                    </a:cubicBezTo>
                    <a:cubicBezTo>
                      <a:pt x="1223872" y="966093"/>
                      <a:pt x="1207520" y="951911"/>
                      <a:pt x="1197759" y="954164"/>
                    </a:cubicBezTo>
                    <a:cubicBezTo>
                      <a:pt x="1171647" y="959920"/>
                      <a:pt x="1206602" y="1021901"/>
                      <a:pt x="1211942" y="1034748"/>
                    </a:cubicBezTo>
                    <a:cubicBezTo>
                      <a:pt x="1223872" y="1062193"/>
                      <a:pt x="1229628" y="1094143"/>
                      <a:pt x="1235885" y="1123341"/>
                    </a:cubicBezTo>
                    <a:cubicBezTo>
                      <a:pt x="1237637" y="1133518"/>
                      <a:pt x="1242059" y="1152121"/>
                      <a:pt x="1233633" y="1160546"/>
                    </a:cubicBezTo>
                    <a:cubicBezTo>
                      <a:pt x="1219867" y="1174311"/>
                      <a:pt x="1212776" y="1155207"/>
                      <a:pt x="1202181" y="1152538"/>
                    </a:cubicBezTo>
                    <a:cubicBezTo>
                      <a:pt x="1196424" y="1150786"/>
                      <a:pt x="1192837" y="1156959"/>
                      <a:pt x="1187581" y="1157877"/>
                    </a:cubicBezTo>
                    <a:cubicBezTo>
                      <a:pt x="1179572" y="1159211"/>
                      <a:pt x="1172981" y="1156125"/>
                      <a:pt x="1165890" y="1153873"/>
                    </a:cubicBezTo>
                    <a:cubicBezTo>
                      <a:pt x="1156129" y="1151203"/>
                      <a:pt x="1147703" y="1152121"/>
                      <a:pt x="1137942" y="1150369"/>
                    </a:cubicBezTo>
                    <a:cubicBezTo>
                      <a:pt x="1128181" y="1148617"/>
                      <a:pt x="1124177" y="1142861"/>
                      <a:pt x="1116251" y="1137522"/>
                    </a:cubicBezTo>
                    <a:cubicBezTo>
                      <a:pt x="1108743" y="1133101"/>
                      <a:pt x="1100734" y="1130431"/>
                      <a:pt x="1093643" y="1125093"/>
                    </a:cubicBezTo>
                    <a:cubicBezTo>
                      <a:pt x="1087886" y="1120671"/>
                      <a:pt x="1084799" y="1114915"/>
                      <a:pt x="1077291" y="1112246"/>
                    </a:cubicBezTo>
                    <a:cubicBezTo>
                      <a:pt x="1070199" y="1109159"/>
                      <a:pt x="1061774" y="1110911"/>
                      <a:pt x="1054682" y="1107824"/>
                    </a:cubicBezTo>
                    <a:cubicBezTo>
                      <a:pt x="1044087" y="1102986"/>
                      <a:pt x="1044504" y="1097230"/>
                      <a:pt x="1039164" y="1089222"/>
                    </a:cubicBezTo>
                    <a:cubicBezTo>
                      <a:pt x="1030739" y="1077293"/>
                      <a:pt x="985104" y="1069284"/>
                      <a:pt x="979348" y="1051599"/>
                    </a:cubicBezTo>
                    <a:cubicBezTo>
                      <a:pt x="978931" y="1050264"/>
                      <a:pt x="978430" y="1048512"/>
                      <a:pt x="978931" y="1046761"/>
                    </a:cubicBezTo>
                    <a:cubicBezTo>
                      <a:pt x="979348" y="1042756"/>
                      <a:pt x="982434" y="1040587"/>
                      <a:pt x="986022" y="1039253"/>
                    </a:cubicBezTo>
                    <a:cubicBezTo>
                      <a:pt x="992696" y="1036166"/>
                      <a:pt x="1003291" y="1035248"/>
                      <a:pt x="1008130" y="1031244"/>
                    </a:cubicBezTo>
                    <a:cubicBezTo>
                      <a:pt x="1021896" y="1019732"/>
                      <a:pt x="1023647" y="1002047"/>
                      <a:pt x="1011633" y="988283"/>
                    </a:cubicBezTo>
                    <a:cubicBezTo>
                      <a:pt x="1001456" y="976354"/>
                      <a:pt x="989525" y="972349"/>
                      <a:pt x="974843" y="974518"/>
                    </a:cubicBezTo>
                    <a:cubicBezTo>
                      <a:pt x="971338" y="974936"/>
                      <a:pt x="968669" y="976771"/>
                      <a:pt x="966417" y="977605"/>
                    </a:cubicBezTo>
                    <a:cubicBezTo>
                      <a:pt x="966417" y="977605"/>
                      <a:pt x="966417" y="977605"/>
                      <a:pt x="966000" y="977605"/>
                    </a:cubicBezTo>
                    <a:cubicBezTo>
                      <a:pt x="963747" y="978022"/>
                      <a:pt x="961577" y="978022"/>
                      <a:pt x="958491" y="975353"/>
                    </a:cubicBezTo>
                    <a:cubicBezTo>
                      <a:pt x="956239" y="973601"/>
                      <a:pt x="955404" y="970931"/>
                      <a:pt x="954987" y="968262"/>
                    </a:cubicBezTo>
                    <a:cubicBezTo>
                      <a:pt x="954069" y="963424"/>
                      <a:pt x="956322" y="957667"/>
                      <a:pt x="957657" y="953163"/>
                    </a:cubicBezTo>
                    <a:cubicBezTo>
                      <a:pt x="961160" y="941234"/>
                      <a:pt x="967417" y="936812"/>
                      <a:pt x="957657" y="928804"/>
                    </a:cubicBezTo>
                    <a:cubicBezTo>
                      <a:pt x="957240" y="927886"/>
                      <a:pt x="947896" y="925300"/>
                      <a:pt x="946561" y="924383"/>
                    </a:cubicBezTo>
                    <a:cubicBezTo>
                      <a:pt x="942139" y="922130"/>
                      <a:pt x="934631" y="917709"/>
                      <a:pt x="930209" y="914205"/>
                    </a:cubicBezTo>
                    <a:cubicBezTo>
                      <a:pt x="929792" y="914205"/>
                      <a:pt x="929792" y="914205"/>
                      <a:pt x="929292" y="913788"/>
                    </a:cubicBezTo>
                    <a:cubicBezTo>
                      <a:pt x="925287" y="910702"/>
                      <a:pt x="923118" y="906698"/>
                      <a:pt x="920865" y="902276"/>
                    </a:cubicBezTo>
                    <a:cubicBezTo>
                      <a:pt x="917778" y="895185"/>
                      <a:pt x="916027" y="887177"/>
                      <a:pt x="911104" y="880587"/>
                    </a:cubicBezTo>
                    <a:cubicBezTo>
                      <a:pt x="901344" y="866823"/>
                      <a:pt x="890748" y="869075"/>
                      <a:pt x="876149" y="870410"/>
                    </a:cubicBezTo>
                    <a:cubicBezTo>
                      <a:pt x="852205" y="873079"/>
                      <a:pt x="807906" y="837208"/>
                      <a:pt x="790636" y="872662"/>
                    </a:cubicBezTo>
                    <a:cubicBezTo>
                      <a:pt x="787966" y="878001"/>
                      <a:pt x="789301" y="889012"/>
                      <a:pt x="786215" y="895686"/>
                    </a:cubicBezTo>
                    <a:cubicBezTo>
                      <a:pt x="785297" y="898773"/>
                      <a:pt x="783128" y="900524"/>
                      <a:pt x="780041" y="901442"/>
                    </a:cubicBezTo>
                    <a:cubicBezTo>
                      <a:pt x="777371" y="901859"/>
                      <a:pt x="775202" y="901442"/>
                      <a:pt x="772950" y="900524"/>
                    </a:cubicBezTo>
                    <a:cubicBezTo>
                      <a:pt x="766275" y="898272"/>
                      <a:pt x="762771" y="891181"/>
                      <a:pt x="751676" y="897855"/>
                    </a:cubicBezTo>
                    <a:cubicBezTo>
                      <a:pt x="739746" y="904529"/>
                      <a:pt x="742332" y="906698"/>
                      <a:pt x="726398" y="903194"/>
                    </a:cubicBezTo>
                    <a:cubicBezTo>
                      <a:pt x="720641" y="902276"/>
                      <a:pt x="714885" y="901442"/>
                      <a:pt x="709128" y="900107"/>
                    </a:cubicBezTo>
                    <a:cubicBezTo>
                      <a:pt x="706041" y="899190"/>
                      <a:pt x="703371" y="898356"/>
                      <a:pt x="700702" y="897021"/>
                    </a:cubicBezTo>
                    <a:cubicBezTo>
                      <a:pt x="698033" y="895686"/>
                      <a:pt x="695863" y="893934"/>
                      <a:pt x="692693" y="893517"/>
                    </a:cubicBezTo>
                    <a:cubicBezTo>
                      <a:pt x="689189" y="893100"/>
                      <a:pt x="686019" y="898356"/>
                      <a:pt x="682932" y="899273"/>
                    </a:cubicBezTo>
                    <a:cubicBezTo>
                      <a:pt x="680680" y="900191"/>
                      <a:pt x="678510" y="900191"/>
                      <a:pt x="676258" y="898856"/>
                    </a:cubicBezTo>
                    <a:cubicBezTo>
                      <a:pt x="670919" y="895769"/>
                      <a:pt x="668249" y="889513"/>
                      <a:pt x="666080" y="884674"/>
                    </a:cubicBezTo>
                    <a:cubicBezTo>
                      <a:pt x="663828" y="880670"/>
                      <a:pt x="662075" y="876666"/>
                      <a:pt x="659406" y="873580"/>
                    </a:cubicBezTo>
                    <a:cubicBezTo>
                      <a:pt x="658488" y="872245"/>
                      <a:pt x="657153" y="870910"/>
                      <a:pt x="655902" y="870493"/>
                    </a:cubicBezTo>
                    <a:cubicBezTo>
                      <a:pt x="655902" y="870493"/>
                      <a:pt x="652398" y="870076"/>
                      <a:pt x="652398" y="870910"/>
                    </a:cubicBezTo>
                    <a:cubicBezTo>
                      <a:pt x="651981" y="879336"/>
                      <a:pt x="658155" y="885509"/>
                      <a:pt x="656819" y="893934"/>
                    </a:cubicBezTo>
                    <a:cubicBezTo>
                      <a:pt x="655902" y="899690"/>
                      <a:pt x="650646" y="905029"/>
                      <a:pt x="647976" y="910285"/>
                    </a:cubicBezTo>
                    <a:cubicBezTo>
                      <a:pt x="645724" y="913788"/>
                      <a:pt x="643555" y="923548"/>
                      <a:pt x="642220" y="926218"/>
                    </a:cubicBezTo>
                    <a:cubicBezTo>
                      <a:pt x="637798" y="933309"/>
                      <a:pt x="634711" y="929721"/>
                      <a:pt x="629790" y="934226"/>
                    </a:cubicBezTo>
                    <a:cubicBezTo>
                      <a:pt x="609433" y="951494"/>
                      <a:pt x="669250" y="998043"/>
                      <a:pt x="674506" y="1018398"/>
                    </a:cubicBezTo>
                    <a:cubicBezTo>
                      <a:pt x="674923" y="1018815"/>
                      <a:pt x="674923" y="1019315"/>
                      <a:pt x="674923" y="1019732"/>
                    </a:cubicBezTo>
                    <a:lnTo>
                      <a:pt x="674923" y="1020149"/>
                    </a:lnTo>
                    <a:cubicBezTo>
                      <a:pt x="676258" y="1024988"/>
                      <a:pt x="676258" y="1029910"/>
                      <a:pt x="675340" y="1035248"/>
                    </a:cubicBezTo>
                    <a:cubicBezTo>
                      <a:pt x="674006" y="1041922"/>
                      <a:pt x="671336" y="1048095"/>
                      <a:pt x="667332" y="1052934"/>
                    </a:cubicBezTo>
                    <a:cubicBezTo>
                      <a:pt x="663326" y="1057772"/>
                      <a:pt x="659823" y="1058690"/>
                      <a:pt x="654901" y="1061359"/>
                    </a:cubicBezTo>
                    <a:cubicBezTo>
                      <a:pt x="653983" y="1061359"/>
                      <a:pt x="653566" y="1061776"/>
                      <a:pt x="652648" y="1062277"/>
                    </a:cubicBezTo>
                    <a:cubicBezTo>
                      <a:pt x="648227" y="1064029"/>
                      <a:pt x="644639" y="1067616"/>
                      <a:pt x="641135" y="1070702"/>
                    </a:cubicBezTo>
                    <a:cubicBezTo>
                      <a:pt x="638048" y="1073372"/>
                      <a:pt x="634461" y="1076041"/>
                      <a:pt x="630957" y="1076875"/>
                    </a:cubicBezTo>
                    <a:cubicBezTo>
                      <a:pt x="623866" y="1079545"/>
                      <a:pt x="616774" y="1075124"/>
                      <a:pt x="609683" y="1077293"/>
                    </a:cubicBezTo>
                    <a:cubicBezTo>
                      <a:pt x="605679" y="1078627"/>
                      <a:pt x="600840" y="1083048"/>
                      <a:pt x="597253" y="1085718"/>
                    </a:cubicBezTo>
                    <a:cubicBezTo>
                      <a:pt x="584405" y="1094143"/>
                      <a:pt x="568471" y="1106573"/>
                      <a:pt x="552536" y="1107824"/>
                    </a:cubicBezTo>
                    <a:cubicBezTo>
                      <a:pt x="546363" y="1108241"/>
                      <a:pt x="540606" y="1107824"/>
                      <a:pt x="535266" y="1105155"/>
                    </a:cubicBezTo>
                    <a:cubicBezTo>
                      <a:pt x="530428" y="1102903"/>
                      <a:pt x="525506" y="1092308"/>
                      <a:pt x="521084" y="1090973"/>
                    </a:cubicBezTo>
                    <a:cubicBezTo>
                      <a:pt x="508654" y="1086552"/>
                      <a:pt x="506901" y="1110911"/>
                      <a:pt x="494971" y="1115749"/>
                    </a:cubicBezTo>
                    <a:cubicBezTo>
                      <a:pt x="484793" y="1120171"/>
                      <a:pt x="465272" y="1118836"/>
                      <a:pt x="454176" y="1118002"/>
                    </a:cubicBezTo>
                    <a:cubicBezTo>
                      <a:pt x="442662" y="1117084"/>
                      <a:pt x="430733" y="1105155"/>
                      <a:pt x="424977" y="1094060"/>
                    </a:cubicBezTo>
                    <a:cubicBezTo>
                      <a:pt x="421473" y="1087386"/>
                      <a:pt x="420971" y="1083883"/>
                      <a:pt x="423641" y="1076792"/>
                    </a:cubicBezTo>
                    <a:cubicBezTo>
                      <a:pt x="425394" y="1071953"/>
                      <a:pt x="435571" y="1064362"/>
                      <a:pt x="436072" y="1059524"/>
                    </a:cubicBezTo>
                    <a:cubicBezTo>
                      <a:pt x="436489" y="1035582"/>
                      <a:pt x="405037" y="1050681"/>
                      <a:pt x="394859" y="1056020"/>
                    </a:cubicBezTo>
                    <a:cubicBezTo>
                      <a:pt x="381094" y="1063111"/>
                      <a:pt x="364742" y="1071119"/>
                      <a:pt x="349642" y="1075958"/>
                    </a:cubicBezTo>
                    <a:cubicBezTo>
                      <a:pt x="341633" y="1078627"/>
                      <a:pt x="333290" y="1079461"/>
                      <a:pt x="325282" y="1077710"/>
                    </a:cubicBezTo>
                    <a:cubicBezTo>
                      <a:pt x="311099" y="1074623"/>
                      <a:pt x="300003" y="1079044"/>
                      <a:pt x="287155" y="1083048"/>
                    </a:cubicBezTo>
                    <a:cubicBezTo>
                      <a:pt x="272055" y="1087887"/>
                      <a:pt x="260125" y="1090139"/>
                      <a:pt x="247695" y="1100734"/>
                    </a:cubicBezTo>
                    <a:cubicBezTo>
                      <a:pt x="232594" y="1113580"/>
                      <a:pt x="217994" y="1124675"/>
                      <a:pt x="201643" y="1135687"/>
                    </a:cubicBezTo>
                    <a:cubicBezTo>
                      <a:pt x="187460" y="1145447"/>
                      <a:pt x="178617" y="1150786"/>
                      <a:pt x="189212" y="1165384"/>
                    </a:cubicBezTo>
                    <a:cubicBezTo>
                      <a:pt x="191882" y="1168888"/>
                      <a:pt x="202060" y="1175979"/>
                      <a:pt x="201643" y="1181318"/>
                    </a:cubicBezTo>
                    <a:cubicBezTo>
                      <a:pt x="201226" y="1189326"/>
                      <a:pt x="190547" y="1181735"/>
                      <a:pt x="187043" y="1178231"/>
                    </a:cubicBezTo>
                    <a:cubicBezTo>
                      <a:pt x="176448" y="1168054"/>
                      <a:pt x="175530" y="1152538"/>
                      <a:pt x="172443" y="1139274"/>
                    </a:cubicBezTo>
                    <a:cubicBezTo>
                      <a:pt x="168439" y="1123758"/>
                      <a:pt x="159178" y="1108742"/>
                      <a:pt x="147165" y="1098064"/>
                    </a:cubicBezTo>
                    <a:cubicBezTo>
                      <a:pt x="132065" y="1084800"/>
                      <a:pt x="134734" y="1102485"/>
                      <a:pt x="133400" y="1116250"/>
                    </a:cubicBezTo>
                    <a:cubicBezTo>
                      <a:pt x="130730" y="1136604"/>
                      <a:pt x="122303" y="1143278"/>
                      <a:pt x="101030" y="1141943"/>
                    </a:cubicBezTo>
                    <a:cubicBezTo>
                      <a:pt x="94355" y="1141526"/>
                      <a:pt x="86847" y="1140609"/>
                      <a:pt x="79756" y="1138440"/>
                    </a:cubicBezTo>
                    <a:cubicBezTo>
                      <a:pt x="74000" y="1145948"/>
                      <a:pt x="69161" y="1153539"/>
                      <a:pt x="68660" y="1160546"/>
                    </a:cubicBezTo>
                    <a:cubicBezTo>
                      <a:pt x="68243" y="1163633"/>
                      <a:pt x="69578" y="1165885"/>
                      <a:pt x="71747" y="1169389"/>
                    </a:cubicBezTo>
                    <a:cubicBezTo>
                      <a:pt x="73499" y="1172475"/>
                      <a:pt x="75751" y="1176897"/>
                      <a:pt x="76586" y="1182236"/>
                    </a:cubicBezTo>
                    <a:cubicBezTo>
                      <a:pt x="77504" y="1191579"/>
                      <a:pt x="73916" y="1198586"/>
                      <a:pt x="70413" y="1204842"/>
                    </a:cubicBezTo>
                    <a:cubicBezTo>
                      <a:pt x="69077" y="1207095"/>
                      <a:pt x="67743" y="1209264"/>
                      <a:pt x="66908" y="1211933"/>
                    </a:cubicBezTo>
                    <a:cubicBezTo>
                      <a:pt x="58482" y="1232788"/>
                      <a:pt x="64656" y="1242465"/>
                      <a:pt x="81508" y="1256647"/>
                    </a:cubicBezTo>
                    <a:cubicBezTo>
                      <a:pt x="95691" y="1268576"/>
                      <a:pt x="95691" y="1282757"/>
                      <a:pt x="96108" y="1296522"/>
                    </a:cubicBezTo>
                    <a:cubicBezTo>
                      <a:pt x="96108" y="1301860"/>
                      <a:pt x="96108" y="1307116"/>
                      <a:pt x="97025" y="1312455"/>
                    </a:cubicBezTo>
                    <a:cubicBezTo>
                      <a:pt x="99695" y="1329723"/>
                      <a:pt x="106786" y="1336397"/>
                      <a:pt x="119133" y="1347408"/>
                    </a:cubicBezTo>
                    <a:lnTo>
                      <a:pt x="122637" y="1350495"/>
                    </a:lnTo>
                    <a:cubicBezTo>
                      <a:pt x="130146" y="1357168"/>
                      <a:pt x="134567" y="1365093"/>
                      <a:pt x="138572" y="1372601"/>
                    </a:cubicBezTo>
                    <a:cubicBezTo>
                      <a:pt x="143911" y="1381444"/>
                      <a:pt x="147916" y="1388951"/>
                      <a:pt x="156258" y="1394290"/>
                    </a:cubicBezTo>
                    <a:cubicBezTo>
                      <a:pt x="160680" y="1397377"/>
                      <a:pt x="165602" y="1399629"/>
                      <a:pt x="170024" y="1402299"/>
                    </a:cubicBezTo>
                    <a:cubicBezTo>
                      <a:pt x="185542" y="1410307"/>
                      <a:pt x="201476" y="1419150"/>
                      <a:pt x="210319" y="1440839"/>
                    </a:cubicBezTo>
                    <a:cubicBezTo>
                      <a:pt x="215158" y="1452768"/>
                      <a:pt x="216993" y="1464781"/>
                      <a:pt x="218328" y="1476710"/>
                    </a:cubicBezTo>
                    <a:cubicBezTo>
                      <a:pt x="220080" y="1488639"/>
                      <a:pt x="221832" y="1500151"/>
                      <a:pt x="226337" y="1510412"/>
                    </a:cubicBezTo>
                    <a:cubicBezTo>
                      <a:pt x="230341" y="1520172"/>
                      <a:pt x="242272" y="1527680"/>
                      <a:pt x="254285" y="1534771"/>
                    </a:cubicBezTo>
                    <a:cubicBezTo>
                      <a:pt x="268467" y="1544114"/>
                      <a:pt x="282650" y="1552039"/>
                      <a:pt x="283985" y="1566220"/>
                    </a:cubicBezTo>
                    <a:cubicBezTo>
                      <a:pt x="285320" y="1575980"/>
                      <a:pt x="280481" y="1585741"/>
                      <a:pt x="269386" y="1596335"/>
                    </a:cubicBezTo>
                    <a:lnTo>
                      <a:pt x="257455" y="1608264"/>
                    </a:lnTo>
                    <a:cubicBezTo>
                      <a:pt x="242855" y="1622863"/>
                      <a:pt x="227338" y="1637962"/>
                      <a:pt x="211404" y="1652560"/>
                    </a:cubicBezTo>
                    <a:lnTo>
                      <a:pt x="206565" y="1656982"/>
                    </a:lnTo>
                    <a:cubicBezTo>
                      <a:pt x="195052" y="1667159"/>
                      <a:pt x="179952" y="1680423"/>
                      <a:pt x="179118" y="1693269"/>
                    </a:cubicBezTo>
                    <a:cubicBezTo>
                      <a:pt x="179118" y="1696356"/>
                      <a:pt x="180452" y="1700360"/>
                      <a:pt x="182622" y="1704364"/>
                    </a:cubicBezTo>
                    <a:cubicBezTo>
                      <a:pt x="184874" y="1708786"/>
                      <a:pt x="187460" y="1714542"/>
                      <a:pt x="187043" y="1720715"/>
                    </a:cubicBezTo>
                    <a:cubicBezTo>
                      <a:pt x="187043" y="1731810"/>
                      <a:pt x="180369" y="1737566"/>
                      <a:pt x="175113" y="1742821"/>
                    </a:cubicBezTo>
                    <a:lnTo>
                      <a:pt x="172443" y="1745491"/>
                    </a:lnTo>
                    <a:cubicBezTo>
                      <a:pt x="157343" y="1760590"/>
                      <a:pt x="151170" y="1769432"/>
                      <a:pt x="158678" y="1784031"/>
                    </a:cubicBezTo>
                    <a:cubicBezTo>
                      <a:pt x="160430" y="1787118"/>
                      <a:pt x="162682" y="1790705"/>
                      <a:pt x="164851" y="1793791"/>
                    </a:cubicBezTo>
                    <a:cubicBezTo>
                      <a:pt x="173695" y="1807973"/>
                      <a:pt x="185708" y="1826993"/>
                      <a:pt x="169273" y="1845178"/>
                    </a:cubicBezTo>
                    <a:cubicBezTo>
                      <a:pt x="157760" y="1858025"/>
                      <a:pt x="143160" y="1856690"/>
                      <a:pt x="131147" y="1855773"/>
                    </a:cubicBezTo>
                    <a:cubicBezTo>
                      <a:pt x="124056" y="1855356"/>
                      <a:pt x="117382" y="1854438"/>
                      <a:pt x="111625" y="1856690"/>
                    </a:cubicBezTo>
                    <a:cubicBezTo>
                      <a:pt x="104534" y="1859360"/>
                      <a:pt x="104117" y="1862029"/>
                      <a:pt x="101864" y="1868619"/>
                    </a:cubicBezTo>
                    <a:cubicBezTo>
                      <a:pt x="100529" y="1871706"/>
                      <a:pt x="99612" y="1875710"/>
                      <a:pt x="97442" y="1879714"/>
                    </a:cubicBezTo>
                    <a:cubicBezTo>
                      <a:pt x="93021" y="1888140"/>
                      <a:pt x="85513" y="1892978"/>
                      <a:pt x="79255" y="1896565"/>
                    </a:cubicBezTo>
                    <a:cubicBezTo>
                      <a:pt x="77504" y="1897483"/>
                      <a:pt x="75751" y="1898818"/>
                      <a:pt x="73916" y="1900069"/>
                    </a:cubicBezTo>
                    <a:cubicBezTo>
                      <a:pt x="67242" y="1904490"/>
                      <a:pt x="61986" y="1909412"/>
                      <a:pt x="56647" y="1913833"/>
                    </a:cubicBezTo>
                    <a:cubicBezTo>
                      <a:pt x="46886" y="1922676"/>
                      <a:pt x="36708" y="1932019"/>
                      <a:pt x="20356" y="1937274"/>
                    </a:cubicBezTo>
                    <a:cubicBezTo>
                      <a:pt x="12347" y="1939944"/>
                      <a:pt x="6174" y="1944782"/>
                      <a:pt x="0" y="1950121"/>
                    </a:cubicBezTo>
                    <a:cubicBezTo>
                      <a:pt x="4004" y="1953625"/>
                      <a:pt x="7508" y="1956795"/>
                      <a:pt x="11096" y="1959881"/>
                    </a:cubicBezTo>
                    <a:cubicBezTo>
                      <a:pt x="23944" y="1970976"/>
                      <a:pt x="37208" y="1982488"/>
                      <a:pt x="47386" y="1997087"/>
                    </a:cubicBezTo>
                    <a:cubicBezTo>
                      <a:pt x="74417" y="2034710"/>
                      <a:pt x="85930" y="2083928"/>
                      <a:pt x="96525" y="2126889"/>
                    </a:cubicBezTo>
                    <a:lnTo>
                      <a:pt x="98778" y="2135315"/>
                    </a:lnTo>
                    <a:cubicBezTo>
                      <a:pt x="105452" y="2162760"/>
                      <a:pt x="107203" y="2188954"/>
                      <a:pt x="108955" y="2216399"/>
                    </a:cubicBezTo>
                    <a:lnTo>
                      <a:pt x="108955" y="2218151"/>
                    </a:lnTo>
                    <a:cubicBezTo>
                      <a:pt x="109372" y="2225242"/>
                      <a:pt x="112042" y="2234085"/>
                      <a:pt x="114712" y="2243428"/>
                    </a:cubicBezTo>
                    <a:cubicBezTo>
                      <a:pt x="119550" y="2258527"/>
                      <a:pt x="124056" y="2274460"/>
                      <a:pt x="120469" y="2288141"/>
                    </a:cubicBezTo>
                    <a:cubicBezTo>
                      <a:pt x="117799" y="2297901"/>
                      <a:pt x="108038" y="2307662"/>
                      <a:pt x="97025" y="2318673"/>
                    </a:cubicBezTo>
                    <a:cubicBezTo>
                      <a:pt x="85095" y="2330602"/>
                      <a:pt x="70413" y="2345284"/>
                      <a:pt x="71330" y="2355879"/>
                    </a:cubicBezTo>
                    <a:cubicBezTo>
                      <a:pt x="71747" y="2359383"/>
                      <a:pt x="74417" y="2362969"/>
                      <a:pt x="79339" y="2366473"/>
                    </a:cubicBezTo>
                    <a:cubicBezTo>
                      <a:pt x="83761" y="2369560"/>
                      <a:pt x="88683" y="2371812"/>
                      <a:pt x="93521" y="2373981"/>
                    </a:cubicBezTo>
                    <a:cubicBezTo>
                      <a:pt x="102365" y="2377985"/>
                      <a:pt x="112126" y="2382406"/>
                      <a:pt x="118299" y="2392584"/>
                    </a:cubicBezTo>
                    <a:lnTo>
                      <a:pt x="128060" y="2378402"/>
                    </a:lnTo>
                    <a:cubicBezTo>
                      <a:pt x="131564" y="2373063"/>
                      <a:pt x="135569" y="2367307"/>
                      <a:pt x="140491" y="2362469"/>
                    </a:cubicBezTo>
                    <a:cubicBezTo>
                      <a:pt x="150669" y="2351875"/>
                      <a:pt x="164851" y="2344283"/>
                      <a:pt x="182538" y="2339445"/>
                    </a:cubicBezTo>
                    <a:cubicBezTo>
                      <a:pt x="206899" y="2333272"/>
                      <a:pt x="232594" y="2333689"/>
                      <a:pt x="256538" y="2340779"/>
                    </a:cubicBezTo>
                    <a:lnTo>
                      <a:pt x="257455" y="2341197"/>
                    </a:lnTo>
                    <a:cubicBezTo>
                      <a:pt x="262294" y="2342531"/>
                      <a:pt x="267216" y="2344283"/>
                      <a:pt x="271637" y="2343449"/>
                    </a:cubicBezTo>
                    <a:cubicBezTo>
                      <a:pt x="276060" y="2342615"/>
                      <a:pt x="280981" y="2339028"/>
                      <a:pt x="284903" y="2335941"/>
                    </a:cubicBezTo>
                    <a:cubicBezTo>
                      <a:pt x="300003" y="2324846"/>
                      <a:pt x="309263" y="2307161"/>
                      <a:pt x="308846" y="2289392"/>
                    </a:cubicBezTo>
                    <a:cubicBezTo>
                      <a:pt x="308846" y="2286306"/>
                      <a:pt x="308429" y="2276129"/>
                      <a:pt x="316855" y="2273042"/>
                    </a:cubicBezTo>
                    <a:cubicBezTo>
                      <a:pt x="320359" y="2271707"/>
                      <a:pt x="323946" y="2272625"/>
                      <a:pt x="325699" y="2273042"/>
                    </a:cubicBezTo>
                    <a:cubicBezTo>
                      <a:pt x="339881" y="2276129"/>
                      <a:pt x="352729" y="2282802"/>
                      <a:pt x="363824" y="2292062"/>
                    </a:cubicBezTo>
                    <a:cubicBezTo>
                      <a:pt x="364742" y="2292980"/>
                      <a:pt x="365577" y="2293397"/>
                      <a:pt x="366494" y="2294315"/>
                    </a:cubicBezTo>
                    <a:cubicBezTo>
                      <a:pt x="369581" y="2296984"/>
                      <a:pt x="372251" y="2299153"/>
                      <a:pt x="374921" y="2300488"/>
                    </a:cubicBezTo>
                    <a:cubicBezTo>
                      <a:pt x="381094" y="2303574"/>
                      <a:pt x="390438" y="2301822"/>
                      <a:pt x="397946" y="2296483"/>
                    </a:cubicBezTo>
                    <a:cubicBezTo>
                      <a:pt x="405454" y="2291144"/>
                      <a:pt x="411211" y="2282719"/>
                      <a:pt x="416967" y="2274377"/>
                    </a:cubicBezTo>
                    <a:cubicBezTo>
                      <a:pt x="448002" y="2229163"/>
                      <a:pt x="479871" y="2187119"/>
                      <a:pt x="526840" y="2165430"/>
                    </a:cubicBezTo>
                    <a:cubicBezTo>
                      <a:pt x="543192" y="2157922"/>
                      <a:pt x="556957" y="2157922"/>
                      <a:pt x="566301" y="2165430"/>
                    </a:cubicBezTo>
                    <a:cubicBezTo>
                      <a:pt x="572475" y="2170769"/>
                      <a:pt x="575145" y="2178277"/>
                      <a:pt x="576897" y="2183615"/>
                    </a:cubicBezTo>
                    <a:cubicBezTo>
                      <a:pt x="582236" y="2203136"/>
                      <a:pt x="577814" y="2219486"/>
                      <a:pt x="572475" y="2237255"/>
                    </a:cubicBezTo>
                    <a:cubicBezTo>
                      <a:pt x="567637" y="2252771"/>
                      <a:pt x="568054" y="2272208"/>
                      <a:pt x="568471" y="2289059"/>
                    </a:cubicBezTo>
                    <a:cubicBezTo>
                      <a:pt x="568471" y="2293480"/>
                      <a:pt x="568888" y="2298402"/>
                      <a:pt x="570723" y="2302823"/>
                    </a:cubicBezTo>
                    <a:cubicBezTo>
                      <a:pt x="572475" y="2307245"/>
                      <a:pt x="575562" y="2311249"/>
                      <a:pt x="578732" y="2315253"/>
                    </a:cubicBezTo>
                    <a:cubicBezTo>
                      <a:pt x="584071" y="2322343"/>
                      <a:pt x="589828" y="2329434"/>
                      <a:pt x="597336" y="2332938"/>
                    </a:cubicBezTo>
                    <a:cubicBezTo>
                      <a:pt x="602175" y="2335191"/>
                      <a:pt x="608432" y="2336442"/>
                      <a:pt x="614189" y="2337359"/>
                    </a:cubicBezTo>
                    <a:cubicBezTo>
                      <a:pt x="638132" y="2340863"/>
                      <a:pt x="662909" y="2344867"/>
                      <a:pt x="686436" y="2340029"/>
                    </a:cubicBezTo>
                    <a:cubicBezTo>
                      <a:pt x="696197" y="2337776"/>
                      <a:pt x="705457" y="2334273"/>
                      <a:pt x="713466" y="2331186"/>
                    </a:cubicBezTo>
                    <a:cubicBezTo>
                      <a:pt x="722309" y="2327683"/>
                      <a:pt x="732488" y="2322761"/>
                      <a:pt x="739579" y="2315253"/>
                    </a:cubicBezTo>
                    <a:cubicBezTo>
                      <a:pt x="748422" y="2305076"/>
                      <a:pt x="751092" y="2289976"/>
                      <a:pt x="753761" y="2275378"/>
                    </a:cubicBezTo>
                    <a:lnTo>
                      <a:pt x="754179" y="2273626"/>
                    </a:lnTo>
                    <a:cubicBezTo>
                      <a:pt x="757266" y="2256775"/>
                      <a:pt x="761270" y="2238172"/>
                      <a:pt x="775870" y="2225826"/>
                    </a:cubicBezTo>
                    <a:cubicBezTo>
                      <a:pt x="789635" y="2214314"/>
                      <a:pt x="807322" y="2212562"/>
                      <a:pt x="823256" y="2212562"/>
                    </a:cubicBezTo>
                    <a:cubicBezTo>
                      <a:pt x="828596" y="2212562"/>
                      <a:pt x="847200" y="2211645"/>
                      <a:pt x="853791" y="2201467"/>
                    </a:cubicBezTo>
                    <a:cubicBezTo>
                      <a:pt x="856042" y="2198381"/>
                      <a:pt x="856877" y="2193959"/>
                      <a:pt x="857294" y="2189538"/>
                    </a:cubicBezTo>
                    <a:cubicBezTo>
                      <a:pt x="861299" y="2168683"/>
                      <a:pt x="865303" y="2146160"/>
                      <a:pt x="866138" y="2123553"/>
                    </a:cubicBezTo>
                    <a:cubicBezTo>
                      <a:pt x="867055" y="2099611"/>
                      <a:pt x="863885" y="2077921"/>
                      <a:pt x="857294" y="2059736"/>
                    </a:cubicBezTo>
                    <a:cubicBezTo>
                      <a:pt x="856877" y="2058818"/>
                      <a:pt x="856376" y="2057483"/>
                      <a:pt x="855959" y="2056232"/>
                    </a:cubicBezTo>
                    <a:cubicBezTo>
                      <a:pt x="853707" y="2050476"/>
                      <a:pt x="851121" y="2044303"/>
                      <a:pt x="851121" y="2037212"/>
                    </a:cubicBezTo>
                    <a:cubicBezTo>
                      <a:pt x="851121" y="2033708"/>
                      <a:pt x="851538" y="2029704"/>
                      <a:pt x="852038" y="2026118"/>
                    </a:cubicBezTo>
                    <a:cubicBezTo>
                      <a:pt x="852455" y="2023865"/>
                      <a:pt x="852455" y="2021696"/>
                      <a:pt x="852956" y="2019444"/>
                    </a:cubicBezTo>
                    <a:cubicBezTo>
                      <a:pt x="853874" y="2004345"/>
                      <a:pt x="857795" y="1989329"/>
                      <a:pt x="861382" y="1975148"/>
                    </a:cubicBezTo>
                    <a:cubicBezTo>
                      <a:pt x="865804" y="1958797"/>
                      <a:pt x="873312" y="1949871"/>
                      <a:pt x="883990" y="1949037"/>
                    </a:cubicBezTo>
                    <a:cubicBezTo>
                      <a:pt x="892834" y="1948119"/>
                      <a:pt x="899925" y="1953458"/>
                      <a:pt x="905681" y="1958797"/>
                    </a:cubicBezTo>
                    <a:cubicBezTo>
                      <a:pt x="924703" y="1976065"/>
                      <a:pt x="940638" y="1996420"/>
                      <a:pt x="953068" y="2018610"/>
                    </a:cubicBezTo>
                    <a:cubicBezTo>
                      <a:pt x="955320" y="2022113"/>
                      <a:pt x="957073" y="2026118"/>
                      <a:pt x="958824" y="2029704"/>
                    </a:cubicBezTo>
                    <a:cubicBezTo>
                      <a:pt x="968168" y="2047390"/>
                      <a:pt x="977428" y="2064658"/>
                      <a:pt x="992946" y="2073083"/>
                    </a:cubicBezTo>
                    <a:cubicBezTo>
                      <a:pt x="1003542" y="2078839"/>
                      <a:pt x="1015972" y="2079757"/>
                      <a:pt x="1028820" y="2081092"/>
                    </a:cubicBezTo>
                    <a:cubicBezTo>
                      <a:pt x="1036328" y="2082009"/>
                      <a:pt x="1043920" y="2082426"/>
                      <a:pt x="1050928" y="2084178"/>
                    </a:cubicBezTo>
                    <a:cubicBezTo>
                      <a:pt x="1060689" y="2086430"/>
                      <a:pt x="1069949" y="2089934"/>
                      <a:pt x="1078876" y="2094772"/>
                    </a:cubicBezTo>
                    <a:cubicBezTo>
                      <a:pt x="1081546" y="2096107"/>
                      <a:pt x="1083715" y="2097442"/>
                      <a:pt x="1086384" y="2099194"/>
                    </a:cubicBezTo>
                    <a:cubicBezTo>
                      <a:pt x="1090389" y="2101446"/>
                      <a:pt x="1093893" y="2104032"/>
                      <a:pt x="1097897" y="2105867"/>
                    </a:cubicBezTo>
                    <a:cubicBezTo>
                      <a:pt x="1116084" y="2113876"/>
                      <a:pt x="1136858" y="2109371"/>
                      <a:pt x="1151540" y="2104116"/>
                    </a:cubicBezTo>
                    <a:cubicBezTo>
                      <a:pt x="1162136" y="2100111"/>
                      <a:pt x="1172397" y="2094772"/>
                      <a:pt x="1182993" y="2089517"/>
                    </a:cubicBezTo>
                    <a:cubicBezTo>
                      <a:pt x="1190084" y="2086013"/>
                      <a:pt x="1197592" y="2082009"/>
                      <a:pt x="1205101" y="2078422"/>
                    </a:cubicBezTo>
                    <a:cubicBezTo>
                      <a:pt x="1209522" y="2076670"/>
                      <a:pt x="1213526" y="2074919"/>
                      <a:pt x="1217949" y="2073083"/>
                    </a:cubicBezTo>
                    <a:cubicBezTo>
                      <a:pt x="1225457" y="2069996"/>
                      <a:pt x="1232548" y="2067327"/>
                      <a:pt x="1239223" y="2063323"/>
                    </a:cubicBezTo>
                    <a:cubicBezTo>
                      <a:pt x="1257827" y="2053563"/>
                      <a:pt x="1272426" y="2038547"/>
                      <a:pt x="1285775" y="2016774"/>
                    </a:cubicBezTo>
                    <a:cubicBezTo>
                      <a:pt x="1288862" y="2011936"/>
                      <a:pt x="1291531" y="2007014"/>
                      <a:pt x="1294617" y="2002176"/>
                    </a:cubicBezTo>
                    <a:cubicBezTo>
                      <a:pt x="1306130" y="1983573"/>
                      <a:pt x="1317644" y="1964553"/>
                      <a:pt x="1326987" y="1945033"/>
                    </a:cubicBezTo>
                    <a:cubicBezTo>
                      <a:pt x="1336748" y="1924177"/>
                      <a:pt x="1342088" y="1904740"/>
                      <a:pt x="1343339" y="1886555"/>
                    </a:cubicBezTo>
                    <a:cubicBezTo>
                      <a:pt x="1343756" y="1883468"/>
                      <a:pt x="1343756" y="1880382"/>
                      <a:pt x="1343756" y="1876795"/>
                    </a:cubicBezTo>
                    <a:cubicBezTo>
                      <a:pt x="1343756" y="1875043"/>
                      <a:pt x="1343756" y="1872790"/>
                      <a:pt x="1343756" y="1871039"/>
                    </a:cubicBezTo>
                    <a:cubicBezTo>
                      <a:pt x="1343756" y="1867952"/>
                      <a:pt x="1344173" y="1865283"/>
                      <a:pt x="1344674" y="1862613"/>
                    </a:cubicBezTo>
                    <a:cubicBezTo>
                      <a:pt x="1345091" y="1861279"/>
                      <a:pt x="1345091" y="1859527"/>
                      <a:pt x="1345592" y="1858192"/>
                    </a:cubicBezTo>
                    <a:cubicBezTo>
                      <a:pt x="1346009" y="1854688"/>
                      <a:pt x="1346509" y="1850684"/>
                      <a:pt x="1346926" y="1847097"/>
                    </a:cubicBezTo>
                    <a:cubicBezTo>
                      <a:pt x="1347844" y="1840423"/>
                      <a:pt x="1348261" y="1833333"/>
                      <a:pt x="1349179" y="1826242"/>
                    </a:cubicBezTo>
                    <a:cubicBezTo>
                      <a:pt x="1349596" y="1818734"/>
                      <a:pt x="1350096" y="1810726"/>
                      <a:pt x="1346926" y="1804970"/>
                    </a:cubicBezTo>
                    <a:cubicBezTo>
                      <a:pt x="1345592" y="1802717"/>
                      <a:pt x="1343422" y="1800131"/>
                      <a:pt x="1340752" y="1797879"/>
                    </a:cubicBezTo>
                    <a:cubicBezTo>
                      <a:pt x="1336748" y="1794375"/>
                      <a:pt x="1332744" y="1790371"/>
                      <a:pt x="1328322" y="1786784"/>
                    </a:cubicBezTo>
                    <a:lnTo>
                      <a:pt x="1327905" y="1786367"/>
                    </a:lnTo>
                    <a:cubicBezTo>
                      <a:pt x="1324818" y="1783697"/>
                      <a:pt x="1321231" y="1780611"/>
                      <a:pt x="1318561" y="1776607"/>
                    </a:cubicBezTo>
                    <a:cubicBezTo>
                      <a:pt x="1314557" y="1770851"/>
                      <a:pt x="1313723" y="1764177"/>
                      <a:pt x="1315474" y="1758921"/>
                    </a:cubicBezTo>
                    <a:cubicBezTo>
                      <a:pt x="1317727" y="1752248"/>
                      <a:pt x="1323484" y="1748327"/>
                      <a:pt x="1327905" y="1745658"/>
                    </a:cubicBezTo>
                    <a:cubicBezTo>
                      <a:pt x="1330158" y="1744323"/>
                      <a:pt x="1332327" y="1742988"/>
                      <a:pt x="1333661" y="1741236"/>
                    </a:cubicBezTo>
                    <a:cubicBezTo>
                      <a:pt x="1334996" y="1739485"/>
                      <a:pt x="1336331" y="1737232"/>
                      <a:pt x="1337666" y="1734563"/>
                    </a:cubicBezTo>
                    <a:cubicBezTo>
                      <a:pt x="1339418" y="1731059"/>
                      <a:pt x="1341671" y="1727055"/>
                      <a:pt x="1345175" y="1723468"/>
                    </a:cubicBezTo>
                    <a:cubicBezTo>
                      <a:pt x="1347844" y="1721215"/>
                      <a:pt x="1350513" y="1719964"/>
                      <a:pt x="1352683" y="1718629"/>
                    </a:cubicBezTo>
                    <a:cubicBezTo>
                      <a:pt x="1354435" y="1717712"/>
                      <a:pt x="1356186" y="1716878"/>
                      <a:pt x="1357522" y="1715543"/>
                    </a:cubicBezTo>
                    <a:cubicBezTo>
                      <a:pt x="1358439" y="1714625"/>
                      <a:pt x="1359273" y="1713290"/>
                      <a:pt x="1360191" y="1711539"/>
                    </a:cubicBezTo>
                    <a:cubicBezTo>
                      <a:pt x="1361943" y="1708035"/>
                      <a:pt x="1364613" y="1704031"/>
                      <a:pt x="1369034" y="1701361"/>
                    </a:cubicBezTo>
                    <a:cubicBezTo>
                      <a:pt x="1376543" y="1697858"/>
                      <a:pt x="1387221" y="1700444"/>
                      <a:pt x="1389391" y="1701361"/>
                    </a:cubicBezTo>
                    <a:cubicBezTo>
                      <a:pt x="1391643" y="1702279"/>
                      <a:pt x="1393395" y="1702696"/>
                      <a:pt x="1395564" y="1703614"/>
                    </a:cubicBezTo>
                    <a:cubicBezTo>
                      <a:pt x="1398234" y="1704531"/>
                      <a:pt x="1400403" y="1705365"/>
                      <a:pt x="1402655" y="1705866"/>
                    </a:cubicBezTo>
                    <a:cubicBezTo>
                      <a:pt x="1407494" y="1706784"/>
                      <a:pt x="1412833" y="1706283"/>
                      <a:pt x="1418173" y="1705866"/>
                    </a:cubicBezTo>
                    <a:cubicBezTo>
                      <a:pt x="1420842" y="1705866"/>
                      <a:pt x="1423512" y="1705449"/>
                      <a:pt x="1426182" y="1705449"/>
                    </a:cubicBezTo>
                    <a:cubicBezTo>
                      <a:pt x="1439447" y="1705032"/>
                      <a:pt x="1449624" y="1709453"/>
                      <a:pt x="1455381" y="1717378"/>
                    </a:cubicBezTo>
                    <a:cubicBezTo>
                      <a:pt x="1457634" y="1720882"/>
                      <a:pt x="1458885" y="1724469"/>
                      <a:pt x="1459803" y="1727972"/>
                    </a:cubicBezTo>
                    <a:cubicBezTo>
                      <a:pt x="1460721" y="1730642"/>
                      <a:pt x="1461138" y="1732811"/>
                      <a:pt x="1462055" y="1734646"/>
                    </a:cubicBezTo>
                    <a:cubicBezTo>
                      <a:pt x="1466060" y="1741320"/>
                      <a:pt x="1477155" y="1741320"/>
                      <a:pt x="1481995" y="1740819"/>
                    </a:cubicBezTo>
                    <a:lnTo>
                      <a:pt x="1484247" y="1740819"/>
                    </a:lnTo>
                    <a:cubicBezTo>
                      <a:pt x="1490003" y="1740402"/>
                      <a:pt x="1497095" y="1739902"/>
                      <a:pt x="1503769" y="1743071"/>
                    </a:cubicBezTo>
                    <a:cubicBezTo>
                      <a:pt x="1507773" y="1744823"/>
                      <a:pt x="1510860" y="1747910"/>
                      <a:pt x="1513530" y="1750579"/>
                    </a:cubicBezTo>
                    <a:lnTo>
                      <a:pt x="1514447" y="1751497"/>
                    </a:lnTo>
                    <a:cubicBezTo>
                      <a:pt x="1518869" y="1755501"/>
                      <a:pt x="1524625" y="1760840"/>
                      <a:pt x="1530382" y="1763426"/>
                    </a:cubicBezTo>
                    <a:cubicBezTo>
                      <a:pt x="1531300" y="1763843"/>
                      <a:pt x="1532134" y="1764344"/>
                      <a:pt x="1533051" y="1764761"/>
                    </a:cubicBezTo>
                    <a:cubicBezTo>
                      <a:pt x="1534804" y="1765679"/>
                      <a:pt x="1539725" y="1768265"/>
                      <a:pt x="1541478" y="1768265"/>
                    </a:cubicBezTo>
                    <a:lnTo>
                      <a:pt x="1541478" y="1768265"/>
                    </a:lnTo>
                    <a:cubicBezTo>
                      <a:pt x="1541895" y="1768265"/>
                      <a:pt x="1543229" y="1766513"/>
                      <a:pt x="1544148" y="1765595"/>
                    </a:cubicBezTo>
                    <a:cubicBezTo>
                      <a:pt x="1545899" y="1763843"/>
                      <a:pt x="1548152" y="1761174"/>
                      <a:pt x="1551656" y="1759839"/>
                    </a:cubicBezTo>
                    <a:cubicBezTo>
                      <a:pt x="1560499" y="1755835"/>
                      <a:pt x="1570260" y="1760757"/>
                      <a:pt x="1575099" y="1767848"/>
                    </a:cubicBezTo>
                    <a:cubicBezTo>
                      <a:pt x="1577351" y="1770934"/>
                      <a:pt x="1578603" y="1774021"/>
                      <a:pt x="1579937" y="1776690"/>
                    </a:cubicBezTo>
                    <a:cubicBezTo>
                      <a:pt x="1580855" y="1778942"/>
                      <a:pt x="1582190" y="1781111"/>
                      <a:pt x="1583441" y="1782863"/>
                    </a:cubicBezTo>
                    <a:cubicBezTo>
                      <a:pt x="1586528" y="1787701"/>
                      <a:pt x="1592284" y="1791289"/>
                      <a:pt x="1597624" y="1794792"/>
                    </a:cubicBezTo>
                    <a:lnTo>
                      <a:pt x="1611389" y="1803635"/>
                    </a:lnTo>
                    <a:cubicBezTo>
                      <a:pt x="1615394" y="1806304"/>
                      <a:pt x="1619815" y="1808974"/>
                      <a:pt x="1623820" y="1812978"/>
                    </a:cubicBezTo>
                    <a:cubicBezTo>
                      <a:pt x="1625155" y="1814313"/>
                      <a:pt x="1626489" y="1816064"/>
                      <a:pt x="1627825" y="1817399"/>
                    </a:cubicBezTo>
                    <a:cubicBezTo>
                      <a:pt x="1628742" y="1818317"/>
                      <a:pt x="1629576" y="1819652"/>
                      <a:pt x="1630494" y="1820486"/>
                    </a:cubicBezTo>
                    <a:cubicBezTo>
                      <a:pt x="1635833" y="1826242"/>
                      <a:pt x="1643342" y="1830246"/>
                      <a:pt x="1650850" y="1833750"/>
                    </a:cubicBezTo>
                    <a:cubicBezTo>
                      <a:pt x="1665951" y="1840840"/>
                      <a:pt x="1683220" y="1848348"/>
                      <a:pt x="1701323" y="1849266"/>
                    </a:cubicBezTo>
                    <a:cubicBezTo>
                      <a:pt x="1704410" y="1849266"/>
                      <a:pt x="1706162" y="1849266"/>
                      <a:pt x="1707080" y="1848348"/>
                    </a:cubicBezTo>
                    <a:cubicBezTo>
                      <a:pt x="1708415" y="1847431"/>
                      <a:pt x="1708832" y="1843009"/>
                      <a:pt x="1708832" y="1841675"/>
                    </a:cubicBezTo>
                    <a:cubicBezTo>
                      <a:pt x="1709750" y="1829746"/>
                      <a:pt x="1709750" y="1818651"/>
                      <a:pt x="1709249" y="1809307"/>
                    </a:cubicBezTo>
                    <a:cubicBezTo>
                      <a:pt x="1709249" y="1806638"/>
                      <a:pt x="1708331" y="1803968"/>
                      <a:pt x="1707914" y="1801299"/>
                    </a:cubicBezTo>
                    <a:cubicBezTo>
                      <a:pt x="1706579" y="1793291"/>
                      <a:pt x="1704827" y="1784448"/>
                      <a:pt x="1709666" y="1775188"/>
                    </a:cubicBezTo>
                    <a:cubicBezTo>
                      <a:pt x="1713670" y="1767180"/>
                      <a:pt x="1721179" y="1762759"/>
                      <a:pt x="1727353" y="1759255"/>
                    </a:cubicBezTo>
                    <a:cubicBezTo>
                      <a:pt x="1729605" y="1757920"/>
                      <a:pt x="1731774" y="1756586"/>
                      <a:pt x="1733527" y="1755251"/>
                    </a:cubicBezTo>
                    <a:cubicBezTo>
                      <a:pt x="1742870" y="1748577"/>
                      <a:pt x="1749461" y="1737983"/>
                      <a:pt x="1753465" y="1724219"/>
                    </a:cubicBezTo>
                    <a:cubicBezTo>
                      <a:pt x="1756969" y="1711372"/>
                      <a:pt x="1757469" y="1697607"/>
                      <a:pt x="1757469" y="1684344"/>
                    </a:cubicBezTo>
                    <a:lnTo>
                      <a:pt x="1757469" y="1683926"/>
                    </a:lnTo>
                    <a:cubicBezTo>
                      <a:pt x="1757469" y="1674166"/>
                      <a:pt x="1757469" y="1662654"/>
                      <a:pt x="1763226" y="1653394"/>
                    </a:cubicBezTo>
                    <a:cubicBezTo>
                      <a:pt x="1764978" y="1650308"/>
                      <a:pt x="1767231" y="1647639"/>
                      <a:pt x="1769400" y="1645386"/>
                    </a:cubicBezTo>
                    <a:cubicBezTo>
                      <a:pt x="1770735" y="1644051"/>
                      <a:pt x="1771652" y="1642717"/>
                      <a:pt x="1772903" y="1641382"/>
                    </a:cubicBezTo>
                    <a:cubicBezTo>
                      <a:pt x="1777743" y="1634708"/>
                      <a:pt x="1779995" y="1626283"/>
                      <a:pt x="1782664" y="1617440"/>
                    </a:cubicBezTo>
                    <a:cubicBezTo>
                      <a:pt x="1784917" y="1609015"/>
                      <a:pt x="1787503" y="1600589"/>
                      <a:pt x="1792008" y="1592664"/>
                    </a:cubicBezTo>
                    <a:cubicBezTo>
                      <a:pt x="1800017" y="1579818"/>
                      <a:pt x="1812365" y="1571392"/>
                      <a:pt x="1824795" y="1564301"/>
                    </a:cubicBezTo>
                    <a:cubicBezTo>
                      <a:pt x="1848739" y="1550537"/>
                      <a:pt x="1870013" y="1542612"/>
                      <a:pt x="1890369" y="1539525"/>
                    </a:cubicBezTo>
                    <a:cubicBezTo>
                      <a:pt x="1892621" y="1539108"/>
                      <a:pt x="1894790" y="1538608"/>
                      <a:pt x="1897460" y="1538608"/>
                    </a:cubicBezTo>
                    <a:cubicBezTo>
                      <a:pt x="1904134" y="1537690"/>
                      <a:pt x="1909890" y="1536856"/>
                      <a:pt x="1915647" y="1535104"/>
                    </a:cubicBezTo>
                    <a:cubicBezTo>
                      <a:pt x="1919651" y="1533770"/>
                      <a:pt x="1923156" y="1531600"/>
                      <a:pt x="1927160" y="1529348"/>
                    </a:cubicBezTo>
                    <a:cubicBezTo>
                      <a:pt x="1929413" y="1528014"/>
                      <a:pt x="1931581" y="1526679"/>
                      <a:pt x="1934251" y="1525344"/>
                    </a:cubicBezTo>
                    <a:cubicBezTo>
                      <a:pt x="1950185" y="1516919"/>
                      <a:pt x="1970125" y="1512080"/>
                      <a:pt x="1988312" y="1511580"/>
                    </a:cubicBezTo>
                    <a:cubicBezTo>
                      <a:pt x="1989647" y="1511580"/>
                      <a:pt x="1990981" y="1511580"/>
                      <a:pt x="1992316" y="1511580"/>
                    </a:cubicBezTo>
                    <a:cubicBezTo>
                      <a:pt x="1997155" y="1511580"/>
                      <a:pt x="2002077" y="1511580"/>
                      <a:pt x="2005581" y="1509828"/>
                    </a:cubicBezTo>
                    <a:cubicBezTo>
                      <a:pt x="2007834" y="1508910"/>
                      <a:pt x="2010003" y="1507158"/>
                      <a:pt x="2012255" y="1505407"/>
                    </a:cubicBezTo>
                    <a:cubicBezTo>
                      <a:pt x="2015342" y="1502737"/>
                      <a:pt x="2019347" y="1500068"/>
                      <a:pt x="2023768" y="1498316"/>
                    </a:cubicBezTo>
                    <a:cubicBezTo>
                      <a:pt x="2029108" y="1496564"/>
                      <a:pt x="2034363" y="1496981"/>
                      <a:pt x="2039286" y="1496981"/>
                    </a:cubicBezTo>
                    <a:cubicBezTo>
                      <a:pt x="2043290" y="1496981"/>
                      <a:pt x="2047295" y="1497398"/>
                      <a:pt x="2049880" y="1496063"/>
                    </a:cubicBezTo>
                    <a:cubicBezTo>
                      <a:pt x="2050799" y="1495646"/>
                      <a:pt x="2051216" y="1495146"/>
                      <a:pt x="2051216" y="1495146"/>
                    </a:cubicBezTo>
                    <a:cubicBezTo>
                      <a:pt x="2051216" y="1495146"/>
                      <a:pt x="2051216" y="1494228"/>
                      <a:pt x="2050799" y="1492893"/>
                    </a:cubicBezTo>
                    <a:cubicBezTo>
                      <a:pt x="2049046" y="1487138"/>
                      <a:pt x="2043707" y="1483133"/>
                      <a:pt x="2037533" y="1478712"/>
                    </a:cubicBezTo>
                    <a:cubicBezTo>
                      <a:pt x="2032695" y="1475208"/>
                      <a:pt x="2027772" y="1471204"/>
                      <a:pt x="2023768" y="1465865"/>
                    </a:cubicBezTo>
                    <a:cubicBezTo>
                      <a:pt x="2016260" y="1456105"/>
                      <a:pt x="2014424" y="1443258"/>
                      <a:pt x="2012672" y="1433081"/>
                    </a:cubicBezTo>
                    <a:cubicBezTo>
                      <a:pt x="2011338" y="1425073"/>
                      <a:pt x="2010003" y="1414895"/>
                      <a:pt x="2013090" y="1405636"/>
                    </a:cubicBezTo>
                    <a:cubicBezTo>
                      <a:pt x="2015759" y="1396292"/>
                      <a:pt x="2021932" y="1389285"/>
                      <a:pt x="2027689" y="1383529"/>
                    </a:cubicBezTo>
                    <a:cubicBezTo>
                      <a:pt x="2031694" y="1379108"/>
                      <a:pt x="2036532" y="1374186"/>
                      <a:pt x="2042289" y="1371100"/>
                    </a:cubicBezTo>
                    <a:cubicBezTo>
                      <a:pt x="2049380" y="1367095"/>
                      <a:pt x="2056889" y="1366261"/>
                      <a:pt x="2063980" y="1365344"/>
                    </a:cubicBezTo>
                    <a:cubicBezTo>
                      <a:pt x="2068401" y="1364926"/>
                      <a:pt x="2072406" y="1364426"/>
                      <a:pt x="2075910" y="1363091"/>
                    </a:cubicBezTo>
                    <a:cubicBezTo>
                      <a:pt x="2082084" y="1361339"/>
                      <a:pt x="2087840" y="1357752"/>
                      <a:pt x="2093179" y="1351996"/>
                    </a:cubicBezTo>
                    <a:cubicBezTo>
                      <a:pt x="2100271" y="1344488"/>
                      <a:pt x="2110032" y="1343154"/>
                      <a:pt x="2117957" y="1342653"/>
                    </a:cubicBezTo>
                    <a:cubicBezTo>
                      <a:pt x="2124631" y="1342236"/>
                      <a:pt x="2131222" y="1343070"/>
                      <a:pt x="2137896" y="1343988"/>
                    </a:cubicBezTo>
                    <a:cubicBezTo>
                      <a:pt x="2147657" y="1344906"/>
                      <a:pt x="2156918" y="1346240"/>
                      <a:pt x="2165344" y="1343571"/>
                    </a:cubicBezTo>
                    <a:cubicBezTo>
                      <a:pt x="2168013" y="1342653"/>
                      <a:pt x="2170182" y="1341819"/>
                      <a:pt x="2172852" y="1340484"/>
                    </a:cubicBezTo>
                    <a:cubicBezTo>
                      <a:pt x="2175105" y="1339149"/>
                      <a:pt x="2177691" y="1338232"/>
                      <a:pt x="2180360" y="1337398"/>
                    </a:cubicBezTo>
                    <a:cubicBezTo>
                      <a:pt x="2198547" y="1330724"/>
                      <a:pt x="2218487" y="1335646"/>
                      <a:pt x="2234004" y="1339650"/>
                    </a:cubicBezTo>
                    <a:cubicBezTo>
                      <a:pt x="2245516" y="1342737"/>
                      <a:pt x="2258364" y="1345823"/>
                      <a:pt x="2269460" y="1352914"/>
                    </a:cubicBezTo>
                    <a:cubicBezTo>
                      <a:pt x="2272130" y="1354666"/>
                      <a:pt x="2274800" y="1356918"/>
                      <a:pt x="2277470" y="1358670"/>
                    </a:cubicBezTo>
                    <a:cubicBezTo>
                      <a:pt x="2280973" y="1361339"/>
                      <a:pt x="2283643" y="1363508"/>
                      <a:pt x="2287230" y="1365344"/>
                    </a:cubicBezTo>
                    <a:cubicBezTo>
                      <a:pt x="2296991" y="1370682"/>
                      <a:pt x="2310256" y="1370682"/>
                      <a:pt x="2326691" y="1366261"/>
                    </a:cubicBezTo>
                    <a:cubicBezTo>
                      <a:pt x="2332447" y="1364509"/>
                      <a:pt x="2337787" y="1362757"/>
                      <a:pt x="2343960" y="1360505"/>
                    </a:cubicBezTo>
                    <a:cubicBezTo>
                      <a:pt x="2352387" y="1357419"/>
                      <a:pt x="2361647" y="1353832"/>
                      <a:pt x="2370991" y="1352080"/>
                    </a:cubicBezTo>
                    <a:cubicBezTo>
                      <a:pt x="2378082" y="1350745"/>
                      <a:pt x="2385590" y="1349827"/>
                      <a:pt x="2393099" y="1349410"/>
                    </a:cubicBezTo>
                    <a:cubicBezTo>
                      <a:pt x="2404194" y="1348492"/>
                      <a:pt x="2414790" y="1347658"/>
                      <a:pt x="2424551" y="1343654"/>
                    </a:cubicBezTo>
                    <a:cubicBezTo>
                      <a:pt x="2426303" y="1343237"/>
                      <a:pt x="2427638" y="1342319"/>
                      <a:pt x="2428972" y="1341402"/>
                    </a:cubicBezTo>
                    <a:cubicBezTo>
                      <a:pt x="2434312" y="1338732"/>
                      <a:pt x="2440485" y="1336063"/>
                      <a:pt x="2447576" y="1336063"/>
                    </a:cubicBezTo>
                    <a:lnTo>
                      <a:pt x="2447576" y="1336063"/>
                    </a:lnTo>
                    <a:cubicBezTo>
                      <a:pt x="2453750" y="1336063"/>
                      <a:pt x="2459089" y="1338315"/>
                      <a:pt x="2463929" y="1340484"/>
                    </a:cubicBezTo>
                    <a:cubicBezTo>
                      <a:pt x="2467432" y="1341819"/>
                      <a:pt x="2471020" y="1343571"/>
                      <a:pt x="2474106" y="1343571"/>
                    </a:cubicBezTo>
                    <a:cubicBezTo>
                      <a:pt x="2481614" y="1343988"/>
                      <a:pt x="2488706" y="1338232"/>
                      <a:pt x="2492711" y="1331642"/>
                    </a:cubicBezTo>
                    <a:cubicBezTo>
                      <a:pt x="2497132" y="1323633"/>
                      <a:pt x="2498884" y="1313956"/>
                      <a:pt x="2500219" y="1304196"/>
                    </a:cubicBezTo>
                    <a:cubicBezTo>
                      <a:pt x="2503722" y="1279838"/>
                      <a:pt x="2507728" y="1251892"/>
                      <a:pt x="2501137" y="1226699"/>
                    </a:cubicBezTo>
                    <a:cubicBezTo>
                      <a:pt x="2500719" y="1224446"/>
                      <a:pt x="2499802" y="1222277"/>
                      <a:pt x="2499385" y="1219608"/>
                    </a:cubicBezTo>
                    <a:cubicBezTo>
                      <a:pt x="2498050" y="1214770"/>
                      <a:pt x="2496298" y="1209431"/>
                      <a:pt x="2495380" y="1204092"/>
                    </a:cubicBezTo>
                    <a:cubicBezTo>
                      <a:pt x="2494045" y="1196083"/>
                      <a:pt x="2494963" y="1188158"/>
                      <a:pt x="2495380" y="1180650"/>
                    </a:cubicBezTo>
                    <a:cubicBezTo>
                      <a:pt x="2495797" y="1175812"/>
                      <a:pt x="2496298" y="1171307"/>
                      <a:pt x="2495797" y="1166886"/>
                    </a:cubicBezTo>
                    <a:cubicBezTo>
                      <a:pt x="2495797" y="1162465"/>
                      <a:pt x="2494880" y="1146949"/>
                      <a:pt x="2484701" y="1141610"/>
                    </a:cubicBezTo>
                    <a:cubicBezTo>
                      <a:pt x="2481197" y="1139858"/>
                      <a:pt x="2477193" y="1138940"/>
                      <a:pt x="2472771" y="1138523"/>
                    </a:cubicBezTo>
                    <a:cubicBezTo>
                      <a:pt x="2454585" y="1135854"/>
                      <a:pt x="2435981" y="1135437"/>
                      <a:pt x="2417877" y="1136771"/>
                    </a:cubicBezTo>
                    <a:cubicBezTo>
                      <a:pt x="2414790" y="1136771"/>
                      <a:pt x="2411703" y="1137188"/>
                      <a:pt x="2409033" y="1137689"/>
                    </a:cubicBezTo>
                    <a:cubicBezTo>
                      <a:pt x="2392181" y="1139024"/>
                      <a:pt x="2374912" y="1140775"/>
                      <a:pt x="2358060" y="1134602"/>
                    </a:cubicBezTo>
                    <a:cubicBezTo>
                      <a:pt x="2355390" y="1133685"/>
                      <a:pt x="2351886" y="1131933"/>
                      <a:pt x="2349217" y="1128429"/>
                    </a:cubicBezTo>
                    <a:cubicBezTo>
                      <a:pt x="2346964" y="1125343"/>
                      <a:pt x="2346130" y="1120921"/>
                      <a:pt x="2346547" y="1116000"/>
                    </a:cubicBezTo>
                    <a:cubicBezTo>
                      <a:pt x="2347464" y="1107574"/>
                      <a:pt x="2351886" y="1099149"/>
                      <a:pt x="2359394" y="1091641"/>
                    </a:cubicBezTo>
                    <a:lnTo>
                      <a:pt x="2360312" y="1090723"/>
                    </a:lnTo>
                    <a:cubicBezTo>
                      <a:pt x="2366068" y="1084550"/>
                      <a:pt x="2375829" y="1074790"/>
                      <a:pt x="2385590" y="1077876"/>
                    </a:cubicBezTo>
                    <a:cubicBezTo>
                      <a:pt x="2398021" y="1081881"/>
                      <a:pt x="2405113" y="1087637"/>
                      <a:pt x="2413956" y="1096479"/>
                    </a:cubicBezTo>
                    <a:cubicBezTo>
                      <a:pt x="2423717" y="1106239"/>
                      <a:pt x="2435229" y="1107574"/>
                      <a:pt x="2443655" y="1107074"/>
                    </a:cubicBezTo>
                    <a:cubicBezTo>
                      <a:pt x="2447660" y="1106657"/>
                      <a:pt x="2451665" y="1107074"/>
                      <a:pt x="2454752" y="1107074"/>
                    </a:cubicBezTo>
                    <a:cubicBezTo>
                      <a:pt x="2462260" y="1107074"/>
                      <a:pt x="2468016" y="1107074"/>
                      <a:pt x="2474273" y="1103987"/>
                    </a:cubicBezTo>
                    <a:cubicBezTo>
                      <a:pt x="2480447" y="1100483"/>
                      <a:pt x="2486704" y="1100483"/>
                      <a:pt x="2492460" y="1099983"/>
                    </a:cubicBezTo>
                    <a:lnTo>
                      <a:pt x="2493378" y="1099983"/>
                    </a:lnTo>
                    <a:cubicBezTo>
                      <a:pt x="2502722" y="1099566"/>
                      <a:pt x="2510230" y="1103987"/>
                      <a:pt x="2516821" y="1108408"/>
                    </a:cubicBezTo>
                    <a:cubicBezTo>
                      <a:pt x="2517739" y="1109326"/>
                      <a:pt x="2519073" y="1109743"/>
                      <a:pt x="2520325" y="1110661"/>
                    </a:cubicBezTo>
                    <a:cubicBezTo>
                      <a:pt x="2540264" y="1122590"/>
                      <a:pt x="2569964" y="1097397"/>
                      <a:pt x="2584146" y="1078794"/>
                    </a:cubicBezTo>
                    <a:cubicBezTo>
                      <a:pt x="2587233" y="1074790"/>
                      <a:pt x="2589903" y="1070786"/>
                      <a:pt x="2592572" y="1066364"/>
                    </a:cubicBezTo>
                    <a:cubicBezTo>
                      <a:pt x="2598329" y="1057522"/>
                      <a:pt x="2604086" y="1048179"/>
                      <a:pt x="2612929" y="1041088"/>
                    </a:cubicBezTo>
                    <a:cubicBezTo>
                      <a:pt x="2614680" y="1039753"/>
                      <a:pt x="2616433" y="1038001"/>
                      <a:pt x="2617767" y="1036667"/>
                    </a:cubicBezTo>
                    <a:cubicBezTo>
                      <a:pt x="2627945" y="1028241"/>
                      <a:pt x="2634119" y="1022902"/>
                      <a:pt x="2633702" y="1010556"/>
                    </a:cubicBezTo>
                    <a:cubicBezTo>
                      <a:pt x="2633285" y="991536"/>
                      <a:pt x="2635037" y="976437"/>
                      <a:pt x="2639875" y="956917"/>
                    </a:cubicBezTo>
                    <a:cubicBezTo>
                      <a:pt x="2650053" y="916124"/>
                      <a:pt x="2648302" y="871828"/>
                      <a:pt x="2634536" y="832036"/>
                    </a:cubicBezTo>
                    <a:cubicBezTo>
                      <a:pt x="2633201" y="827615"/>
                      <a:pt x="2631449" y="823194"/>
                      <a:pt x="2628363" y="820107"/>
                    </a:cubicBezTo>
                    <a:cubicBezTo>
                      <a:pt x="2625276" y="817021"/>
                      <a:pt x="2620354" y="814768"/>
                      <a:pt x="2615514" y="812599"/>
                    </a:cubicBezTo>
                    <a:cubicBezTo>
                      <a:pt x="2609341" y="809930"/>
                      <a:pt x="2602667" y="806843"/>
                      <a:pt x="2597829" y="801087"/>
                    </a:cubicBezTo>
                    <a:cubicBezTo>
                      <a:pt x="2589819" y="791744"/>
                      <a:pt x="2589819" y="782901"/>
                      <a:pt x="2591655" y="777145"/>
                    </a:cubicBezTo>
                    <a:cubicBezTo>
                      <a:pt x="2595159" y="764299"/>
                      <a:pt x="2608006" y="755039"/>
                      <a:pt x="2619603" y="751035"/>
                    </a:cubicBezTo>
                    <a:cubicBezTo>
                      <a:pt x="2640877" y="743944"/>
                      <a:pt x="2665237" y="751035"/>
                      <a:pt x="2679837" y="759460"/>
                    </a:cubicBezTo>
                    <a:lnTo>
                      <a:pt x="2682507" y="760795"/>
                    </a:lnTo>
                    <a:cubicBezTo>
                      <a:pt x="2687345" y="763465"/>
                      <a:pt x="2692267" y="766551"/>
                      <a:pt x="2695771" y="765633"/>
                    </a:cubicBezTo>
                    <a:cubicBezTo>
                      <a:pt x="2697524" y="765216"/>
                      <a:pt x="2699275" y="763882"/>
                      <a:pt x="2701528" y="762547"/>
                    </a:cubicBezTo>
                    <a:lnTo>
                      <a:pt x="2702863" y="761629"/>
                    </a:lnTo>
                    <a:cubicBezTo>
                      <a:pt x="2724136" y="748365"/>
                      <a:pt x="2752501" y="747031"/>
                      <a:pt x="2775111" y="758126"/>
                    </a:cubicBezTo>
                    <a:lnTo>
                      <a:pt x="2776862" y="759043"/>
                    </a:lnTo>
                    <a:cubicBezTo>
                      <a:pt x="2779532" y="760378"/>
                      <a:pt x="2781701" y="761713"/>
                      <a:pt x="2783954" y="761713"/>
                    </a:cubicBezTo>
                    <a:cubicBezTo>
                      <a:pt x="2787458" y="762130"/>
                      <a:pt x="2791462" y="760378"/>
                      <a:pt x="2795883" y="758209"/>
                    </a:cubicBezTo>
                    <a:cubicBezTo>
                      <a:pt x="2801640" y="755540"/>
                      <a:pt x="2807813" y="752870"/>
                      <a:pt x="2814905" y="753788"/>
                    </a:cubicBezTo>
                    <a:cubicBezTo>
                      <a:pt x="2817574" y="747114"/>
                      <a:pt x="2821996" y="740524"/>
                      <a:pt x="2826835" y="734267"/>
                    </a:cubicBezTo>
                    <a:cubicBezTo>
                      <a:pt x="2840100" y="716999"/>
                      <a:pt x="2859622" y="698397"/>
                      <a:pt x="2880479" y="683297"/>
                    </a:cubicBezTo>
                    <a:cubicBezTo>
                      <a:pt x="2882731" y="681963"/>
                      <a:pt x="2884900" y="680211"/>
                      <a:pt x="2887570" y="678876"/>
                    </a:cubicBezTo>
                    <a:cubicBezTo>
                      <a:pt x="2892408" y="675790"/>
                      <a:pt x="2897331" y="672703"/>
                      <a:pt x="2899500" y="669116"/>
                    </a:cubicBezTo>
                    <a:cubicBezTo>
                      <a:pt x="2900834" y="666446"/>
                      <a:pt x="2900834" y="663777"/>
                      <a:pt x="2900417" y="659356"/>
                    </a:cubicBezTo>
                    <a:cubicBezTo>
                      <a:pt x="2900417" y="654517"/>
                      <a:pt x="2900000" y="648761"/>
                      <a:pt x="2902670" y="643422"/>
                    </a:cubicBezTo>
                    <a:cubicBezTo>
                      <a:pt x="2911096" y="625737"/>
                      <a:pt x="2928365" y="628323"/>
                      <a:pt x="2940296" y="630576"/>
                    </a:cubicBezTo>
                    <a:cubicBezTo>
                      <a:pt x="2950473" y="632327"/>
                      <a:pt x="2955813" y="632828"/>
                      <a:pt x="2958483" y="629241"/>
                    </a:cubicBezTo>
                    <a:cubicBezTo>
                      <a:pt x="2960735" y="625737"/>
                      <a:pt x="2958900" y="619481"/>
                      <a:pt x="2957147" y="613308"/>
                    </a:cubicBezTo>
                    <a:cubicBezTo>
                      <a:pt x="2955813" y="608469"/>
                      <a:pt x="2954478" y="603964"/>
                      <a:pt x="2954478" y="599543"/>
                    </a:cubicBezTo>
                    <a:cubicBezTo>
                      <a:pt x="2954061" y="590701"/>
                      <a:pt x="2956730" y="583610"/>
                      <a:pt x="2959317" y="576936"/>
                    </a:cubicBezTo>
                    <a:cubicBezTo>
                      <a:pt x="2960234" y="574684"/>
                      <a:pt x="2961069" y="572515"/>
                      <a:pt x="2961987" y="569846"/>
                    </a:cubicBezTo>
                    <a:cubicBezTo>
                      <a:pt x="2962404" y="567593"/>
                      <a:pt x="2964239" y="564090"/>
                      <a:pt x="2965991" y="559668"/>
                    </a:cubicBezTo>
                    <a:cubicBezTo>
                      <a:pt x="2968244" y="554830"/>
                      <a:pt x="2972665" y="545070"/>
                      <a:pt x="2972665" y="541983"/>
                    </a:cubicBezTo>
                    <a:cubicBezTo>
                      <a:pt x="2972248" y="538896"/>
                      <a:pt x="2970913" y="537562"/>
                      <a:pt x="2968661" y="535810"/>
                    </a:cubicBezTo>
                    <a:cubicBezTo>
                      <a:pt x="2960651" y="531806"/>
                      <a:pt x="2954061" y="526967"/>
                      <a:pt x="2947387" y="522045"/>
                    </a:cubicBezTo>
                    <a:cubicBezTo>
                      <a:pt x="2937959" y="514538"/>
                      <a:pt x="2928699" y="507864"/>
                      <a:pt x="2921108" y="499022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  <p:sp>
            <p:nvSpPr>
              <p:cNvPr id="39579009" name="Полилиния 514"/>
              <p:cNvSpPr/>
              <p:nvPr/>
            </p:nvSpPr>
            <p:spPr bwMode="auto">
              <a:xfrm>
                <a:off x="9221632" y="375825"/>
                <a:ext cx="1396987" cy="1779918"/>
              </a:xfrm>
              <a:custGeom>
                <a:avLst/>
                <a:gdLst>
                  <a:gd name="connsiteX0" fmla="*/ 1549403 w 1568863"/>
                  <a:gd name="connsiteY0" fmla="*/ 908541 h 1998907"/>
                  <a:gd name="connsiteX1" fmla="*/ 1537891 w 1568863"/>
                  <a:gd name="connsiteY1" fmla="*/ 888186 h 1998907"/>
                  <a:gd name="connsiteX2" fmla="*/ 1519703 w 1568863"/>
                  <a:gd name="connsiteY2" fmla="*/ 869583 h 1998907"/>
                  <a:gd name="connsiteX3" fmla="*/ 1477656 w 1568863"/>
                  <a:gd name="connsiteY3" fmla="*/ 879761 h 1998907"/>
                  <a:gd name="connsiteX4" fmla="*/ 1461304 w 1568863"/>
                  <a:gd name="connsiteY4" fmla="*/ 869166 h 1998907"/>
                  <a:gd name="connsiteX5" fmla="*/ 1430270 w 1568863"/>
                  <a:gd name="connsiteY5" fmla="*/ 869166 h 1998907"/>
                  <a:gd name="connsiteX6" fmla="*/ 1381548 w 1568863"/>
                  <a:gd name="connsiteY6" fmla="*/ 897529 h 1998907"/>
                  <a:gd name="connsiteX7" fmla="*/ 1363862 w 1568863"/>
                  <a:gd name="connsiteY7" fmla="*/ 889521 h 1998907"/>
                  <a:gd name="connsiteX8" fmla="*/ 1356770 w 1568863"/>
                  <a:gd name="connsiteY8" fmla="*/ 907707 h 1998907"/>
                  <a:gd name="connsiteX9" fmla="*/ 1329324 w 1568863"/>
                  <a:gd name="connsiteY9" fmla="*/ 878009 h 1998907"/>
                  <a:gd name="connsiteX10" fmla="*/ 1279685 w 1568863"/>
                  <a:gd name="connsiteY10" fmla="*/ 880678 h 1998907"/>
                  <a:gd name="connsiteX11" fmla="*/ 1235802 w 1568863"/>
                  <a:gd name="connsiteY11" fmla="*/ 889104 h 1998907"/>
                  <a:gd name="connsiteX12" fmla="*/ 1238889 w 1568863"/>
                  <a:gd name="connsiteY12" fmla="*/ 908624 h 1998907"/>
                  <a:gd name="connsiteX13" fmla="*/ 1218949 w 1568863"/>
                  <a:gd name="connsiteY13" fmla="*/ 924975 h 1998907"/>
                  <a:gd name="connsiteX14" fmla="*/ 1168893 w 1568863"/>
                  <a:gd name="connsiteY14" fmla="*/ 939573 h 1998907"/>
                  <a:gd name="connsiteX15" fmla="*/ 1135189 w 1568863"/>
                  <a:gd name="connsiteY15" fmla="*/ 988291 h 1998907"/>
                  <a:gd name="connsiteX16" fmla="*/ 1123259 w 1568863"/>
                  <a:gd name="connsiteY16" fmla="*/ 995381 h 1998907"/>
                  <a:gd name="connsiteX17" fmla="*/ 1112664 w 1568863"/>
                  <a:gd name="connsiteY17" fmla="*/ 993129 h 1998907"/>
                  <a:gd name="connsiteX18" fmla="*/ 1097146 w 1568863"/>
                  <a:gd name="connsiteY18" fmla="*/ 999803 h 1998907"/>
                  <a:gd name="connsiteX19" fmla="*/ 1101568 w 1568863"/>
                  <a:gd name="connsiteY19" fmla="*/ 983870 h 1998907"/>
                  <a:gd name="connsiteX20" fmla="*/ 1117920 w 1568863"/>
                  <a:gd name="connsiteY20" fmla="*/ 960428 h 1998907"/>
                  <a:gd name="connsiteX21" fmla="*/ 1131685 w 1568863"/>
                  <a:gd name="connsiteY21" fmla="*/ 935152 h 1998907"/>
                  <a:gd name="connsiteX22" fmla="*/ 1075872 w 1568863"/>
                  <a:gd name="connsiteY22" fmla="*/ 968353 h 1998907"/>
                  <a:gd name="connsiteX23" fmla="*/ 1076289 w 1568863"/>
                  <a:gd name="connsiteY23" fmla="*/ 958593 h 1998907"/>
                  <a:gd name="connsiteX24" fmla="*/ 1084716 w 1568863"/>
                  <a:gd name="connsiteY24" fmla="*/ 947999 h 1998907"/>
                  <a:gd name="connsiteX25" fmla="*/ 1088220 w 1568863"/>
                  <a:gd name="connsiteY25" fmla="*/ 935569 h 1998907"/>
                  <a:gd name="connsiteX26" fmla="*/ 1137859 w 1568863"/>
                  <a:gd name="connsiteY26" fmla="*/ 906372 h 1998907"/>
                  <a:gd name="connsiteX27" fmla="*/ 1172397 w 1568863"/>
                  <a:gd name="connsiteY27" fmla="*/ 869583 h 1998907"/>
                  <a:gd name="connsiteX28" fmla="*/ 1195841 w 1568863"/>
                  <a:gd name="connsiteY28" fmla="*/ 830125 h 1998907"/>
                  <a:gd name="connsiteX29" fmla="*/ 1182075 w 1568863"/>
                  <a:gd name="connsiteY29" fmla="*/ 799093 h 1998907"/>
                  <a:gd name="connsiteX30" fmla="*/ 1181157 w 1568863"/>
                  <a:gd name="connsiteY30" fmla="*/ 769395 h 1998907"/>
                  <a:gd name="connsiteX31" fmla="*/ 1163470 w 1568863"/>
                  <a:gd name="connsiteY31" fmla="*/ 752127 h 1998907"/>
                  <a:gd name="connsiteX32" fmla="*/ 1152375 w 1568863"/>
                  <a:gd name="connsiteY32" fmla="*/ 719343 h 1998907"/>
                  <a:gd name="connsiteX33" fmla="*/ 1118671 w 1568863"/>
                  <a:gd name="connsiteY33" fmla="*/ 684807 h 1998907"/>
                  <a:gd name="connsiteX34" fmla="*/ 1109827 w 1568863"/>
                  <a:gd name="connsiteY34" fmla="*/ 691481 h 1998907"/>
                  <a:gd name="connsiteX35" fmla="*/ 1099232 w 1568863"/>
                  <a:gd name="connsiteY35" fmla="*/ 704327 h 1998907"/>
                  <a:gd name="connsiteX36" fmla="*/ 1097897 w 1568863"/>
                  <a:gd name="connsiteY36" fmla="*/ 672878 h 1998907"/>
                  <a:gd name="connsiteX37" fmla="*/ 1077958 w 1568863"/>
                  <a:gd name="connsiteY37" fmla="*/ 655610 h 1998907"/>
                  <a:gd name="connsiteX38" fmla="*/ 1017724 w 1568863"/>
                  <a:gd name="connsiteY38" fmla="*/ 679969 h 1998907"/>
                  <a:gd name="connsiteX39" fmla="*/ 988942 w 1568863"/>
                  <a:gd name="connsiteY39" fmla="*/ 648936 h 1998907"/>
                  <a:gd name="connsiteX40" fmla="*/ 984103 w 1568863"/>
                  <a:gd name="connsiteY40" fmla="*/ 628999 h 1998907"/>
                  <a:gd name="connsiteX41" fmla="*/ 982768 w 1568863"/>
                  <a:gd name="connsiteY41" fmla="*/ 611314 h 1998907"/>
                  <a:gd name="connsiteX42" fmla="*/ 988108 w 1568863"/>
                  <a:gd name="connsiteY42" fmla="*/ 585620 h 1998907"/>
                  <a:gd name="connsiteX43" fmla="*/ 980098 w 1568863"/>
                  <a:gd name="connsiteY43" fmla="*/ 566100 h 1998907"/>
                  <a:gd name="connsiteX44" fmla="*/ 1001789 w 1568863"/>
                  <a:gd name="connsiteY44" fmla="*/ 580698 h 1998907"/>
                  <a:gd name="connsiteX45" fmla="*/ 1026567 w 1568863"/>
                  <a:gd name="connsiteY45" fmla="*/ 606809 h 1998907"/>
                  <a:gd name="connsiteX46" fmla="*/ 1065111 w 1568863"/>
                  <a:gd name="connsiteY46" fmla="*/ 600636 h 1998907"/>
                  <a:gd name="connsiteX47" fmla="*/ 1082380 w 1568863"/>
                  <a:gd name="connsiteY47" fmla="*/ 596214 h 1998907"/>
                  <a:gd name="connsiteX48" fmla="*/ 1099649 w 1568863"/>
                  <a:gd name="connsiteY48" fmla="*/ 614400 h 1998907"/>
                  <a:gd name="connsiteX49" fmla="*/ 1130684 w 1568863"/>
                  <a:gd name="connsiteY49" fmla="*/ 558175 h 1998907"/>
                  <a:gd name="connsiteX50" fmla="*/ 1130684 w 1568863"/>
                  <a:gd name="connsiteY50" fmla="*/ 489520 h 1998907"/>
                  <a:gd name="connsiteX51" fmla="*/ 1173231 w 1568863"/>
                  <a:gd name="connsiteY51" fmla="*/ 442554 h 1998907"/>
                  <a:gd name="connsiteX52" fmla="*/ 1249400 w 1568863"/>
                  <a:gd name="connsiteY52" fmla="*/ 443471 h 1998907"/>
                  <a:gd name="connsiteX53" fmla="*/ 1280435 w 1568863"/>
                  <a:gd name="connsiteY53" fmla="*/ 422199 h 1998907"/>
                  <a:gd name="connsiteX54" fmla="*/ 1287109 w 1568863"/>
                  <a:gd name="connsiteY54" fmla="*/ 392502 h 1998907"/>
                  <a:gd name="connsiteX55" fmla="*/ 1307466 w 1568863"/>
                  <a:gd name="connsiteY55" fmla="*/ 376568 h 1998907"/>
                  <a:gd name="connsiteX56" fmla="*/ 1340669 w 1568863"/>
                  <a:gd name="connsiteY56" fmla="*/ 346036 h 1998907"/>
                  <a:gd name="connsiteX57" fmla="*/ 1368617 w 1568863"/>
                  <a:gd name="connsiteY57" fmla="*/ 333607 h 1998907"/>
                  <a:gd name="connsiteX58" fmla="*/ 1379213 w 1568863"/>
                  <a:gd name="connsiteY58" fmla="*/ 304827 h 1998907"/>
                  <a:gd name="connsiteX59" fmla="*/ 1403991 w 1568863"/>
                  <a:gd name="connsiteY59" fmla="*/ 283137 h 1998907"/>
                  <a:gd name="connsiteX60" fmla="*/ 1386304 w 1568863"/>
                  <a:gd name="connsiteY60" fmla="*/ 267204 h 1998907"/>
                  <a:gd name="connsiteX61" fmla="*/ 1375709 w 1568863"/>
                  <a:gd name="connsiteY61" fmla="*/ 224242 h 1998907"/>
                  <a:gd name="connsiteX62" fmla="*/ 1334078 w 1568863"/>
                  <a:gd name="connsiteY62" fmla="*/ 256109 h 1998907"/>
                  <a:gd name="connsiteX63" fmla="*/ 1297788 w 1568863"/>
                  <a:gd name="connsiteY63" fmla="*/ 210895 h 1998907"/>
                  <a:gd name="connsiteX64" fmla="*/ 1265919 w 1568863"/>
                  <a:gd name="connsiteY64" fmla="*/ 193627 h 1998907"/>
                  <a:gd name="connsiteX65" fmla="*/ 1250401 w 1568863"/>
                  <a:gd name="connsiteY65" fmla="*/ 213982 h 1998907"/>
                  <a:gd name="connsiteX66" fmla="*/ 1238889 w 1568863"/>
                  <a:gd name="connsiteY66" fmla="*/ 192709 h 1998907"/>
                  <a:gd name="connsiteX67" fmla="*/ 1208355 w 1568863"/>
                  <a:gd name="connsiteY67" fmla="*/ 194962 h 1998907"/>
                  <a:gd name="connsiteX68" fmla="*/ 1183076 w 1568863"/>
                  <a:gd name="connsiteY68" fmla="*/ 192709 h 1998907"/>
                  <a:gd name="connsiteX69" fmla="*/ 1216780 w 1568863"/>
                  <a:gd name="connsiteY69" fmla="*/ 128058 h 1998907"/>
                  <a:gd name="connsiteX70" fmla="*/ 1176903 w 1568863"/>
                  <a:gd name="connsiteY70" fmla="*/ 125806 h 1998907"/>
                  <a:gd name="connsiteX71" fmla="*/ 1200345 w 1568863"/>
                  <a:gd name="connsiteY71" fmla="*/ 98778 h 1998907"/>
                  <a:gd name="connsiteX72" fmla="*/ 1177737 w 1568863"/>
                  <a:gd name="connsiteY72" fmla="*/ 54899 h 1998907"/>
                  <a:gd name="connsiteX73" fmla="*/ 1152459 w 1568863"/>
                  <a:gd name="connsiteY73" fmla="*/ 25702 h 1998907"/>
                  <a:gd name="connsiteX74" fmla="*/ 1136941 w 1568863"/>
                  <a:gd name="connsiteY74" fmla="*/ 425 h 1998907"/>
                  <a:gd name="connsiteX75" fmla="*/ 1124094 w 1568863"/>
                  <a:gd name="connsiteY75" fmla="*/ 16358 h 1998907"/>
                  <a:gd name="connsiteX76" fmla="*/ 1111663 w 1568863"/>
                  <a:gd name="connsiteY76" fmla="*/ 29205 h 1998907"/>
                  <a:gd name="connsiteX77" fmla="*/ 1103654 w 1568863"/>
                  <a:gd name="connsiteY77" fmla="*/ 55316 h 1998907"/>
                  <a:gd name="connsiteX78" fmla="*/ 1089889 w 1568863"/>
                  <a:gd name="connsiteY78" fmla="*/ 47307 h 1998907"/>
                  <a:gd name="connsiteX79" fmla="*/ 1071701 w 1568863"/>
                  <a:gd name="connsiteY79" fmla="*/ 54815 h 1998907"/>
                  <a:gd name="connsiteX80" fmla="*/ 1030488 w 1568863"/>
                  <a:gd name="connsiteY80" fmla="*/ 92021 h 1998907"/>
                  <a:gd name="connsiteX81" fmla="*/ 983519 w 1568863"/>
                  <a:gd name="connsiteY81" fmla="*/ 111958 h 1998907"/>
                  <a:gd name="connsiteX82" fmla="*/ 968920 w 1568863"/>
                  <a:gd name="connsiteY82" fmla="*/ 138069 h 1998907"/>
                  <a:gd name="connsiteX83" fmla="*/ 954737 w 1568863"/>
                  <a:gd name="connsiteY83" fmla="*/ 173022 h 1998907"/>
                  <a:gd name="connsiteX84" fmla="*/ 956989 w 1568863"/>
                  <a:gd name="connsiteY84" fmla="*/ 205806 h 1998907"/>
                  <a:gd name="connsiteX85" fmla="*/ 922451 w 1568863"/>
                  <a:gd name="connsiteY85" fmla="*/ 259446 h 1998907"/>
                  <a:gd name="connsiteX86" fmla="*/ 944142 w 1568863"/>
                  <a:gd name="connsiteY86" fmla="*/ 259863 h 1998907"/>
                  <a:gd name="connsiteX87" fmla="*/ 987524 w 1568863"/>
                  <a:gd name="connsiteY87" fmla="*/ 268705 h 1998907"/>
                  <a:gd name="connsiteX88" fmla="*/ 1026067 w 1568863"/>
                  <a:gd name="connsiteY88" fmla="*/ 268288 h 1998907"/>
                  <a:gd name="connsiteX89" fmla="*/ 1056184 w 1568863"/>
                  <a:gd name="connsiteY89" fmla="*/ 281135 h 1998907"/>
                  <a:gd name="connsiteX90" fmla="*/ 1037580 w 1568863"/>
                  <a:gd name="connsiteY90" fmla="*/ 292230 h 1998907"/>
                  <a:gd name="connsiteX91" fmla="*/ 1039331 w 1568863"/>
                  <a:gd name="connsiteY91" fmla="*/ 305077 h 1998907"/>
                  <a:gd name="connsiteX92" fmla="*/ 1021144 w 1568863"/>
                  <a:gd name="connsiteY92" fmla="*/ 304159 h 1998907"/>
                  <a:gd name="connsiteX93" fmla="*/ 985688 w 1568863"/>
                  <a:gd name="connsiteY93" fmla="*/ 319675 h 1998907"/>
                  <a:gd name="connsiteX94" fmla="*/ 959576 w 1568863"/>
                  <a:gd name="connsiteY94" fmla="*/ 302407 h 1998907"/>
                  <a:gd name="connsiteX95" fmla="*/ 909520 w 1568863"/>
                  <a:gd name="connsiteY95" fmla="*/ 308580 h 1998907"/>
                  <a:gd name="connsiteX96" fmla="*/ 866972 w 1568863"/>
                  <a:gd name="connsiteY96" fmla="*/ 293481 h 1998907"/>
                  <a:gd name="connsiteX97" fmla="*/ 860298 w 1568863"/>
                  <a:gd name="connsiteY97" fmla="*/ 315588 h 1998907"/>
                  <a:gd name="connsiteX98" fmla="*/ 824424 w 1568863"/>
                  <a:gd name="connsiteY98" fmla="*/ 316005 h 1998907"/>
                  <a:gd name="connsiteX99" fmla="*/ 777038 w 1568863"/>
                  <a:gd name="connsiteY99" fmla="*/ 343450 h 1998907"/>
                  <a:gd name="connsiteX100" fmla="*/ 726565 w 1568863"/>
                  <a:gd name="connsiteY100" fmla="*/ 386412 h 1998907"/>
                  <a:gd name="connsiteX101" fmla="*/ 684934 w 1568863"/>
                  <a:gd name="connsiteY101" fmla="*/ 425870 h 1998907"/>
                  <a:gd name="connsiteX102" fmla="*/ 656986 w 1568863"/>
                  <a:gd name="connsiteY102" fmla="*/ 440969 h 1998907"/>
                  <a:gd name="connsiteX103" fmla="*/ 631291 w 1568863"/>
                  <a:gd name="connsiteY103" fmla="*/ 466245 h 1998907"/>
                  <a:gd name="connsiteX104" fmla="*/ 600756 w 1568863"/>
                  <a:gd name="connsiteY104" fmla="*/ 476423 h 1998907"/>
                  <a:gd name="connsiteX105" fmla="*/ 527258 w 1568863"/>
                  <a:gd name="connsiteY105" fmla="*/ 537069 h 1998907"/>
                  <a:gd name="connsiteX106" fmla="*/ 487797 w 1568863"/>
                  <a:gd name="connsiteY106" fmla="*/ 556590 h 1998907"/>
                  <a:gd name="connsiteX107" fmla="*/ 447919 w 1568863"/>
                  <a:gd name="connsiteY107" fmla="*/ 582283 h 1998907"/>
                  <a:gd name="connsiteX108" fmla="*/ 433319 w 1568863"/>
                  <a:gd name="connsiteY108" fmla="*/ 599551 h 1998907"/>
                  <a:gd name="connsiteX109" fmla="*/ 417801 w 1568863"/>
                  <a:gd name="connsiteY109" fmla="*/ 610646 h 1998907"/>
                  <a:gd name="connsiteX110" fmla="*/ 410710 w 1568863"/>
                  <a:gd name="connsiteY110" fmla="*/ 628331 h 1998907"/>
                  <a:gd name="connsiteX111" fmla="*/ 390354 w 1568863"/>
                  <a:gd name="connsiteY111" fmla="*/ 647852 h 1998907"/>
                  <a:gd name="connsiteX112" fmla="*/ 323446 w 1568863"/>
                  <a:gd name="connsiteY112" fmla="*/ 706747 h 1998907"/>
                  <a:gd name="connsiteX113" fmla="*/ 292911 w 1568863"/>
                  <a:gd name="connsiteY113" fmla="*/ 732857 h 1998907"/>
                  <a:gd name="connsiteX114" fmla="*/ 284903 w 1568863"/>
                  <a:gd name="connsiteY114" fmla="*/ 779406 h 1998907"/>
                  <a:gd name="connsiteX115" fmla="*/ 263629 w 1568863"/>
                  <a:gd name="connsiteY115" fmla="*/ 822784 h 1998907"/>
                  <a:gd name="connsiteX116" fmla="*/ 251198 w 1568863"/>
                  <a:gd name="connsiteY116" fmla="*/ 848478 h 1998907"/>
                  <a:gd name="connsiteX117" fmla="*/ 245859 w 1568863"/>
                  <a:gd name="connsiteY117" fmla="*/ 856486 h 1998907"/>
                  <a:gd name="connsiteX118" fmla="*/ 248529 w 1568863"/>
                  <a:gd name="connsiteY118" fmla="*/ 867081 h 1998907"/>
                  <a:gd name="connsiteX119" fmla="*/ 249863 w 1568863"/>
                  <a:gd name="connsiteY119" fmla="*/ 877675 h 1998907"/>
                  <a:gd name="connsiteX120" fmla="*/ 232594 w 1568863"/>
                  <a:gd name="connsiteY120" fmla="*/ 883848 h 1998907"/>
                  <a:gd name="connsiteX121" fmla="*/ 210403 w 1568863"/>
                  <a:gd name="connsiteY121" fmla="*/ 909959 h 1998907"/>
                  <a:gd name="connsiteX122" fmla="*/ 182955 w 1568863"/>
                  <a:gd name="connsiteY122" fmla="*/ 948082 h 1998907"/>
                  <a:gd name="connsiteX123" fmla="*/ 153755 w 1568863"/>
                  <a:gd name="connsiteY123" fmla="*/ 990627 h 1998907"/>
                  <a:gd name="connsiteX124" fmla="*/ 182538 w 1568863"/>
                  <a:gd name="connsiteY124" fmla="*/ 1021158 h 1998907"/>
                  <a:gd name="connsiteX125" fmla="*/ 202477 w 1568863"/>
                  <a:gd name="connsiteY125" fmla="*/ 1049521 h 1998907"/>
                  <a:gd name="connsiteX126" fmla="*/ 239268 w 1568863"/>
                  <a:gd name="connsiteY126" fmla="*/ 1038009 h 1998907"/>
                  <a:gd name="connsiteX127" fmla="*/ 268467 w 1568863"/>
                  <a:gd name="connsiteY127" fmla="*/ 1040679 h 1998907"/>
                  <a:gd name="connsiteX128" fmla="*/ 300837 w 1568863"/>
                  <a:gd name="connsiteY128" fmla="*/ 1042931 h 1998907"/>
                  <a:gd name="connsiteX129" fmla="*/ 334542 w 1568863"/>
                  <a:gd name="connsiteY129" fmla="*/ 1074798 h 1998907"/>
                  <a:gd name="connsiteX130" fmla="*/ 345637 w 1568863"/>
                  <a:gd name="connsiteY130" fmla="*/ 1100074 h 1998907"/>
                  <a:gd name="connsiteX131" fmla="*/ 331872 w 1568863"/>
                  <a:gd name="connsiteY131" fmla="*/ 1140867 h 1998907"/>
                  <a:gd name="connsiteX132" fmla="*/ 290242 w 1568863"/>
                  <a:gd name="connsiteY132" fmla="*/ 1137363 h 1998907"/>
                  <a:gd name="connsiteX133" fmla="*/ 215825 w 1568863"/>
                  <a:gd name="connsiteY133" fmla="*/ 1180325 h 1998907"/>
                  <a:gd name="connsiteX134" fmla="*/ 182622 w 1568863"/>
                  <a:gd name="connsiteY134" fmla="*/ 1162640 h 1998907"/>
                  <a:gd name="connsiteX135" fmla="*/ 143160 w 1568863"/>
                  <a:gd name="connsiteY135" fmla="*/ 1162640 h 1998907"/>
                  <a:gd name="connsiteX136" fmla="*/ 140074 w 1568863"/>
                  <a:gd name="connsiteY136" fmla="*/ 1247729 h 1998907"/>
                  <a:gd name="connsiteX137" fmla="*/ 104618 w 1568863"/>
                  <a:gd name="connsiteY137" fmla="*/ 1290273 h 1998907"/>
                  <a:gd name="connsiteX138" fmla="*/ 71830 w 1568863"/>
                  <a:gd name="connsiteY138" fmla="*/ 1345664 h 1998907"/>
                  <a:gd name="connsiteX139" fmla="*/ 56730 w 1568863"/>
                  <a:gd name="connsiteY139" fmla="*/ 1360763 h 1998907"/>
                  <a:gd name="connsiteX140" fmla="*/ 33288 w 1568863"/>
                  <a:gd name="connsiteY140" fmla="*/ 1366102 h 1998907"/>
                  <a:gd name="connsiteX141" fmla="*/ 21357 w 1568863"/>
                  <a:gd name="connsiteY141" fmla="*/ 1398469 h 1998907"/>
                  <a:gd name="connsiteX142" fmla="*/ 4088 w 1568863"/>
                  <a:gd name="connsiteY142" fmla="*/ 1428584 h 1998907"/>
                  <a:gd name="connsiteX143" fmla="*/ 4088 w 1568863"/>
                  <a:gd name="connsiteY143" fmla="*/ 1428584 h 1998907"/>
                  <a:gd name="connsiteX144" fmla="*/ 4088 w 1568863"/>
                  <a:gd name="connsiteY144" fmla="*/ 1428584 h 1998907"/>
                  <a:gd name="connsiteX145" fmla="*/ 1836 w 1568863"/>
                  <a:gd name="connsiteY145" fmla="*/ 1434757 h 1998907"/>
                  <a:gd name="connsiteX146" fmla="*/ 2253 w 1568863"/>
                  <a:gd name="connsiteY146" fmla="*/ 1436092 h 1998907"/>
                  <a:gd name="connsiteX147" fmla="*/ 0 w 1568863"/>
                  <a:gd name="connsiteY147" fmla="*/ 1444518 h 1998907"/>
                  <a:gd name="connsiteX148" fmla="*/ 15517 w 1568863"/>
                  <a:gd name="connsiteY148" fmla="*/ 1476885 h 1998907"/>
                  <a:gd name="connsiteX149" fmla="*/ 42965 w 1568863"/>
                  <a:gd name="connsiteY149" fmla="*/ 1493736 h 1998907"/>
                  <a:gd name="connsiteX150" fmla="*/ 50473 w 1568863"/>
                  <a:gd name="connsiteY150" fmla="*/ 1494153 h 1998907"/>
                  <a:gd name="connsiteX151" fmla="*/ 72581 w 1568863"/>
                  <a:gd name="connsiteY151" fmla="*/ 1498574 h 1998907"/>
                  <a:gd name="connsiteX152" fmla="*/ 83177 w 1568863"/>
                  <a:gd name="connsiteY152" fmla="*/ 1509168 h 1998907"/>
                  <a:gd name="connsiteX153" fmla="*/ 89851 w 1568863"/>
                  <a:gd name="connsiteY153" fmla="*/ 1516259 h 1998907"/>
                  <a:gd name="connsiteX154" fmla="*/ 105785 w 1568863"/>
                  <a:gd name="connsiteY154" fmla="*/ 1518929 h 1998907"/>
                  <a:gd name="connsiteX155" fmla="*/ 108455 w 1568863"/>
                  <a:gd name="connsiteY155" fmla="*/ 1518929 h 1998907"/>
                  <a:gd name="connsiteX156" fmla="*/ 128394 w 1568863"/>
                  <a:gd name="connsiteY156" fmla="*/ 1520263 h 1998907"/>
                  <a:gd name="connsiteX157" fmla="*/ 145246 w 1568863"/>
                  <a:gd name="connsiteY157" fmla="*/ 1537531 h 1998907"/>
                  <a:gd name="connsiteX158" fmla="*/ 150085 w 1568863"/>
                  <a:gd name="connsiteY158" fmla="*/ 1545540 h 1998907"/>
                  <a:gd name="connsiteX159" fmla="*/ 164685 w 1568863"/>
                  <a:gd name="connsiteY159" fmla="*/ 1553548 h 1998907"/>
                  <a:gd name="connsiteX160" fmla="*/ 176615 w 1568863"/>
                  <a:gd name="connsiteY160" fmla="*/ 1558887 h 1998907"/>
                  <a:gd name="connsiteX161" fmla="*/ 196970 w 1568863"/>
                  <a:gd name="connsiteY161" fmla="*/ 1589419 h 1998907"/>
                  <a:gd name="connsiteX162" fmla="*/ 185458 w 1568863"/>
                  <a:gd name="connsiteY162" fmla="*/ 1624372 h 1998907"/>
                  <a:gd name="connsiteX163" fmla="*/ 172193 w 1568863"/>
                  <a:gd name="connsiteY163" fmla="*/ 1634550 h 1998907"/>
                  <a:gd name="connsiteX164" fmla="*/ 158428 w 1568863"/>
                  <a:gd name="connsiteY164" fmla="*/ 1646479 h 1998907"/>
                  <a:gd name="connsiteX165" fmla="*/ 154924 w 1568863"/>
                  <a:gd name="connsiteY165" fmla="*/ 1669920 h 1998907"/>
                  <a:gd name="connsiteX166" fmla="*/ 154507 w 1568863"/>
                  <a:gd name="connsiteY166" fmla="*/ 1683684 h 1998907"/>
                  <a:gd name="connsiteX167" fmla="*/ 133650 w 1568863"/>
                  <a:gd name="connsiteY167" fmla="*/ 1738158 h 1998907"/>
                  <a:gd name="connsiteX168" fmla="*/ 115046 w 1568863"/>
                  <a:gd name="connsiteY168" fmla="*/ 1776698 h 1998907"/>
                  <a:gd name="connsiteX169" fmla="*/ 105285 w 1568863"/>
                  <a:gd name="connsiteY169" fmla="*/ 1799722 h 1998907"/>
                  <a:gd name="connsiteX170" fmla="*/ 104367 w 1568863"/>
                  <a:gd name="connsiteY170" fmla="*/ 1801975 h 1998907"/>
                  <a:gd name="connsiteX171" fmla="*/ 97692 w 1568863"/>
                  <a:gd name="connsiteY171" fmla="*/ 1818825 h 1998907"/>
                  <a:gd name="connsiteX172" fmla="*/ 106536 w 1568863"/>
                  <a:gd name="connsiteY172" fmla="*/ 1845437 h 1998907"/>
                  <a:gd name="connsiteX173" fmla="*/ 117632 w 1568863"/>
                  <a:gd name="connsiteY173" fmla="*/ 1849441 h 1998907"/>
                  <a:gd name="connsiteX174" fmla="*/ 122470 w 1568863"/>
                  <a:gd name="connsiteY174" fmla="*/ 1850776 h 1998907"/>
                  <a:gd name="connsiteX175" fmla="*/ 141492 w 1568863"/>
                  <a:gd name="connsiteY175" fmla="*/ 1865875 h 1998907"/>
                  <a:gd name="connsiteX176" fmla="*/ 141074 w 1568863"/>
                  <a:gd name="connsiteY176" fmla="*/ 1884060 h 1998907"/>
                  <a:gd name="connsiteX177" fmla="*/ 139740 w 1568863"/>
                  <a:gd name="connsiteY177" fmla="*/ 1891151 h 1998907"/>
                  <a:gd name="connsiteX178" fmla="*/ 155257 w 1568863"/>
                  <a:gd name="connsiteY178" fmla="*/ 1913758 h 1998907"/>
                  <a:gd name="connsiteX179" fmla="*/ 188462 w 1568863"/>
                  <a:gd name="connsiteY179" fmla="*/ 1919097 h 1998907"/>
                  <a:gd name="connsiteX180" fmla="*/ 188462 w 1568863"/>
                  <a:gd name="connsiteY180" fmla="*/ 1919097 h 1998907"/>
                  <a:gd name="connsiteX181" fmla="*/ 216827 w 1568863"/>
                  <a:gd name="connsiteY181" fmla="*/ 1912924 h 1998907"/>
                  <a:gd name="connsiteX182" fmla="*/ 241187 w 1568863"/>
                  <a:gd name="connsiteY182" fmla="*/ 1906250 h 1998907"/>
                  <a:gd name="connsiteX183" fmla="*/ 280648 w 1568863"/>
                  <a:gd name="connsiteY183" fmla="*/ 1912423 h 1998907"/>
                  <a:gd name="connsiteX184" fmla="*/ 307261 w 1568863"/>
                  <a:gd name="connsiteY184" fmla="*/ 1941203 h 1998907"/>
                  <a:gd name="connsiteX185" fmla="*/ 318774 w 1568863"/>
                  <a:gd name="connsiteY185" fmla="*/ 1957137 h 1998907"/>
                  <a:gd name="connsiteX186" fmla="*/ 333373 w 1568863"/>
                  <a:gd name="connsiteY186" fmla="*/ 1970400 h 1998907"/>
                  <a:gd name="connsiteX187" fmla="*/ 370165 w 1568863"/>
                  <a:gd name="connsiteY187" fmla="*/ 1958471 h 1998907"/>
                  <a:gd name="connsiteX188" fmla="*/ 416217 w 1568863"/>
                  <a:gd name="connsiteY188" fmla="*/ 1970400 h 1998907"/>
                  <a:gd name="connsiteX189" fmla="*/ 427730 w 1568863"/>
                  <a:gd name="connsiteY189" fmla="*/ 1983664 h 1998907"/>
                  <a:gd name="connsiteX190" fmla="*/ 445416 w 1568863"/>
                  <a:gd name="connsiteY190" fmla="*/ 1998763 h 1998907"/>
                  <a:gd name="connsiteX191" fmla="*/ 466273 w 1568863"/>
                  <a:gd name="connsiteY191" fmla="*/ 1991673 h 1998907"/>
                  <a:gd name="connsiteX192" fmla="*/ 495973 w 1568863"/>
                  <a:gd name="connsiteY192" fmla="*/ 1973988 h 1998907"/>
                  <a:gd name="connsiteX193" fmla="*/ 514159 w 1568863"/>
                  <a:gd name="connsiteY193" fmla="*/ 1965145 h 1998907"/>
                  <a:gd name="connsiteX194" fmla="*/ 545194 w 1568863"/>
                  <a:gd name="connsiteY194" fmla="*/ 1963393 h 1998907"/>
                  <a:gd name="connsiteX195" fmla="*/ 549199 w 1568863"/>
                  <a:gd name="connsiteY195" fmla="*/ 1963810 h 1998907"/>
                  <a:gd name="connsiteX196" fmla="*/ 588659 w 1568863"/>
                  <a:gd name="connsiteY196" fmla="*/ 1952298 h 1998907"/>
                  <a:gd name="connsiteX197" fmla="*/ 592665 w 1568863"/>
                  <a:gd name="connsiteY197" fmla="*/ 1946125 h 1998907"/>
                  <a:gd name="connsiteX198" fmla="*/ 598003 w 1568863"/>
                  <a:gd name="connsiteY198" fmla="*/ 1937700 h 1998907"/>
                  <a:gd name="connsiteX199" fmla="*/ 618360 w 1568863"/>
                  <a:gd name="connsiteY199" fmla="*/ 1923518 h 1998907"/>
                  <a:gd name="connsiteX200" fmla="*/ 658655 w 1568863"/>
                  <a:gd name="connsiteY200" fmla="*/ 1913341 h 1998907"/>
                  <a:gd name="connsiteX201" fmla="*/ 667081 w 1568863"/>
                  <a:gd name="connsiteY201" fmla="*/ 1912924 h 1998907"/>
                  <a:gd name="connsiteX202" fmla="*/ 690107 w 1568863"/>
                  <a:gd name="connsiteY202" fmla="*/ 1909420 h 1998907"/>
                  <a:gd name="connsiteX203" fmla="*/ 709128 w 1568863"/>
                  <a:gd name="connsiteY203" fmla="*/ 1896573 h 1998907"/>
                  <a:gd name="connsiteX204" fmla="*/ 740163 w 1568863"/>
                  <a:gd name="connsiteY204" fmla="*/ 1863789 h 1998907"/>
                  <a:gd name="connsiteX205" fmla="*/ 730402 w 1568863"/>
                  <a:gd name="connsiteY205" fmla="*/ 1849190 h 1998907"/>
                  <a:gd name="connsiteX206" fmla="*/ 740163 w 1568863"/>
                  <a:gd name="connsiteY206" fmla="*/ 1803142 h 1998907"/>
                  <a:gd name="connsiteX207" fmla="*/ 746336 w 1568863"/>
                  <a:gd name="connsiteY207" fmla="*/ 1795134 h 1998907"/>
                  <a:gd name="connsiteX208" fmla="*/ 751176 w 1568863"/>
                  <a:gd name="connsiteY208" fmla="*/ 1787126 h 1998907"/>
                  <a:gd name="connsiteX209" fmla="*/ 763105 w 1568863"/>
                  <a:gd name="connsiteY209" fmla="*/ 1770275 h 1998907"/>
                  <a:gd name="connsiteX210" fmla="*/ 779040 w 1568863"/>
                  <a:gd name="connsiteY210" fmla="*/ 1761432 h 1998907"/>
                  <a:gd name="connsiteX211" fmla="*/ 787883 w 1568863"/>
                  <a:gd name="connsiteY211" fmla="*/ 1757428 h 1998907"/>
                  <a:gd name="connsiteX212" fmla="*/ 791387 w 1568863"/>
                  <a:gd name="connsiteY212" fmla="*/ 1746333 h 1998907"/>
                  <a:gd name="connsiteX213" fmla="*/ 789135 w 1568863"/>
                  <a:gd name="connsiteY213" fmla="*/ 1731234 h 1998907"/>
                  <a:gd name="connsiteX214" fmla="*/ 831181 w 1568863"/>
                  <a:gd name="connsiteY214" fmla="*/ 1698450 h 1998907"/>
                  <a:gd name="connsiteX215" fmla="*/ 860882 w 1568863"/>
                  <a:gd name="connsiteY215" fmla="*/ 1685186 h 1998907"/>
                  <a:gd name="connsiteX216" fmla="*/ 863551 w 1568863"/>
                  <a:gd name="connsiteY216" fmla="*/ 1677177 h 1998907"/>
                  <a:gd name="connsiteX217" fmla="*/ 868390 w 1568863"/>
                  <a:gd name="connsiteY217" fmla="*/ 1663413 h 1998907"/>
                  <a:gd name="connsiteX218" fmla="*/ 878151 w 1568863"/>
                  <a:gd name="connsiteY218" fmla="*/ 1654570 h 1998907"/>
                  <a:gd name="connsiteX219" fmla="*/ 883490 w 1568863"/>
                  <a:gd name="connsiteY219" fmla="*/ 1649732 h 1998907"/>
                  <a:gd name="connsiteX220" fmla="*/ 892333 w 1568863"/>
                  <a:gd name="connsiteY220" fmla="*/ 1630212 h 1998907"/>
                  <a:gd name="connsiteX221" fmla="*/ 897173 w 1568863"/>
                  <a:gd name="connsiteY221" fmla="*/ 1615613 h 1998907"/>
                  <a:gd name="connsiteX222" fmla="*/ 928207 w 1568863"/>
                  <a:gd name="connsiteY222" fmla="*/ 1599263 h 1998907"/>
                  <a:gd name="connsiteX223" fmla="*/ 944142 w 1568863"/>
                  <a:gd name="connsiteY223" fmla="*/ 1596176 h 1998907"/>
                  <a:gd name="connsiteX224" fmla="*/ 959659 w 1568863"/>
                  <a:gd name="connsiteY224" fmla="*/ 1577156 h 1998907"/>
                  <a:gd name="connsiteX225" fmla="*/ 970754 w 1568863"/>
                  <a:gd name="connsiteY225" fmla="*/ 1558971 h 1998907"/>
                  <a:gd name="connsiteX226" fmla="*/ 1013302 w 1568863"/>
                  <a:gd name="connsiteY226" fmla="*/ 1544789 h 1998907"/>
                  <a:gd name="connsiteX227" fmla="*/ 1025233 w 1568863"/>
                  <a:gd name="connsiteY227" fmla="*/ 1544789 h 1998907"/>
                  <a:gd name="connsiteX228" fmla="*/ 1046924 w 1568863"/>
                  <a:gd name="connsiteY228" fmla="*/ 1533694 h 1998907"/>
                  <a:gd name="connsiteX229" fmla="*/ 1059354 w 1568863"/>
                  <a:gd name="connsiteY229" fmla="*/ 1523517 h 1998907"/>
                  <a:gd name="connsiteX230" fmla="*/ 1115584 w 1568863"/>
                  <a:gd name="connsiteY230" fmla="*/ 1520430 h 1998907"/>
                  <a:gd name="connsiteX231" fmla="*/ 1133771 w 1568863"/>
                  <a:gd name="connsiteY231" fmla="*/ 1550962 h 1998907"/>
                  <a:gd name="connsiteX232" fmla="*/ 1138192 w 1568863"/>
                  <a:gd name="connsiteY232" fmla="*/ 1563809 h 1998907"/>
                  <a:gd name="connsiteX233" fmla="*/ 1149705 w 1568863"/>
                  <a:gd name="connsiteY233" fmla="*/ 1584164 h 1998907"/>
                  <a:gd name="connsiteX234" fmla="*/ 1163470 w 1568863"/>
                  <a:gd name="connsiteY234" fmla="*/ 1609440 h 1998907"/>
                  <a:gd name="connsiteX235" fmla="*/ 1166557 w 1568863"/>
                  <a:gd name="connsiteY235" fmla="*/ 1617865 h 1998907"/>
                  <a:gd name="connsiteX236" fmla="*/ 1181658 w 1568863"/>
                  <a:gd name="connsiteY236" fmla="*/ 1633799 h 1998907"/>
                  <a:gd name="connsiteX237" fmla="*/ 1201597 w 1568863"/>
                  <a:gd name="connsiteY237" fmla="*/ 1616948 h 1998907"/>
                  <a:gd name="connsiteX238" fmla="*/ 1217949 w 1568863"/>
                  <a:gd name="connsiteY238" fmla="*/ 1599680 h 1998907"/>
                  <a:gd name="connsiteX239" fmla="*/ 1243644 w 1568863"/>
                  <a:gd name="connsiteY239" fmla="*/ 1589085 h 1998907"/>
                  <a:gd name="connsiteX240" fmla="*/ 1265752 w 1568863"/>
                  <a:gd name="connsiteY240" fmla="*/ 1580243 h 1998907"/>
                  <a:gd name="connsiteX241" fmla="*/ 1308717 w 1568863"/>
                  <a:gd name="connsiteY241" fmla="*/ 1574904 h 1998907"/>
                  <a:gd name="connsiteX242" fmla="*/ 1321147 w 1568863"/>
                  <a:gd name="connsiteY242" fmla="*/ 1577573 h 1998907"/>
                  <a:gd name="connsiteX243" fmla="*/ 1347260 w 1568863"/>
                  <a:gd name="connsiteY243" fmla="*/ 1559388 h 1998907"/>
                  <a:gd name="connsiteX244" fmla="*/ 1372037 w 1568863"/>
                  <a:gd name="connsiteY244" fmla="*/ 1456614 h 1998907"/>
                  <a:gd name="connsiteX245" fmla="*/ 1387555 w 1568863"/>
                  <a:gd name="connsiteY245" fmla="*/ 1416321 h 1998907"/>
                  <a:gd name="connsiteX246" fmla="*/ 1395064 w 1568863"/>
                  <a:gd name="connsiteY246" fmla="*/ 1405227 h 1998907"/>
                  <a:gd name="connsiteX247" fmla="*/ 1403490 w 1568863"/>
                  <a:gd name="connsiteY247" fmla="*/ 1368438 h 1998907"/>
                  <a:gd name="connsiteX248" fmla="*/ 1403907 w 1568863"/>
                  <a:gd name="connsiteY248" fmla="*/ 1357343 h 1998907"/>
                  <a:gd name="connsiteX249" fmla="*/ 1423846 w 1568863"/>
                  <a:gd name="connsiteY249" fmla="*/ 1305539 h 1998907"/>
                  <a:gd name="connsiteX250" fmla="*/ 1466394 w 1568863"/>
                  <a:gd name="connsiteY250" fmla="*/ 1305122 h 1998907"/>
                  <a:gd name="connsiteX251" fmla="*/ 1472567 w 1568863"/>
                  <a:gd name="connsiteY251" fmla="*/ 1307374 h 1998907"/>
                  <a:gd name="connsiteX252" fmla="*/ 1493841 w 1568863"/>
                  <a:gd name="connsiteY252" fmla="*/ 1308709 h 1998907"/>
                  <a:gd name="connsiteX253" fmla="*/ 1500015 w 1568863"/>
                  <a:gd name="connsiteY253" fmla="*/ 1303871 h 1998907"/>
                  <a:gd name="connsiteX254" fmla="*/ 1516867 w 1568863"/>
                  <a:gd name="connsiteY254" fmla="*/ 1295028 h 1998907"/>
                  <a:gd name="connsiteX255" fmla="*/ 1531049 w 1568863"/>
                  <a:gd name="connsiteY255" fmla="*/ 1297280 h 1998907"/>
                  <a:gd name="connsiteX256" fmla="*/ 1532384 w 1568863"/>
                  <a:gd name="connsiteY256" fmla="*/ 1290190 h 1998907"/>
                  <a:gd name="connsiteX257" fmla="*/ 1520871 w 1568863"/>
                  <a:gd name="connsiteY257" fmla="*/ 1260992 h 1998907"/>
                  <a:gd name="connsiteX258" fmla="*/ 1519537 w 1568863"/>
                  <a:gd name="connsiteY258" fmla="*/ 1233547 h 1998907"/>
                  <a:gd name="connsiteX259" fmla="*/ 1511527 w 1568863"/>
                  <a:gd name="connsiteY259" fmla="*/ 1194089 h 1998907"/>
                  <a:gd name="connsiteX260" fmla="*/ 1498680 w 1568863"/>
                  <a:gd name="connsiteY260" fmla="*/ 1111670 h 1998907"/>
                  <a:gd name="connsiteX261" fmla="*/ 1475654 w 1568863"/>
                  <a:gd name="connsiteY261" fmla="*/ 1062035 h 1998907"/>
                  <a:gd name="connsiteX262" fmla="*/ 1449958 w 1568863"/>
                  <a:gd name="connsiteY262" fmla="*/ 1043849 h 1998907"/>
                  <a:gd name="connsiteX263" fmla="*/ 1457467 w 1568863"/>
                  <a:gd name="connsiteY263" fmla="*/ 1031002 h 1998907"/>
                  <a:gd name="connsiteX264" fmla="*/ 1469397 w 1568863"/>
                  <a:gd name="connsiteY264" fmla="*/ 1034089 h 1998907"/>
                  <a:gd name="connsiteX265" fmla="*/ 1503936 w 1568863"/>
                  <a:gd name="connsiteY265" fmla="*/ 1004891 h 1998907"/>
                  <a:gd name="connsiteX266" fmla="*/ 1551322 w 1568863"/>
                  <a:gd name="connsiteY266" fmla="*/ 949083 h 1998907"/>
                  <a:gd name="connsiteX267" fmla="*/ 1568592 w 1568863"/>
                  <a:gd name="connsiteY267" fmla="*/ 932232 h 1998907"/>
                  <a:gd name="connsiteX268" fmla="*/ 1549403 w 1568863"/>
                  <a:gd name="connsiteY268" fmla="*/ 908541 h 1998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568863" h="1998907" extrusionOk="0">
                    <a:moveTo>
                      <a:pt x="1549403" y="908541"/>
                    </a:moveTo>
                    <a:cubicBezTo>
                      <a:pt x="1544565" y="900532"/>
                      <a:pt x="1544982" y="895277"/>
                      <a:pt x="1537891" y="888186"/>
                    </a:cubicBezTo>
                    <a:cubicBezTo>
                      <a:pt x="1532551" y="883348"/>
                      <a:pt x="1525460" y="874422"/>
                      <a:pt x="1519703" y="869583"/>
                    </a:cubicBezTo>
                    <a:cubicBezTo>
                      <a:pt x="1498429" y="851898"/>
                      <a:pt x="1494926" y="878426"/>
                      <a:pt x="1477656" y="879761"/>
                    </a:cubicBezTo>
                    <a:cubicBezTo>
                      <a:pt x="1469647" y="879761"/>
                      <a:pt x="1467061" y="872670"/>
                      <a:pt x="1461304" y="869166"/>
                    </a:cubicBezTo>
                    <a:cubicBezTo>
                      <a:pt x="1450710" y="862993"/>
                      <a:pt x="1440948" y="862993"/>
                      <a:pt x="1430270" y="869166"/>
                    </a:cubicBezTo>
                    <a:cubicBezTo>
                      <a:pt x="1417422" y="877175"/>
                      <a:pt x="1397483" y="900199"/>
                      <a:pt x="1381548" y="897529"/>
                    </a:cubicBezTo>
                    <a:cubicBezTo>
                      <a:pt x="1375375" y="896195"/>
                      <a:pt x="1371370" y="886434"/>
                      <a:pt x="1363862" y="889521"/>
                    </a:cubicBezTo>
                    <a:cubicBezTo>
                      <a:pt x="1354518" y="893525"/>
                      <a:pt x="1362110" y="901450"/>
                      <a:pt x="1356770" y="907707"/>
                    </a:cubicBezTo>
                    <a:cubicBezTo>
                      <a:pt x="1347928" y="917467"/>
                      <a:pt x="1339501" y="883348"/>
                      <a:pt x="1329324" y="878009"/>
                    </a:cubicBezTo>
                    <a:cubicBezTo>
                      <a:pt x="1312054" y="869583"/>
                      <a:pt x="1297454" y="885517"/>
                      <a:pt x="1279685" y="880678"/>
                    </a:cubicBezTo>
                    <a:cubicBezTo>
                      <a:pt x="1265919" y="876674"/>
                      <a:pt x="1239389" y="867832"/>
                      <a:pt x="1235802" y="889104"/>
                    </a:cubicBezTo>
                    <a:cubicBezTo>
                      <a:pt x="1234467" y="894860"/>
                      <a:pt x="1241975" y="900616"/>
                      <a:pt x="1238889" y="908624"/>
                    </a:cubicBezTo>
                    <a:cubicBezTo>
                      <a:pt x="1236219" y="916633"/>
                      <a:pt x="1226040" y="921888"/>
                      <a:pt x="1218949" y="924975"/>
                    </a:cubicBezTo>
                    <a:cubicBezTo>
                      <a:pt x="1202598" y="932483"/>
                      <a:pt x="1184411" y="929396"/>
                      <a:pt x="1168893" y="939573"/>
                    </a:cubicBezTo>
                    <a:cubicBezTo>
                      <a:pt x="1150289" y="952003"/>
                      <a:pt x="1147619" y="971940"/>
                      <a:pt x="1135189" y="988291"/>
                    </a:cubicBezTo>
                    <a:cubicBezTo>
                      <a:pt x="1130768" y="994464"/>
                      <a:pt x="1129432" y="994464"/>
                      <a:pt x="1123259" y="995381"/>
                    </a:cubicBezTo>
                    <a:cubicBezTo>
                      <a:pt x="1120172" y="995799"/>
                      <a:pt x="1116168" y="992712"/>
                      <a:pt x="1112664" y="993129"/>
                    </a:cubicBezTo>
                    <a:cubicBezTo>
                      <a:pt x="1105990" y="993546"/>
                      <a:pt x="1102486" y="998885"/>
                      <a:pt x="1097146" y="999803"/>
                    </a:cubicBezTo>
                    <a:cubicBezTo>
                      <a:pt x="1073703" y="1003807"/>
                      <a:pt x="1095394" y="990043"/>
                      <a:pt x="1101568" y="983870"/>
                    </a:cubicBezTo>
                    <a:cubicBezTo>
                      <a:pt x="1109077" y="977196"/>
                      <a:pt x="1112163" y="967936"/>
                      <a:pt x="1117920" y="960428"/>
                    </a:cubicBezTo>
                    <a:cubicBezTo>
                      <a:pt x="1124594" y="951586"/>
                      <a:pt x="1135606" y="947165"/>
                      <a:pt x="1131685" y="935152"/>
                    </a:cubicBezTo>
                    <a:cubicBezTo>
                      <a:pt x="1118837" y="897029"/>
                      <a:pt x="1084299" y="967519"/>
                      <a:pt x="1075872" y="968353"/>
                    </a:cubicBezTo>
                    <a:cubicBezTo>
                      <a:pt x="1066529" y="969271"/>
                      <a:pt x="1074955" y="960845"/>
                      <a:pt x="1076289" y="958593"/>
                    </a:cubicBezTo>
                    <a:cubicBezTo>
                      <a:pt x="1078042" y="955089"/>
                      <a:pt x="1082463" y="952420"/>
                      <a:pt x="1084716" y="947999"/>
                    </a:cubicBezTo>
                    <a:cubicBezTo>
                      <a:pt x="1086468" y="944495"/>
                      <a:pt x="1086050" y="939156"/>
                      <a:pt x="1088220" y="935569"/>
                    </a:cubicBezTo>
                    <a:cubicBezTo>
                      <a:pt x="1097563" y="916049"/>
                      <a:pt x="1120589" y="914714"/>
                      <a:pt x="1137859" y="906372"/>
                    </a:cubicBezTo>
                    <a:cubicBezTo>
                      <a:pt x="1155545" y="897529"/>
                      <a:pt x="1160467" y="884265"/>
                      <a:pt x="1172397" y="869583"/>
                    </a:cubicBezTo>
                    <a:cubicBezTo>
                      <a:pt x="1182575" y="857154"/>
                      <a:pt x="1199011" y="848311"/>
                      <a:pt x="1195841" y="830125"/>
                    </a:cubicBezTo>
                    <a:cubicBezTo>
                      <a:pt x="1193588" y="818613"/>
                      <a:pt x="1183410" y="811106"/>
                      <a:pt x="1182075" y="799093"/>
                    </a:cubicBezTo>
                    <a:cubicBezTo>
                      <a:pt x="1180740" y="788916"/>
                      <a:pt x="1187831" y="779156"/>
                      <a:pt x="1181157" y="769395"/>
                    </a:cubicBezTo>
                    <a:cubicBezTo>
                      <a:pt x="1176318" y="762305"/>
                      <a:pt x="1168310" y="760052"/>
                      <a:pt x="1163470" y="752127"/>
                    </a:cubicBezTo>
                    <a:cubicBezTo>
                      <a:pt x="1157714" y="742367"/>
                      <a:pt x="1158132" y="729520"/>
                      <a:pt x="1152375" y="719343"/>
                    </a:cubicBezTo>
                    <a:cubicBezTo>
                      <a:pt x="1145701" y="707831"/>
                      <a:pt x="1136858" y="682138"/>
                      <a:pt x="1118671" y="684807"/>
                    </a:cubicBezTo>
                    <a:cubicBezTo>
                      <a:pt x="1109827" y="686142"/>
                      <a:pt x="1114666" y="686142"/>
                      <a:pt x="1109827" y="691481"/>
                    </a:cubicBezTo>
                    <a:cubicBezTo>
                      <a:pt x="1108910" y="692815"/>
                      <a:pt x="1103654" y="707831"/>
                      <a:pt x="1099232" y="704327"/>
                    </a:cubicBezTo>
                    <a:cubicBezTo>
                      <a:pt x="1093476" y="699906"/>
                      <a:pt x="1100150" y="679551"/>
                      <a:pt x="1097897" y="672878"/>
                    </a:cubicBezTo>
                    <a:cubicBezTo>
                      <a:pt x="1095227" y="663535"/>
                      <a:pt x="1088553" y="656027"/>
                      <a:pt x="1077958" y="655610"/>
                    </a:cubicBezTo>
                    <a:cubicBezTo>
                      <a:pt x="1054515" y="654275"/>
                      <a:pt x="1043837" y="687476"/>
                      <a:pt x="1017724" y="679969"/>
                    </a:cubicBezTo>
                    <a:cubicBezTo>
                      <a:pt x="1000038" y="675130"/>
                      <a:pt x="988024" y="665787"/>
                      <a:pt x="988942" y="648936"/>
                    </a:cubicBezTo>
                    <a:cubicBezTo>
                      <a:pt x="989359" y="637841"/>
                      <a:pt x="990277" y="637424"/>
                      <a:pt x="984103" y="628999"/>
                    </a:cubicBezTo>
                    <a:cubicBezTo>
                      <a:pt x="976594" y="617904"/>
                      <a:pt x="977428" y="621908"/>
                      <a:pt x="982768" y="611314"/>
                    </a:cubicBezTo>
                    <a:cubicBezTo>
                      <a:pt x="987190" y="601970"/>
                      <a:pt x="993363" y="598467"/>
                      <a:pt x="988108" y="585620"/>
                    </a:cubicBezTo>
                    <a:cubicBezTo>
                      <a:pt x="986355" y="582116"/>
                      <a:pt x="973508" y="569687"/>
                      <a:pt x="980098" y="566100"/>
                    </a:cubicBezTo>
                    <a:cubicBezTo>
                      <a:pt x="983185" y="564765"/>
                      <a:pt x="999119" y="579363"/>
                      <a:pt x="1001789" y="580698"/>
                    </a:cubicBezTo>
                    <a:cubicBezTo>
                      <a:pt x="1015555" y="588707"/>
                      <a:pt x="1018141" y="593962"/>
                      <a:pt x="1026567" y="606809"/>
                    </a:cubicBezTo>
                    <a:cubicBezTo>
                      <a:pt x="1040333" y="627163"/>
                      <a:pt x="1050928" y="609895"/>
                      <a:pt x="1065111" y="600636"/>
                    </a:cubicBezTo>
                    <a:cubicBezTo>
                      <a:pt x="1070449" y="597132"/>
                      <a:pt x="1075289" y="593545"/>
                      <a:pt x="1082380" y="596214"/>
                    </a:cubicBezTo>
                    <a:cubicBezTo>
                      <a:pt x="1090806" y="598884"/>
                      <a:pt x="1091223" y="613065"/>
                      <a:pt x="1099649" y="614400"/>
                    </a:cubicBezTo>
                    <a:cubicBezTo>
                      <a:pt x="1112080" y="616652"/>
                      <a:pt x="1128014" y="566600"/>
                      <a:pt x="1130684" y="558175"/>
                    </a:cubicBezTo>
                    <a:cubicBezTo>
                      <a:pt x="1138192" y="533399"/>
                      <a:pt x="1116501" y="512961"/>
                      <a:pt x="1130684" y="489520"/>
                    </a:cubicBezTo>
                    <a:cubicBezTo>
                      <a:pt x="1139528" y="474921"/>
                      <a:pt x="1156796" y="449645"/>
                      <a:pt x="1173231" y="442554"/>
                    </a:cubicBezTo>
                    <a:cubicBezTo>
                      <a:pt x="1197592" y="431042"/>
                      <a:pt x="1224623" y="447392"/>
                      <a:pt x="1249400" y="443471"/>
                    </a:cubicBezTo>
                    <a:cubicBezTo>
                      <a:pt x="1262248" y="441720"/>
                      <a:pt x="1275513" y="434629"/>
                      <a:pt x="1280435" y="422199"/>
                    </a:cubicBezTo>
                    <a:cubicBezTo>
                      <a:pt x="1284439" y="412439"/>
                      <a:pt x="1281353" y="401845"/>
                      <a:pt x="1287109" y="392502"/>
                    </a:cubicBezTo>
                    <a:cubicBezTo>
                      <a:pt x="1291948" y="385411"/>
                      <a:pt x="1300875" y="382324"/>
                      <a:pt x="1307466" y="376568"/>
                    </a:cubicBezTo>
                    <a:cubicBezTo>
                      <a:pt x="1319395" y="365473"/>
                      <a:pt x="1324318" y="350875"/>
                      <a:pt x="1340669" y="346036"/>
                    </a:cubicBezTo>
                    <a:cubicBezTo>
                      <a:pt x="1350848" y="342950"/>
                      <a:pt x="1362360" y="344702"/>
                      <a:pt x="1368617" y="333607"/>
                    </a:cubicBezTo>
                    <a:cubicBezTo>
                      <a:pt x="1374374" y="323429"/>
                      <a:pt x="1369034" y="313252"/>
                      <a:pt x="1379213" y="304827"/>
                    </a:cubicBezTo>
                    <a:cubicBezTo>
                      <a:pt x="1386304" y="298653"/>
                      <a:pt x="1405325" y="296818"/>
                      <a:pt x="1403991" y="283137"/>
                    </a:cubicBezTo>
                    <a:cubicBezTo>
                      <a:pt x="1403573" y="273794"/>
                      <a:pt x="1391560" y="272960"/>
                      <a:pt x="1386304" y="267204"/>
                    </a:cubicBezTo>
                    <a:cubicBezTo>
                      <a:pt x="1374791" y="254357"/>
                      <a:pt x="1396065" y="221990"/>
                      <a:pt x="1375709" y="224242"/>
                    </a:cubicBezTo>
                    <a:cubicBezTo>
                      <a:pt x="1359357" y="225577"/>
                      <a:pt x="1351348" y="253440"/>
                      <a:pt x="1334078" y="256109"/>
                    </a:cubicBezTo>
                    <a:cubicBezTo>
                      <a:pt x="1303044" y="260947"/>
                      <a:pt x="1306130" y="227746"/>
                      <a:pt x="1297788" y="210895"/>
                    </a:cubicBezTo>
                    <a:cubicBezTo>
                      <a:pt x="1292032" y="199800"/>
                      <a:pt x="1278766" y="186953"/>
                      <a:pt x="1265919" y="193627"/>
                    </a:cubicBezTo>
                    <a:cubicBezTo>
                      <a:pt x="1262415" y="195379"/>
                      <a:pt x="1253071" y="215316"/>
                      <a:pt x="1250401" y="213982"/>
                    </a:cubicBezTo>
                    <a:cubicBezTo>
                      <a:pt x="1245062" y="212230"/>
                      <a:pt x="1243727" y="197131"/>
                      <a:pt x="1238889" y="192709"/>
                    </a:cubicBezTo>
                    <a:cubicBezTo>
                      <a:pt x="1228710" y="184284"/>
                      <a:pt x="1219366" y="191375"/>
                      <a:pt x="1208355" y="194962"/>
                    </a:cubicBezTo>
                    <a:cubicBezTo>
                      <a:pt x="1197258" y="198048"/>
                      <a:pt x="1162303" y="214899"/>
                      <a:pt x="1183076" y="192709"/>
                    </a:cubicBezTo>
                    <a:cubicBezTo>
                      <a:pt x="1199428" y="174524"/>
                      <a:pt x="1219867" y="155921"/>
                      <a:pt x="1216780" y="128058"/>
                    </a:cubicBezTo>
                    <a:cubicBezTo>
                      <a:pt x="1212776" y="88601"/>
                      <a:pt x="1192837" y="127641"/>
                      <a:pt x="1176903" y="125806"/>
                    </a:cubicBezTo>
                    <a:cubicBezTo>
                      <a:pt x="1157881" y="123554"/>
                      <a:pt x="1197759" y="103700"/>
                      <a:pt x="1200345" y="98778"/>
                    </a:cubicBezTo>
                    <a:cubicBezTo>
                      <a:pt x="1215446" y="73084"/>
                      <a:pt x="1199011" y="63825"/>
                      <a:pt x="1177737" y="54899"/>
                    </a:cubicBezTo>
                    <a:cubicBezTo>
                      <a:pt x="1163137" y="48726"/>
                      <a:pt x="1155128" y="41635"/>
                      <a:pt x="1152459" y="25702"/>
                    </a:cubicBezTo>
                    <a:cubicBezTo>
                      <a:pt x="1150706" y="15941"/>
                      <a:pt x="1152042" y="-3079"/>
                      <a:pt x="1136941" y="425"/>
                    </a:cubicBezTo>
                    <a:cubicBezTo>
                      <a:pt x="1128515" y="2177"/>
                      <a:pt x="1127597" y="11020"/>
                      <a:pt x="1124094" y="16358"/>
                    </a:cubicBezTo>
                    <a:cubicBezTo>
                      <a:pt x="1120088" y="22114"/>
                      <a:pt x="1116585" y="24367"/>
                      <a:pt x="1111663" y="29205"/>
                    </a:cubicBezTo>
                    <a:cubicBezTo>
                      <a:pt x="1098815" y="42052"/>
                      <a:pt x="1106824" y="39800"/>
                      <a:pt x="1103654" y="55316"/>
                    </a:cubicBezTo>
                    <a:cubicBezTo>
                      <a:pt x="1100567" y="57568"/>
                      <a:pt x="1093893" y="48225"/>
                      <a:pt x="1089889" y="47307"/>
                    </a:cubicBezTo>
                    <a:cubicBezTo>
                      <a:pt x="1083214" y="45973"/>
                      <a:pt x="1077040" y="51312"/>
                      <a:pt x="1071701" y="54815"/>
                    </a:cubicBezTo>
                    <a:cubicBezTo>
                      <a:pt x="1056601" y="65910"/>
                      <a:pt x="1046423" y="82261"/>
                      <a:pt x="1030488" y="92021"/>
                    </a:cubicBezTo>
                    <a:cubicBezTo>
                      <a:pt x="1015889" y="100863"/>
                      <a:pt x="997702" y="102615"/>
                      <a:pt x="983519" y="111958"/>
                    </a:cubicBezTo>
                    <a:cubicBezTo>
                      <a:pt x="972423" y="119466"/>
                      <a:pt x="972006" y="125222"/>
                      <a:pt x="968920" y="138069"/>
                    </a:cubicBezTo>
                    <a:cubicBezTo>
                      <a:pt x="965833" y="148246"/>
                      <a:pt x="953819" y="162845"/>
                      <a:pt x="954737" y="173022"/>
                    </a:cubicBezTo>
                    <a:cubicBezTo>
                      <a:pt x="956489" y="188121"/>
                      <a:pt x="972924" y="189373"/>
                      <a:pt x="956989" y="205806"/>
                    </a:cubicBezTo>
                    <a:cubicBezTo>
                      <a:pt x="941889" y="220906"/>
                      <a:pt x="916194" y="231500"/>
                      <a:pt x="922451" y="259446"/>
                    </a:cubicBezTo>
                    <a:cubicBezTo>
                      <a:pt x="926455" y="276297"/>
                      <a:pt x="932212" y="263450"/>
                      <a:pt x="944142" y="259863"/>
                    </a:cubicBezTo>
                    <a:cubicBezTo>
                      <a:pt x="958741" y="255442"/>
                      <a:pt x="974676" y="263367"/>
                      <a:pt x="987524" y="268705"/>
                    </a:cubicBezTo>
                    <a:cubicBezTo>
                      <a:pt x="1003041" y="275379"/>
                      <a:pt x="1010132" y="270457"/>
                      <a:pt x="1026067" y="268288"/>
                    </a:cubicBezTo>
                    <a:cubicBezTo>
                      <a:pt x="1030071" y="267371"/>
                      <a:pt x="1060605" y="269623"/>
                      <a:pt x="1056184" y="281135"/>
                    </a:cubicBezTo>
                    <a:cubicBezTo>
                      <a:pt x="1053514" y="289144"/>
                      <a:pt x="1040250" y="278049"/>
                      <a:pt x="1037580" y="292230"/>
                    </a:cubicBezTo>
                    <a:cubicBezTo>
                      <a:pt x="1036662" y="296651"/>
                      <a:pt x="1042418" y="300656"/>
                      <a:pt x="1039331" y="305077"/>
                    </a:cubicBezTo>
                    <a:cubicBezTo>
                      <a:pt x="1034493" y="311750"/>
                      <a:pt x="1026484" y="304159"/>
                      <a:pt x="1021144" y="304159"/>
                    </a:cubicBezTo>
                    <a:cubicBezTo>
                      <a:pt x="1007379" y="303742"/>
                      <a:pt x="999871" y="321844"/>
                      <a:pt x="985688" y="319675"/>
                    </a:cubicBezTo>
                    <a:cubicBezTo>
                      <a:pt x="975093" y="317924"/>
                      <a:pt x="970171" y="305077"/>
                      <a:pt x="959576" y="302407"/>
                    </a:cubicBezTo>
                    <a:cubicBezTo>
                      <a:pt x="943223" y="298403"/>
                      <a:pt x="926372" y="311250"/>
                      <a:pt x="909520" y="308580"/>
                    </a:cubicBezTo>
                    <a:cubicBezTo>
                      <a:pt x="895754" y="306328"/>
                      <a:pt x="881572" y="290895"/>
                      <a:pt x="866972" y="293481"/>
                    </a:cubicBezTo>
                    <a:cubicBezTo>
                      <a:pt x="847951" y="296985"/>
                      <a:pt x="862550" y="305911"/>
                      <a:pt x="860298" y="315588"/>
                    </a:cubicBezTo>
                    <a:cubicBezTo>
                      <a:pt x="858045" y="325348"/>
                      <a:pt x="832350" y="315171"/>
                      <a:pt x="824424" y="316005"/>
                    </a:cubicBezTo>
                    <a:cubicBezTo>
                      <a:pt x="805403" y="317340"/>
                      <a:pt x="790719" y="331521"/>
                      <a:pt x="777038" y="343450"/>
                    </a:cubicBezTo>
                    <a:cubicBezTo>
                      <a:pt x="760185" y="357632"/>
                      <a:pt x="743333" y="371813"/>
                      <a:pt x="726565" y="386412"/>
                    </a:cubicBezTo>
                    <a:cubicBezTo>
                      <a:pt x="711965" y="398841"/>
                      <a:pt x="699117" y="413440"/>
                      <a:pt x="684934" y="425870"/>
                    </a:cubicBezTo>
                    <a:cubicBezTo>
                      <a:pt x="676509" y="432960"/>
                      <a:pt x="665913" y="434295"/>
                      <a:pt x="656986" y="440969"/>
                    </a:cubicBezTo>
                    <a:cubicBezTo>
                      <a:pt x="648561" y="447642"/>
                      <a:pt x="639300" y="458237"/>
                      <a:pt x="631291" y="466245"/>
                    </a:cubicBezTo>
                    <a:cubicBezTo>
                      <a:pt x="618026" y="479509"/>
                      <a:pt x="617108" y="475588"/>
                      <a:pt x="600756" y="476423"/>
                    </a:cubicBezTo>
                    <a:cubicBezTo>
                      <a:pt x="571974" y="477757"/>
                      <a:pt x="544944" y="517215"/>
                      <a:pt x="527258" y="537069"/>
                    </a:cubicBezTo>
                    <a:cubicBezTo>
                      <a:pt x="515328" y="550333"/>
                      <a:pt x="504232" y="551668"/>
                      <a:pt x="487797" y="556590"/>
                    </a:cubicBezTo>
                    <a:cubicBezTo>
                      <a:pt x="474031" y="560594"/>
                      <a:pt x="458597" y="572523"/>
                      <a:pt x="447919" y="582283"/>
                    </a:cubicBezTo>
                    <a:cubicBezTo>
                      <a:pt x="441745" y="587622"/>
                      <a:pt x="438575" y="594212"/>
                      <a:pt x="433319" y="599551"/>
                    </a:cubicBezTo>
                    <a:cubicBezTo>
                      <a:pt x="428480" y="603973"/>
                      <a:pt x="421806" y="605724"/>
                      <a:pt x="417801" y="610646"/>
                    </a:cubicBezTo>
                    <a:cubicBezTo>
                      <a:pt x="413797" y="615985"/>
                      <a:pt x="413380" y="623076"/>
                      <a:pt x="410710" y="628331"/>
                    </a:cubicBezTo>
                    <a:cubicBezTo>
                      <a:pt x="405872" y="637174"/>
                      <a:pt x="398280" y="641595"/>
                      <a:pt x="390354" y="647852"/>
                    </a:cubicBezTo>
                    <a:cubicBezTo>
                      <a:pt x="366411" y="665537"/>
                      <a:pt x="349141" y="690813"/>
                      <a:pt x="323446" y="706747"/>
                    </a:cubicBezTo>
                    <a:cubicBezTo>
                      <a:pt x="309263" y="715589"/>
                      <a:pt x="300003" y="715172"/>
                      <a:pt x="292911" y="732857"/>
                    </a:cubicBezTo>
                    <a:cubicBezTo>
                      <a:pt x="287155" y="747956"/>
                      <a:pt x="288490" y="763890"/>
                      <a:pt x="284903" y="779406"/>
                    </a:cubicBezTo>
                    <a:cubicBezTo>
                      <a:pt x="280898" y="795339"/>
                      <a:pt x="269803" y="807769"/>
                      <a:pt x="263629" y="822784"/>
                    </a:cubicBezTo>
                    <a:cubicBezTo>
                      <a:pt x="260125" y="832128"/>
                      <a:pt x="256120" y="839635"/>
                      <a:pt x="251198" y="848478"/>
                    </a:cubicBezTo>
                    <a:cubicBezTo>
                      <a:pt x="249863" y="850730"/>
                      <a:pt x="246359" y="853817"/>
                      <a:pt x="245859" y="856486"/>
                    </a:cubicBezTo>
                    <a:cubicBezTo>
                      <a:pt x="244107" y="868416"/>
                      <a:pt x="248112" y="861325"/>
                      <a:pt x="248529" y="867081"/>
                    </a:cubicBezTo>
                    <a:cubicBezTo>
                      <a:pt x="248946" y="870584"/>
                      <a:pt x="254285" y="871502"/>
                      <a:pt x="249863" y="877675"/>
                    </a:cubicBezTo>
                    <a:cubicBezTo>
                      <a:pt x="246776" y="881679"/>
                      <a:pt x="236098" y="883014"/>
                      <a:pt x="232594" y="883848"/>
                    </a:cubicBezTo>
                    <a:cubicBezTo>
                      <a:pt x="214907" y="889604"/>
                      <a:pt x="217494" y="894443"/>
                      <a:pt x="210403" y="909959"/>
                    </a:cubicBezTo>
                    <a:cubicBezTo>
                      <a:pt x="204646" y="921888"/>
                      <a:pt x="191381" y="937404"/>
                      <a:pt x="182955" y="948082"/>
                    </a:cubicBezTo>
                    <a:cubicBezTo>
                      <a:pt x="174112" y="959177"/>
                      <a:pt x="152421" y="974693"/>
                      <a:pt x="153755" y="990627"/>
                    </a:cubicBezTo>
                    <a:cubicBezTo>
                      <a:pt x="155091" y="1004808"/>
                      <a:pt x="174112" y="1010981"/>
                      <a:pt x="182538" y="1021158"/>
                    </a:cubicBezTo>
                    <a:cubicBezTo>
                      <a:pt x="189629" y="1029167"/>
                      <a:pt x="191882" y="1045517"/>
                      <a:pt x="202477" y="1049521"/>
                    </a:cubicBezTo>
                    <a:cubicBezTo>
                      <a:pt x="214907" y="1054360"/>
                      <a:pt x="226838" y="1038927"/>
                      <a:pt x="239268" y="1038009"/>
                    </a:cubicBezTo>
                    <a:cubicBezTo>
                      <a:pt x="248612" y="1037092"/>
                      <a:pt x="258790" y="1040262"/>
                      <a:pt x="268467" y="1040679"/>
                    </a:cubicBezTo>
                    <a:cubicBezTo>
                      <a:pt x="279063" y="1041596"/>
                      <a:pt x="290158" y="1040262"/>
                      <a:pt x="300837" y="1042931"/>
                    </a:cubicBezTo>
                    <a:cubicBezTo>
                      <a:pt x="320776" y="1048270"/>
                      <a:pt x="322528" y="1061117"/>
                      <a:pt x="334542" y="1074798"/>
                    </a:cubicBezTo>
                    <a:cubicBezTo>
                      <a:pt x="344303" y="1085392"/>
                      <a:pt x="348307" y="1084558"/>
                      <a:pt x="345637" y="1100074"/>
                    </a:cubicBezTo>
                    <a:cubicBezTo>
                      <a:pt x="342967" y="1112003"/>
                      <a:pt x="340298" y="1131107"/>
                      <a:pt x="331872" y="1140867"/>
                    </a:cubicBezTo>
                    <a:cubicBezTo>
                      <a:pt x="316355" y="1158135"/>
                      <a:pt x="306176" y="1139532"/>
                      <a:pt x="290242" y="1137363"/>
                    </a:cubicBezTo>
                    <a:cubicBezTo>
                      <a:pt x="260125" y="1133359"/>
                      <a:pt x="244608" y="1181242"/>
                      <a:pt x="215825" y="1180325"/>
                    </a:cubicBezTo>
                    <a:cubicBezTo>
                      <a:pt x="202560" y="1180325"/>
                      <a:pt x="194552" y="1167478"/>
                      <a:pt x="182622" y="1162640"/>
                    </a:cubicBezTo>
                    <a:cubicBezTo>
                      <a:pt x="171525" y="1158218"/>
                      <a:pt x="154257" y="1157801"/>
                      <a:pt x="143160" y="1162640"/>
                    </a:cubicBezTo>
                    <a:cubicBezTo>
                      <a:pt x="113460" y="1175069"/>
                      <a:pt x="150669" y="1222452"/>
                      <a:pt x="140074" y="1247729"/>
                    </a:cubicBezTo>
                    <a:cubicBezTo>
                      <a:pt x="132566" y="1264997"/>
                      <a:pt x="115713" y="1275674"/>
                      <a:pt x="104618" y="1290273"/>
                    </a:cubicBezTo>
                    <a:cubicBezTo>
                      <a:pt x="91352" y="1307541"/>
                      <a:pt x="84261" y="1327896"/>
                      <a:pt x="71830" y="1345664"/>
                    </a:cubicBezTo>
                    <a:cubicBezTo>
                      <a:pt x="67826" y="1351420"/>
                      <a:pt x="63404" y="1357593"/>
                      <a:pt x="56730" y="1360763"/>
                    </a:cubicBezTo>
                    <a:cubicBezTo>
                      <a:pt x="49639" y="1364267"/>
                      <a:pt x="40379" y="1361681"/>
                      <a:pt x="33288" y="1366102"/>
                    </a:cubicBezTo>
                    <a:cubicBezTo>
                      <a:pt x="21774" y="1373193"/>
                      <a:pt x="26613" y="1387375"/>
                      <a:pt x="21357" y="1398469"/>
                    </a:cubicBezTo>
                    <a:cubicBezTo>
                      <a:pt x="16018" y="1409064"/>
                      <a:pt x="8927" y="1417990"/>
                      <a:pt x="4088" y="1428584"/>
                    </a:cubicBezTo>
                    <a:lnTo>
                      <a:pt x="4088" y="1428584"/>
                    </a:lnTo>
                    <a:lnTo>
                      <a:pt x="4088" y="1428584"/>
                    </a:lnTo>
                    <a:cubicBezTo>
                      <a:pt x="3170" y="1430336"/>
                      <a:pt x="2336" y="1432588"/>
                      <a:pt x="1836" y="1434757"/>
                    </a:cubicBezTo>
                    <a:cubicBezTo>
                      <a:pt x="1836" y="1435175"/>
                      <a:pt x="2253" y="1435675"/>
                      <a:pt x="2253" y="1436092"/>
                    </a:cubicBezTo>
                    <a:cubicBezTo>
                      <a:pt x="1836" y="1438762"/>
                      <a:pt x="917" y="1441431"/>
                      <a:pt x="0" y="1444518"/>
                    </a:cubicBezTo>
                    <a:cubicBezTo>
                      <a:pt x="4004" y="1456030"/>
                      <a:pt x="8426" y="1467542"/>
                      <a:pt x="15517" y="1476885"/>
                    </a:cubicBezTo>
                    <a:cubicBezTo>
                      <a:pt x="22608" y="1486645"/>
                      <a:pt x="32787" y="1492818"/>
                      <a:pt x="42965" y="1493736"/>
                    </a:cubicBezTo>
                    <a:cubicBezTo>
                      <a:pt x="45218" y="1493736"/>
                      <a:pt x="47803" y="1494153"/>
                      <a:pt x="50473" y="1494153"/>
                    </a:cubicBezTo>
                    <a:cubicBezTo>
                      <a:pt x="57565" y="1494153"/>
                      <a:pt x="65573" y="1494153"/>
                      <a:pt x="72581" y="1498574"/>
                    </a:cubicBezTo>
                    <a:cubicBezTo>
                      <a:pt x="77003" y="1501244"/>
                      <a:pt x="80590" y="1505665"/>
                      <a:pt x="83177" y="1509168"/>
                    </a:cubicBezTo>
                    <a:cubicBezTo>
                      <a:pt x="85429" y="1512255"/>
                      <a:pt x="87598" y="1514924"/>
                      <a:pt x="89851" y="1516259"/>
                    </a:cubicBezTo>
                    <a:cubicBezTo>
                      <a:pt x="93855" y="1518929"/>
                      <a:pt x="100029" y="1519346"/>
                      <a:pt x="105785" y="1518929"/>
                    </a:cubicBezTo>
                    <a:lnTo>
                      <a:pt x="108455" y="1518929"/>
                    </a:lnTo>
                    <a:cubicBezTo>
                      <a:pt x="114629" y="1518512"/>
                      <a:pt x="121303" y="1518011"/>
                      <a:pt x="128394" y="1520263"/>
                    </a:cubicBezTo>
                    <a:cubicBezTo>
                      <a:pt x="138155" y="1523350"/>
                      <a:pt x="142160" y="1531358"/>
                      <a:pt x="145246" y="1537531"/>
                    </a:cubicBezTo>
                    <a:cubicBezTo>
                      <a:pt x="146581" y="1540618"/>
                      <a:pt x="148333" y="1543287"/>
                      <a:pt x="150085" y="1545540"/>
                    </a:cubicBezTo>
                    <a:cubicBezTo>
                      <a:pt x="153171" y="1549544"/>
                      <a:pt x="158928" y="1551296"/>
                      <a:pt x="164685" y="1553548"/>
                    </a:cubicBezTo>
                    <a:cubicBezTo>
                      <a:pt x="168689" y="1554883"/>
                      <a:pt x="172694" y="1556635"/>
                      <a:pt x="176615" y="1558887"/>
                    </a:cubicBezTo>
                    <a:cubicBezTo>
                      <a:pt x="187710" y="1565561"/>
                      <a:pt x="195219" y="1576572"/>
                      <a:pt x="196970" y="1589419"/>
                    </a:cubicBezTo>
                    <a:cubicBezTo>
                      <a:pt x="198723" y="1602266"/>
                      <a:pt x="194301" y="1615113"/>
                      <a:pt x="185458" y="1624372"/>
                    </a:cubicBezTo>
                    <a:cubicBezTo>
                      <a:pt x="181453" y="1628793"/>
                      <a:pt x="176615" y="1631880"/>
                      <a:pt x="172193" y="1634550"/>
                    </a:cubicBezTo>
                    <a:cubicBezTo>
                      <a:pt x="166437" y="1638053"/>
                      <a:pt x="161598" y="1641640"/>
                      <a:pt x="158428" y="1646479"/>
                    </a:cubicBezTo>
                    <a:cubicBezTo>
                      <a:pt x="154423" y="1653152"/>
                      <a:pt x="154423" y="1661077"/>
                      <a:pt x="154924" y="1669920"/>
                    </a:cubicBezTo>
                    <a:cubicBezTo>
                      <a:pt x="154924" y="1674341"/>
                      <a:pt x="155341" y="1679263"/>
                      <a:pt x="154507" y="1683684"/>
                    </a:cubicBezTo>
                    <a:cubicBezTo>
                      <a:pt x="152254" y="1706708"/>
                      <a:pt x="142994" y="1723559"/>
                      <a:pt x="133650" y="1738158"/>
                    </a:cubicBezTo>
                    <a:cubicBezTo>
                      <a:pt x="126142" y="1750087"/>
                      <a:pt x="120802" y="1762934"/>
                      <a:pt x="115046" y="1776698"/>
                    </a:cubicBezTo>
                    <a:cubicBezTo>
                      <a:pt x="111959" y="1784206"/>
                      <a:pt x="108872" y="1792214"/>
                      <a:pt x="105285" y="1799722"/>
                    </a:cubicBezTo>
                    <a:lnTo>
                      <a:pt x="104367" y="1801975"/>
                    </a:lnTo>
                    <a:cubicBezTo>
                      <a:pt x="101698" y="1807730"/>
                      <a:pt x="99028" y="1813069"/>
                      <a:pt x="97692" y="1818825"/>
                    </a:cubicBezTo>
                    <a:cubicBezTo>
                      <a:pt x="95941" y="1827251"/>
                      <a:pt x="99028" y="1840098"/>
                      <a:pt x="106536" y="1845437"/>
                    </a:cubicBezTo>
                    <a:cubicBezTo>
                      <a:pt x="109623" y="1847689"/>
                      <a:pt x="113628" y="1848523"/>
                      <a:pt x="117632" y="1849441"/>
                    </a:cubicBezTo>
                    <a:cubicBezTo>
                      <a:pt x="119383" y="1849858"/>
                      <a:pt x="120719" y="1850358"/>
                      <a:pt x="122470" y="1850776"/>
                    </a:cubicBezTo>
                    <a:cubicBezTo>
                      <a:pt x="132232" y="1853862"/>
                      <a:pt x="138823" y="1859201"/>
                      <a:pt x="141492" y="1865875"/>
                    </a:cubicBezTo>
                    <a:cubicBezTo>
                      <a:pt x="144161" y="1872548"/>
                      <a:pt x="142410" y="1878721"/>
                      <a:pt x="141074" y="1884060"/>
                    </a:cubicBezTo>
                    <a:cubicBezTo>
                      <a:pt x="140657" y="1886730"/>
                      <a:pt x="139740" y="1888899"/>
                      <a:pt x="139740" y="1891151"/>
                    </a:cubicBezTo>
                    <a:cubicBezTo>
                      <a:pt x="138823" y="1900911"/>
                      <a:pt x="147248" y="1909754"/>
                      <a:pt x="155257" y="1913758"/>
                    </a:cubicBezTo>
                    <a:cubicBezTo>
                      <a:pt x="165435" y="1918596"/>
                      <a:pt x="176948" y="1919097"/>
                      <a:pt x="188462" y="1919097"/>
                    </a:cubicBezTo>
                    <a:lnTo>
                      <a:pt x="188462" y="1919097"/>
                    </a:lnTo>
                    <a:cubicBezTo>
                      <a:pt x="198222" y="1919097"/>
                      <a:pt x="207066" y="1916010"/>
                      <a:pt x="216827" y="1912924"/>
                    </a:cubicBezTo>
                    <a:cubicBezTo>
                      <a:pt x="224335" y="1910254"/>
                      <a:pt x="232344" y="1907585"/>
                      <a:pt x="241187" y="1906250"/>
                    </a:cubicBezTo>
                    <a:cubicBezTo>
                      <a:pt x="251782" y="1904915"/>
                      <a:pt x="266883" y="1904498"/>
                      <a:pt x="280648" y="1912423"/>
                    </a:cubicBezTo>
                    <a:cubicBezTo>
                      <a:pt x="292578" y="1919514"/>
                      <a:pt x="300170" y="1930609"/>
                      <a:pt x="307261" y="1941203"/>
                    </a:cubicBezTo>
                    <a:cubicBezTo>
                      <a:pt x="311265" y="1946959"/>
                      <a:pt x="314769" y="1952298"/>
                      <a:pt x="318774" y="1957137"/>
                    </a:cubicBezTo>
                    <a:cubicBezTo>
                      <a:pt x="323196" y="1961975"/>
                      <a:pt x="328118" y="1966480"/>
                      <a:pt x="333373" y="1970400"/>
                    </a:cubicBezTo>
                    <a:cubicBezTo>
                      <a:pt x="344887" y="1965062"/>
                      <a:pt x="356817" y="1960223"/>
                      <a:pt x="370165" y="1958471"/>
                    </a:cubicBezTo>
                    <a:cubicBezTo>
                      <a:pt x="388352" y="1955802"/>
                      <a:pt x="405120" y="1960223"/>
                      <a:pt x="416217" y="1970400"/>
                    </a:cubicBezTo>
                    <a:cubicBezTo>
                      <a:pt x="420638" y="1974405"/>
                      <a:pt x="424225" y="1978826"/>
                      <a:pt x="427730" y="1983664"/>
                    </a:cubicBezTo>
                    <a:cubicBezTo>
                      <a:pt x="433486" y="1991172"/>
                      <a:pt x="438325" y="1997846"/>
                      <a:pt x="445416" y="1998763"/>
                    </a:cubicBezTo>
                    <a:cubicBezTo>
                      <a:pt x="451589" y="1999681"/>
                      <a:pt x="459182" y="1996094"/>
                      <a:pt x="466273" y="1991673"/>
                    </a:cubicBezTo>
                    <a:lnTo>
                      <a:pt x="495973" y="1973988"/>
                    </a:lnTo>
                    <a:cubicBezTo>
                      <a:pt x="501729" y="1970484"/>
                      <a:pt x="507485" y="1967314"/>
                      <a:pt x="514159" y="1965145"/>
                    </a:cubicBezTo>
                    <a:cubicBezTo>
                      <a:pt x="524338" y="1962058"/>
                      <a:pt x="535016" y="1962476"/>
                      <a:pt x="545194" y="1963393"/>
                    </a:cubicBezTo>
                    <a:lnTo>
                      <a:pt x="549199" y="1963810"/>
                    </a:lnTo>
                    <a:cubicBezTo>
                      <a:pt x="569138" y="1965145"/>
                      <a:pt x="581985" y="1961141"/>
                      <a:pt x="588659" y="1952298"/>
                    </a:cubicBezTo>
                    <a:cubicBezTo>
                      <a:pt x="589995" y="1950546"/>
                      <a:pt x="591329" y="1948294"/>
                      <a:pt x="592665" y="1946125"/>
                    </a:cubicBezTo>
                    <a:cubicBezTo>
                      <a:pt x="593999" y="1943456"/>
                      <a:pt x="595751" y="1940369"/>
                      <a:pt x="598003" y="1937700"/>
                    </a:cubicBezTo>
                    <a:cubicBezTo>
                      <a:pt x="603760" y="1930609"/>
                      <a:pt x="611769" y="1926188"/>
                      <a:pt x="618360" y="1923518"/>
                    </a:cubicBezTo>
                    <a:cubicBezTo>
                      <a:pt x="631207" y="1917762"/>
                      <a:pt x="644472" y="1914676"/>
                      <a:pt x="658655" y="1913341"/>
                    </a:cubicBezTo>
                    <a:cubicBezTo>
                      <a:pt x="661325" y="1913341"/>
                      <a:pt x="664412" y="1912924"/>
                      <a:pt x="667081" y="1912924"/>
                    </a:cubicBezTo>
                    <a:cubicBezTo>
                      <a:pt x="675507" y="1912507"/>
                      <a:pt x="683016" y="1912006"/>
                      <a:pt x="690107" y="1909420"/>
                    </a:cubicBezTo>
                    <a:cubicBezTo>
                      <a:pt x="696781" y="1906751"/>
                      <a:pt x="702954" y="1901412"/>
                      <a:pt x="709128" y="1896573"/>
                    </a:cubicBezTo>
                    <a:cubicBezTo>
                      <a:pt x="721559" y="1885979"/>
                      <a:pt x="733072" y="1875718"/>
                      <a:pt x="740163" y="1863789"/>
                    </a:cubicBezTo>
                    <a:cubicBezTo>
                      <a:pt x="736659" y="1859785"/>
                      <a:pt x="733072" y="1855364"/>
                      <a:pt x="730402" y="1849190"/>
                    </a:cubicBezTo>
                    <a:cubicBezTo>
                      <a:pt x="720641" y="1828335"/>
                      <a:pt x="731319" y="1815072"/>
                      <a:pt x="740163" y="1803142"/>
                    </a:cubicBezTo>
                    <a:cubicBezTo>
                      <a:pt x="742416" y="1800473"/>
                      <a:pt x="744167" y="1797804"/>
                      <a:pt x="746336" y="1795134"/>
                    </a:cubicBezTo>
                    <a:cubicBezTo>
                      <a:pt x="748089" y="1792464"/>
                      <a:pt x="749840" y="1789795"/>
                      <a:pt x="751176" y="1787126"/>
                    </a:cubicBezTo>
                    <a:cubicBezTo>
                      <a:pt x="754679" y="1781370"/>
                      <a:pt x="758267" y="1775196"/>
                      <a:pt x="763105" y="1770275"/>
                    </a:cubicBezTo>
                    <a:cubicBezTo>
                      <a:pt x="768444" y="1765436"/>
                      <a:pt x="774201" y="1763601"/>
                      <a:pt x="779040" y="1761432"/>
                    </a:cubicBezTo>
                    <a:cubicBezTo>
                      <a:pt x="782127" y="1760097"/>
                      <a:pt x="785214" y="1759180"/>
                      <a:pt x="787883" y="1757428"/>
                    </a:cubicBezTo>
                    <a:cubicBezTo>
                      <a:pt x="793639" y="1753924"/>
                      <a:pt x="793222" y="1753007"/>
                      <a:pt x="791387" y="1746333"/>
                    </a:cubicBezTo>
                    <a:cubicBezTo>
                      <a:pt x="790052" y="1742329"/>
                      <a:pt x="788718" y="1737490"/>
                      <a:pt x="789135" y="1731234"/>
                    </a:cubicBezTo>
                    <a:cubicBezTo>
                      <a:pt x="790886" y="1707793"/>
                      <a:pt x="813078" y="1702871"/>
                      <a:pt x="831181" y="1698450"/>
                    </a:cubicBezTo>
                    <a:cubicBezTo>
                      <a:pt x="843111" y="1695363"/>
                      <a:pt x="855959" y="1692694"/>
                      <a:pt x="860882" y="1685186"/>
                    </a:cubicBezTo>
                    <a:cubicBezTo>
                      <a:pt x="862216" y="1683434"/>
                      <a:pt x="862633" y="1680347"/>
                      <a:pt x="863551" y="1677177"/>
                    </a:cubicBezTo>
                    <a:cubicBezTo>
                      <a:pt x="864469" y="1673173"/>
                      <a:pt x="865303" y="1667834"/>
                      <a:pt x="868390" y="1663413"/>
                    </a:cubicBezTo>
                    <a:cubicBezTo>
                      <a:pt x="871476" y="1659409"/>
                      <a:pt x="875064" y="1656739"/>
                      <a:pt x="878151" y="1654570"/>
                    </a:cubicBezTo>
                    <a:cubicBezTo>
                      <a:pt x="879903" y="1652819"/>
                      <a:pt x="882156" y="1651484"/>
                      <a:pt x="883490" y="1649732"/>
                    </a:cubicBezTo>
                    <a:cubicBezTo>
                      <a:pt x="888329" y="1643976"/>
                      <a:pt x="890164" y="1637302"/>
                      <a:pt x="892333" y="1630212"/>
                    </a:cubicBezTo>
                    <a:cubicBezTo>
                      <a:pt x="893668" y="1625373"/>
                      <a:pt x="895003" y="1620451"/>
                      <a:pt x="897173" y="1615613"/>
                    </a:cubicBezTo>
                    <a:cubicBezTo>
                      <a:pt x="903847" y="1601849"/>
                      <a:pt x="917111" y="1600514"/>
                      <a:pt x="928207" y="1599263"/>
                    </a:cubicBezTo>
                    <a:cubicBezTo>
                      <a:pt x="933963" y="1598846"/>
                      <a:pt x="939720" y="1598345"/>
                      <a:pt x="944142" y="1596176"/>
                    </a:cubicBezTo>
                    <a:cubicBezTo>
                      <a:pt x="952567" y="1591755"/>
                      <a:pt x="956072" y="1585582"/>
                      <a:pt x="959659" y="1577156"/>
                    </a:cubicBezTo>
                    <a:cubicBezTo>
                      <a:pt x="962329" y="1571400"/>
                      <a:pt x="965416" y="1565227"/>
                      <a:pt x="970754" y="1558971"/>
                    </a:cubicBezTo>
                    <a:cubicBezTo>
                      <a:pt x="984020" y="1543871"/>
                      <a:pt x="999119" y="1544372"/>
                      <a:pt x="1013302" y="1544789"/>
                    </a:cubicBezTo>
                    <a:lnTo>
                      <a:pt x="1025233" y="1544789"/>
                    </a:lnTo>
                    <a:cubicBezTo>
                      <a:pt x="1035410" y="1544372"/>
                      <a:pt x="1040333" y="1539951"/>
                      <a:pt x="1046924" y="1533694"/>
                    </a:cubicBezTo>
                    <a:cubicBezTo>
                      <a:pt x="1050427" y="1530608"/>
                      <a:pt x="1054432" y="1526603"/>
                      <a:pt x="1059354" y="1523517"/>
                    </a:cubicBezTo>
                    <a:cubicBezTo>
                      <a:pt x="1077040" y="1512005"/>
                      <a:pt x="1099649" y="1510670"/>
                      <a:pt x="1115584" y="1520430"/>
                    </a:cubicBezTo>
                    <a:cubicBezTo>
                      <a:pt x="1127097" y="1527521"/>
                      <a:pt x="1130684" y="1539951"/>
                      <a:pt x="1133771" y="1550962"/>
                    </a:cubicBezTo>
                    <a:cubicBezTo>
                      <a:pt x="1135105" y="1555383"/>
                      <a:pt x="1136441" y="1559805"/>
                      <a:pt x="1138192" y="1563809"/>
                    </a:cubicBezTo>
                    <a:cubicBezTo>
                      <a:pt x="1141279" y="1570483"/>
                      <a:pt x="1145283" y="1577073"/>
                      <a:pt x="1149705" y="1584164"/>
                    </a:cubicBezTo>
                    <a:cubicBezTo>
                      <a:pt x="1154544" y="1592172"/>
                      <a:pt x="1159883" y="1600514"/>
                      <a:pt x="1163470" y="1609440"/>
                    </a:cubicBezTo>
                    <a:cubicBezTo>
                      <a:pt x="1164389" y="1612109"/>
                      <a:pt x="1165723" y="1614779"/>
                      <a:pt x="1166557" y="1617865"/>
                    </a:cubicBezTo>
                    <a:cubicBezTo>
                      <a:pt x="1171396" y="1631630"/>
                      <a:pt x="1173649" y="1635133"/>
                      <a:pt x="1181658" y="1633799"/>
                    </a:cubicBezTo>
                    <a:cubicBezTo>
                      <a:pt x="1189667" y="1632464"/>
                      <a:pt x="1195423" y="1624956"/>
                      <a:pt x="1201597" y="1616948"/>
                    </a:cubicBezTo>
                    <a:cubicBezTo>
                      <a:pt x="1206018" y="1610274"/>
                      <a:pt x="1211358" y="1604101"/>
                      <a:pt x="1217949" y="1599680"/>
                    </a:cubicBezTo>
                    <a:cubicBezTo>
                      <a:pt x="1226375" y="1594341"/>
                      <a:pt x="1235217" y="1591671"/>
                      <a:pt x="1243644" y="1589085"/>
                    </a:cubicBezTo>
                    <a:cubicBezTo>
                      <a:pt x="1251653" y="1586833"/>
                      <a:pt x="1259161" y="1584664"/>
                      <a:pt x="1265752" y="1580243"/>
                    </a:cubicBezTo>
                    <a:cubicBezTo>
                      <a:pt x="1283939" y="1568731"/>
                      <a:pt x="1294534" y="1571400"/>
                      <a:pt x="1308717" y="1574904"/>
                    </a:cubicBezTo>
                    <a:cubicBezTo>
                      <a:pt x="1312221" y="1575821"/>
                      <a:pt x="1316225" y="1576656"/>
                      <a:pt x="1321147" y="1577573"/>
                    </a:cubicBezTo>
                    <a:cubicBezTo>
                      <a:pt x="1335747" y="1580660"/>
                      <a:pt x="1340669" y="1575321"/>
                      <a:pt x="1347260" y="1559388"/>
                    </a:cubicBezTo>
                    <a:cubicBezTo>
                      <a:pt x="1362360" y="1523517"/>
                      <a:pt x="1371620" y="1487145"/>
                      <a:pt x="1372037" y="1456614"/>
                    </a:cubicBezTo>
                    <a:cubicBezTo>
                      <a:pt x="1372455" y="1437594"/>
                      <a:pt x="1379546" y="1427416"/>
                      <a:pt x="1387555" y="1416321"/>
                    </a:cubicBezTo>
                    <a:cubicBezTo>
                      <a:pt x="1389808" y="1413235"/>
                      <a:pt x="1392394" y="1409648"/>
                      <a:pt x="1395064" y="1405227"/>
                    </a:cubicBezTo>
                    <a:cubicBezTo>
                      <a:pt x="1403072" y="1392380"/>
                      <a:pt x="1403072" y="1382202"/>
                      <a:pt x="1403490" y="1368438"/>
                    </a:cubicBezTo>
                    <a:cubicBezTo>
                      <a:pt x="1403490" y="1364934"/>
                      <a:pt x="1403490" y="1360930"/>
                      <a:pt x="1403907" y="1357343"/>
                    </a:cubicBezTo>
                    <a:cubicBezTo>
                      <a:pt x="1404825" y="1341827"/>
                      <a:pt x="1406159" y="1317885"/>
                      <a:pt x="1423846" y="1305539"/>
                    </a:cubicBezTo>
                    <a:cubicBezTo>
                      <a:pt x="1439363" y="1294945"/>
                      <a:pt x="1453546" y="1300200"/>
                      <a:pt x="1466394" y="1305122"/>
                    </a:cubicBezTo>
                    <a:cubicBezTo>
                      <a:pt x="1468145" y="1306040"/>
                      <a:pt x="1470398" y="1306457"/>
                      <a:pt x="1472567" y="1307374"/>
                    </a:cubicBezTo>
                    <a:cubicBezTo>
                      <a:pt x="1481411" y="1310044"/>
                      <a:pt x="1486749" y="1311796"/>
                      <a:pt x="1493841" y="1308709"/>
                    </a:cubicBezTo>
                    <a:cubicBezTo>
                      <a:pt x="1496093" y="1307791"/>
                      <a:pt x="1497846" y="1306040"/>
                      <a:pt x="1500015" y="1303871"/>
                    </a:cubicBezTo>
                    <a:cubicBezTo>
                      <a:pt x="1504019" y="1300367"/>
                      <a:pt x="1508857" y="1295862"/>
                      <a:pt x="1516867" y="1295028"/>
                    </a:cubicBezTo>
                    <a:cubicBezTo>
                      <a:pt x="1522206" y="1294611"/>
                      <a:pt x="1526628" y="1295946"/>
                      <a:pt x="1531049" y="1297280"/>
                    </a:cubicBezTo>
                    <a:cubicBezTo>
                      <a:pt x="1531467" y="1295028"/>
                      <a:pt x="1531967" y="1292859"/>
                      <a:pt x="1532384" y="1290190"/>
                    </a:cubicBezTo>
                    <a:cubicBezTo>
                      <a:pt x="1533719" y="1276926"/>
                      <a:pt x="1524876" y="1272004"/>
                      <a:pt x="1520871" y="1260992"/>
                    </a:cubicBezTo>
                    <a:cubicBezTo>
                      <a:pt x="1517784" y="1252567"/>
                      <a:pt x="1520454" y="1242390"/>
                      <a:pt x="1519537" y="1233547"/>
                    </a:cubicBezTo>
                    <a:cubicBezTo>
                      <a:pt x="1517784" y="1220283"/>
                      <a:pt x="1512863" y="1207437"/>
                      <a:pt x="1511527" y="1194089"/>
                    </a:cubicBezTo>
                    <a:cubicBezTo>
                      <a:pt x="1508857" y="1167061"/>
                      <a:pt x="1508440" y="1137864"/>
                      <a:pt x="1498680" y="1111670"/>
                    </a:cubicBezTo>
                    <a:cubicBezTo>
                      <a:pt x="1492923" y="1096571"/>
                      <a:pt x="1491589" y="1068291"/>
                      <a:pt x="1475654" y="1062035"/>
                    </a:cubicBezTo>
                    <a:cubicBezTo>
                      <a:pt x="1464141" y="1056696"/>
                      <a:pt x="1446871" y="1061117"/>
                      <a:pt x="1449958" y="1043849"/>
                    </a:cubicBezTo>
                    <a:cubicBezTo>
                      <a:pt x="1450376" y="1041596"/>
                      <a:pt x="1455298" y="1032337"/>
                      <a:pt x="1457467" y="1031002"/>
                    </a:cubicBezTo>
                    <a:cubicBezTo>
                      <a:pt x="1464141" y="1026581"/>
                      <a:pt x="1460554" y="1032754"/>
                      <a:pt x="1469397" y="1034089"/>
                    </a:cubicBezTo>
                    <a:cubicBezTo>
                      <a:pt x="1490253" y="1037592"/>
                      <a:pt x="1494675" y="1019490"/>
                      <a:pt x="1503936" y="1004891"/>
                    </a:cubicBezTo>
                    <a:cubicBezTo>
                      <a:pt x="1516366" y="984954"/>
                      <a:pt x="1533635" y="965017"/>
                      <a:pt x="1551322" y="949083"/>
                    </a:cubicBezTo>
                    <a:cubicBezTo>
                      <a:pt x="1556161" y="944662"/>
                      <a:pt x="1567256" y="939323"/>
                      <a:pt x="1568592" y="932232"/>
                    </a:cubicBezTo>
                    <a:cubicBezTo>
                      <a:pt x="1571094" y="916466"/>
                      <a:pt x="1555660" y="918218"/>
                      <a:pt x="1549403" y="908541"/>
                    </a:cubicBezTo>
                    <a:close/>
                  </a:path>
                </a:pathLst>
              </a:custGeom>
              <a:solidFill>
                <a:srgbClr val="005FA2">
                  <a:alpha val="29804"/>
                </a:srgbClr>
              </a:solidFill>
              <a:ln w="6350" cap="rnd" cmpd="tri">
                <a:solidFill>
                  <a:schemeClr val="bg1">
                    <a:alpha val="23000"/>
                  </a:schemeClr>
                </a:solidFill>
              </a:ln>
            </p:spPr>
            <p:txBody>
              <a:bodyPr vert="horz" wrap="square" lIns="91415" tIns="45707" rIns="91415" bIns="45707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ru-RU">
                  <a:latin typeface="Lato Light"/>
                </a:endParaRPr>
              </a:p>
            </p:txBody>
          </p:sp>
        </p:grp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45F4028-F3FE-28CD-8AB7-2CE34322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575" y="1107491"/>
            <a:ext cx="9705086" cy="5539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2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w="http://schemas.openxmlformats.org/wordprocessingml/2006/main" xmlns:m="http://schemas.openxmlformats.org/officeDocument/2006/math" xmlns="">
      <p:transition spd="med" advClick="1">
        <p:fade thruBlk="0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4">
            <a:extLst>
              <a:ext uri="{FF2B5EF4-FFF2-40B4-BE49-F238E27FC236}">
                <a16:creationId xmlns:a16="http://schemas.microsoft.com/office/drawing/2014/main" id="{5D675871-D692-40F9-8F1E-5B2E95ACC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ТОР «Большой Камень»</a:t>
            </a:r>
            <a:endParaRPr lang="ru-RU" cap="all" dirty="0"/>
          </a:p>
        </p:txBody>
      </p:sp>
      <p:graphicFrame>
        <p:nvGraphicFramePr>
          <p:cNvPr id="8" name="Таблица 32">
            <a:extLst>
              <a:ext uri="{FF2B5EF4-FFF2-40B4-BE49-F238E27FC236}">
                <a16:creationId xmlns:a16="http://schemas.microsoft.com/office/drawing/2014/main" id="{7A2D4679-2914-EB43-AC81-FF309C791031}"/>
              </a:ext>
            </a:extLst>
          </p:cNvPr>
          <p:cNvGraphicFramePr>
            <a:graphicFrameLocks noGrp="1"/>
          </p:cNvGraphicFramePr>
          <p:nvPr/>
        </p:nvGraphicFramePr>
        <p:xfrm>
          <a:off x="628650" y="1500207"/>
          <a:ext cx="4752000" cy="140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1451863907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3483784992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Земля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700" b="0" cap="all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24319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лощадь ТОР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 124 </a:t>
                      </a:r>
                      <a:r>
                        <a:rPr lang="ru-RU" sz="7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га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46567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редоставлено резидентам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7,08 </a:t>
                      </a:r>
                      <a:r>
                        <a:rPr lang="ru-RU" sz="7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га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279092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вободная площадь для потенциальных резидентов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0 </a:t>
                      </a:r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га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9426178"/>
                  </a:ext>
                </a:extLst>
              </a:tr>
            </a:tbl>
          </a:graphicData>
        </a:graphic>
      </p:graphicFrame>
      <p:graphicFrame>
        <p:nvGraphicFramePr>
          <p:cNvPr id="9" name="Таблица 32">
            <a:extLst>
              <a:ext uri="{FF2B5EF4-FFF2-40B4-BE49-F238E27FC236}">
                <a16:creationId xmlns:a16="http://schemas.microsoft.com/office/drawing/2014/main" id="{9B2ACE59-9AEF-B142-A0DF-588EEEFAEDAF}"/>
              </a:ext>
            </a:extLst>
          </p:cNvPr>
          <p:cNvGraphicFramePr>
            <a:graphicFrameLocks noGrp="1"/>
          </p:cNvGraphicFramePr>
          <p:nvPr/>
        </p:nvGraphicFramePr>
        <p:xfrm>
          <a:off x="628651" y="3044661"/>
          <a:ext cx="4755600" cy="1451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1451863907"/>
                    </a:ext>
                  </a:extLst>
                </a:gridCol>
                <a:gridCol w="1875600">
                  <a:extLst>
                    <a:ext uri="{9D8B030D-6E8A-4147-A177-3AD203B41FA5}">
                      <a16:colId xmlns:a16="http://schemas.microsoft.com/office/drawing/2014/main" val="3483784992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ru-RU" sz="13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Инфраструктура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3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6567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Электроснабжение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1,89 </a:t>
                      </a:r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МВт</a:t>
                      </a:r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ru-RU" sz="700" b="0" kern="1200" cap="all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279092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одоснабжение и водоотведение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4533 </a:t>
                      </a:r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м3/</a:t>
                      </a:r>
                      <a:r>
                        <a:rPr lang="ru-RU" sz="800" b="0" kern="1200" cap="all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ут</a:t>
                      </a:r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ru-RU" sz="800" b="0" kern="1200" cap="all" baseline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942617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Теплоснабжение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1 </a:t>
                      </a:r>
                      <a:r>
                        <a:rPr lang="ru-RU" sz="800" b="0" kern="1200" cap="all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гкал</a:t>
                      </a:r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/ч.</a:t>
                      </a:r>
                      <a:endParaRPr lang="ru-RU" sz="800" b="0" kern="1200" cap="all" baseline="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1027506"/>
                  </a:ext>
                </a:extLst>
              </a:tr>
            </a:tbl>
          </a:graphicData>
        </a:graphic>
      </p:graphicFrame>
      <p:graphicFrame>
        <p:nvGraphicFramePr>
          <p:cNvPr id="14" name="Таблица 32">
            <a:extLst>
              <a:ext uri="{FF2B5EF4-FFF2-40B4-BE49-F238E27FC236}">
                <a16:creationId xmlns:a16="http://schemas.microsoft.com/office/drawing/2014/main" id="{D40E85ED-825E-F049-9BA6-533168FD47CE}"/>
              </a:ext>
            </a:extLst>
          </p:cNvPr>
          <p:cNvGraphicFramePr>
            <a:graphicFrameLocks noGrp="1"/>
          </p:cNvGraphicFramePr>
          <p:nvPr/>
        </p:nvGraphicFramePr>
        <p:xfrm>
          <a:off x="628649" y="4636590"/>
          <a:ext cx="4752000" cy="15273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000">
                  <a:extLst>
                    <a:ext uri="{9D8B030D-6E8A-4147-A177-3AD203B41FA5}">
                      <a16:colId xmlns:a16="http://schemas.microsoft.com/office/drawing/2014/main" val="1451863907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3483784992"/>
                    </a:ext>
                  </a:extLst>
                </a:gridCol>
              </a:tblGrid>
              <a:tr h="32036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3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Резиденты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kern="1200" cap="all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4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656700"/>
                  </a:ext>
                </a:extLst>
              </a:tr>
              <a:tr h="239223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ВОД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7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шт.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2790926"/>
                  </a:ext>
                </a:extLst>
              </a:tr>
              <a:tr h="239223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МР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 </a:t>
                      </a:r>
                      <a:r>
                        <a:rPr lang="ru-RU" sz="7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шт.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9426178"/>
                  </a:ext>
                </a:extLst>
              </a:tr>
              <a:tr h="239223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ИР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</a:t>
                      </a:r>
                      <a:r>
                        <a:rPr kumimoji="0" lang="ru-RU" sz="700" b="0" i="0" u="none" strike="noStrike" kern="1200" cap="all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шт.</a:t>
                      </a:r>
                      <a:endParaRPr lang="ru-RU" sz="1100" b="0" kern="1200" cap="all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1027506"/>
                  </a:ext>
                </a:extLst>
              </a:tr>
              <a:tr h="239223">
                <a:tc>
                  <a:txBody>
                    <a:bodyPr/>
                    <a:lstStyle/>
                    <a:p>
                      <a:r>
                        <a:rPr lang="ru-RU" sz="8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П, ЗУ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700" b="0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шт.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628312"/>
                  </a:ext>
                </a:extLst>
              </a:tr>
              <a:tr h="239223">
                <a:tc>
                  <a:txBody>
                    <a:bodyPr/>
                    <a:lstStyle/>
                    <a:p>
                      <a:pPr algn="l"/>
                      <a:r>
                        <a:rPr lang="ru-RU" sz="800" b="1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ИТОГО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b="1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9</a:t>
                      </a:r>
                      <a:r>
                        <a:rPr lang="ru-RU" sz="700" b="1" kern="1200" cap="all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шт.</a:t>
                      </a:r>
                    </a:p>
                  </a:txBody>
                  <a:tcPr marL="74295" marR="74295" marT="37148" marB="37148" anchor="ctr">
                    <a:lnL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3E8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794592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A870997C-3E6E-E24B-ADF4-AF81FCDCC2C6}"/>
              </a:ext>
            </a:extLst>
          </p:cNvPr>
          <p:cNvSpPr txBox="1"/>
          <p:nvPr/>
        </p:nvSpPr>
        <p:spPr>
          <a:xfrm>
            <a:off x="10087296" y="4963028"/>
            <a:ext cx="2377050" cy="1118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92804" eaLnBrk="1" fontAlgn="auto" hangingPunct="1">
              <a:spcBef>
                <a:spcPts val="0"/>
              </a:spcBef>
              <a:spcAft>
                <a:spcPts val="488"/>
              </a:spcAft>
              <a:defRPr/>
            </a:pPr>
            <a:r>
              <a:rPr lang="ru-RU" sz="1138" b="1" dirty="0">
                <a:latin typeface="+mj-lt"/>
              </a:rPr>
              <a:t>Крупнейшие </a:t>
            </a:r>
            <a:br>
              <a:rPr lang="ru-RU" sz="1138" b="1" dirty="0">
                <a:latin typeface="+mj-lt"/>
              </a:rPr>
            </a:br>
            <a:r>
              <a:rPr lang="ru-RU" sz="1138" b="1" dirty="0">
                <a:latin typeface="+mj-lt"/>
              </a:rPr>
              <a:t>инвестиционные </a:t>
            </a:r>
            <a:br>
              <a:rPr lang="ru-RU" sz="1138" b="1" dirty="0">
                <a:latin typeface="+mj-lt"/>
              </a:rPr>
            </a:br>
            <a:r>
              <a:rPr lang="ru-RU" sz="1138" b="1" dirty="0">
                <a:latin typeface="+mj-lt"/>
              </a:rPr>
              <a:t>проекты:</a:t>
            </a:r>
          </a:p>
          <a:p>
            <a:pPr defTabSz="992804">
              <a:lnSpc>
                <a:spcPct val="120000"/>
              </a:lnSpc>
              <a:defRPr/>
            </a:pPr>
            <a:r>
              <a:rPr lang="ru-RU" sz="813" cap="all" dirty="0">
                <a:latin typeface="+mj-lt"/>
              </a:rPr>
              <a:t>1. ООО «ССК Звезда» </a:t>
            </a:r>
          </a:p>
          <a:p>
            <a:pPr defTabSz="992804">
              <a:lnSpc>
                <a:spcPct val="120000"/>
              </a:lnSpc>
              <a:defRPr/>
            </a:pPr>
            <a:r>
              <a:rPr lang="ru-RU" sz="813" cap="all" dirty="0">
                <a:latin typeface="+mj-lt"/>
              </a:rPr>
              <a:t>2. АО «ДВЗ «Звезда» </a:t>
            </a:r>
          </a:p>
          <a:p>
            <a:pPr defTabSz="992804">
              <a:lnSpc>
                <a:spcPct val="120000"/>
              </a:lnSpc>
              <a:defRPr/>
            </a:pPr>
            <a:r>
              <a:rPr lang="ru-RU" sz="813" cap="all" dirty="0">
                <a:latin typeface="+mj-lt"/>
              </a:rPr>
              <a:t>3. АО «РК Новый мир»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745B365-CF4B-5C45-8E27-D3EB5D1339FF}"/>
              </a:ext>
            </a:extLst>
          </p:cNvPr>
          <p:cNvSpPr/>
          <p:nvPr/>
        </p:nvSpPr>
        <p:spPr>
          <a:xfrm>
            <a:off x="10015273" y="4918483"/>
            <a:ext cx="1548077" cy="1245441"/>
          </a:xfrm>
          <a:prstGeom prst="rect">
            <a:avLst/>
          </a:prstGeom>
          <a:noFill/>
          <a:ln w="9525" cap="rnd" cmpd="sng" algn="ctr">
            <a:solidFill>
              <a:srgbClr val="D9DDE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4EB0203-6A7D-484F-AF9F-C1384E8051A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525369" y="1484566"/>
            <a:ext cx="4348786" cy="4694628"/>
          </a:xfrm>
          <a:prstGeom prst="rect">
            <a:avLst/>
          </a:prstGeom>
        </p:spPr>
      </p:pic>
      <p:pic>
        <p:nvPicPr>
          <p:cNvPr id="11" name="Google Shape;732;p13">
            <a:extLst>
              <a:ext uri="{FF2B5EF4-FFF2-40B4-BE49-F238E27FC236}">
                <a16:creationId xmlns:a16="http://schemas.microsoft.com/office/drawing/2014/main" id="{6C86AC50-C644-4DC0-94AB-BF50013F0E33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8"/>
            <a:ext cx="121920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733;p13">
            <a:extLst>
              <a:ext uri="{FF2B5EF4-FFF2-40B4-BE49-F238E27FC236}">
                <a16:creationId xmlns:a16="http://schemas.microsoft.com/office/drawing/2014/main" id="{71F63E8B-BFA2-4F20-A694-6E6F9800330E}"/>
              </a:ext>
            </a:extLst>
          </p:cNvPr>
          <p:cNvSpPr/>
          <p:nvPr/>
        </p:nvSpPr>
        <p:spPr>
          <a:xfrm>
            <a:off x="834119" y="2734346"/>
            <a:ext cx="7601543" cy="3804487"/>
          </a:xfrm>
          <a:prstGeom prst="rect">
            <a:avLst/>
          </a:prstGeom>
          <a:gradFill>
            <a:gsLst>
              <a:gs pos="0">
                <a:srgbClr val="005FA0">
                  <a:alpha val="94901"/>
                </a:srgbClr>
              </a:gs>
              <a:gs pos="100000">
                <a:srgbClr val="1F497D">
                  <a:alpha val="89803"/>
                </a:srgbClr>
              </a:gs>
            </a:gsLst>
            <a:lin ang="1890000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" name="Google Shape;734;p13">
            <a:extLst>
              <a:ext uri="{FF2B5EF4-FFF2-40B4-BE49-F238E27FC236}">
                <a16:creationId xmlns:a16="http://schemas.microsoft.com/office/drawing/2014/main" id="{B77EFDC0-B5E7-4F0A-9D76-72CBCFFB315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142422" y="2972486"/>
            <a:ext cx="2918668" cy="522951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735;p13">
            <a:extLst>
              <a:ext uri="{FF2B5EF4-FFF2-40B4-BE49-F238E27FC236}">
                <a16:creationId xmlns:a16="http://schemas.microsoft.com/office/drawing/2014/main" id="{27209F5F-6375-498C-86B0-CF1B8E5B7C1A}"/>
              </a:ext>
            </a:extLst>
          </p:cNvPr>
          <p:cNvSpPr/>
          <p:nvPr/>
        </p:nvSpPr>
        <p:spPr>
          <a:xfrm>
            <a:off x="1265698" y="3991784"/>
            <a:ext cx="5901696" cy="4985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200" b="1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СПАСИБО ЗА ВНИМАНИЕ!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1" b="1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735;p13">
            <a:extLst>
              <a:ext uri="{FF2B5EF4-FFF2-40B4-BE49-F238E27FC236}">
                <a16:creationId xmlns:a16="http://schemas.microsoft.com/office/drawing/2014/main" id="{A13D2472-3C66-8D91-69C0-6771D7FACD76}"/>
              </a:ext>
            </a:extLst>
          </p:cNvPr>
          <p:cNvSpPr/>
          <p:nvPr/>
        </p:nvSpPr>
        <p:spPr bwMode="auto">
          <a:xfrm>
            <a:off x="8641130" y="281633"/>
            <a:ext cx="3312368" cy="2952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ru-RU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С уважением, </a:t>
            </a:r>
          </a:p>
          <a:p>
            <a:r>
              <a:rPr lang="ru-RU" sz="2000" b="1" dirty="0">
                <a:latin typeface="Calibri" panose="020F0502020204030204" pitchFamily="34" charset="0"/>
                <a:ea typeface="Calibri" panose="020F0502020204030204" pitchFamily="34" charset="0"/>
              </a:rPr>
              <a:t>Жаркова Наталья Игоревна</a:t>
            </a:r>
            <a:endParaRPr lang="ru-RU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Руководитель </a:t>
            </a:r>
            <a:r>
              <a:rPr lang="ru-RU" sz="2000" dirty="0">
                <a:latin typeface="Calibri" panose="020F0502020204030204" pitchFamily="34" charset="0"/>
                <a:ea typeface="Calibri" panose="020F0502020204030204" pitchFamily="34" charset="0"/>
              </a:rPr>
              <a:t>направления привлечения инвестиций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2000" dirty="0">
                <a:latin typeface="Calibri" panose="020F0502020204030204" pitchFamily="34" charset="0"/>
                <a:ea typeface="Calibri" panose="020F0502020204030204" pitchFamily="34" charset="0"/>
              </a:rPr>
              <a:t>КРДВ Приморье</a:t>
            </a:r>
            <a:endParaRPr lang="ru-RU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2000" b="1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</a:rPr>
              <a:t>Моб. +7 (951) 00 222 39</a:t>
            </a:r>
          </a:p>
          <a:p>
            <a:r>
              <a:rPr lang="ru-RU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раб</a:t>
            </a:r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: +7 (423) 222-55-58 </a:t>
            </a:r>
            <a:endParaRPr lang="ru-RU" sz="20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доб</a:t>
            </a:r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  <a:r>
              <a:rPr lang="ru-RU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424</a:t>
            </a:r>
          </a:p>
          <a:p>
            <a:r>
              <a:rPr lang="en-US" sz="2000" b="1" dirty="0">
                <a:latin typeface="Calibri" panose="020F0502020204030204" pitchFamily="34" charset="0"/>
              </a:rPr>
              <a:t>n.zharkova@erdc.ru</a:t>
            </a:r>
            <a:endParaRPr lang="ru-RU" sz="2000" dirty="0">
              <a:latin typeface="Calibri" panose="020F0502020204030204" pitchFamily="34" charset="0"/>
            </a:endParaRPr>
          </a:p>
        </p:txBody>
      </p:sp>
      <p:sp>
        <p:nvSpPr>
          <p:cNvPr id="3" name="Google Shape;736;p13">
            <a:extLst>
              <a:ext uri="{FF2B5EF4-FFF2-40B4-BE49-F238E27FC236}">
                <a16:creationId xmlns:a16="http://schemas.microsoft.com/office/drawing/2014/main" id="{76045306-069F-8865-489E-66BA9F0047BF}"/>
              </a:ext>
            </a:extLst>
          </p:cNvPr>
          <p:cNvSpPr/>
          <p:nvPr/>
        </p:nvSpPr>
        <p:spPr>
          <a:xfrm>
            <a:off x="1265698" y="4331450"/>
            <a:ext cx="5901696" cy="2158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ООО «КРДВ Приморье» </a:t>
            </a:r>
            <a:b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+7 (423) 222-55-58  |  primorye@erdc.ru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иморский край, г. Владивосток, Океанский пр-т 17, 13 этаж, оф.1315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АО «Корпорация развития Дальнего Востока и Арктики»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fo@erdc.ru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8-800-707-55-58</a:t>
            </a:r>
            <a:endParaRPr sz="1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МОСКВА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ресненская наб., д. 8, стр. 1, </a:t>
            </a:r>
            <a:r>
              <a:rPr lang="ru-RU" sz="100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эт</a:t>
            </a: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 7, МФК «Город Столиц», Северный блок</a:t>
            </a:r>
            <a:b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ВЛАДИВОСТОК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Океанский проспект, 17, </a:t>
            </a:r>
            <a:r>
              <a:rPr lang="ru-RU" sz="100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эт</a:t>
            </a:r>
            <a:r>
              <a:rPr lang="ru-RU" sz="1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. 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4601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1BC91E1-555B-4150-BBDA-99D3D6B5A6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151936"/>
              </p:ext>
            </p:extLst>
          </p:nvPr>
        </p:nvGraphicFramePr>
        <p:xfrm>
          <a:off x="566561" y="1486250"/>
          <a:ext cx="10986206" cy="5245309"/>
        </p:xfrm>
        <a:graphic>
          <a:graphicData uri="http://schemas.openxmlformats.org/drawingml/2006/table">
            <a:tbl>
              <a:tblPr firstCol="1" bandRow="1"/>
              <a:tblGrid>
                <a:gridCol w="4763155">
                  <a:extLst>
                    <a:ext uri="{9D8B030D-6E8A-4147-A177-3AD203B41FA5}">
                      <a16:colId xmlns:a16="http://schemas.microsoft.com/office/drawing/2014/main" val="1240670234"/>
                    </a:ext>
                  </a:extLst>
                </a:gridCol>
                <a:gridCol w="6223051">
                  <a:extLst>
                    <a:ext uri="{9D8B030D-6E8A-4147-A177-3AD203B41FA5}">
                      <a16:colId xmlns:a16="http://schemas.microsoft.com/office/drawing/2014/main" val="1958832206"/>
                    </a:ext>
                  </a:extLst>
                </a:gridCol>
              </a:tblGrid>
              <a:tr h="2487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РЫ ПОДДЕРЖКИ</a:t>
                      </a:r>
                    </a:p>
                  </a:txBody>
                  <a:tcPr marL="34990" marR="3499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УТИ РЕШЕНИЯ</a:t>
                      </a:r>
                    </a:p>
                  </a:txBody>
                  <a:tcPr marL="34990" marR="3499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493069"/>
                  </a:ext>
                </a:extLst>
              </a:tr>
              <a:tr h="13643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Font typeface="+mj-lt"/>
                        <a:buNone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ступ к финансовым ресурсам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9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 реализации проекта резиденты сталкиваются с отказами банков в предоставлении кредитования из-за отсутствия обеспечения/поручительства, высокими ставками по кредитам</a:t>
                      </a:r>
                    </a:p>
                  </a:txBody>
                  <a:tcPr marL="324000" marR="72000" marT="108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ено финансирование проектов резидентов ТОР и СПВ по программам Постановления Правительства РФ 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2021 г. финансирование по программе Постановления Правительства РФ от 25.12.2019 № 1818 получили 15 резидентов СПВ на сумму 13,6 млрд руб.;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консультации по программам финансирования для резидентов СПВ: направление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явки в банк через личный кабинет резидента и ее дальнейшее сопровождение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ие совместно с резидентом во встречах с банками для согласования условий кредитования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35" marR="34990" marT="73469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1099914"/>
                  </a:ext>
                </a:extLst>
              </a:tr>
              <a:tr h="930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мощь в подборе места реализации проекта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вязи с отменой преференции по предоставлению земельных участков резидентам СПВ без проведения торгов</a:t>
                      </a:r>
                    </a:p>
                  </a:txBody>
                  <a:tcPr marL="324000" marR="72000" marT="108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вместно с Инвестиционным агентством Приморского края организовано содействие резидентам  в получении статуса масштабного/приоритетного проекта для получения земельного участка без торгов,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обращений в государственные органы по вопросам резидентов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а инвестиционная карта Дальнего Востока и Арктики на сайте Корпорации развития Дальнего Востока и Арктики 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ttps://map.erdc.ru/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35" marR="34990" marT="73469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3310251"/>
                  </a:ext>
                </a:extLst>
              </a:tr>
              <a:tr h="857465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зможность применения процедуры свободной таможенной зоны (СТЗ)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 резидентов действует право беспошлинно ввезти на территорию иностранное оборудование, сырьё и иные товары</a:t>
                      </a:r>
                    </a:p>
                  </a:txBody>
                  <a:tcPr marL="324000" marR="72000" marT="108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резидентов применяют таможенную процедуру свободной таможенной зоны в Приморском крае;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рабочих встреч при участии резидента и сотрудников Дальневосточного таможенного управления</a:t>
                      </a:r>
                    </a:p>
                  </a:txBody>
                  <a:tcPr marL="36735" marR="34990" marT="73469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0841191"/>
                  </a:ext>
                </a:extLst>
              </a:tr>
              <a:tr h="8879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нижение порога капитальных вложений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9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но Постановлению Правительства РФ  № 1123 «Об утверждении критериев отбора резидентов СПВ» резиденты СПВ в течение 3-х лет обязаны осуществить капитальные вложения в размере не менее 5 млн руб.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endParaRPr lang="ru-RU" sz="9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4000" marR="72000" marT="108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м законом от 29.11.2021 № 382-ФЗ «О внесении изменений в часть вторую Налогового кодекса Российской Федерации» и Постановлением Правительства РФ от 28 декабря 2021 г. N 2514 «О внесении изменения в критерии отбора резидентов свободного порта Владивосток» изменена сумма капитальных вложений в течение первых 3-х лет с 5 млн руб. до 500 тыс. руб. 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35" marR="34990" marT="73469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51408"/>
                  </a:ext>
                </a:extLst>
              </a:tr>
              <a:tr h="918033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600"/>
                        </a:spcAft>
                        <a:buNone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одействие в получении проектно-разрешительной документации</a:t>
                      </a:r>
                    </a:p>
                    <a:p>
                      <a:pPr marL="0"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9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езиденты сталкиваются с вопросами длительного согласования проектов планировки территории, отказами в выдаче разрешения на строительство, получением технических условий</a:t>
                      </a:r>
                      <a:endParaRPr lang="ru-RU" sz="9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24000" marR="72000" marT="108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но содействие резидентам в вопросах получения технических условий, разрешения на строительство, акт ввода и т.п.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/участие в рабочих совещаниях при участии резидента и Управления муниципальной собственности города, Правительства Приморского края</a:t>
                      </a:r>
                    </a:p>
                  </a:txBody>
                  <a:tcPr marL="36735" marR="34990" marT="73469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806272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9233" y="621804"/>
            <a:ext cx="7984813" cy="874661"/>
          </a:xfrm>
        </p:spPr>
        <p:txBody>
          <a:bodyPr>
            <a:normAutofit/>
          </a:bodyPr>
          <a:lstStyle/>
          <a:p>
            <a:r>
              <a:rPr lang="ru-RU" sz="2000" b="1" cap="all" dirty="0">
                <a:ln w="3175" cmpd="sng">
                  <a:noFill/>
                </a:ln>
                <a:solidFill>
                  <a:schemeClr val="accent1"/>
                </a:solidFill>
              </a:rPr>
              <a:t>МЕРЫ ПОДДЕРЖКИ РЕЗИДЕНТОВ СПВ В ПРИМОРСКОМ КРАЕ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36406">
              <a:defRPr/>
            </a:pPr>
            <a:endParaRPr lang="ru-RU" dirty="0">
              <a:solidFill>
                <a:srgbClr val="262626">
                  <a:tint val="75000"/>
                </a:srgbClr>
              </a:solidFill>
              <a:latin typeface="Arial" panose="020B0604020202020204"/>
            </a:endParaRPr>
          </a:p>
        </p:txBody>
      </p:sp>
      <p:pic>
        <p:nvPicPr>
          <p:cNvPr id="17" name="Рисунок 16" descr="Маркеры-галочки">
            <a:extLst>
              <a:ext uri="{FF2B5EF4-FFF2-40B4-BE49-F238E27FC236}">
                <a16:creationId xmlns:a16="http://schemas.microsoft.com/office/drawing/2014/main" id="{F87F4D8E-F50F-4A3F-825B-02EF6A397F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6561" y="1864809"/>
            <a:ext cx="231836" cy="231836"/>
          </a:xfrm>
          <a:prstGeom prst="rect">
            <a:avLst/>
          </a:prstGeom>
        </p:spPr>
      </p:pic>
      <p:pic>
        <p:nvPicPr>
          <p:cNvPr id="21" name="Рисунок 20" descr="Маркеры-галочки">
            <a:extLst>
              <a:ext uri="{FF2B5EF4-FFF2-40B4-BE49-F238E27FC236}">
                <a16:creationId xmlns:a16="http://schemas.microsoft.com/office/drawing/2014/main" id="{EE7FA62C-5619-4F3F-8F5F-608DD1E41F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4638" y="5967473"/>
            <a:ext cx="231836" cy="231836"/>
          </a:xfrm>
          <a:prstGeom prst="rect">
            <a:avLst/>
          </a:prstGeom>
        </p:spPr>
      </p:pic>
      <p:pic>
        <p:nvPicPr>
          <p:cNvPr id="22" name="Рисунок 21" descr="Маркеры-галочки">
            <a:extLst>
              <a:ext uri="{FF2B5EF4-FFF2-40B4-BE49-F238E27FC236}">
                <a16:creationId xmlns:a16="http://schemas.microsoft.com/office/drawing/2014/main" id="{8FC9AED0-0EB6-4390-8895-EE39620CCA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183" y="3253465"/>
            <a:ext cx="231836" cy="231836"/>
          </a:xfrm>
          <a:prstGeom prst="rect">
            <a:avLst/>
          </a:prstGeom>
        </p:spPr>
      </p:pic>
      <p:pic>
        <p:nvPicPr>
          <p:cNvPr id="23" name="Рисунок 22" descr="Маркеры-галочки">
            <a:extLst>
              <a:ext uri="{FF2B5EF4-FFF2-40B4-BE49-F238E27FC236}">
                <a16:creationId xmlns:a16="http://schemas.microsoft.com/office/drawing/2014/main" id="{81B2E66D-8BF6-4B67-8C9F-9FE91DD91D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4955" y="4057564"/>
            <a:ext cx="231836" cy="231836"/>
          </a:xfrm>
          <a:prstGeom prst="rect">
            <a:avLst/>
          </a:prstGeom>
        </p:spPr>
      </p:pic>
      <p:pic>
        <p:nvPicPr>
          <p:cNvPr id="24" name="Рисунок 23" descr="Маркеры-галочки">
            <a:extLst>
              <a:ext uri="{FF2B5EF4-FFF2-40B4-BE49-F238E27FC236}">
                <a16:creationId xmlns:a16="http://schemas.microsoft.com/office/drawing/2014/main" id="{9046DF65-EF6C-463C-B28C-4DF4B9977E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183" y="4958591"/>
            <a:ext cx="231836" cy="231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55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9B7E964-1FBC-9E4E-B402-AE62263FB20A}"/>
              </a:ext>
            </a:extLst>
          </p:cNvPr>
          <p:cNvSpPr/>
          <p:nvPr/>
        </p:nvSpPr>
        <p:spPr>
          <a:xfrm>
            <a:off x="4718837" y="4811809"/>
            <a:ext cx="6506829" cy="1520035"/>
          </a:xfrm>
          <a:prstGeom prst="roundRect">
            <a:avLst>
              <a:gd name="adj" fmla="val 10391"/>
            </a:avLst>
          </a:prstGeom>
          <a:noFill/>
          <a:ln w="6350" cap="rnd" cmpd="sng" algn="ctr">
            <a:solidFill>
              <a:srgbClr val="68818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6FCCB9-38AC-4428-918E-53F1404697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6FCCB9-38AC-4428-918E-53F140469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C59D917-B70A-4720-9ED4-E03BFC30E4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9726" y="506867"/>
            <a:ext cx="3449875" cy="863600"/>
          </a:xfrm>
        </p:spPr>
        <p:txBody>
          <a:bodyPr/>
          <a:lstStyle/>
          <a:p>
            <a:r>
              <a:rPr lang="ru-RU" dirty="0"/>
              <a:t>Свободный порт Владивосток</a:t>
            </a:r>
            <a:endParaRPr lang="ru-RU" sz="1800" dirty="0">
              <a:solidFill>
                <a:schemeClr val="accent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4B9610-24B4-4449-914A-C52E80B9C7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930619"/>
              </p:ext>
            </p:extLst>
          </p:nvPr>
        </p:nvGraphicFramePr>
        <p:xfrm>
          <a:off x="4591162" y="921188"/>
          <a:ext cx="6907212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2404">
                  <a:extLst>
                    <a:ext uri="{9D8B030D-6E8A-4147-A177-3AD203B41FA5}">
                      <a16:colId xmlns:a16="http://schemas.microsoft.com/office/drawing/2014/main" val="2589158436"/>
                    </a:ext>
                  </a:extLst>
                </a:gridCol>
                <a:gridCol w="2302404">
                  <a:extLst>
                    <a:ext uri="{9D8B030D-6E8A-4147-A177-3AD203B41FA5}">
                      <a16:colId xmlns:a16="http://schemas.microsoft.com/office/drawing/2014/main" val="2960747495"/>
                    </a:ext>
                  </a:extLst>
                </a:gridCol>
                <a:gridCol w="2302404">
                  <a:extLst>
                    <a:ext uri="{9D8B030D-6E8A-4147-A177-3AD203B41FA5}">
                      <a16:colId xmlns:a16="http://schemas.microsoft.com/office/drawing/2014/main" val="420324660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Резиденты, ед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1 900</a:t>
                      </a: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сего</a:t>
                      </a:r>
                      <a:endParaRPr lang="ru-RU" sz="10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325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ru-RU" sz="10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ведено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3856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Инвестиции, млрд руб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1 212</a:t>
                      </a:r>
                      <a:r>
                        <a:rPr lang="en-US" sz="1600" b="0" dirty="0"/>
                        <a:t>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по соглашениям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2</a:t>
                      </a:r>
                      <a:r>
                        <a:rPr lang="ru-RU" sz="1600" dirty="0"/>
                        <a:t>64</a:t>
                      </a:r>
                      <a:r>
                        <a:rPr lang="ru-RU" sz="1200" dirty="0"/>
                        <a:t>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ложено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10085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Рабочие места, ед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90 805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по соглашениям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36 754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создано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938335"/>
                  </a:ext>
                </a:extLst>
              </a:tr>
            </a:tbl>
          </a:graphicData>
        </a:graphic>
      </p:graphicFrame>
      <p:graphicFrame>
        <p:nvGraphicFramePr>
          <p:cNvPr id="146" name="Table 145">
            <a:extLst>
              <a:ext uri="{FF2B5EF4-FFF2-40B4-BE49-F238E27FC236}">
                <a16:creationId xmlns:a16="http://schemas.microsoft.com/office/drawing/2014/main" id="{A65067F6-B487-0D47-8A8A-82178F0C8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1153395"/>
              </p:ext>
            </p:extLst>
          </p:nvPr>
        </p:nvGraphicFramePr>
        <p:xfrm>
          <a:off x="5041132" y="5108211"/>
          <a:ext cx="5800734" cy="1248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00734">
                  <a:extLst>
                    <a:ext uri="{9D8B030D-6E8A-4147-A177-3AD203B41FA5}">
                      <a16:colId xmlns:a16="http://schemas.microsoft.com/office/drawing/2014/main" val="56915054"/>
                    </a:ext>
                  </a:extLst>
                </a:gridCol>
              </a:tblGrid>
              <a:tr h="12489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Артем, Владивосток, Большой камень, Находка, Партизанск, Спасск-Дальний, Уссурийск, Надеждинский МР, Шкотовский МР, Октябрьский МР, Ольгинский МР, Партизанский МР, Пограничный МР, Хасанский МР, Ханкайский МР.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621464"/>
                  </a:ext>
                </a:extLst>
              </a:tr>
            </a:tbl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520B456C-EB75-5B45-B992-23635DC2441C}"/>
              </a:ext>
            </a:extLst>
          </p:cNvPr>
          <p:cNvSpPr/>
          <p:nvPr/>
        </p:nvSpPr>
        <p:spPr>
          <a:xfrm>
            <a:off x="4011336" y="5931903"/>
            <a:ext cx="126907" cy="126907"/>
          </a:xfrm>
          <a:prstGeom prst="ellipse">
            <a:avLst/>
          </a:prstGeom>
          <a:solidFill>
            <a:srgbClr val="68818A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ACA20F6B-8362-A349-8D4A-92D62A46EB48}"/>
              </a:ext>
            </a:extLst>
          </p:cNvPr>
          <p:cNvSpPr/>
          <p:nvPr/>
        </p:nvSpPr>
        <p:spPr>
          <a:xfrm>
            <a:off x="4592358" y="5931903"/>
            <a:ext cx="126907" cy="126907"/>
          </a:xfrm>
          <a:prstGeom prst="ellipse">
            <a:avLst/>
          </a:prstGeom>
          <a:solidFill>
            <a:schemeClr val="bg1"/>
          </a:solidFill>
          <a:ln w="6350" cap="rnd" cmpd="sng" algn="ctr">
            <a:solidFill>
              <a:srgbClr val="68818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65D2CE-33EF-B24A-836B-4ECADD808FA1}"/>
              </a:ext>
            </a:extLst>
          </p:cNvPr>
          <p:cNvCxnSpPr>
            <a:cxnSpLocks/>
            <a:stCxn id="147" idx="2"/>
            <a:endCxn id="16" idx="6"/>
          </p:cNvCxnSpPr>
          <p:nvPr/>
        </p:nvCxnSpPr>
        <p:spPr>
          <a:xfrm flipH="1">
            <a:off x="4138243" y="5995357"/>
            <a:ext cx="454115" cy="0"/>
          </a:xfrm>
          <a:prstGeom prst="line">
            <a:avLst/>
          </a:prstGeom>
          <a:ln w="9525">
            <a:solidFill>
              <a:srgbClr val="D9DDE2"/>
            </a:solidFill>
            <a:miter lim="800000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0709A94-7FF0-6B4C-AD2A-D97C17A5B63D}"/>
              </a:ext>
            </a:extLst>
          </p:cNvPr>
          <p:cNvSpPr/>
          <p:nvPr/>
        </p:nvSpPr>
        <p:spPr>
          <a:xfrm>
            <a:off x="2016619" y="4879076"/>
            <a:ext cx="1265514" cy="286439"/>
          </a:xfrm>
          <a:prstGeom prst="roundRect">
            <a:avLst>
              <a:gd name="adj" fmla="val 10715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г. Владивосток</a:t>
            </a:r>
          </a:p>
        </p:txBody>
      </p:sp>
      <p:sp>
        <p:nvSpPr>
          <p:cNvPr id="17" name="Прямоугольник 143">
            <a:extLst>
              <a:ext uri="{FF2B5EF4-FFF2-40B4-BE49-F238E27FC236}">
                <a16:creationId xmlns:a16="http://schemas.microsoft.com/office/drawing/2014/main" id="{1D1ED3AD-75BF-0040-B229-53223FB31974}"/>
              </a:ext>
            </a:extLst>
          </p:cNvPr>
          <p:cNvSpPr/>
          <p:nvPr/>
        </p:nvSpPr>
        <p:spPr>
          <a:xfrm>
            <a:off x="4591162" y="507684"/>
            <a:ext cx="4187633" cy="276688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/>
          <a:p>
            <a:r>
              <a:rPr lang="ru-RU" sz="1400" b="1" dirty="0"/>
              <a:t>Показатели Свободного порта Владивосток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6E9AEB9-066E-8E89-64F8-EF0A46D603EC}"/>
              </a:ext>
            </a:extLst>
          </p:cNvPr>
          <p:cNvGrpSpPr/>
          <p:nvPr/>
        </p:nvGrpSpPr>
        <p:grpSpPr>
          <a:xfrm>
            <a:off x="1595467" y="1684473"/>
            <a:ext cx="2666140" cy="3156643"/>
            <a:chOff x="1435729" y="951391"/>
            <a:chExt cx="3645387" cy="4250092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48FB41AD-935A-D6B3-2816-643F9A86F1A5}"/>
                </a:ext>
              </a:extLst>
            </p:cNvPr>
            <p:cNvGrpSpPr/>
            <p:nvPr/>
          </p:nvGrpSpPr>
          <p:grpSpPr>
            <a:xfrm>
              <a:off x="1435729" y="951391"/>
              <a:ext cx="3645387" cy="4250092"/>
              <a:chOff x="958001" y="1238238"/>
              <a:chExt cx="4486630" cy="5230883"/>
            </a:xfrm>
            <a:solidFill>
              <a:schemeClr val="tx1">
                <a:lumMod val="25000"/>
                <a:lumOff val="75000"/>
              </a:schemeClr>
            </a:solidFill>
          </p:grpSpPr>
          <p:sp>
            <p:nvSpPr>
              <p:cNvPr id="37" name="Freeform 5">
                <a:extLst>
                  <a:ext uri="{FF2B5EF4-FFF2-40B4-BE49-F238E27FC236}">
                    <a16:creationId xmlns:a16="http://schemas.microsoft.com/office/drawing/2014/main" id="{933364DA-D84E-1D39-ABB7-F52BF9769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5099" y="4721974"/>
                <a:ext cx="971223" cy="1338071"/>
              </a:xfrm>
              <a:custGeom>
                <a:avLst/>
                <a:gdLst>
                  <a:gd name="T0" fmla="*/ 1851 w 1909"/>
                  <a:gd name="T1" fmla="*/ 1011 h 2629"/>
                  <a:gd name="T2" fmla="*/ 1810 w 1909"/>
                  <a:gd name="T3" fmla="*/ 938 h 2629"/>
                  <a:gd name="T4" fmla="*/ 1808 w 1909"/>
                  <a:gd name="T5" fmla="*/ 836 h 2629"/>
                  <a:gd name="T6" fmla="*/ 1757 w 1909"/>
                  <a:gd name="T7" fmla="*/ 803 h 2629"/>
                  <a:gd name="T8" fmla="*/ 1761 w 1909"/>
                  <a:gd name="T9" fmla="*/ 672 h 2629"/>
                  <a:gd name="T10" fmla="*/ 1676 w 1909"/>
                  <a:gd name="T11" fmla="*/ 618 h 2629"/>
                  <a:gd name="T12" fmla="*/ 1618 w 1909"/>
                  <a:gd name="T13" fmla="*/ 515 h 2629"/>
                  <a:gd name="T14" fmla="*/ 1496 w 1909"/>
                  <a:gd name="T15" fmla="*/ 560 h 2629"/>
                  <a:gd name="T16" fmla="*/ 1494 w 1909"/>
                  <a:gd name="T17" fmla="*/ 470 h 2629"/>
                  <a:gd name="T18" fmla="*/ 1389 w 1909"/>
                  <a:gd name="T19" fmla="*/ 410 h 2629"/>
                  <a:gd name="T20" fmla="*/ 1353 w 1909"/>
                  <a:gd name="T21" fmla="*/ 317 h 2629"/>
                  <a:gd name="T22" fmla="*/ 1263 w 1909"/>
                  <a:gd name="T23" fmla="*/ 194 h 2629"/>
                  <a:gd name="T24" fmla="*/ 1192 w 1909"/>
                  <a:gd name="T25" fmla="*/ 86 h 2629"/>
                  <a:gd name="T26" fmla="*/ 1073 w 1909"/>
                  <a:gd name="T27" fmla="*/ 20 h 2629"/>
                  <a:gd name="T28" fmla="*/ 958 w 1909"/>
                  <a:gd name="T29" fmla="*/ 42 h 2629"/>
                  <a:gd name="T30" fmla="*/ 955 w 1909"/>
                  <a:gd name="T31" fmla="*/ 202 h 2629"/>
                  <a:gd name="T32" fmla="*/ 1015 w 1909"/>
                  <a:gd name="T33" fmla="*/ 295 h 2629"/>
                  <a:gd name="T34" fmla="*/ 1059 w 1909"/>
                  <a:gd name="T35" fmla="*/ 396 h 2629"/>
                  <a:gd name="T36" fmla="*/ 1032 w 1909"/>
                  <a:gd name="T37" fmla="*/ 411 h 2629"/>
                  <a:gd name="T38" fmla="*/ 992 w 1909"/>
                  <a:gd name="T39" fmla="*/ 453 h 2629"/>
                  <a:gd name="T40" fmla="*/ 876 w 1909"/>
                  <a:gd name="T41" fmla="*/ 472 h 2629"/>
                  <a:gd name="T42" fmla="*/ 829 w 1909"/>
                  <a:gd name="T43" fmla="*/ 540 h 2629"/>
                  <a:gd name="T44" fmla="*/ 872 w 1909"/>
                  <a:gd name="T45" fmla="*/ 667 h 2629"/>
                  <a:gd name="T46" fmla="*/ 920 w 1909"/>
                  <a:gd name="T47" fmla="*/ 807 h 2629"/>
                  <a:gd name="T48" fmla="*/ 1039 w 1909"/>
                  <a:gd name="T49" fmla="*/ 873 h 2629"/>
                  <a:gd name="T50" fmla="*/ 1100 w 1909"/>
                  <a:gd name="T51" fmla="*/ 966 h 2629"/>
                  <a:gd name="T52" fmla="*/ 1057 w 1909"/>
                  <a:gd name="T53" fmla="*/ 1053 h 2629"/>
                  <a:gd name="T54" fmla="*/ 902 w 1909"/>
                  <a:gd name="T55" fmla="*/ 1170 h 2629"/>
                  <a:gd name="T56" fmla="*/ 819 w 1909"/>
                  <a:gd name="T57" fmla="*/ 1292 h 2629"/>
                  <a:gd name="T58" fmla="*/ 761 w 1909"/>
                  <a:gd name="T59" fmla="*/ 1344 h 2629"/>
                  <a:gd name="T60" fmla="*/ 795 w 1909"/>
                  <a:gd name="T61" fmla="*/ 1461 h 2629"/>
                  <a:gd name="T62" fmla="*/ 846 w 1909"/>
                  <a:gd name="T63" fmla="*/ 1523 h 2629"/>
                  <a:gd name="T64" fmla="*/ 774 w 1909"/>
                  <a:gd name="T65" fmla="*/ 1665 h 2629"/>
                  <a:gd name="T66" fmla="*/ 646 w 1909"/>
                  <a:gd name="T67" fmla="*/ 1735 h 2629"/>
                  <a:gd name="T68" fmla="*/ 481 w 1909"/>
                  <a:gd name="T69" fmla="*/ 1890 h 2629"/>
                  <a:gd name="T70" fmla="*/ 373 w 1909"/>
                  <a:gd name="T71" fmla="*/ 2009 h 2629"/>
                  <a:gd name="T72" fmla="*/ 202 w 1909"/>
                  <a:gd name="T73" fmla="*/ 2067 h 2629"/>
                  <a:gd name="T74" fmla="*/ 133 w 1909"/>
                  <a:gd name="T75" fmla="*/ 2063 h 2629"/>
                  <a:gd name="T76" fmla="*/ 48 w 1909"/>
                  <a:gd name="T77" fmla="*/ 2239 h 2629"/>
                  <a:gd name="T78" fmla="*/ 102 w 1909"/>
                  <a:gd name="T79" fmla="*/ 2333 h 2629"/>
                  <a:gd name="T80" fmla="*/ 26 w 1909"/>
                  <a:gd name="T81" fmla="*/ 2404 h 2629"/>
                  <a:gd name="T82" fmla="*/ 40 w 1909"/>
                  <a:gd name="T83" fmla="*/ 2495 h 2629"/>
                  <a:gd name="T84" fmla="*/ 188 w 1909"/>
                  <a:gd name="T85" fmla="*/ 2618 h 2629"/>
                  <a:gd name="T86" fmla="*/ 361 w 1909"/>
                  <a:gd name="T87" fmla="*/ 2622 h 2629"/>
                  <a:gd name="T88" fmla="*/ 571 w 1909"/>
                  <a:gd name="T89" fmla="*/ 2563 h 2629"/>
                  <a:gd name="T90" fmla="*/ 828 w 1909"/>
                  <a:gd name="T91" fmla="*/ 2441 h 2629"/>
                  <a:gd name="T92" fmla="*/ 995 w 1909"/>
                  <a:gd name="T93" fmla="*/ 2220 h 2629"/>
                  <a:gd name="T94" fmla="*/ 1311 w 1909"/>
                  <a:gd name="T95" fmla="*/ 2224 h 2629"/>
                  <a:gd name="T96" fmla="*/ 1587 w 1909"/>
                  <a:gd name="T97" fmla="*/ 2274 h 2629"/>
                  <a:gd name="T98" fmla="*/ 1704 w 1909"/>
                  <a:gd name="T99" fmla="*/ 2131 h 2629"/>
                  <a:gd name="T100" fmla="*/ 1726 w 1909"/>
                  <a:gd name="T101" fmla="*/ 1984 h 2629"/>
                  <a:gd name="T102" fmla="*/ 1752 w 1909"/>
                  <a:gd name="T103" fmla="*/ 1786 h 2629"/>
                  <a:gd name="T104" fmla="*/ 1764 w 1909"/>
                  <a:gd name="T105" fmla="*/ 1710 h 2629"/>
                  <a:gd name="T106" fmla="*/ 1829 w 1909"/>
                  <a:gd name="T107" fmla="*/ 1561 h 2629"/>
                  <a:gd name="T108" fmla="*/ 1768 w 1909"/>
                  <a:gd name="T109" fmla="*/ 1396 h 2629"/>
                  <a:gd name="T110" fmla="*/ 1756 w 1909"/>
                  <a:gd name="T111" fmla="*/ 1221 h 2629"/>
                  <a:gd name="T112" fmla="*/ 1909 w 1909"/>
                  <a:gd name="T113" fmla="*/ 1122 h 2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09" h="2629">
                    <a:moveTo>
                      <a:pt x="1909" y="1122"/>
                    </a:moveTo>
                    <a:cubicBezTo>
                      <a:pt x="1906" y="1113"/>
                      <a:pt x="1904" y="1104"/>
                      <a:pt x="1899" y="1097"/>
                    </a:cubicBezTo>
                    <a:cubicBezTo>
                      <a:pt x="1896" y="1092"/>
                      <a:pt x="1888" y="1088"/>
                      <a:pt x="1885" y="1081"/>
                    </a:cubicBezTo>
                    <a:cubicBezTo>
                      <a:pt x="1883" y="1076"/>
                      <a:pt x="1884" y="1069"/>
                      <a:pt x="1882" y="1064"/>
                    </a:cubicBezTo>
                    <a:cubicBezTo>
                      <a:pt x="1879" y="1056"/>
                      <a:pt x="1877" y="1056"/>
                      <a:pt x="1873" y="1050"/>
                    </a:cubicBezTo>
                    <a:cubicBezTo>
                      <a:pt x="1870" y="1046"/>
                      <a:pt x="1869" y="1039"/>
                      <a:pt x="1867" y="1034"/>
                    </a:cubicBezTo>
                    <a:cubicBezTo>
                      <a:pt x="1862" y="1024"/>
                      <a:pt x="1859" y="1020"/>
                      <a:pt x="1851" y="1011"/>
                    </a:cubicBezTo>
                    <a:cubicBezTo>
                      <a:pt x="1848" y="1008"/>
                      <a:pt x="1842" y="999"/>
                      <a:pt x="1839" y="997"/>
                    </a:cubicBezTo>
                    <a:cubicBezTo>
                      <a:pt x="1835" y="995"/>
                      <a:pt x="1832" y="999"/>
                      <a:pt x="1831" y="998"/>
                    </a:cubicBezTo>
                    <a:cubicBezTo>
                      <a:pt x="1827" y="997"/>
                      <a:pt x="1815" y="994"/>
                      <a:pt x="1812" y="990"/>
                    </a:cubicBezTo>
                    <a:cubicBezTo>
                      <a:pt x="1810" y="988"/>
                      <a:pt x="1806" y="976"/>
                      <a:pt x="1805" y="973"/>
                    </a:cubicBezTo>
                    <a:cubicBezTo>
                      <a:pt x="1802" y="959"/>
                      <a:pt x="1808" y="965"/>
                      <a:pt x="1811" y="956"/>
                    </a:cubicBezTo>
                    <a:cubicBezTo>
                      <a:pt x="1813" y="953"/>
                      <a:pt x="1816" y="955"/>
                      <a:pt x="1817" y="950"/>
                    </a:cubicBezTo>
                    <a:cubicBezTo>
                      <a:pt x="1817" y="948"/>
                      <a:pt x="1811" y="941"/>
                      <a:pt x="1810" y="938"/>
                    </a:cubicBezTo>
                    <a:cubicBezTo>
                      <a:pt x="1808" y="932"/>
                      <a:pt x="1809" y="925"/>
                      <a:pt x="1807" y="920"/>
                    </a:cubicBezTo>
                    <a:cubicBezTo>
                      <a:pt x="1804" y="910"/>
                      <a:pt x="1790" y="906"/>
                      <a:pt x="1789" y="898"/>
                    </a:cubicBezTo>
                    <a:cubicBezTo>
                      <a:pt x="1787" y="890"/>
                      <a:pt x="1794" y="877"/>
                      <a:pt x="1802" y="876"/>
                    </a:cubicBezTo>
                    <a:cubicBezTo>
                      <a:pt x="1812" y="874"/>
                      <a:pt x="1810" y="882"/>
                      <a:pt x="1815" y="885"/>
                    </a:cubicBezTo>
                    <a:cubicBezTo>
                      <a:pt x="1826" y="890"/>
                      <a:pt x="1823" y="885"/>
                      <a:pt x="1834" y="878"/>
                    </a:cubicBezTo>
                    <a:cubicBezTo>
                      <a:pt x="1842" y="872"/>
                      <a:pt x="1852" y="871"/>
                      <a:pt x="1847" y="859"/>
                    </a:cubicBezTo>
                    <a:cubicBezTo>
                      <a:pt x="1841" y="847"/>
                      <a:pt x="1816" y="846"/>
                      <a:pt x="1808" y="836"/>
                    </a:cubicBezTo>
                    <a:cubicBezTo>
                      <a:pt x="1805" y="832"/>
                      <a:pt x="1807" y="826"/>
                      <a:pt x="1804" y="822"/>
                    </a:cubicBezTo>
                    <a:cubicBezTo>
                      <a:pt x="1803" y="819"/>
                      <a:pt x="1798" y="820"/>
                      <a:pt x="1797" y="818"/>
                    </a:cubicBezTo>
                    <a:cubicBezTo>
                      <a:pt x="1796" y="815"/>
                      <a:pt x="1797" y="812"/>
                      <a:pt x="1797" y="809"/>
                    </a:cubicBezTo>
                    <a:cubicBezTo>
                      <a:pt x="1795" y="804"/>
                      <a:pt x="1795" y="799"/>
                      <a:pt x="1793" y="794"/>
                    </a:cubicBezTo>
                    <a:cubicBezTo>
                      <a:pt x="1793" y="794"/>
                      <a:pt x="1786" y="780"/>
                      <a:pt x="1788" y="780"/>
                    </a:cubicBezTo>
                    <a:cubicBezTo>
                      <a:pt x="1781" y="778"/>
                      <a:pt x="1770" y="804"/>
                      <a:pt x="1766" y="805"/>
                    </a:cubicBezTo>
                    <a:cubicBezTo>
                      <a:pt x="1761" y="808"/>
                      <a:pt x="1762" y="810"/>
                      <a:pt x="1757" y="803"/>
                    </a:cubicBezTo>
                    <a:cubicBezTo>
                      <a:pt x="1757" y="803"/>
                      <a:pt x="1754" y="785"/>
                      <a:pt x="1754" y="784"/>
                    </a:cubicBezTo>
                    <a:cubicBezTo>
                      <a:pt x="1755" y="776"/>
                      <a:pt x="1762" y="769"/>
                      <a:pt x="1765" y="762"/>
                    </a:cubicBezTo>
                    <a:cubicBezTo>
                      <a:pt x="1768" y="756"/>
                      <a:pt x="1767" y="747"/>
                      <a:pt x="1770" y="742"/>
                    </a:cubicBezTo>
                    <a:cubicBezTo>
                      <a:pt x="1773" y="734"/>
                      <a:pt x="1778" y="735"/>
                      <a:pt x="1778" y="725"/>
                    </a:cubicBezTo>
                    <a:cubicBezTo>
                      <a:pt x="1778" y="716"/>
                      <a:pt x="1769" y="707"/>
                      <a:pt x="1768" y="699"/>
                    </a:cubicBezTo>
                    <a:cubicBezTo>
                      <a:pt x="1767" y="692"/>
                      <a:pt x="1777" y="681"/>
                      <a:pt x="1774" y="676"/>
                    </a:cubicBezTo>
                    <a:cubicBezTo>
                      <a:pt x="1774" y="676"/>
                      <a:pt x="1763" y="675"/>
                      <a:pt x="1761" y="672"/>
                    </a:cubicBezTo>
                    <a:cubicBezTo>
                      <a:pt x="1756" y="668"/>
                      <a:pt x="1755" y="647"/>
                      <a:pt x="1754" y="639"/>
                    </a:cubicBezTo>
                    <a:cubicBezTo>
                      <a:pt x="1753" y="629"/>
                      <a:pt x="1752" y="613"/>
                      <a:pt x="1747" y="605"/>
                    </a:cubicBezTo>
                    <a:cubicBezTo>
                      <a:pt x="1744" y="600"/>
                      <a:pt x="1738" y="597"/>
                      <a:pt x="1735" y="593"/>
                    </a:cubicBezTo>
                    <a:cubicBezTo>
                      <a:pt x="1732" y="590"/>
                      <a:pt x="1728" y="580"/>
                      <a:pt x="1726" y="578"/>
                    </a:cubicBezTo>
                    <a:cubicBezTo>
                      <a:pt x="1720" y="574"/>
                      <a:pt x="1702" y="578"/>
                      <a:pt x="1698" y="587"/>
                    </a:cubicBezTo>
                    <a:cubicBezTo>
                      <a:pt x="1694" y="594"/>
                      <a:pt x="1695" y="601"/>
                      <a:pt x="1690" y="608"/>
                    </a:cubicBezTo>
                    <a:cubicBezTo>
                      <a:pt x="1684" y="616"/>
                      <a:pt x="1685" y="612"/>
                      <a:pt x="1676" y="618"/>
                    </a:cubicBezTo>
                    <a:cubicBezTo>
                      <a:pt x="1671" y="621"/>
                      <a:pt x="1677" y="625"/>
                      <a:pt x="1670" y="625"/>
                    </a:cubicBezTo>
                    <a:cubicBezTo>
                      <a:pt x="1661" y="625"/>
                      <a:pt x="1657" y="617"/>
                      <a:pt x="1655" y="610"/>
                    </a:cubicBezTo>
                    <a:cubicBezTo>
                      <a:pt x="1651" y="600"/>
                      <a:pt x="1648" y="588"/>
                      <a:pt x="1642" y="577"/>
                    </a:cubicBezTo>
                    <a:cubicBezTo>
                      <a:pt x="1640" y="571"/>
                      <a:pt x="1637" y="569"/>
                      <a:pt x="1636" y="562"/>
                    </a:cubicBezTo>
                    <a:cubicBezTo>
                      <a:pt x="1635" y="555"/>
                      <a:pt x="1639" y="550"/>
                      <a:pt x="1635" y="544"/>
                    </a:cubicBezTo>
                    <a:cubicBezTo>
                      <a:pt x="1634" y="541"/>
                      <a:pt x="1626" y="538"/>
                      <a:pt x="1624" y="535"/>
                    </a:cubicBezTo>
                    <a:cubicBezTo>
                      <a:pt x="1621" y="530"/>
                      <a:pt x="1621" y="521"/>
                      <a:pt x="1618" y="515"/>
                    </a:cubicBezTo>
                    <a:cubicBezTo>
                      <a:pt x="1616" y="511"/>
                      <a:pt x="1609" y="501"/>
                      <a:pt x="1605" y="500"/>
                    </a:cubicBezTo>
                    <a:cubicBezTo>
                      <a:pt x="1597" y="498"/>
                      <a:pt x="1592" y="507"/>
                      <a:pt x="1584" y="508"/>
                    </a:cubicBezTo>
                    <a:cubicBezTo>
                      <a:pt x="1572" y="510"/>
                      <a:pt x="1567" y="505"/>
                      <a:pt x="1556" y="516"/>
                    </a:cubicBezTo>
                    <a:cubicBezTo>
                      <a:pt x="1550" y="523"/>
                      <a:pt x="1547" y="529"/>
                      <a:pt x="1539" y="535"/>
                    </a:cubicBezTo>
                    <a:cubicBezTo>
                      <a:pt x="1533" y="540"/>
                      <a:pt x="1523" y="546"/>
                      <a:pt x="1519" y="552"/>
                    </a:cubicBezTo>
                    <a:cubicBezTo>
                      <a:pt x="1514" y="558"/>
                      <a:pt x="1519" y="566"/>
                      <a:pt x="1508" y="567"/>
                    </a:cubicBezTo>
                    <a:cubicBezTo>
                      <a:pt x="1499" y="569"/>
                      <a:pt x="1502" y="562"/>
                      <a:pt x="1496" y="560"/>
                    </a:cubicBezTo>
                    <a:cubicBezTo>
                      <a:pt x="1483" y="556"/>
                      <a:pt x="1488" y="563"/>
                      <a:pt x="1481" y="567"/>
                    </a:cubicBezTo>
                    <a:cubicBezTo>
                      <a:pt x="1476" y="569"/>
                      <a:pt x="1472" y="577"/>
                      <a:pt x="1467" y="565"/>
                    </a:cubicBezTo>
                    <a:cubicBezTo>
                      <a:pt x="1464" y="560"/>
                      <a:pt x="1469" y="553"/>
                      <a:pt x="1467" y="548"/>
                    </a:cubicBezTo>
                    <a:cubicBezTo>
                      <a:pt x="1463" y="536"/>
                      <a:pt x="1436" y="528"/>
                      <a:pt x="1441" y="513"/>
                    </a:cubicBezTo>
                    <a:cubicBezTo>
                      <a:pt x="1444" y="506"/>
                      <a:pt x="1449" y="509"/>
                      <a:pt x="1453" y="505"/>
                    </a:cubicBezTo>
                    <a:cubicBezTo>
                      <a:pt x="1457" y="499"/>
                      <a:pt x="1458" y="493"/>
                      <a:pt x="1463" y="488"/>
                    </a:cubicBezTo>
                    <a:cubicBezTo>
                      <a:pt x="1470" y="481"/>
                      <a:pt x="1488" y="480"/>
                      <a:pt x="1494" y="470"/>
                    </a:cubicBezTo>
                    <a:cubicBezTo>
                      <a:pt x="1505" y="453"/>
                      <a:pt x="1481" y="461"/>
                      <a:pt x="1473" y="454"/>
                    </a:cubicBezTo>
                    <a:cubicBezTo>
                      <a:pt x="1469" y="450"/>
                      <a:pt x="1475" y="446"/>
                      <a:pt x="1470" y="442"/>
                    </a:cubicBezTo>
                    <a:cubicBezTo>
                      <a:pt x="1466" y="438"/>
                      <a:pt x="1454" y="444"/>
                      <a:pt x="1448" y="436"/>
                    </a:cubicBezTo>
                    <a:cubicBezTo>
                      <a:pt x="1448" y="436"/>
                      <a:pt x="1450" y="427"/>
                      <a:pt x="1448" y="425"/>
                    </a:cubicBezTo>
                    <a:cubicBezTo>
                      <a:pt x="1444" y="421"/>
                      <a:pt x="1444" y="425"/>
                      <a:pt x="1437" y="424"/>
                    </a:cubicBezTo>
                    <a:cubicBezTo>
                      <a:pt x="1429" y="423"/>
                      <a:pt x="1414" y="426"/>
                      <a:pt x="1407" y="425"/>
                    </a:cubicBezTo>
                    <a:cubicBezTo>
                      <a:pt x="1399" y="423"/>
                      <a:pt x="1396" y="415"/>
                      <a:pt x="1389" y="410"/>
                    </a:cubicBezTo>
                    <a:cubicBezTo>
                      <a:pt x="1383" y="406"/>
                      <a:pt x="1376" y="408"/>
                      <a:pt x="1375" y="399"/>
                    </a:cubicBezTo>
                    <a:cubicBezTo>
                      <a:pt x="1373" y="390"/>
                      <a:pt x="1383" y="386"/>
                      <a:pt x="1376" y="377"/>
                    </a:cubicBezTo>
                    <a:cubicBezTo>
                      <a:pt x="1373" y="374"/>
                      <a:pt x="1370" y="379"/>
                      <a:pt x="1368" y="378"/>
                    </a:cubicBezTo>
                    <a:cubicBezTo>
                      <a:pt x="1366" y="377"/>
                      <a:pt x="1363" y="371"/>
                      <a:pt x="1362" y="371"/>
                    </a:cubicBezTo>
                    <a:cubicBezTo>
                      <a:pt x="1359" y="369"/>
                      <a:pt x="1355" y="373"/>
                      <a:pt x="1350" y="369"/>
                    </a:cubicBezTo>
                    <a:cubicBezTo>
                      <a:pt x="1332" y="356"/>
                      <a:pt x="1368" y="340"/>
                      <a:pt x="1367" y="325"/>
                    </a:cubicBezTo>
                    <a:cubicBezTo>
                      <a:pt x="1360" y="325"/>
                      <a:pt x="1357" y="321"/>
                      <a:pt x="1353" y="317"/>
                    </a:cubicBezTo>
                    <a:cubicBezTo>
                      <a:pt x="1344" y="308"/>
                      <a:pt x="1348" y="310"/>
                      <a:pt x="1337" y="307"/>
                    </a:cubicBezTo>
                    <a:cubicBezTo>
                      <a:pt x="1322" y="303"/>
                      <a:pt x="1315" y="297"/>
                      <a:pt x="1316" y="279"/>
                    </a:cubicBezTo>
                    <a:cubicBezTo>
                      <a:pt x="1316" y="269"/>
                      <a:pt x="1321" y="266"/>
                      <a:pt x="1317" y="258"/>
                    </a:cubicBezTo>
                    <a:cubicBezTo>
                      <a:pt x="1314" y="253"/>
                      <a:pt x="1305" y="249"/>
                      <a:pt x="1301" y="244"/>
                    </a:cubicBezTo>
                    <a:cubicBezTo>
                      <a:pt x="1297" y="237"/>
                      <a:pt x="1296" y="228"/>
                      <a:pt x="1290" y="223"/>
                    </a:cubicBezTo>
                    <a:cubicBezTo>
                      <a:pt x="1285" y="219"/>
                      <a:pt x="1279" y="221"/>
                      <a:pt x="1276" y="220"/>
                    </a:cubicBezTo>
                    <a:cubicBezTo>
                      <a:pt x="1268" y="214"/>
                      <a:pt x="1264" y="203"/>
                      <a:pt x="1263" y="194"/>
                    </a:cubicBezTo>
                    <a:cubicBezTo>
                      <a:pt x="1261" y="182"/>
                      <a:pt x="1266" y="179"/>
                      <a:pt x="1266" y="168"/>
                    </a:cubicBezTo>
                    <a:cubicBezTo>
                      <a:pt x="1265" y="154"/>
                      <a:pt x="1245" y="153"/>
                      <a:pt x="1237" y="166"/>
                    </a:cubicBezTo>
                    <a:cubicBezTo>
                      <a:pt x="1234" y="172"/>
                      <a:pt x="1238" y="194"/>
                      <a:pt x="1229" y="192"/>
                    </a:cubicBezTo>
                    <a:cubicBezTo>
                      <a:pt x="1222" y="191"/>
                      <a:pt x="1221" y="172"/>
                      <a:pt x="1219" y="166"/>
                    </a:cubicBezTo>
                    <a:cubicBezTo>
                      <a:pt x="1219" y="162"/>
                      <a:pt x="1219" y="157"/>
                      <a:pt x="1217" y="153"/>
                    </a:cubicBezTo>
                    <a:cubicBezTo>
                      <a:pt x="1211" y="138"/>
                      <a:pt x="1210" y="150"/>
                      <a:pt x="1201" y="143"/>
                    </a:cubicBezTo>
                    <a:cubicBezTo>
                      <a:pt x="1193" y="136"/>
                      <a:pt x="1194" y="98"/>
                      <a:pt x="1192" y="86"/>
                    </a:cubicBezTo>
                    <a:cubicBezTo>
                      <a:pt x="1190" y="66"/>
                      <a:pt x="1189" y="9"/>
                      <a:pt x="1161" y="12"/>
                    </a:cubicBezTo>
                    <a:cubicBezTo>
                      <a:pt x="1154" y="12"/>
                      <a:pt x="1141" y="20"/>
                      <a:pt x="1135" y="23"/>
                    </a:cubicBezTo>
                    <a:cubicBezTo>
                      <a:pt x="1129" y="27"/>
                      <a:pt x="1125" y="36"/>
                      <a:pt x="1120" y="38"/>
                    </a:cubicBezTo>
                    <a:cubicBezTo>
                      <a:pt x="1111" y="41"/>
                      <a:pt x="1112" y="36"/>
                      <a:pt x="1104" y="33"/>
                    </a:cubicBezTo>
                    <a:cubicBezTo>
                      <a:pt x="1101" y="32"/>
                      <a:pt x="1097" y="35"/>
                      <a:pt x="1094" y="34"/>
                    </a:cubicBezTo>
                    <a:cubicBezTo>
                      <a:pt x="1091" y="33"/>
                      <a:pt x="1092" y="30"/>
                      <a:pt x="1090" y="29"/>
                    </a:cubicBezTo>
                    <a:cubicBezTo>
                      <a:pt x="1084" y="26"/>
                      <a:pt x="1078" y="25"/>
                      <a:pt x="1073" y="20"/>
                    </a:cubicBezTo>
                    <a:cubicBezTo>
                      <a:pt x="1069" y="16"/>
                      <a:pt x="1069" y="9"/>
                      <a:pt x="1064" y="6"/>
                    </a:cubicBezTo>
                    <a:cubicBezTo>
                      <a:pt x="1061" y="4"/>
                      <a:pt x="1045" y="0"/>
                      <a:pt x="1041" y="2"/>
                    </a:cubicBezTo>
                    <a:cubicBezTo>
                      <a:pt x="1035" y="5"/>
                      <a:pt x="1040" y="10"/>
                      <a:pt x="1036" y="13"/>
                    </a:cubicBezTo>
                    <a:cubicBezTo>
                      <a:pt x="1026" y="19"/>
                      <a:pt x="1024" y="6"/>
                      <a:pt x="1011" y="5"/>
                    </a:cubicBezTo>
                    <a:cubicBezTo>
                      <a:pt x="1003" y="5"/>
                      <a:pt x="995" y="9"/>
                      <a:pt x="988" y="12"/>
                    </a:cubicBezTo>
                    <a:cubicBezTo>
                      <a:pt x="975" y="19"/>
                      <a:pt x="983" y="15"/>
                      <a:pt x="975" y="23"/>
                    </a:cubicBezTo>
                    <a:cubicBezTo>
                      <a:pt x="970" y="28"/>
                      <a:pt x="959" y="35"/>
                      <a:pt x="958" y="42"/>
                    </a:cubicBezTo>
                    <a:cubicBezTo>
                      <a:pt x="956" y="53"/>
                      <a:pt x="968" y="55"/>
                      <a:pt x="974" y="63"/>
                    </a:cubicBezTo>
                    <a:cubicBezTo>
                      <a:pt x="977" y="67"/>
                      <a:pt x="984" y="76"/>
                      <a:pt x="981" y="82"/>
                    </a:cubicBezTo>
                    <a:cubicBezTo>
                      <a:pt x="976" y="91"/>
                      <a:pt x="967" y="81"/>
                      <a:pt x="963" y="85"/>
                    </a:cubicBezTo>
                    <a:cubicBezTo>
                      <a:pt x="959" y="89"/>
                      <a:pt x="961" y="108"/>
                      <a:pt x="961" y="112"/>
                    </a:cubicBezTo>
                    <a:cubicBezTo>
                      <a:pt x="962" y="129"/>
                      <a:pt x="979" y="149"/>
                      <a:pt x="970" y="161"/>
                    </a:cubicBezTo>
                    <a:cubicBezTo>
                      <a:pt x="964" y="169"/>
                      <a:pt x="945" y="170"/>
                      <a:pt x="940" y="178"/>
                    </a:cubicBezTo>
                    <a:cubicBezTo>
                      <a:pt x="935" y="189"/>
                      <a:pt x="952" y="193"/>
                      <a:pt x="955" y="202"/>
                    </a:cubicBezTo>
                    <a:cubicBezTo>
                      <a:pt x="959" y="211"/>
                      <a:pt x="953" y="221"/>
                      <a:pt x="960" y="225"/>
                    </a:cubicBezTo>
                    <a:cubicBezTo>
                      <a:pt x="964" y="227"/>
                      <a:pt x="974" y="224"/>
                      <a:pt x="978" y="229"/>
                    </a:cubicBezTo>
                    <a:cubicBezTo>
                      <a:pt x="984" y="236"/>
                      <a:pt x="979" y="240"/>
                      <a:pt x="980" y="247"/>
                    </a:cubicBezTo>
                    <a:cubicBezTo>
                      <a:pt x="980" y="253"/>
                      <a:pt x="980" y="254"/>
                      <a:pt x="983" y="259"/>
                    </a:cubicBezTo>
                    <a:cubicBezTo>
                      <a:pt x="986" y="264"/>
                      <a:pt x="991" y="266"/>
                      <a:pt x="993" y="268"/>
                    </a:cubicBezTo>
                    <a:cubicBezTo>
                      <a:pt x="998" y="276"/>
                      <a:pt x="997" y="291"/>
                      <a:pt x="1004" y="296"/>
                    </a:cubicBezTo>
                    <a:cubicBezTo>
                      <a:pt x="1009" y="300"/>
                      <a:pt x="1014" y="294"/>
                      <a:pt x="1015" y="295"/>
                    </a:cubicBezTo>
                    <a:cubicBezTo>
                      <a:pt x="1022" y="300"/>
                      <a:pt x="1015" y="309"/>
                      <a:pt x="1018" y="314"/>
                    </a:cubicBezTo>
                    <a:cubicBezTo>
                      <a:pt x="1031" y="332"/>
                      <a:pt x="1033" y="296"/>
                      <a:pt x="1037" y="294"/>
                    </a:cubicBezTo>
                    <a:cubicBezTo>
                      <a:pt x="1036" y="294"/>
                      <a:pt x="1061" y="293"/>
                      <a:pt x="1060" y="293"/>
                    </a:cubicBezTo>
                    <a:cubicBezTo>
                      <a:pt x="1067" y="296"/>
                      <a:pt x="1066" y="302"/>
                      <a:pt x="1065" y="311"/>
                    </a:cubicBezTo>
                    <a:cubicBezTo>
                      <a:pt x="1063" y="324"/>
                      <a:pt x="1050" y="330"/>
                      <a:pt x="1051" y="340"/>
                    </a:cubicBezTo>
                    <a:cubicBezTo>
                      <a:pt x="1052" y="351"/>
                      <a:pt x="1063" y="355"/>
                      <a:pt x="1066" y="366"/>
                    </a:cubicBezTo>
                    <a:cubicBezTo>
                      <a:pt x="1071" y="382"/>
                      <a:pt x="1061" y="383"/>
                      <a:pt x="1059" y="396"/>
                    </a:cubicBezTo>
                    <a:cubicBezTo>
                      <a:pt x="1059" y="401"/>
                      <a:pt x="1067" y="410"/>
                      <a:pt x="1064" y="415"/>
                    </a:cubicBezTo>
                    <a:cubicBezTo>
                      <a:pt x="1062" y="418"/>
                      <a:pt x="1057" y="411"/>
                      <a:pt x="1055" y="412"/>
                    </a:cubicBezTo>
                    <a:cubicBezTo>
                      <a:pt x="1054" y="413"/>
                      <a:pt x="1052" y="417"/>
                      <a:pt x="1050" y="418"/>
                    </a:cubicBezTo>
                    <a:cubicBezTo>
                      <a:pt x="1047" y="421"/>
                      <a:pt x="1054" y="425"/>
                      <a:pt x="1048" y="428"/>
                    </a:cubicBezTo>
                    <a:cubicBezTo>
                      <a:pt x="1041" y="431"/>
                      <a:pt x="1043" y="420"/>
                      <a:pt x="1042" y="419"/>
                    </a:cubicBezTo>
                    <a:cubicBezTo>
                      <a:pt x="1040" y="417"/>
                      <a:pt x="1035" y="421"/>
                      <a:pt x="1033" y="418"/>
                    </a:cubicBezTo>
                    <a:cubicBezTo>
                      <a:pt x="1032" y="416"/>
                      <a:pt x="1033" y="413"/>
                      <a:pt x="1032" y="411"/>
                    </a:cubicBezTo>
                    <a:cubicBezTo>
                      <a:pt x="1030" y="408"/>
                      <a:pt x="1030" y="403"/>
                      <a:pt x="1027" y="399"/>
                    </a:cubicBezTo>
                    <a:cubicBezTo>
                      <a:pt x="1025" y="405"/>
                      <a:pt x="1020" y="409"/>
                      <a:pt x="1017" y="414"/>
                    </a:cubicBezTo>
                    <a:cubicBezTo>
                      <a:pt x="1012" y="422"/>
                      <a:pt x="1014" y="429"/>
                      <a:pt x="1011" y="435"/>
                    </a:cubicBezTo>
                    <a:cubicBezTo>
                      <a:pt x="1005" y="447"/>
                      <a:pt x="1004" y="434"/>
                      <a:pt x="995" y="443"/>
                    </a:cubicBezTo>
                    <a:cubicBezTo>
                      <a:pt x="993" y="445"/>
                      <a:pt x="994" y="450"/>
                      <a:pt x="996" y="449"/>
                    </a:cubicBezTo>
                    <a:cubicBezTo>
                      <a:pt x="996" y="448"/>
                      <a:pt x="998" y="451"/>
                      <a:pt x="998" y="452"/>
                    </a:cubicBezTo>
                    <a:cubicBezTo>
                      <a:pt x="996" y="454"/>
                      <a:pt x="993" y="452"/>
                      <a:pt x="992" y="453"/>
                    </a:cubicBezTo>
                    <a:cubicBezTo>
                      <a:pt x="990" y="456"/>
                      <a:pt x="974" y="472"/>
                      <a:pt x="970" y="473"/>
                    </a:cubicBezTo>
                    <a:cubicBezTo>
                      <a:pt x="966" y="474"/>
                      <a:pt x="964" y="467"/>
                      <a:pt x="961" y="467"/>
                    </a:cubicBezTo>
                    <a:cubicBezTo>
                      <a:pt x="956" y="467"/>
                      <a:pt x="954" y="470"/>
                      <a:pt x="949" y="471"/>
                    </a:cubicBezTo>
                    <a:cubicBezTo>
                      <a:pt x="934" y="474"/>
                      <a:pt x="923" y="461"/>
                      <a:pt x="907" y="459"/>
                    </a:cubicBezTo>
                    <a:cubicBezTo>
                      <a:pt x="905" y="459"/>
                      <a:pt x="907" y="454"/>
                      <a:pt x="902" y="456"/>
                    </a:cubicBezTo>
                    <a:cubicBezTo>
                      <a:pt x="898" y="457"/>
                      <a:pt x="897" y="460"/>
                      <a:pt x="895" y="462"/>
                    </a:cubicBezTo>
                    <a:cubicBezTo>
                      <a:pt x="890" y="465"/>
                      <a:pt x="883" y="473"/>
                      <a:pt x="876" y="472"/>
                    </a:cubicBezTo>
                    <a:cubicBezTo>
                      <a:pt x="870" y="471"/>
                      <a:pt x="865" y="464"/>
                      <a:pt x="860" y="462"/>
                    </a:cubicBezTo>
                    <a:cubicBezTo>
                      <a:pt x="859" y="461"/>
                      <a:pt x="855" y="465"/>
                      <a:pt x="852" y="464"/>
                    </a:cubicBezTo>
                    <a:cubicBezTo>
                      <a:pt x="846" y="462"/>
                      <a:pt x="842" y="454"/>
                      <a:pt x="836" y="451"/>
                    </a:cubicBezTo>
                    <a:cubicBezTo>
                      <a:pt x="812" y="437"/>
                      <a:pt x="796" y="452"/>
                      <a:pt x="803" y="476"/>
                    </a:cubicBezTo>
                    <a:cubicBezTo>
                      <a:pt x="806" y="486"/>
                      <a:pt x="812" y="500"/>
                      <a:pt x="806" y="510"/>
                    </a:cubicBezTo>
                    <a:cubicBezTo>
                      <a:pt x="802" y="518"/>
                      <a:pt x="781" y="523"/>
                      <a:pt x="794" y="537"/>
                    </a:cubicBezTo>
                    <a:cubicBezTo>
                      <a:pt x="803" y="547"/>
                      <a:pt x="820" y="532"/>
                      <a:pt x="829" y="540"/>
                    </a:cubicBezTo>
                    <a:cubicBezTo>
                      <a:pt x="834" y="545"/>
                      <a:pt x="829" y="555"/>
                      <a:pt x="834" y="561"/>
                    </a:cubicBezTo>
                    <a:cubicBezTo>
                      <a:pt x="839" y="566"/>
                      <a:pt x="852" y="565"/>
                      <a:pt x="853" y="573"/>
                    </a:cubicBezTo>
                    <a:cubicBezTo>
                      <a:pt x="856" y="585"/>
                      <a:pt x="845" y="575"/>
                      <a:pt x="840" y="581"/>
                    </a:cubicBezTo>
                    <a:cubicBezTo>
                      <a:pt x="833" y="592"/>
                      <a:pt x="856" y="631"/>
                      <a:pt x="863" y="637"/>
                    </a:cubicBezTo>
                    <a:cubicBezTo>
                      <a:pt x="870" y="643"/>
                      <a:pt x="872" y="639"/>
                      <a:pt x="874" y="648"/>
                    </a:cubicBezTo>
                    <a:cubicBezTo>
                      <a:pt x="874" y="648"/>
                      <a:pt x="869" y="653"/>
                      <a:pt x="868" y="655"/>
                    </a:cubicBezTo>
                    <a:cubicBezTo>
                      <a:pt x="868" y="658"/>
                      <a:pt x="871" y="665"/>
                      <a:pt x="872" y="667"/>
                    </a:cubicBezTo>
                    <a:cubicBezTo>
                      <a:pt x="874" y="674"/>
                      <a:pt x="874" y="682"/>
                      <a:pt x="880" y="688"/>
                    </a:cubicBezTo>
                    <a:cubicBezTo>
                      <a:pt x="889" y="697"/>
                      <a:pt x="898" y="696"/>
                      <a:pt x="898" y="712"/>
                    </a:cubicBezTo>
                    <a:cubicBezTo>
                      <a:pt x="898" y="718"/>
                      <a:pt x="895" y="722"/>
                      <a:pt x="895" y="728"/>
                    </a:cubicBezTo>
                    <a:cubicBezTo>
                      <a:pt x="896" y="735"/>
                      <a:pt x="901" y="740"/>
                      <a:pt x="902" y="746"/>
                    </a:cubicBezTo>
                    <a:cubicBezTo>
                      <a:pt x="903" y="751"/>
                      <a:pt x="901" y="759"/>
                      <a:pt x="904" y="764"/>
                    </a:cubicBezTo>
                    <a:cubicBezTo>
                      <a:pt x="906" y="767"/>
                      <a:pt x="911" y="766"/>
                      <a:pt x="912" y="769"/>
                    </a:cubicBezTo>
                    <a:cubicBezTo>
                      <a:pt x="918" y="780"/>
                      <a:pt x="914" y="795"/>
                      <a:pt x="920" y="807"/>
                    </a:cubicBezTo>
                    <a:cubicBezTo>
                      <a:pt x="924" y="815"/>
                      <a:pt x="932" y="816"/>
                      <a:pt x="935" y="824"/>
                    </a:cubicBezTo>
                    <a:cubicBezTo>
                      <a:pt x="936" y="828"/>
                      <a:pt x="928" y="837"/>
                      <a:pt x="938" y="841"/>
                    </a:cubicBezTo>
                    <a:cubicBezTo>
                      <a:pt x="944" y="843"/>
                      <a:pt x="943" y="835"/>
                      <a:pt x="948" y="835"/>
                    </a:cubicBezTo>
                    <a:cubicBezTo>
                      <a:pt x="954" y="835"/>
                      <a:pt x="956" y="841"/>
                      <a:pt x="961" y="841"/>
                    </a:cubicBezTo>
                    <a:cubicBezTo>
                      <a:pt x="969" y="842"/>
                      <a:pt x="984" y="823"/>
                      <a:pt x="995" y="826"/>
                    </a:cubicBezTo>
                    <a:cubicBezTo>
                      <a:pt x="1010" y="831"/>
                      <a:pt x="1008" y="852"/>
                      <a:pt x="1016" y="861"/>
                    </a:cubicBezTo>
                    <a:cubicBezTo>
                      <a:pt x="1020" y="866"/>
                      <a:pt x="1033" y="869"/>
                      <a:pt x="1039" y="873"/>
                    </a:cubicBezTo>
                    <a:cubicBezTo>
                      <a:pt x="1041" y="874"/>
                      <a:pt x="1044" y="877"/>
                      <a:pt x="1046" y="878"/>
                    </a:cubicBezTo>
                    <a:cubicBezTo>
                      <a:pt x="1051" y="881"/>
                      <a:pt x="1060" y="879"/>
                      <a:pt x="1063" y="881"/>
                    </a:cubicBezTo>
                    <a:cubicBezTo>
                      <a:pt x="1076" y="887"/>
                      <a:pt x="1076" y="904"/>
                      <a:pt x="1082" y="915"/>
                    </a:cubicBezTo>
                    <a:cubicBezTo>
                      <a:pt x="1081" y="914"/>
                      <a:pt x="1091" y="920"/>
                      <a:pt x="1091" y="920"/>
                    </a:cubicBezTo>
                    <a:cubicBezTo>
                      <a:pt x="1091" y="934"/>
                      <a:pt x="1099" y="938"/>
                      <a:pt x="1102" y="949"/>
                    </a:cubicBezTo>
                    <a:cubicBezTo>
                      <a:pt x="1105" y="955"/>
                      <a:pt x="1102" y="957"/>
                      <a:pt x="1102" y="961"/>
                    </a:cubicBezTo>
                    <a:cubicBezTo>
                      <a:pt x="1102" y="963"/>
                      <a:pt x="1100" y="964"/>
                      <a:pt x="1100" y="966"/>
                    </a:cubicBezTo>
                    <a:cubicBezTo>
                      <a:pt x="1100" y="969"/>
                      <a:pt x="1103" y="973"/>
                      <a:pt x="1103" y="975"/>
                    </a:cubicBezTo>
                    <a:cubicBezTo>
                      <a:pt x="1102" y="984"/>
                      <a:pt x="1102" y="984"/>
                      <a:pt x="1097" y="994"/>
                    </a:cubicBezTo>
                    <a:cubicBezTo>
                      <a:pt x="1093" y="1003"/>
                      <a:pt x="1098" y="1006"/>
                      <a:pt x="1097" y="1014"/>
                    </a:cubicBezTo>
                    <a:cubicBezTo>
                      <a:pt x="1097" y="1012"/>
                      <a:pt x="1093" y="1032"/>
                      <a:pt x="1094" y="1031"/>
                    </a:cubicBezTo>
                    <a:cubicBezTo>
                      <a:pt x="1089" y="1040"/>
                      <a:pt x="1080" y="1038"/>
                      <a:pt x="1073" y="1044"/>
                    </a:cubicBezTo>
                    <a:cubicBezTo>
                      <a:pt x="1072" y="1045"/>
                      <a:pt x="1070" y="1054"/>
                      <a:pt x="1070" y="1054"/>
                    </a:cubicBezTo>
                    <a:cubicBezTo>
                      <a:pt x="1063" y="1058"/>
                      <a:pt x="1065" y="1054"/>
                      <a:pt x="1057" y="1053"/>
                    </a:cubicBezTo>
                    <a:cubicBezTo>
                      <a:pt x="1045" y="1053"/>
                      <a:pt x="1030" y="1054"/>
                      <a:pt x="1020" y="1057"/>
                    </a:cubicBezTo>
                    <a:cubicBezTo>
                      <a:pt x="1012" y="1060"/>
                      <a:pt x="1005" y="1069"/>
                      <a:pt x="999" y="1072"/>
                    </a:cubicBezTo>
                    <a:cubicBezTo>
                      <a:pt x="980" y="1079"/>
                      <a:pt x="963" y="1089"/>
                      <a:pt x="947" y="1102"/>
                    </a:cubicBezTo>
                    <a:cubicBezTo>
                      <a:pt x="943" y="1106"/>
                      <a:pt x="937" y="1112"/>
                      <a:pt x="936" y="1117"/>
                    </a:cubicBezTo>
                    <a:cubicBezTo>
                      <a:pt x="933" y="1126"/>
                      <a:pt x="940" y="1127"/>
                      <a:pt x="933" y="1136"/>
                    </a:cubicBezTo>
                    <a:cubicBezTo>
                      <a:pt x="928" y="1144"/>
                      <a:pt x="919" y="1149"/>
                      <a:pt x="913" y="1157"/>
                    </a:cubicBezTo>
                    <a:cubicBezTo>
                      <a:pt x="911" y="1160"/>
                      <a:pt x="903" y="1167"/>
                      <a:pt x="902" y="1170"/>
                    </a:cubicBezTo>
                    <a:cubicBezTo>
                      <a:pt x="898" y="1181"/>
                      <a:pt x="900" y="1186"/>
                      <a:pt x="893" y="1196"/>
                    </a:cubicBezTo>
                    <a:cubicBezTo>
                      <a:pt x="890" y="1200"/>
                      <a:pt x="887" y="1204"/>
                      <a:pt x="885" y="1208"/>
                    </a:cubicBezTo>
                    <a:cubicBezTo>
                      <a:pt x="884" y="1211"/>
                      <a:pt x="884" y="1218"/>
                      <a:pt x="882" y="1222"/>
                    </a:cubicBezTo>
                    <a:cubicBezTo>
                      <a:pt x="880" y="1228"/>
                      <a:pt x="877" y="1236"/>
                      <a:pt x="871" y="1240"/>
                    </a:cubicBezTo>
                    <a:cubicBezTo>
                      <a:pt x="865" y="1244"/>
                      <a:pt x="861" y="1242"/>
                      <a:pt x="855" y="1245"/>
                    </a:cubicBezTo>
                    <a:cubicBezTo>
                      <a:pt x="854" y="1246"/>
                      <a:pt x="845" y="1255"/>
                      <a:pt x="842" y="1257"/>
                    </a:cubicBezTo>
                    <a:cubicBezTo>
                      <a:pt x="831" y="1265"/>
                      <a:pt x="833" y="1283"/>
                      <a:pt x="819" y="1292"/>
                    </a:cubicBezTo>
                    <a:cubicBezTo>
                      <a:pt x="814" y="1295"/>
                      <a:pt x="811" y="1291"/>
                      <a:pt x="807" y="1295"/>
                    </a:cubicBezTo>
                    <a:cubicBezTo>
                      <a:pt x="805" y="1297"/>
                      <a:pt x="807" y="1304"/>
                      <a:pt x="805" y="1307"/>
                    </a:cubicBezTo>
                    <a:cubicBezTo>
                      <a:pt x="803" y="1310"/>
                      <a:pt x="799" y="1312"/>
                      <a:pt x="796" y="1313"/>
                    </a:cubicBezTo>
                    <a:cubicBezTo>
                      <a:pt x="791" y="1316"/>
                      <a:pt x="782" y="1315"/>
                      <a:pt x="782" y="1315"/>
                    </a:cubicBezTo>
                    <a:cubicBezTo>
                      <a:pt x="778" y="1317"/>
                      <a:pt x="776" y="1320"/>
                      <a:pt x="771" y="1325"/>
                    </a:cubicBezTo>
                    <a:cubicBezTo>
                      <a:pt x="766" y="1329"/>
                      <a:pt x="760" y="1327"/>
                      <a:pt x="757" y="1333"/>
                    </a:cubicBezTo>
                    <a:cubicBezTo>
                      <a:pt x="755" y="1338"/>
                      <a:pt x="763" y="1340"/>
                      <a:pt x="761" y="1344"/>
                    </a:cubicBezTo>
                    <a:cubicBezTo>
                      <a:pt x="758" y="1353"/>
                      <a:pt x="742" y="1352"/>
                      <a:pt x="738" y="1361"/>
                    </a:cubicBezTo>
                    <a:cubicBezTo>
                      <a:pt x="734" y="1372"/>
                      <a:pt x="757" y="1379"/>
                      <a:pt x="757" y="1394"/>
                    </a:cubicBezTo>
                    <a:cubicBezTo>
                      <a:pt x="757" y="1405"/>
                      <a:pt x="746" y="1419"/>
                      <a:pt x="759" y="1430"/>
                    </a:cubicBezTo>
                    <a:cubicBezTo>
                      <a:pt x="769" y="1437"/>
                      <a:pt x="772" y="1429"/>
                      <a:pt x="777" y="1441"/>
                    </a:cubicBezTo>
                    <a:cubicBezTo>
                      <a:pt x="780" y="1446"/>
                      <a:pt x="775" y="1450"/>
                      <a:pt x="781" y="1456"/>
                    </a:cubicBezTo>
                    <a:cubicBezTo>
                      <a:pt x="789" y="1466"/>
                      <a:pt x="784" y="1455"/>
                      <a:pt x="791" y="1458"/>
                    </a:cubicBezTo>
                    <a:cubicBezTo>
                      <a:pt x="790" y="1458"/>
                      <a:pt x="797" y="1462"/>
                      <a:pt x="795" y="1461"/>
                    </a:cubicBezTo>
                    <a:cubicBezTo>
                      <a:pt x="796" y="1461"/>
                      <a:pt x="800" y="1466"/>
                      <a:pt x="803" y="1467"/>
                    </a:cubicBezTo>
                    <a:cubicBezTo>
                      <a:pt x="807" y="1468"/>
                      <a:pt x="811" y="1463"/>
                      <a:pt x="815" y="1465"/>
                    </a:cubicBezTo>
                    <a:cubicBezTo>
                      <a:pt x="829" y="1473"/>
                      <a:pt x="809" y="1489"/>
                      <a:pt x="816" y="1500"/>
                    </a:cubicBezTo>
                    <a:cubicBezTo>
                      <a:pt x="821" y="1494"/>
                      <a:pt x="819" y="1499"/>
                      <a:pt x="824" y="1497"/>
                    </a:cubicBezTo>
                    <a:cubicBezTo>
                      <a:pt x="833" y="1493"/>
                      <a:pt x="823" y="1490"/>
                      <a:pt x="834" y="1493"/>
                    </a:cubicBezTo>
                    <a:cubicBezTo>
                      <a:pt x="849" y="1497"/>
                      <a:pt x="839" y="1499"/>
                      <a:pt x="840" y="1510"/>
                    </a:cubicBezTo>
                    <a:cubicBezTo>
                      <a:pt x="841" y="1515"/>
                      <a:pt x="848" y="1517"/>
                      <a:pt x="846" y="1523"/>
                    </a:cubicBezTo>
                    <a:cubicBezTo>
                      <a:pt x="846" y="1523"/>
                      <a:pt x="837" y="1524"/>
                      <a:pt x="836" y="1528"/>
                    </a:cubicBezTo>
                    <a:cubicBezTo>
                      <a:pt x="835" y="1530"/>
                      <a:pt x="839" y="1533"/>
                      <a:pt x="839" y="1535"/>
                    </a:cubicBezTo>
                    <a:cubicBezTo>
                      <a:pt x="839" y="1540"/>
                      <a:pt x="838" y="1545"/>
                      <a:pt x="839" y="1550"/>
                    </a:cubicBezTo>
                    <a:cubicBezTo>
                      <a:pt x="840" y="1557"/>
                      <a:pt x="843" y="1558"/>
                      <a:pt x="842" y="1565"/>
                    </a:cubicBezTo>
                    <a:cubicBezTo>
                      <a:pt x="841" y="1574"/>
                      <a:pt x="836" y="1589"/>
                      <a:pt x="831" y="1596"/>
                    </a:cubicBezTo>
                    <a:cubicBezTo>
                      <a:pt x="818" y="1622"/>
                      <a:pt x="792" y="1629"/>
                      <a:pt x="778" y="1654"/>
                    </a:cubicBezTo>
                    <a:cubicBezTo>
                      <a:pt x="776" y="1657"/>
                      <a:pt x="775" y="1661"/>
                      <a:pt x="774" y="1665"/>
                    </a:cubicBezTo>
                    <a:cubicBezTo>
                      <a:pt x="773" y="1668"/>
                      <a:pt x="772" y="1675"/>
                      <a:pt x="770" y="1676"/>
                    </a:cubicBezTo>
                    <a:cubicBezTo>
                      <a:pt x="765" y="1680"/>
                      <a:pt x="766" y="1670"/>
                      <a:pt x="763" y="1671"/>
                    </a:cubicBezTo>
                    <a:cubicBezTo>
                      <a:pt x="754" y="1673"/>
                      <a:pt x="743" y="1678"/>
                      <a:pt x="732" y="1680"/>
                    </a:cubicBezTo>
                    <a:cubicBezTo>
                      <a:pt x="721" y="1682"/>
                      <a:pt x="717" y="1683"/>
                      <a:pt x="708" y="1693"/>
                    </a:cubicBezTo>
                    <a:cubicBezTo>
                      <a:pt x="701" y="1701"/>
                      <a:pt x="696" y="1710"/>
                      <a:pt x="689" y="1718"/>
                    </a:cubicBezTo>
                    <a:cubicBezTo>
                      <a:pt x="680" y="1727"/>
                      <a:pt x="681" y="1724"/>
                      <a:pt x="671" y="1727"/>
                    </a:cubicBezTo>
                    <a:cubicBezTo>
                      <a:pt x="663" y="1729"/>
                      <a:pt x="653" y="1735"/>
                      <a:pt x="646" y="1735"/>
                    </a:cubicBezTo>
                    <a:cubicBezTo>
                      <a:pt x="637" y="1736"/>
                      <a:pt x="631" y="1728"/>
                      <a:pt x="623" y="1736"/>
                    </a:cubicBezTo>
                    <a:cubicBezTo>
                      <a:pt x="615" y="1746"/>
                      <a:pt x="627" y="1772"/>
                      <a:pt x="608" y="1775"/>
                    </a:cubicBezTo>
                    <a:cubicBezTo>
                      <a:pt x="602" y="1776"/>
                      <a:pt x="598" y="1769"/>
                      <a:pt x="593" y="1768"/>
                    </a:cubicBezTo>
                    <a:cubicBezTo>
                      <a:pt x="590" y="1767"/>
                      <a:pt x="586" y="1771"/>
                      <a:pt x="584" y="1770"/>
                    </a:cubicBezTo>
                    <a:cubicBezTo>
                      <a:pt x="577" y="1768"/>
                      <a:pt x="580" y="1764"/>
                      <a:pt x="574" y="1760"/>
                    </a:cubicBezTo>
                    <a:cubicBezTo>
                      <a:pt x="560" y="1753"/>
                      <a:pt x="543" y="1794"/>
                      <a:pt x="537" y="1806"/>
                    </a:cubicBezTo>
                    <a:cubicBezTo>
                      <a:pt x="523" y="1837"/>
                      <a:pt x="512" y="1871"/>
                      <a:pt x="481" y="1890"/>
                    </a:cubicBezTo>
                    <a:cubicBezTo>
                      <a:pt x="467" y="1898"/>
                      <a:pt x="443" y="1905"/>
                      <a:pt x="433" y="1918"/>
                    </a:cubicBezTo>
                    <a:cubicBezTo>
                      <a:pt x="428" y="1925"/>
                      <a:pt x="430" y="1929"/>
                      <a:pt x="427" y="1935"/>
                    </a:cubicBezTo>
                    <a:cubicBezTo>
                      <a:pt x="423" y="1942"/>
                      <a:pt x="417" y="1943"/>
                      <a:pt x="412" y="1953"/>
                    </a:cubicBezTo>
                    <a:cubicBezTo>
                      <a:pt x="409" y="1959"/>
                      <a:pt x="407" y="1956"/>
                      <a:pt x="407" y="1962"/>
                    </a:cubicBezTo>
                    <a:cubicBezTo>
                      <a:pt x="407" y="1963"/>
                      <a:pt x="410" y="1966"/>
                      <a:pt x="410" y="1968"/>
                    </a:cubicBezTo>
                    <a:cubicBezTo>
                      <a:pt x="410" y="1980"/>
                      <a:pt x="411" y="1972"/>
                      <a:pt x="403" y="1982"/>
                    </a:cubicBezTo>
                    <a:cubicBezTo>
                      <a:pt x="394" y="1995"/>
                      <a:pt x="392" y="2007"/>
                      <a:pt x="373" y="2009"/>
                    </a:cubicBezTo>
                    <a:cubicBezTo>
                      <a:pt x="368" y="2009"/>
                      <a:pt x="360" y="2009"/>
                      <a:pt x="355" y="2007"/>
                    </a:cubicBezTo>
                    <a:cubicBezTo>
                      <a:pt x="347" y="2003"/>
                      <a:pt x="347" y="1998"/>
                      <a:pt x="340" y="1994"/>
                    </a:cubicBezTo>
                    <a:cubicBezTo>
                      <a:pt x="334" y="1990"/>
                      <a:pt x="324" y="1993"/>
                      <a:pt x="317" y="1993"/>
                    </a:cubicBezTo>
                    <a:cubicBezTo>
                      <a:pt x="309" y="1994"/>
                      <a:pt x="296" y="1990"/>
                      <a:pt x="289" y="1992"/>
                    </a:cubicBezTo>
                    <a:cubicBezTo>
                      <a:pt x="276" y="1995"/>
                      <a:pt x="262" y="2016"/>
                      <a:pt x="253" y="2026"/>
                    </a:cubicBezTo>
                    <a:cubicBezTo>
                      <a:pt x="245" y="2035"/>
                      <a:pt x="237" y="2042"/>
                      <a:pt x="227" y="2048"/>
                    </a:cubicBezTo>
                    <a:cubicBezTo>
                      <a:pt x="217" y="2054"/>
                      <a:pt x="209" y="2057"/>
                      <a:pt x="202" y="2067"/>
                    </a:cubicBezTo>
                    <a:cubicBezTo>
                      <a:pt x="197" y="2072"/>
                      <a:pt x="202" y="2073"/>
                      <a:pt x="197" y="2075"/>
                    </a:cubicBezTo>
                    <a:cubicBezTo>
                      <a:pt x="197" y="2076"/>
                      <a:pt x="195" y="2069"/>
                      <a:pt x="195" y="2069"/>
                    </a:cubicBezTo>
                    <a:cubicBezTo>
                      <a:pt x="194" y="2069"/>
                      <a:pt x="187" y="2073"/>
                      <a:pt x="187" y="2073"/>
                    </a:cubicBezTo>
                    <a:cubicBezTo>
                      <a:pt x="183" y="2073"/>
                      <a:pt x="184" y="2076"/>
                      <a:pt x="179" y="2074"/>
                    </a:cubicBezTo>
                    <a:cubicBezTo>
                      <a:pt x="175" y="2073"/>
                      <a:pt x="169" y="2065"/>
                      <a:pt x="167" y="2063"/>
                    </a:cubicBezTo>
                    <a:cubicBezTo>
                      <a:pt x="165" y="2060"/>
                      <a:pt x="159" y="2050"/>
                      <a:pt x="157" y="2048"/>
                    </a:cubicBezTo>
                    <a:cubicBezTo>
                      <a:pt x="141" y="2037"/>
                      <a:pt x="146" y="2057"/>
                      <a:pt x="133" y="2063"/>
                    </a:cubicBezTo>
                    <a:cubicBezTo>
                      <a:pt x="119" y="2070"/>
                      <a:pt x="101" y="2064"/>
                      <a:pt x="89" y="2058"/>
                    </a:cubicBezTo>
                    <a:cubicBezTo>
                      <a:pt x="77" y="2052"/>
                      <a:pt x="75" y="2054"/>
                      <a:pt x="70" y="2069"/>
                    </a:cubicBezTo>
                    <a:cubicBezTo>
                      <a:pt x="66" y="2082"/>
                      <a:pt x="68" y="2096"/>
                      <a:pt x="60" y="2109"/>
                    </a:cubicBezTo>
                    <a:cubicBezTo>
                      <a:pt x="50" y="2123"/>
                      <a:pt x="48" y="2120"/>
                      <a:pt x="61" y="2131"/>
                    </a:cubicBezTo>
                    <a:cubicBezTo>
                      <a:pt x="69" y="2137"/>
                      <a:pt x="88" y="2144"/>
                      <a:pt x="89" y="2156"/>
                    </a:cubicBezTo>
                    <a:cubicBezTo>
                      <a:pt x="90" y="2180"/>
                      <a:pt x="63" y="2171"/>
                      <a:pt x="55" y="2183"/>
                    </a:cubicBezTo>
                    <a:cubicBezTo>
                      <a:pt x="47" y="2198"/>
                      <a:pt x="57" y="2225"/>
                      <a:pt x="48" y="2239"/>
                    </a:cubicBezTo>
                    <a:cubicBezTo>
                      <a:pt x="38" y="2254"/>
                      <a:pt x="18" y="2255"/>
                      <a:pt x="33" y="2274"/>
                    </a:cubicBezTo>
                    <a:cubicBezTo>
                      <a:pt x="44" y="2287"/>
                      <a:pt x="65" y="2289"/>
                      <a:pt x="80" y="2293"/>
                    </a:cubicBezTo>
                    <a:cubicBezTo>
                      <a:pt x="93" y="2297"/>
                      <a:pt x="101" y="2308"/>
                      <a:pt x="113" y="2311"/>
                    </a:cubicBezTo>
                    <a:cubicBezTo>
                      <a:pt x="119" y="2312"/>
                      <a:pt x="123" y="2305"/>
                      <a:pt x="128" y="2311"/>
                    </a:cubicBezTo>
                    <a:cubicBezTo>
                      <a:pt x="134" y="2317"/>
                      <a:pt x="125" y="2327"/>
                      <a:pt x="120" y="2330"/>
                    </a:cubicBezTo>
                    <a:cubicBezTo>
                      <a:pt x="118" y="2331"/>
                      <a:pt x="117" y="2326"/>
                      <a:pt x="114" y="2327"/>
                    </a:cubicBezTo>
                    <a:cubicBezTo>
                      <a:pt x="110" y="2328"/>
                      <a:pt x="106" y="2332"/>
                      <a:pt x="102" y="2333"/>
                    </a:cubicBezTo>
                    <a:cubicBezTo>
                      <a:pt x="100" y="2334"/>
                      <a:pt x="96" y="2331"/>
                      <a:pt x="94" y="2332"/>
                    </a:cubicBezTo>
                    <a:cubicBezTo>
                      <a:pt x="92" y="2334"/>
                      <a:pt x="93" y="2337"/>
                      <a:pt x="90" y="2339"/>
                    </a:cubicBezTo>
                    <a:cubicBezTo>
                      <a:pt x="81" y="2346"/>
                      <a:pt x="81" y="2346"/>
                      <a:pt x="72" y="2349"/>
                    </a:cubicBezTo>
                    <a:cubicBezTo>
                      <a:pt x="61" y="2352"/>
                      <a:pt x="63" y="2349"/>
                      <a:pt x="58" y="2357"/>
                    </a:cubicBezTo>
                    <a:cubicBezTo>
                      <a:pt x="57" y="2359"/>
                      <a:pt x="57" y="2366"/>
                      <a:pt x="54" y="2369"/>
                    </a:cubicBezTo>
                    <a:cubicBezTo>
                      <a:pt x="47" y="2381"/>
                      <a:pt x="54" y="2371"/>
                      <a:pt x="43" y="2371"/>
                    </a:cubicBezTo>
                    <a:cubicBezTo>
                      <a:pt x="24" y="2371"/>
                      <a:pt x="31" y="2390"/>
                      <a:pt x="26" y="2404"/>
                    </a:cubicBezTo>
                    <a:cubicBezTo>
                      <a:pt x="25" y="2406"/>
                      <a:pt x="25" y="2410"/>
                      <a:pt x="23" y="2412"/>
                    </a:cubicBezTo>
                    <a:cubicBezTo>
                      <a:pt x="20" y="2414"/>
                      <a:pt x="17" y="2410"/>
                      <a:pt x="17" y="2411"/>
                    </a:cubicBezTo>
                    <a:cubicBezTo>
                      <a:pt x="10" y="2416"/>
                      <a:pt x="13" y="2412"/>
                      <a:pt x="9" y="2421"/>
                    </a:cubicBezTo>
                    <a:cubicBezTo>
                      <a:pt x="0" y="2439"/>
                      <a:pt x="12" y="2437"/>
                      <a:pt x="12" y="2455"/>
                    </a:cubicBezTo>
                    <a:cubicBezTo>
                      <a:pt x="12" y="2461"/>
                      <a:pt x="5" y="2470"/>
                      <a:pt x="7" y="2475"/>
                    </a:cubicBezTo>
                    <a:cubicBezTo>
                      <a:pt x="9" y="2483"/>
                      <a:pt x="22" y="2479"/>
                      <a:pt x="29" y="2481"/>
                    </a:cubicBezTo>
                    <a:cubicBezTo>
                      <a:pt x="42" y="2483"/>
                      <a:pt x="40" y="2482"/>
                      <a:pt x="40" y="2495"/>
                    </a:cubicBezTo>
                    <a:cubicBezTo>
                      <a:pt x="41" y="2506"/>
                      <a:pt x="45" y="2516"/>
                      <a:pt x="46" y="2527"/>
                    </a:cubicBezTo>
                    <a:cubicBezTo>
                      <a:pt x="47" y="2533"/>
                      <a:pt x="42" y="2546"/>
                      <a:pt x="45" y="2550"/>
                    </a:cubicBezTo>
                    <a:cubicBezTo>
                      <a:pt x="48" y="2554"/>
                      <a:pt x="54" y="2549"/>
                      <a:pt x="56" y="2551"/>
                    </a:cubicBezTo>
                    <a:cubicBezTo>
                      <a:pt x="59" y="2554"/>
                      <a:pt x="57" y="2558"/>
                      <a:pt x="59" y="2562"/>
                    </a:cubicBezTo>
                    <a:cubicBezTo>
                      <a:pt x="72" y="2581"/>
                      <a:pt x="91" y="2574"/>
                      <a:pt x="104" y="2588"/>
                    </a:cubicBezTo>
                    <a:cubicBezTo>
                      <a:pt x="117" y="2602"/>
                      <a:pt x="137" y="2624"/>
                      <a:pt x="157" y="2626"/>
                    </a:cubicBezTo>
                    <a:cubicBezTo>
                      <a:pt x="168" y="2627"/>
                      <a:pt x="178" y="2620"/>
                      <a:pt x="188" y="2618"/>
                    </a:cubicBezTo>
                    <a:cubicBezTo>
                      <a:pt x="202" y="2614"/>
                      <a:pt x="213" y="2615"/>
                      <a:pt x="227" y="2614"/>
                    </a:cubicBezTo>
                    <a:cubicBezTo>
                      <a:pt x="237" y="2613"/>
                      <a:pt x="245" y="2608"/>
                      <a:pt x="255" y="2606"/>
                    </a:cubicBezTo>
                    <a:cubicBezTo>
                      <a:pt x="267" y="2604"/>
                      <a:pt x="275" y="2608"/>
                      <a:pt x="287" y="2611"/>
                    </a:cubicBezTo>
                    <a:cubicBezTo>
                      <a:pt x="291" y="2612"/>
                      <a:pt x="295" y="2610"/>
                      <a:pt x="298" y="2611"/>
                    </a:cubicBezTo>
                    <a:cubicBezTo>
                      <a:pt x="301" y="2612"/>
                      <a:pt x="299" y="2618"/>
                      <a:pt x="302" y="2619"/>
                    </a:cubicBezTo>
                    <a:cubicBezTo>
                      <a:pt x="314" y="2624"/>
                      <a:pt x="324" y="2615"/>
                      <a:pt x="337" y="2615"/>
                    </a:cubicBezTo>
                    <a:cubicBezTo>
                      <a:pt x="347" y="2614"/>
                      <a:pt x="353" y="2619"/>
                      <a:pt x="361" y="2622"/>
                    </a:cubicBezTo>
                    <a:cubicBezTo>
                      <a:pt x="374" y="2625"/>
                      <a:pt x="391" y="2626"/>
                      <a:pt x="405" y="2628"/>
                    </a:cubicBezTo>
                    <a:cubicBezTo>
                      <a:pt x="417" y="2629"/>
                      <a:pt x="424" y="2629"/>
                      <a:pt x="433" y="2619"/>
                    </a:cubicBezTo>
                    <a:cubicBezTo>
                      <a:pt x="435" y="2617"/>
                      <a:pt x="438" y="2609"/>
                      <a:pt x="440" y="2608"/>
                    </a:cubicBezTo>
                    <a:cubicBezTo>
                      <a:pt x="447" y="2604"/>
                      <a:pt x="440" y="2607"/>
                      <a:pt x="449" y="2608"/>
                    </a:cubicBezTo>
                    <a:cubicBezTo>
                      <a:pt x="458" y="2609"/>
                      <a:pt x="471" y="2619"/>
                      <a:pt x="481" y="2622"/>
                    </a:cubicBezTo>
                    <a:cubicBezTo>
                      <a:pt x="495" y="2626"/>
                      <a:pt x="506" y="2621"/>
                      <a:pt x="517" y="2613"/>
                    </a:cubicBezTo>
                    <a:cubicBezTo>
                      <a:pt x="538" y="2598"/>
                      <a:pt x="551" y="2577"/>
                      <a:pt x="571" y="2563"/>
                    </a:cubicBezTo>
                    <a:cubicBezTo>
                      <a:pt x="577" y="2559"/>
                      <a:pt x="583" y="2547"/>
                      <a:pt x="589" y="2545"/>
                    </a:cubicBezTo>
                    <a:cubicBezTo>
                      <a:pt x="595" y="2542"/>
                      <a:pt x="603" y="2549"/>
                      <a:pt x="611" y="2546"/>
                    </a:cubicBezTo>
                    <a:cubicBezTo>
                      <a:pt x="620" y="2543"/>
                      <a:pt x="627" y="2532"/>
                      <a:pt x="636" y="2528"/>
                    </a:cubicBezTo>
                    <a:cubicBezTo>
                      <a:pt x="650" y="2521"/>
                      <a:pt x="668" y="2521"/>
                      <a:pt x="683" y="2516"/>
                    </a:cubicBezTo>
                    <a:cubicBezTo>
                      <a:pt x="707" y="2507"/>
                      <a:pt x="723" y="2484"/>
                      <a:pt x="746" y="2473"/>
                    </a:cubicBezTo>
                    <a:cubicBezTo>
                      <a:pt x="768" y="2461"/>
                      <a:pt x="787" y="2480"/>
                      <a:pt x="807" y="2464"/>
                    </a:cubicBezTo>
                    <a:cubicBezTo>
                      <a:pt x="815" y="2458"/>
                      <a:pt x="819" y="2447"/>
                      <a:pt x="828" y="2441"/>
                    </a:cubicBezTo>
                    <a:cubicBezTo>
                      <a:pt x="840" y="2431"/>
                      <a:pt x="840" y="2439"/>
                      <a:pt x="841" y="2422"/>
                    </a:cubicBezTo>
                    <a:cubicBezTo>
                      <a:pt x="842" y="2400"/>
                      <a:pt x="846" y="2381"/>
                      <a:pt x="859" y="2363"/>
                    </a:cubicBezTo>
                    <a:cubicBezTo>
                      <a:pt x="873" y="2345"/>
                      <a:pt x="884" y="2325"/>
                      <a:pt x="899" y="2308"/>
                    </a:cubicBezTo>
                    <a:cubicBezTo>
                      <a:pt x="907" y="2300"/>
                      <a:pt x="917" y="2292"/>
                      <a:pt x="926" y="2287"/>
                    </a:cubicBezTo>
                    <a:cubicBezTo>
                      <a:pt x="929" y="2285"/>
                      <a:pt x="933" y="2287"/>
                      <a:pt x="936" y="2285"/>
                    </a:cubicBezTo>
                    <a:cubicBezTo>
                      <a:pt x="942" y="2280"/>
                      <a:pt x="944" y="2269"/>
                      <a:pt x="948" y="2264"/>
                    </a:cubicBezTo>
                    <a:cubicBezTo>
                      <a:pt x="959" y="2251"/>
                      <a:pt x="978" y="2222"/>
                      <a:pt x="995" y="2220"/>
                    </a:cubicBezTo>
                    <a:cubicBezTo>
                      <a:pt x="1006" y="2218"/>
                      <a:pt x="1015" y="2225"/>
                      <a:pt x="1025" y="2224"/>
                    </a:cubicBezTo>
                    <a:cubicBezTo>
                      <a:pt x="1041" y="2221"/>
                      <a:pt x="1048" y="2212"/>
                      <a:pt x="1065" y="2215"/>
                    </a:cubicBezTo>
                    <a:cubicBezTo>
                      <a:pt x="1089" y="2220"/>
                      <a:pt x="1105" y="2230"/>
                      <a:pt x="1121" y="2246"/>
                    </a:cubicBezTo>
                    <a:cubicBezTo>
                      <a:pt x="1135" y="2260"/>
                      <a:pt x="1162" y="2281"/>
                      <a:pt x="1183" y="2282"/>
                    </a:cubicBezTo>
                    <a:cubicBezTo>
                      <a:pt x="1193" y="2283"/>
                      <a:pt x="1202" y="2277"/>
                      <a:pt x="1211" y="2276"/>
                    </a:cubicBezTo>
                    <a:cubicBezTo>
                      <a:pt x="1228" y="2273"/>
                      <a:pt x="1231" y="2277"/>
                      <a:pt x="1243" y="2265"/>
                    </a:cubicBezTo>
                    <a:cubicBezTo>
                      <a:pt x="1265" y="2244"/>
                      <a:pt x="1278" y="2220"/>
                      <a:pt x="1311" y="2224"/>
                    </a:cubicBezTo>
                    <a:cubicBezTo>
                      <a:pt x="1339" y="2228"/>
                      <a:pt x="1358" y="2231"/>
                      <a:pt x="1378" y="2250"/>
                    </a:cubicBezTo>
                    <a:cubicBezTo>
                      <a:pt x="1395" y="2266"/>
                      <a:pt x="1425" y="2274"/>
                      <a:pt x="1448" y="2280"/>
                    </a:cubicBezTo>
                    <a:cubicBezTo>
                      <a:pt x="1458" y="2282"/>
                      <a:pt x="1471" y="2285"/>
                      <a:pt x="1482" y="2285"/>
                    </a:cubicBezTo>
                    <a:cubicBezTo>
                      <a:pt x="1495" y="2285"/>
                      <a:pt x="1507" y="2279"/>
                      <a:pt x="1520" y="2281"/>
                    </a:cubicBezTo>
                    <a:cubicBezTo>
                      <a:pt x="1534" y="2282"/>
                      <a:pt x="1548" y="2292"/>
                      <a:pt x="1562" y="2293"/>
                    </a:cubicBezTo>
                    <a:cubicBezTo>
                      <a:pt x="1565" y="2294"/>
                      <a:pt x="1575" y="2293"/>
                      <a:pt x="1577" y="2292"/>
                    </a:cubicBezTo>
                    <a:cubicBezTo>
                      <a:pt x="1584" y="2287"/>
                      <a:pt x="1582" y="2281"/>
                      <a:pt x="1587" y="2274"/>
                    </a:cubicBezTo>
                    <a:cubicBezTo>
                      <a:pt x="1593" y="2266"/>
                      <a:pt x="1601" y="2258"/>
                      <a:pt x="1606" y="2250"/>
                    </a:cubicBezTo>
                    <a:cubicBezTo>
                      <a:pt x="1612" y="2242"/>
                      <a:pt x="1617" y="2236"/>
                      <a:pt x="1622" y="2227"/>
                    </a:cubicBezTo>
                    <a:cubicBezTo>
                      <a:pt x="1625" y="2220"/>
                      <a:pt x="1631" y="2212"/>
                      <a:pt x="1635" y="2205"/>
                    </a:cubicBezTo>
                    <a:cubicBezTo>
                      <a:pt x="1636" y="2203"/>
                      <a:pt x="1639" y="2194"/>
                      <a:pt x="1639" y="2193"/>
                    </a:cubicBezTo>
                    <a:cubicBezTo>
                      <a:pt x="1642" y="2190"/>
                      <a:pt x="1648" y="2189"/>
                      <a:pt x="1650" y="2186"/>
                    </a:cubicBezTo>
                    <a:cubicBezTo>
                      <a:pt x="1653" y="2180"/>
                      <a:pt x="1652" y="2173"/>
                      <a:pt x="1656" y="2165"/>
                    </a:cubicBezTo>
                    <a:cubicBezTo>
                      <a:pt x="1666" y="2146"/>
                      <a:pt x="1684" y="2139"/>
                      <a:pt x="1704" y="2131"/>
                    </a:cubicBezTo>
                    <a:cubicBezTo>
                      <a:pt x="1730" y="2119"/>
                      <a:pt x="1765" y="2110"/>
                      <a:pt x="1762" y="2070"/>
                    </a:cubicBezTo>
                    <a:cubicBezTo>
                      <a:pt x="1761" y="2061"/>
                      <a:pt x="1757" y="2057"/>
                      <a:pt x="1754" y="2050"/>
                    </a:cubicBezTo>
                    <a:cubicBezTo>
                      <a:pt x="1752" y="2043"/>
                      <a:pt x="1754" y="2032"/>
                      <a:pt x="1753" y="2028"/>
                    </a:cubicBezTo>
                    <a:cubicBezTo>
                      <a:pt x="1749" y="2012"/>
                      <a:pt x="1734" y="2020"/>
                      <a:pt x="1722" y="2022"/>
                    </a:cubicBezTo>
                    <a:cubicBezTo>
                      <a:pt x="1719" y="2014"/>
                      <a:pt x="1712" y="2020"/>
                      <a:pt x="1715" y="2009"/>
                    </a:cubicBezTo>
                    <a:cubicBezTo>
                      <a:pt x="1716" y="2007"/>
                      <a:pt x="1722" y="2006"/>
                      <a:pt x="1723" y="2003"/>
                    </a:cubicBezTo>
                    <a:cubicBezTo>
                      <a:pt x="1727" y="1997"/>
                      <a:pt x="1726" y="1991"/>
                      <a:pt x="1726" y="1984"/>
                    </a:cubicBezTo>
                    <a:cubicBezTo>
                      <a:pt x="1725" y="1970"/>
                      <a:pt x="1722" y="1958"/>
                      <a:pt x="1729" y="1944"/>
                    </a:cubicBezTo>
                    <a:cubicBezTo>
                      <a:pt x="1732" y="1938"/>
                      <a:pt x="1736" y="1934"/>
                      <a:pt x="1739" y="1928"/>
                    </a:cubicBezTo>
                    <a:cubicBezTo>
                      <a:pt x="1746" y="1913"/>
                      <a:pt x="1741" y="1903"/>
                      <a:pt x="1738" y="1889"/>
                    </a:cubicBezTo>
                    <a:cubicBezTo>
                      <a:pt x="1737" y="1878"/>
                      <a:pt x="1735" y="1866"/>
                      <a:pt x="1740" y="1854"/>
                    </a:cubicBezTo>
                    <a:cubicBezTo>
                      <a:pt x="1745" y="1842"/>
                      <a:pt x="1752" y="1831"/>
                      <a:pt x="1753" y="1820"/>
                    </a:cubicBezTo>
                    <a:cubicBezTo>
                      <a:pt x="1754" y="1812"/>
                      <a:pt x="1755" y="1805"/>
                      <a:pt x="1753" y="1796"/>
                    </a:cubicBezTo>
                    <a:cubicBezTo>
                      <a:pt x="1753" y="1794"/>
                      <a:pt x="1752" y="1788"/>
                      <a:pt x="1752" y="1786"/>
                    </a:cubicBezTo>
                    <a:cubicBezTo>
                      <a:pt x="1752" y="1785"/>
                      <a:pt x="1749" y="1783"/>
                      <a:pt x="1749" y="1780"/>
                    </a:cubicBezTo>
                    <a:cubicBezTo>
                      <a:pt x="1749" y="1776"/>
                      <a:pt x="1755" y="1779"/>
                      <a:pt x="1755" y="1778"/>
                    </a:cubicBezTo>
                    <a:cubicBezTo>
                      <a:pt x="1756" y="1771"/>
                      <a:pt x="1754" y="1765"/>
                      <a:pt x="1757" y="1758"/>
                    </a:cubicBezTo>
                    <a:cubicBezTo>
                      <a:pt x="1758" y="1755"/>
                      <a:pt x="1761" y="1749"/>
                      <a:pt x="1761" y="1746"/>
                    </a:cubicBezTo>
                    <a:cubicBezTo>
                      <a:pt x="1761" y="1741"/>
                      <a:pt x="1757" y="1737"/>
                      <a:pt x="1757" y="1732"/>
                    </a:cubicBezTo>
                    <a:cubicBezTo>
                      <a:pt x="1757" y="1730"/>
                      <a:pt x="1763" y="1727"/>
                      <a:pt x="1764" y="1723"/>
                    </a:cubicBezTo>
                    <a:cubicBezTo>
                      <a:pt x="1765" y="1719"/>
                      <a:pt x="1764" y="1714"/>
                      <a:pt x="1764" y="1710"/>
                    </a:cubicBezTo>
                    <a:cubicBezTo>
                      <a:pt x="1764" y="1705"/>
                      <a:pt x="1761" y="1702"/>
                      <a:pt x="1762" y="1696"/>
                    </a:cubicBezTo>
                    <a:cubicBezTo>
                      <a:pt x="1763" y="1690"/>
                      <a:pt x="1766" y="1685"/>
                      <a:pt x="1767" y="1678"/>
                    </a:cubicBezTo>
                    <a:cubicBezTo>
                      <a:pt x="1767" y="1666"/>
                      <a:pt x="1764" y="1659"/>
                      <a:pt x="1771" y="1649"/>
                    </a:cubicBezTo>
                    <a:cubicBezTo>
                      <a:pt x="1771" y="1648"/>
                      <a:pt x="1776" y="1644"/>
                      <a:pt x="1777" y="1642"/>
                    </a:cubicBezTo>
                    <a:cubicBezTo>
                      <a:pt x="1783" y="1634"/>
                      <a:pt x="1785" y="1623"/>
                      <a:pt x="1790" y="1614"/>
                    </a:cubicBezTo>
                    <a:cubicBezTo>
                      <a:pt x="1797" y="1601"/>
                      <a:pt x="1805" y="1586"/>
                      <a:pt x="1815" y="1577"/>
                    </a:cubicBezTo>
                    <a:cubicBezTo>
                      <a:pt x="1819" y="1572"/>
                      <a:pt x="1826" y="1567"/>
                      <a:pt x="1829" y="1561"/>
                    </a:cubicBezTo>
                    <a:cubicBezTo>
                      <a:pt x="1835" y="1550"/>
                      <a:pt x="1827" y="1543"/>
                      <a:pt x="1826" y="1534"/>
                    </a:cubicBezTo>
                    <a:cubicBezTo>
                      <a:pt x="1826" y="1522"/>
                      <a:pt x="1834" y="1509"/>
                      <a:pt x="1829" y="1497"/>
                    </a:cubicBezTo>
                    <a:cubicBezTo>
                      <a:pt x="1828" y="1493"/>
                      <a:pt x="1823" y="1485"/>
                      <a:pt x="1820" y="1481"/>
                    </a:cubicBezTo>
                    <a:cubicBezTo>
                      <a:pt x="1814" y="1472"/>
                      <a:pt x="1800" y="1470"/>
                      <a:pt x="1795" y="1459"/>
                    </a:cubicBezTo>
                    <a:cubicBezTo>
                      <a:pt x="1789" y="1447"/>
                      <a:pt x="1796" y="1427"/>
                      <a:pt x="1792" y="1412"/>
                    </a:cubicBezTo>
                    <a:cubicBezTo>
                      <a:pt x="1791" y="1406"/>
                      <a:pt x="1794" y="1404"/>
                      <a:pt x="1790" y="1400"/>
                    </a:cubicBezTo>
                    <a:cubicBezTo>
                      <a:pt x="1786" y="1397"/>
                      <a:pt x="1773" y="1397"/>
                      <a:pt x="1768" y="1396"/>
                    </a:cubicBezTo>
                    <a:cubicBezTo>
                      <a:pt x="1763" y="1395"/>
                      <a:pt x="1754" y="1389"/>
                      <a:pt x="1750" y="1389"/>
                    </a:cubicBezTo>
                    <a:cubicBezTo>
                      <a:pt x="1743" y="1390"/>
                      <a:pt x="1743" y="1393"/>
                      <a:pt x="1736" y="1397"/>
                    </a:cubicBezTo>
                    <a:cubicBezTo>
                      <a:pt x="1720" y="1407"/>
                      <a:pt x="1694" y="1429"/>
                      <a:pt x="1686" y="1400"/>
                    </a:cubicBezTo>
                    <a:cubicBezTo>
                      <a:pt x="1684" y="1394"/>
                      <a:pt x="1679" y="1374"/>
                      <a:pt x="1680" y="1370"/>
                    </a:cubicBezTo>
                    <a:cubicBezTo>
                      <a:pt x="1683" y="1360"/>
                      <a:pt x="1698" y="1351"/>
                      <a:pt x="1703" y="1341"/>
                    </a:cubicBezTo>
                    <a:cubicBezTo>
                      <a:pt x="1711" y="1328"/>
                      <a:pt x="1713" y="1312"/>
                      <a:pt x="1719" y="1298"/>
                    </a:cubicBezTo>
                    <a:cubicBezTo>
                      <a:pt x="1729" y="1271"/>
                      <a:pt x="1744" y="1246"/>
                      <a:pt x="1756" y="1221"/>
                    </a:cubicBezTo>
                    <a:cubicBezTo>
                      <a:pt x="1758" y="1217"/>
                      <a:pt x="1753" y="1215"/>
                      <a:pt x="1757" y="1210"/>
                    </a:cubicBezTo>
                    <a:cubicBezTo>
                      <a:pt x="1761" y="1205"/>
                      <a:pt x="1773" y="1202"/>
                      <a:pt x="1778" y="1200"/>
                    </a:cubicBezTo>
                    <a:cubicBezTo>
                      <a:pt x="1792" y="1197"/>
                      <a:pt x="1803" y="1199"/>
                      <a:pt x="1814" y="1189"/>
                    </a:cubicBezTo>
                    <a:cubicBezTo>
                      <a:pt x="1817" y="1186"/>
                      <a:pt x="1819" y="1180"/>
                      <a:pt x="1822" y="1177"/>
                    </a:cubicBezTo>
                    <a:cubicBezTo>
                      <a:pt x="1827" y="1174"/>
                      <a:pt x="1835" y="1176"/>
                      <a:pt x="1840" y="1172"/>
                    </a:cubicBezTo>
                    <a:cubicBezTo>
                      <a:pt x="1853" y="1165"/>
                      <a:pt x="1858" y="1150"/>
                      <a:pt x="1871" y="1142"/>
                    </a:cubicBezTo>
                    <a:cubicBezTo>
                      <a:pt x="1884" y="1132"/>
                      <a:pt x="1894" y="1127"/>
                      <a:pt x="1909" y="1122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grpSp>
            <p:nvGrpSpPr>
              <p:cNvPr id="38" name="Группа 37">
                <a:extLst>
                  <a:ext uri="{FF2B5EF4-FFF2-40B4-BE49-F238E27FC236}">
                    <a16:creationId xmlns:a16="http://schemas.microsoft.com/office/drawing/2014/main" id="{5E7B92FE-F080-1BB5-D6DE-39A05084B3B5}"/>
                  </a:ext>
                </a:extLst>
              </p:cNvPr>
              <p:cNvGrpSpPr/>
              <p:nvPr/>
            </p:nvGrpSpPr>
            <p:grpSpPr>
              <a:xfrm>
                <a:off x="1244354" y="1591890"/>
                <a:ext cx="2688020" cy="3335942"/>
                <a:chOff x="3513138" y="534988"/>
                <a:chExt cx="3233738" cy="4013201"/>
              </a:xfrm>
              <a:grpFill/>
            </p:grpSpPr>
            <p:sp>
              <p:nvSpPr>
                <p:cNvPr id="97" name="Freeform 6">
                  <a:extLst>
                    <a:ext uri="{FF2B5EF4-FFF2-40B4-BE49-F238E27FC236}">
                      <a16:creationId xmlns:a16="http://schemas.microsoft.com/office/drawing/2014/main" id="{6388EB65-2A81-A764-D503-63DF81C5F7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43663" y="1149351"/>
                  <a:ext cx="11113" cy="9525"/>
                </a:xfrm>
                <a:custGeom>
                  <a:avLst/>
                  <a:gdLst>
                    <a:gd name="T0" fmla="*/ 12 w 19"/>
                    <a:gd name="T1" fmla="*/ 0 h 17"/>
                    <a:gd name="T2" fmla="*/ 19 w 19"/>
                    <a:gd name="T3" fmla="*/ 1 h 17"/>
                    <a:gd name="T4" fmla="*/ 0 w 19"/>
                    <a:gd name="T5" fmla="*/ 15 h 17"/>
                    <a:gd name="T6" fmla="*/ 12 w 19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17">
                      <a:moveTo>
                        <a:pt x="12" y="0"/>
                      </a:moveTo>
                      <a:cubicBezTo>
                        <a:pt x="14" y="0"/>
                        <a:pt x="16" y="1"/>
                        <a:pt x="19" y="1"/>
                      </a:cubicBezTo>
                      <a:cubicBezTo>
                        <a:pt x="13" y="8"/>
                        <a:pt x="10" y="17"/>
                        <a:pt x="0" y="15"/>
                      </a:cubicBezTo>
                      <a:cubicBezTo>
                        <a:pt x="5" y="10"/>
                        <a:pt x="6" y="2"/>
                        <a:pt x="12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8" name="Freeform 7">
                  <a:extLst>
                    <a:ext uri="{FF2B5EF4-FFF2-40B4-BE49-F238E27FC236}">
                      <a16:creationId xmlns:a16="http://schemas.microsoft.com/office/drawing/2014/main" id="{B02D46DB-E359-1310-C6FB-42FB0BD254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91275" y="1160463"/>
                  <a:ext cx="19050" cy="11113"/>
                </a:xfrm>
                <a:custGeom>
                  <a:avLst/>
                  <a:gdLst>
                    <a:gd name="T0" fmla="*/ 12 w 31"/>
                    <a:gd name="T1" fmla="*/ 7 h 18"/>
                    <a:gd name="T2" fmla="*/ 31 w 31"/>
                    <a:gd name="T3" fmla="*/ 14 h 18"/>
                    <a:gd name="T4" fmla="*/ 5 w 31"/>
                    <a:gd name="T5" fmla="*/ 18 h 18"/>
                    <a:gd name="T6" fmla="*/ 0 w 31"/>
                    <a:gd name="T7" fmla="*/ 10 h 18"/>
                    <a:gd name="T8" fmla="*/ 12 w 31"/>
                    <a:gd name="T9" fmla="*/ 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" h="18">
                      <a:moveTo>
                        <a:pt x="12" y="7"/>
                      </a:moveTo>
                      <a:cubicBezTo>
                        <a:pt x="20" y="0"/>
                        <a:pt x="23" y="11"/>
                        <a:pt x="31" y="14"/>
                      </a:cubicBezTo>
                      <a:cubicBezTo>
                        <a:pt x="24" y="18"/>
                        <a:pt x="13" y="15"/>
                        <a:pt x="5" y="18"/>
                      </a:cubicBezTo>
                      <a:cubicBezTo>
                        <a:pt x="3" y="15"/>
                        <a:pt x="3" y="13"/>
                        <a:pt x="0" y="10"/>
                      </a:cubicBezTo>
                      <a:cubicBezTo>
                        <a:pt x="3" y="5"/>
                        <a:pt x="7" y="5"/>
                        <a:pt x="12" y="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9" name="Freeform 8">
                  <a:extLst>
                    <a:ext uri="{FF2B5EF4-FFF2-40B4-BE49-F238E27FC236}">
                      <a16:creationId xmlns:a16="http://schemas.microsoft.com/office/drawing/2014/main" id="{070A8C4C-947F-53BB-7C61-179AAD58AE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26188" y="1185863"/>
                  <a:ext cx="38100" cy="25400"/>
                </a:xfrm>
                <a:custGeom>
                  <a:avLst/>
                  <a:gdLst>
                    <a:gd name="T0" fmla="*/ 40 w 61"/>
                    <a:gd name="T1" fmla="*/ 7 h 42"/>
                    <a:gd name="T2" fmla="*/ 61 w 61"/>
                    <a:gd name="T3" fmla="*/ 21 h 42"/>
                    <a:gd name="T4" fmla="*/ 38 w 61"/>
                    <a:gd name="T5" fmla="*/ 32 h 42"/>
                    <a:gd name="T6" fmla="*/ 26 w 61"/>
                    <a:gd name="T7" fmla="*/ 27 h 42"/>
                    <a:gd name="T8" fmla="*/ 40 w 61"/>
                    <a:gd name="T9" fmla="*/ 7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42">
                      <a:moveTo>
                        <a:pt x="40" y="7"/>
                      </a:moveTo>
                      <a:cubicBezTo>
                        <a:pt x="47" y="12"/>
                        <a:pt x="53" y="17"/>
                        <a:pt x="61" y="21"/>
                      </a:cubicBezTo>
                      <a:cubicBezTo>
                        <a:pt x="52" y="29"/>
                        <a:pt x="49" y="42"/>
                        <a:pt x="38" y="32"/>
                      </a:cubicBezTo>
                      <a:cubicBezTo>
                        <a:pt x="35" y="29"/>
                        <a:pt x="27" y="7"/>
                        <a:pt x="26" y="27"/>
                      </a:cubicBezTo>
                      <a:cubicBezTo>
                        <a:pt x="0" y="18"/>
                        <a:pt x="30" y="0"/>
                        <a:pt x="40" y="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0" name="Freeform 9">
                  <a:extLst>
                    <a:ext uri="{FF2B5EF4-FFF2-40B4-BE49-F238E27FC236}">
                      <a16:creationId xmlns:a16="http://schemas.microsoft.com/office/drawing/2014/main" id="{297479DE-6825-6A20-831B-7FC1DDA7A1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7788" y="1828801"/>
                  <a:ext cx="50800" cy="39688"/>
                </a:xfrm>
                <a:custGeom>
                  <a:avLst/>
                  <a:gdLst>
                    <a:gd name="T0" fmla="*/ 66 w 83"/>
                    <a:gd name="T1" fmla="*/ 0 h 64"/>
                    <a:gd name="T2" fmla="*/ 82 w 83"/>
                    <a:gd name="T3" fmla="*/ 16 h 64"/>
                    <a:gd name="T4" fmla="*/ 71 w 83"/>
                    <a:gd name="T5" fmla="*/ 45 h 64"/>
                    <a:gd name="T6" fmla="*/ 45 w 83"/>
                    <a:gd name="T7" fmla="*/ 39 h 64"/>
                    <a:gd name="T8" fmla="*/ 26 w 83"/>
                    <a:gd name="T9" fmla="*/ 47 h 64"/>
                    <a:gd name="T10" fmla="*/ 42 w 83"/>
                    <a:gd name="T11" fmla="*/ 49 h 64"/>
                    <a:gd name="T12" fmla="*/ 40 w 83"/>
                    <a:gd name="T13" fmla="*/ 52 h 64"/>
                    <a:gd name="T14" fmla="*/ 0 w 83"/>
                    <a:gd name="T15" fmla="*/ 51 h 64"/>
                    <a:gd name="T16" fmla="*/ 31 w 83"/>
                    <a:gd name="T17" fmla="*/ 15 h 64"/>
                    <a:gd name="T18" fmla="*/ 66 w 83"/>
                    <a:gd name="T19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3" h="64">
                      <a:moveTo>
                        <a:pt x="66" y="0"/>
                      </a:moveTo>
                      <a:cubicBezTo>
                        <a:pt x="73" y="3"/>
                        <a:pt x="81" y="9"/>
                        <a:pt x="82" y="16"/>
                      </a:cubicBezTo>
                      <a:cubicBezTo>
                        <a:pt x="83" y="22"/>
                        <a:pt x="77" y="42"/>
                        <a:pt x="71" y="45"/>
                      </a:cubicBezTo>
                      <a:cubicBezTo>
                        <a:pt x="62" y="51"/>
                        <a:pt x="54" y="40"/>
                        <a:pt x="45" y="39"/>
                      </a:cubicBezTo>
                      <a:cubicBezTo>
                        <a:pt x="41" y="39"/>
                        <a:pt x="28" y="42"/>
                        <a:pt x="26" y="47"/>
                      </a:cubicBezTo>
                      <a:cubicBezTo>
                        <a:pt x="32" y="47"/>
                        <a:pt x="37" y="47"/>
                        <a:pt x="42" y="49"/>
                      </a:cubicBezTo>
                      <a:cubicBezTo>
                        <a:pt x="42" y="50"/>
                        <a:pt x="41" y="51"/>
                        <a:pt x="40" y="52"/>
                      </a:cubicBezTo>
                      <a:cubicBezTo>
                        <a:pt x="46" y="64"/>
                        <a:pt x="9" y="50"/>
                        <a:pt x="0" y="51"/>
                      </a:cubicBezTo>
                      <a:cubicBezTo>
                        <a:pt x="1" y="37"/>
                        <a:pt x="19" y="21"/>
                        <a:pt x="31" y="15"/>
                      </a:cubicBezTo>
                      <a:cubicBezTo>
                        <a:pt x="43" y="10"/>
                        <a:pt x="52" y="0"/>
                        <a:pt x="66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1" name="Freeform 10">
                  <a:extLst>
                    <a:ext uri="{FF2B5EF4-FFF2-40B4-BE49-F238E27FC236}">
                      <a16:creationId xmlns:a16="http://schemas.microsoft.com/office/drawing/2014/main" id="{B9EDCEA2-847F-47C2-1148-644780FFC4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7563" y="1871663"/>
                  <a:ext cx="46038" cy="33338"/>
                </a:xfrm>
                <a:custGeom>
                  <a:avLst/>
                  <a:gdLst>
                    <a:gd name="T0" fmla="*/ 67 w 77"/>
                    <a:gd name="T1" fmla="*/ 6 h 54"/>
                    <a:gd name="T2" fmla="*/ 77 w 77"/>
                    <a:gd name="T3" fmla="*/ 16 h 54"/>
                    <a:gd name="T4" fmla="*/ 66 w 77"/>
                    <a:gd name="T5" fmla="*/ 34 h 54"/>
                    <a:gd name="T6" fmla="*/ 0 w 77"/>
                    <a:gd name="T7" fmla="*/ 33 h 54"/>
                    <a:gd name="T8" fmla="*/ 67 w 77"/>
                    <a:gd name="T9" fmla="*/ 6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" h="54">
                      <a:moveTo>
                        <a:pt x="67" y="6"/>
                      </a:moveTo>
                      <a:cubicBezTo>
                        <a:pt x="71" y="9"/>
                        <a:pt x="75" y="12"/>
                        <a:pt x="77" y="16"/>
                      </a:cubicBezTo>
                      <a:cubicBezTo>
                        <a:pt x="67" y="17"/>
                        <a:pt x="65" y="29"/>
                        <a:pt x="66" y="34"/>
                      </a:cubicBezTo>
                      <a:cubicBezTo>
                        <a:pt x="49" y="54"/>
                        <a:pt x="19" y="39"/>
                        <a:pt x="0" y="33"/>
                      </a:cubicBezTo>
                      <a:cubicBezTo>
                        <a:pt x="10" y="17"/>
                        <a:pt x="48" y="0"/>
                        <a:pt x="67" y="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2" name="Freeform 11">
                  <a:extLst>
                    <a:ext uri="{FF2B5EF4-FFF2-40B4-BE49-F238E27FC236}">
                      <a16:creationId xmlns:a16="http://schemas.microsoft.com/office/drawing/2014/main" id="{17114719-1833-F99D-B08E-B9209D808B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4388" y="1824038"/>
                  <a:ext cx="63500" cy="39688"/>
                </a:xfrm>
                <a:custGeom>
                  <a:avLst/>
                  <a:gdLst>
                    <a:gd name="T0" fmla="*/ 95 w 104"/>
                    <a:gd name="T1" fmla="*/ 38 h 64"/>
                    <a:gd name="T2" fmla="*/ 37 w 104"/>
                    <a:gd name="T3" fmla="*/ 56 h 64"/>
                    <a:gd name="T4" fmla="*/ 7 w 104"/>
                    <a:gd name="T5" fmla="*/ 61 h 64"/>
                    <a:gd name="T6" fmla="*/ 15 w 104"/>
                    <a:gd name="T7" fmla="*/ 40 h 64"/>
                    <a:gd name="T8" fmla="*/ 37 w 104"/>
                    <a:gd name="T9" fmla="*/ 27 h 64"/>
                    <a:gd name="T10" fmla="*/ 59 w 104"/>
                    <a:gd name="T11" fmla="*/ 8 h 64"/>
                    <a:gd name="T12" fmla="*/ 95 w 104"/>
                    <a:gd name="T13" fmla="*/ 38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64">
                      <a:moveTo>
                        <a:pt x="95" y="38"/>
                      </a:moveTo>
                      <a:cubicBezTo>
                        <a:pt x="82" y="52"/>
                        <a:pt x="55" y="52"/>
                        <a:pt x="37" y="56"/>
                      </a:cubicBezTo>
                      <a:cubicBezTo>
                        <a:pt x="33" y="57"/>
                        <a:pt x="11" y="64"/>
                        <a:pt x="7" y="61"/>
                      </a:cubicBezTo>
                      <a:cubicBezTo>
                        <a:pt x="0" y="56"/>
                        <a:pt x="10" y="44"/>
                        <a:pt x="15" y="40"/>
                      </a:cubicBezTo>
                      <a:cubicBezTo>
                        <a:pt x="21" y="35"/>
                        <a:pt x="30" y="33"/>
                        <a:pt x="37" y="27"/>
                      </a:cubicBezTo>
                      <a:cubicBezTo>
                        <a:pt x="45" y="20"/>
                        <a:pt x="48" y="12"/>
                        <a:pt x="59" y="8"/>
                      </a:cubicBezTo>
                      <a:cubicBezTo>
                        <a:pt x="79" y="0"/>
                        <a:pt x="104" y="15"/>
                        <a:pt x="95" y="3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3" name="Freeform 12">
                  <a:extLst>
                    <a:ext uri="{FF2B5EF4-FFF2-40B4-BE49-F238E27FC236}">
                      <a16:creationId xmlns:a16="http://schemas.microsoft.com/office/drawing/2014/main" id="{B6F71DF7-947C-B14A-E336-7AFCE5FBA5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0838" y="1947863"/>
                  <a:ext cx="39688" cy="28575"/>
                </a:xfrm>
                <a:custGeom>
                  <a:avLst/>
                  <a:gdLst>
                    <a:gd name="T0" fmla="*/ 21 w 65"/>
                    <a:gd name="T1" fmla="*/ 38 h 47"/>
                    <a:gd name="T2" fmla="*/ 15 w 65"/>
                    <a:gd name="T3" fmla="*/ 32 h 47"/>
                    <a:gd name="T4" fmla="*/ 10 w 65"/>
                    <a:gd name="T5" fmla="*/ 25 h 47"/>
                    <a:gd name="T6" fmla="*/ 0 w 65"/>
                    <a:gd name="T7" fmla="*/ 19 h 47"/>
                    <a:gd name="T8" fmla="*/ 16 w 65"/>
                    <a:gd name="T9" fmla="*/ 5 h 47"/>
                    <a:gd name="T10" fmla="*/ 40 w 65"/>
                    <a:gd name="T11" fmla="*/ 2 h 47"/>
                    <a:gd name="T12" fmla="*/ 58 w 65"/>
                    <a:gd name="T13" fmla="*/ 28 h 47"/>
                    <a:gd name="T14" fmla="*/ 21 w 65"/>
                    <a:gd name="T15" fmla="*/ 38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5" h="47">
                      <a:moveTo>
                        <a:pt x="21" y="38"/>
                      </a:moveTo>
                      <a:cubicBezTo>
                        <a:pt x="10" y="47"/>
                        <a:pt x="16" y="34"/>
                        <a:pt x="15" y="32"/>
                      </a:cubicBezTo>
                      <a:cubicBezTo>
                        <a:pt x="15" y="33"/>
                        <a:pt x="10" y="25"/>
                        <a:pt x="10" y="25"/>
                      </a:cubicBezTo>
                      <a:cubicBezTo>
                        <a:pt x="9" y="24"/>
                        <a:pt x="2" y="22"/>
                        <a:pt x="0" y="19"/>
                      </a:cubicBezTo>
                      <a:cubicBezTo>
                        <a:pt x="7" y="15"/>
                        <a:pt x="10" y="9"/>
                        <a:pt x="16" y="5"/>
                      </a:cubicBezTo>
                      <a:cubicBezTo>
                        <a:pt x="25" y="0"/>
                        <a:pt x="30" y="1"/>
                        <a:pt x="40" y="2"/>
                      </a:cubicBezTo>
                      <a:cubicBezTo>
                        <a:pt x="65" y="8"/>
                        <a:pt x="47" y="16"/>
                        <a:pt x="58" y="28"/>
                      </a:cubicBezTo>
                      <a:cubicBezTo>
                        <a:pt x="45" y="31"/>
                        <a:pt x="33" y="34"/>
                        <a:pt x="21" y="3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4" name="Freeform 13">
                  <a:extLst>
                    <a:ext uri="{FF2B5EF4-FFF2-40B4-BE49-F238E27FC236}">
                      <a16:creationId xmlns:a16="http://schemas.microsoft.com/office/drawing/2014/main" id="{2B9DA6EE-A17A-E302-7F85-00C2F12450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32313" y="1762126"/>
                  <a:ext cx="42863" cy="11113"/>
                </a:xfrm>
                <a:custGeom>
                  <a:avLst/>
                  <a:gdLst>
                    <a:gd name="T0" fmla="*/ 36 w 71"/>
                    <a:gd name="T1" fmla="*/ 0 h 17"/>
                    <a:gd name="T2" fmla="*/ 71 w 71"/>
                    <a:gd name="T3" fmla="*/ 2 h 17"/>
                    <a:gd name="T4" fmla="*/ 27 w 71"/>
                    <a:gd name="T5" fmla="*/ 12 h 17"/>
                    <a:gd name="T6" fmla="*/ 36 w 71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" h="17">
                      <a:moveTo>
                        <a:pt x="36" y="0"/>
                      </a:moveTo>
                      <a:cubicBezTo>
                        <a:pt x="47" y="2"/>
                        <a:pt x="61" y="6"/>
                        <a:pt x="71" y="2"/>
                      </a:cubicBezTo>
                      <a:cubicBezTo>
                        <a:pt x="63" y="12"/>
                        <a:pt x="38" y="10"/>
                        <a:pt x="27" y="12"/>
                      </a:cubicBezTo>
                      <a:cubicBezTo>
                        <a:pt x="0" y="17"/>
                        <a:pt x="24" y="4"/>
                        <a:pt x="36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5" name="Freeform 14">
                  <a:extLst>
                    <a:ext uri="{FF2B5EF4-FFF2-40B4-BE49-F238E27FC236}">
                      <a16:creationId xmlns:a16="http://schemas.microsoft.com/office/drawing/2014/main" id="{F1E3F9E2-E6D8-29A4-B16B-6F426020FC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9850" y="1381126"/>
                  <a:ext cx="198438" cy="147638"/>
                </a:xfrm>
                <a:custGeom>
                  <a:avLst/>
                  <a:gdLst>
                    <a:gd name="T0" fmla="*/ 143 w 325"/>
                    <a:gd name="T1" fmla="*/ 9 h 239"/>
                    <a:gd name="T2" fmla="*/ 227 w 325"/>
                    <a:gd name="T3" fmla="*/ 24 h 239"/>
                    <a:gd name="T4" fmla="*/ 244 w 325"/>
                    <a:gd name="T5" fmla="*/ 24 h 239"/>
                    <a:gd name="T6" fmla="*/ 271 w 325"/>
                    <a:gd name="T7" fmla="*/ 34 h 239"/>
                    <a:gd name="T8" fmla="*/ 287 w 325"/>
                    <a:gd name="T9" fmla="*/ 46 h 239"/>
                    <a:gd name="T10" fmla="*/ 294 w 325"/>
                    <a:gd name="T11" fmla="*/ 54 h 239"/>
                    <a:gd name="T12" fmla="*/ 292 w 325"/>
                    <a:gd name="T13" fmla="*/ 64 h 239"/>
                    <a:gd name="T14" fmla="*/ 325 w 325"/>
                    <a:gd name="T15" fmla="*/ 104 h 239"/>
                    <a:gd name="T16" fmla="*/ 293 w 325"/>
                    <a:gd name="T17" fmla="*/ 131 h 239"/>
                    <a:gd name="T18" fmla="*/ 265 w 325"/>
                    <a:gd name="T19" fmla="*/ 137 h 239"/>
                    <a:gd name="T20" fmla="*/ 247 w 325"/>
                    <a:gd name="T21" fmla="*/ 148 h 239"/>
                    <a:gd name="T22" fmla="*/ 155 w 325"/>
                    <a:gd name="T23" fmla="*/ 173 h 239"/>
                    <a:gd name="T24" fmla="*/ 61 w 325"/>
                    <a:gd name="T25" fmla="*/ 196 h 239"/>
                    <a:gd name="T26" fmla="*/ 33 w 325"/>
                    <a:gd name="T27" fmla="*/ 232 h 239"/>
                    <a:gd name="T28" fmla="*/ 12 w 325"/>
                    <a:gd name="T29" fmla="*/ 202 h 239"/>
                    <a:gd name="T30" fmla="*/ 49 w 325"/>
                    <a:gd name="T31" fmla="*/ 180 h 239"/>
                    <a:gd name="T32" fmla="*/ 56 w 325"/>
                    <a:gd name="T33" fmla="*/ 137 h 239"/>
                    <a:gd name="T34" fmla="*/ 58 w 325"/>
                    <a:gd name="T35" fmla="*/ 53 h 239"/>
                    <a:gd name="T36" fmla="*/ 75 w 325"/>
                    <a:gd name="T37" fmla="*/ 47 h 239"/>
                    <a:gd name="T38" fmla="*/ 89 w 325"/>
                    <a:gd name="T39" fmla="*/ 26 h 239"/>
                    <a:gd name="T40" fmla="*/ 143 w 325"/>
                    <a:gd name="T41" fmla="*/ 9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25" h="239">
                      <a:moveTo>
                        <a:pt x="143" y="9"/>
                      </a:moveTo>
                      <a:cubicBezTo>
                        <a:pt x="175" y="0"/>
                        <a:pt x="197" y="18"/>
                        <a:pt x="227" y="24"/>
                      </a:cubicBezTo>
                      <a:cubicBezTo>
                        <a:pt x="233" y="25"/>
                        <a:pt x="238" y="23"/>
                        <a:pt x="244" y="24"/>
                      </a:cubicBezTo>
                      <a:cubicBezTo>
                        <a:pt x="252" y="26"/>
                        <a:pt x="264" y="30"/>
                        <a:pt x="271" y="34"/>
                      </a:cubicBezTo>
                      <a:cubicBezTo>
                        <a:pt x="276" y="37"/>
                        <a:pt x="282" y="42"/>
                        <a:pt x="287" y="46"/>
                      </a:cubicBezTo>
                      <a:cubicBezTo>
                        <a:pt x="290" y="50"/>
                        <a:pt x="292" y="50"/>
                        <a:pt x="294" y="54"/>
                      </a:cubicBezTo>
                      <a:cubicBezTo>
                        <a:pt x="295" y="57"/>
                        <a:pt x="291" y="62"/>
                        <a:pt x="292" y="64"/>
                      </a:cubicBezTo>
                      <a:cubicBezTo>
                        <a:pt x="297" y="78"/>
                        <a:pt x="325" y="90"/>
                        <a:pt x="325" y="104"/>
                      </a:cubicBezTo>
                      <a:cubicBezTo>
                        <a:pt x="325" y="118"/>
                        <a:pt x="304" y="127"/>
                        <a:pt x="293" y="131"/>
                      </a:cubicBezTo>
                      <a:cubicBezTo>
                        <a:pt x="284" y="133"/>
                        <a:pt x="273" y="133"/>
                        <a:pt x="265" y="137"/>
                      </a:cubicBezTo>
                      <a:cubicBezTo>
                        <a:pt x="258" y="139"/>
                        <a:pt x="254" y="146"/>
                        <a:pt x="247" y="148"/>
                      </a:cubicBezTo>
                      <a:cubicBezTo>
                        <a:pt x="220" y="160"/>
                        <a:pt x="184" y="169"/>
                        <a:pt x="155" y="173"/>
                      </a:cubicBezTo>
                      <a:cubicBezTo>
                        <a:pt x="121" y="178"/>
                        <a:pt x="88" y="170"/>
                        <a:pt x="61" y="196"/>
                      </a:cubicBezTo>
                      <a:cubicBezTo>
                        <a:pt x="50" y="207"/>
                        <a:pt x="47" y="226"/>
                        <a:pt x="33" y="232"/>
                      </a:cubicBezTo>
                      <a:cubicBezTo>
                        <a:pt x="16" y="239"/>
                        <a:pt x="0" y="216"/>
                        <a:pt x="12" y="202"/>
                      </a:cubicBezTo>
                      <a:cubicBezTo>
                        <a:pt x="20" y="191"/>
                        <a:pt x="39" y="194"/>
                        <a:pt x="49" y="180"/>
                      </a:cubicBezTo>
                      <a:cubicBezTo>
                        <a:pt x="58" y="167"/>
                        <a:pt x="58" y="152"/>
                        <a:pt x="56" y="137"/>
                      </a:cubicBezTo>
                      <a:cubicBezTo>
                        <a:pt x="53" y="112"/>
                        <a:pt x="36" y="68"/>
                        <a:pt x="58" y="53"/>
                      </a:cubicBezTo>
                      <a:cubicBezTo>
                        <a:pt x="62" y="50"/>
                        <a:pt x="71" y="51"/>
                        <a:pt x="75" y="47"/>
                      </a:cubicBezTo>
                      <a:cubicBezTo>
                        <a:pt x="81" y="41"/>
                        <a:pt x="83" y="32"/>
                        <a:pt x="89" y="26"/>
                      </a:cubicBezTo>
                      <a:cubicBezTo>
                        <a:pt x="107" y="10"/>
                        <a:pt x="120" y="7"/>
                        <a:pt x="143" y="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6" name="Freeform 15">
                  <a:extLst>
                    <a:ext uri="{FF2B5EF4-FFF2-40B4-BE49-F238E27FC236}">
                      <a16:creationId xmlns:a16="http://schemas.microsoft.com/office/drawing/2014/main" id="{B7BCEA75-A213-6F42-EAD6-2368EFB78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60863" y="1754188"/>
                  <a:ext cx="23813" cy="19050"/>
                </a:xfrm>
                <a:custGeom>
                  <a:avLst/>
                  <a:gdLst>
                    <a:gd name="T0" fmla="*/ 28 w 38"/>
                    <a:gd name="T1" fmla="*/ 9 h 30"/>
                    <a:gd name="T2" fmla="*/ 32 w 38"/>
                    <a:gd name="T3" fmla="*/ 24 h 30"/>
                    <a:gd name="T4" fmla="*/ 20 w 38"/>
                    <a:gd name="T5" fmla="*/ 30 h 30"/>
                    <a:gd name="T6" fmla="*/ 11 w 38"/>
                    <a:gd name="T7" fmla="*/ 14 h 30"/>
                    <a:gd name="T8" fmla="*/ 6 w 38"/>
                    <a:gd name="T9" fmla="*/ 14 h 30"/>
                    <a:gd name="T10" fmla="*/ 24 w 38"/>
                    <a:gd name="T11" fmla="*/ 0 h 30"/>
                    <a:gd name="T12" fmla="*/ 17 w 38"/>
                    <a:gd name="T13" fmla="*/ 10 h 30"/>
                    <a:gd name="T14" fmla="*/ 28 w 38"/>
                    <a:gd name="T15" fmla="*/ 9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8" h="30">
                      <a:moveTo>
                        <a:pt x="28" y="9"/>
                      </a:moveTo>
                      <a:cubicBezTo>
                        <a:pt x="38" y="8"/>
                        <a:pt x="37" y="18"/>
                        <a:pt x="32" y="24"/>
                      </a:cubicBezTo>
                      <a:cubicBezTo>
                        <a:pt x="28" y="29"/>
                        <a:pt x="26" y="29"/>
                        <a:pt x="20" y="30"/>
                      </a:cubicBezTo>
                      <a:cubicBezTo>
                        <a:pt x="11" y="30"/>
                        <a:pt x="0" y="24"/>
                        <a:pt x="11" y="14"/>
                      </a:cubicBezTo>
                      <a:cubicBezTo>
                        <a:pt x="9" y="15"/>
                        <a:pt x="8" y="14"/>
                        <a:pt x="6" y="14"/>
                      </a:cubicBezTo>
                      <a:cubicBezTo>
                        <a:pt x="10" y="6"/>
                        <a:pt x="17" y="4"/>
                        <a:pt x="24" y="0"/>
                      </a:cubicBezTo>
                      <a:cubicBezTo>
                        <a:pt x="20" y="3"/>
                        <a:pt x="19" y="6"/>
                        <a:pt x="17" y="10"/>
                      </a:cubicBezTo>
                      <a:cubicBezTo>
                        <a:pt x="20" y="10"/>
                        <a:pt x="25" y="10"/>
                        <a:pt x="28" y="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7" name="Freeform 16">
                  <a:extLst>
                    <a:ext uri="{FF2B5EF4-FFF2-40B4-BE49-F238E27FC236}">
                      <a16:creationId xmlns:a16="http://schemas.microsoft.com/office/drawing/2014/main" id="{B4319829-075D-8ABA-77C8-8883643EC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3138" y="1250951"/>
                  <a:ext cx="3233738" cy="3297238"/>
                </a:xfrm>
                <a:custGeom>
                  <a:avLst/>
                  <a:gdLst>
                    <a:gd name="T0" fmla="*/ 535 w 5284"/>
                    <a:gd name="T1" fmla="*/ 1232 h 5384"/>
                    <a:gd name="T2" fmla="*/ 1046 w 5284"/>
                    <a:gd name="T3" fmla="*/ 1177 h 5384"/>
                    <a:gd name="T4" fmla="*/ 1332 w 5284"/>
                    <a:gd name="T5" fmla="*/ 1110 h 5384"/>
                    <a:gd name="T6" fmla="*/ 1344 w 5284"/>
                    <a:gd name="T7" fmla="*/ 947 h 5384"/>
                    <a:gd name="T8" fmla="*/ 1489 w 5284"/>
                    <a:gd name="T9" fmla="*/ 889 h 5384"/>
                    <a:gd name="T10" fmla="*/ 1582 w 5284"/>
                    <a:gd name="T11" fmla="*/ 901 h 5384"/>
                    <a:gd name="T12" fmla="*/ 1828 w 5284"/>
                    <a:gd name="T13" fmla="*/ 886 h 5384"/>
                    <a:gd name="T14" fmla="*/ 1961 w 5284"/>
                    <a:gd name="T15" fmla="*/ 1099 h 5384"/>
                    <a:gd name="T16" fmla="*/ 1977 w 5284"/>
                    <a:gd name="T17" fmla="*/ 1239 h 5384"/>
                    <a:gd name="T18" fmla="*/ 2192 w 5284"/>
                    <a:gd name="T19" fmla="*/ 1393 h 5384"/>
                    <a:gd name="T20" fmla="*/ 2311 w 5284"/>
                    <a:gd name="T21" fmla="*/ 1103 h 5384"/>
                    <a:gd name="T22" fmla="*/ 2679 w 5284"/>
                    <a:gd name="T23" fmla="*/ 1009 h 5384"/>
                    <a:gd name="T24" fmla="*/ 2823 w 5284"/>
                    <a:gd name="T25" fmla="*/ 984 h 5384"/>
                    <a:gd name="T26" fmla="*/ 2851 w 5284"/>
                    <a:gd name="T27" fmla="*/ 782 h 5384"/>
                    <a:gd name="T28" fmla="*/ 2885 w 5284"/>
                    <a:gd name="T29" fmla="*/ 499 h 5384"/>
                    <a:gd name="T30" fmla="*/ 3216 w 5284"/>
                    <a:gd name="T31" fmla="*/ 509 h 5384"/>
                    <a:gd name="T32" fmla="*/ 3341 w 5284"/>
                    <a:gd name="T33" fmla="*/ 491 h 5384"/>
                    <a:gd name="T34" fmla="*/ 3414 w 5284"/>
                    <a:gd name="T35" fmla="*/ 339 h 5384"/>
                    <a:gd name="T36" fmla="*/ 3762 w 5284"/>
                    <a:gd name="T37" fmla="*/ 368 h 5384"/>
                    <a:gd name="T38" fmla="*/ 4093 w 5284"/>
                    <a:gd name="T39" fmla="*/ 345 h 5384"/>
                    <a:gd name="T40" fmla="*/ 4798 w 5284"/>
                    <a:gd name="T41" fmla="*/ 169 h 5384"/>
                    <a:gd name="T42" fmla="*/ 4988 w 5284"/>
                    <a:gd name="T43" fmla="*/ 190 h 5384"/>
                    <a:gd name="T44" fmla="*/ 5089 w 5284"/>
                    <a:gd name="T45" fmla="*/ 102 h 5384"/>
                    <a:gd name="T46" fmla="*/ 4975 w 5284"/>
                    <a:gd name="T47" fmla="*/ 570 h 5384"/>
                    <a:gd name="T48" fmla="*/ 5214 w 5284"/>
                    <a:gd name="T49" fmla="*/ 930 h 5384"/>
                    <a:gd name="T50" fmla="*/ 5042 w 5284"/>
                    <a:gd name="T51" fmla="*/ 1186 h 5384"/>
                    <a:gd name="T52" fmla="*/ 4959 w 5284"/>
                    <a:gd name="T53" fmla="*/ 1533 h 5384"/>
                    <a:gd name="T54" fmla="*/ 4892 w 5284"/>
                    <a:gd name="T55" fmla="*/ 1952 h 5384"/>
                    <a:gd name="T56" fmla="*/ 4671 w 5284"/>
                    <a:gd name="T57" fmla="*/ 2150 h 5384"/>
                    <a:gd name="T58" fmla="*/ 4454 w 5284"/>
                    <a:gd name="T59" fmla="*/ 2351 h 5384"/>
                    <a:gd name="T60" fmla="*/ 4621 w 5284"/>
                    <a:gd name="T61" fmla="*/ 2719 h 5384"/>
                    <a:gd name="T62" fmla="*/ 4492 w 5284"/>
                    <a:gd name="T63" fmla="*/ 2884 h 5384"/>
                    <a:gd name="T64" fmla="*/ 4312 w 5284"/>
                    <a:gd name="T65" fmla="*/ 2969 h 5384"/>
                    <a:gd name="T66" fmla="*/ 4144 w 5284"/>
                    <a:gd name="T67" fmla="*/ 3078 h 5384"/>
                    <a:gd name="T68" fmla="*/ 4064 w 5284"/>
                    <a:gd name="T69" fmla="*/ 3388 h 5384"/>
                    <a:gd name="T70" fmla="*/ 4209 w 5284"/>
                    <a:gd name="T71" fmla="*/ 3743 h 5384"/>
                    <a:gd name="T72" fmla="*/ 3981 w 5284"/>
                    <a:gd name="T73" fmla="*/ 3918 h 5384"/>
                    <a:gd name="T74" fmla="*/ 3693 w 5284"/>
                    <a:gd name="T75" fmla="*/ 4127 h 5384"/>
                    <a:gd name="T76" fmla="*/ 3645 w 5284"/>
                    <a:gd name="T77" fmla="*/ 4383 h 5384"/>
                    <a:gd name="T78" fmla="*/ 3687 w 5284"/>
                    <a:gd name="T79" fmla="*/ 4553 h 5384"/>
                    <a:gd name="T80" fmla="*/ 3727 w 5284"/>
                    <a:gd name="T81" fmla="*/ 4771 h 5384"/>
                    <a:gd name="T82" fmla="*/ 3737 w 5284"/>
                    <a:gd name="T83" fmla="*/ 5028 h 5384"/>
                    <a:gd name="T84" fmla="*/ 3456 w 5284"/>
                    <a:gd name="T85" fmla="*/ 5269 h 5384"/>
                    <a:gd name="T86" fmla="*/ 3023 w 5284"/>
                    <a:gd name="T87" fmla="*/ 5344 h 5384"/>
                    <a:gd name="T88" fmla="*/ 2570 w 5284"/>
                    <a:gd name="T89" fmla="*/ 5275 h 5384"/>
                    <a:gd name="T90" fmla="*/ 2132 w 5284"/>
                    <a:gd name="T91" fmla="*/ 5149 h 5384"/>
                    <a:gd name="T92" fmla="*/ 1920 w 5284"/>
                    <a:gd name="T93" fmla="*/ 4762 h 5384"/>
                    <a:gd name="T94" fmla="*/ 1670 w 5284"/>
                    <a:gd name="T95" fmla="*/ 4622 h 5384"/>
                    <a:gd name="T96" fmla="*/ 1356 w 5284"/>
                    <a:gd name="T97" fmla="*/ 4670 h 5384"/>
                    <a:gd name="T98" fmla="*/ 1159 w 5284"/>
                    <a:gd name="T99" fmla="*/ 5013 h 5384"/>
                    <a:gd name="T100" fmla="*/ 955 w 5284"/>
                    <a:gd name="T101" fmla="*/ 4956 h 5384"/>
                    <a:gd name="T102" fmla="*/ 730 w 5284"/>
                    <a:gd name="T103" fmla="*/ 4947 h 5384"/>
                    <a:gd name="T104" fmla="*/ 783 w 5284"/>
                    <a:gd name="T105" fmla="*/ 4598 h 5384"/>
                    <a:gd name="T106" fmla="*/ 675 w 5284"/>
                    <a:gd name="T107" fmla="*/ 4153 h 5384"/>
                    <a:gd name="T108" fmla="*/ 551 w 5284"/>
                    <a:gd name="T109" fmla="*/ 3898 h 5384"/>
                    <a:gd name="T110" fmla="*/ 441 w 5284"/>
                    <a:gd name="T111" fmla="*/ 3709 h 5384"/>
                    <a:gd name="T112" fmla="*/ 120 w 5284"/>
                    <a:gd name="T113" fmla="*/ 3661 h 5384"/>
                    <a:gd name="T114" fmla="*/ 153 w 5284"/>
                    <a:gd name="T115" fmla="*/ 3352 h 5384"/>
                    <a:gd name="T116" fmla="*/ 59 w 5284"/>
                    <a:gd name="T117" fmla="*/ 2990 h 5384"/>
                    <a:gd name="T118" fmla="*/ 208 w 5284"/>
                    <a:gd name="T119" fmla="*/ 2222 h 5384"/>
                    <a:gd name="T120" fmla="*/ 392 w 5284"/>
                    <a:gd name="T121" fmla="*/ 1935 h 5384"/>
                    <a:gd name="T122" fmla="*/ 407 w 5284"/>
                    <a:gd name="T123" fmla="*/ 1539 h 5384"/>
                    <a:gd name="T124" fmla="*/ 268 w 5284"/>
                    <a:gd name="T125" fmla="*/ 1233 h 5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284" h="5384">
                      <a:moveTo>
                        <a:pt x="460" y="1100"/>
                      </a:moveTo>
                      <a:cubicBezTo>
                        <a:pt x="467" y="1113"/>
                        <a:pt x="480" y="1126"/>
                        <a:pt x="488" y="1139"/>
                      </a:cubicBezTo>
                      <a:cubicBezTo>
                        <a:pt x="491" y="1144"/>
                        <a:pt x="495" y="1150"/>
                        <a:pt x="495" y="1156"/>
                      </a:cubicBezTo>
                      <a:cubicBezTo>
                        <a:pt x="496" y="1169"/>
                        <a:pt x="493" y="1163"/>
                        <a:pt x="489" y="1170"/>
                      </a:cubicBezTo>
                      <a:cubicBezTo>
                        <a:pt x="485" y="1177"/>
                        <a:pt x="476" y="1199"/>
                        <a:pt x="479" y="1207"/>
                      </a:cubicBezTo>
                      <a:cubicBezTo>
                        <a:pt x="480" y="1211"/>
                        <a:pt x="498" y="1224"/>
                        <a:pt x="501" y="1225"/>
                      </a:cubicBezTo>
                      <a:cubicBezTo>
                        <a:pt x="508" y="1228"/>
                        <a:pt x="511" y="1224"/>
                        <a:pt x="516" y="1231"/>
                      </a:cubicBezTo>
                      <a:cubicBezTo>
                        <a:pt x="518" y="1234"/>
                        <a:pt x="521" y="1247"/>
                        <a:pt x="521" y="1251"/>
                      </a:cubicBezTo>
                      <a:cubicBezTo>
                        <a:pt x="524" y="1264"/>
                        <a:pt x="527" y="1276"/>
                        <a:pt x="530" y="1288"/>
                      </a:cubicBezTo>
                      <a:cubicBezTo>
                        <a:pt x="533" y="1304"/>
                        <a:pt x="535" y="1328"/>
                        <a:pt x="528" y="1340"/>
                      </a:cubicBezTo>
                      <a:cubicBezTo>
                        <a:pt x="523" y="1347"/>
                        <a:pt x="516" y="1349"/>
                        <a:pt x="511" y="1355"/>
                      </a:cubicBezTo>
                      <a:cubicBezTo>
                        <a:pt x="504" y="1365"/>
                        <a:pt x="510" y="1368"/>
                        <a:pt x="514" y="1376"/>
                      </a:cubicBezTo>
                      <a:cubicBezTo>
                        <a:pt x="521" y="1392"/>
                        <a:pt x="525" y="1402"/>
                        <a:pt x="544" y="1407"/>
                      </a:cubicBezTo>
                      <a:cubicBezTo>
                        <a:pt x="564" y="1412"/>
                        <a:pt x="587" y="1410"/>
                        <a:pt x="608" y="1410"/>
                      </a:cubicBezTo>
                      <a:cubicBezTo>
                        <a:pt x="599" y="1401"/>
                        <a:pt x="580" y="1405"/>
                        <a:pt x="568" y="1404"/>
                      </a:cubicBezTo>
                      <a:cubicBezTo>
                        <a:pt x="552" y="1403"/>
                        <a:pt x="537" y="1404"/>
                        <a:pt x="525" y="1391"/>
                      </a:cubicBezTo>
                      <a:cubicBezTo>
                        <a:pt x="523" y="1388"/>
                        <a:pt x="514" y="1373"/>
                        <a:pt x="514" y="1369"/>
                      </a:cubicBezTo>
                      <a:cubicBezTo>
                        <a:pt x="511" y="1356"/>
                        <a:pt x="529" y="1347"/>
                        <a:pt x="534" y="1336"/>
                      </a:cubicBezTo>
                      <a:cubicBezTo>
                        <a:pt x="541" y="1323"/>
                        <a:pt x="535" y="1311"/>
                        <a:pt x="536" y="1296"/>
                      </a:cubicBezTo>
                      <a:cubicBezTo>
                        <a:pt x="537" y="1281"/>
                        <a:pt x="526" y="1274"/>
                        <a:pt x="526" y="1260"/>
                      </a:cubicBezTo>
                      <a:cubicBezTo>
                        <a:pt x="525" y="1252"/>
                        <a:pt x="529" y="1237"/>
                        <a:pt x="535" y="1232"/>
                      </a:cubicBezTo>
                      <a:cubicBezTo>
                        <a:pt x="539" y="1229"/>
                        <a:pt x="542" y="1231"/>
                        <a:pt x="548" y="1229"/>
                      </a:cubicBezTo>
                      <a:cubicBezTo>
                        <a:pt x="553" y="1227"/>
                        <a:pt x="559" y="1220"/>
                        <a:pt x="562" y="1217"/>
                      </a:cubicBezTo>
                      <a:cubicBezTo>
                        <a:pt x="555" y="1213"/>
                        <a:pt x="546" y="1220"/>
                        <a:pt x="537" y="1218"/>
                      </a:cubicBezTo>
                      <a:cubicBezTo>
                        <a:pt x="527" y="1215"/>
                        <a:pt x="517" y="1206"/>
                        <a:pt x="511" y="1198"/>
                      </a:cubicBezTo>
                      <a:cubicBezTo>
                        <a:pt x="501" y="1184"/>
                        <a:pt x="506" y="1184"/>
                        <a:pt x="521" y="1179"/>
                      </a:cubicBezTo>
                      <a:cubicBezTo>
                        <a:pt x="537" y="1172"/>
                        <a:pt x="539" y="1170"/>
                        <a:pt x="549" y="1158"/>
                      </a:cubicBezTo>
                      <a:cubicBezTo>
                        <a:pt x="565" y="1139"/>
                        <a:pt x="598" y="1149"/>
                        <a:pt x="618" y="1134"/>
                      </a:cubicBezTo>
                      <a:cubicBezTo>
                        <a:pt x="626" y="1127"/>
                        <a:pt x="631" y="1116"/>
                        <a:pt x="640" y="1110"/>
                      </a:cubicBezTo>
                      <a:cubicBezTo>
                        <a:pt x="654" y="1099"/>
                        <a:pt x="663" y="1097"/>
                        <a:pt x="680" y="1095"/>
                      </a:cubicBezTo>
                      <a:cubicBezTo>
                        <a:pt x="706" y="1093"/>
                        <a:pt x="730" y="1088"/>
                        <a:pt x="756" y="1084"/>
                      </a:cubicBezTo>
                      <a:cubicBezTo>
                        <a:pt x="781" y="1081"/>
                        <a:pt x="807" y="1090"/>
                        <a:pt x="832" y="1088"/>
                      </a:cubicBezTo>
                      <a:cubicBezTo>
                        <a:pt x="857" y="1086"/>
                        <a:pt x="878" y="1076"/>
                        <a:pt x="902" y="1071"/>
                      </a:cubicBezTo>
                      <a:cubicBezTo>
                        <a:pt x="920" y="1067"/>
                        <a:pt x="958" y="1057"/>
                        <a:pt x="972" y="1075"/>
                      </a:cubicBezTo>
                      <a:cubicBezTo>
                        <a:pt x="983" y="1088"/>
                        <a:pt x="969" y="1090"/>
                        <a:pt x="958" y="1092"/>
                      </a:cubicBezTo>
                      <a:cubicBezTo>
                        <a:pt x="953" y="1093"/>
                        <a:pt x="958" y="1096"/>
                        <a:pt x="950" y="1096"/>
                      </a:cubicBezTo>
                      <a:cubicBezTo>
                        <a:pt x="947" y="1096"/>
                        <a:pt x="947" y="1090"/>
                        <a:pt x="944" y="1090"/>
                      </a:cubicBezTo>
                      <a:cubicBezTo>
                        <a:pt x="931" y="1089"/>
                        <a:pt x="921" y="1122"/>
                        <a:pt x="937" y="1121"/>
                      </a:cubicBezTo>
                      <a:cubicBezTo>
                        <a:pt x="924" y="1157"/>
                        <a:pt x="964" y="1170"/>
                        <a:pt x="992" y="1175"/>
                      </a:cubicBezTo>
                      <a:cubicBezTo>
                        <a:pt x="999" y="1176"/>
                        <a:pt x="1006" y="1175"/>
                        <a:pt x="1014" y="1176"/>
                      </a:cubicBezTo>
                      <a:cubicBezTo>
                        <a:pt x="1019" y="1177"/>
                        <a:pt x="1024" y="1179"/>
                        <a:pt x="1030" y="1179"/>
                      </a:cubicBezTo>
                      <a:cubicBezTo>
                        <a:pt x="1036" y="1180"/>
                        <a:pt x="1038" y="1176"/>
                        <a:pt x="1046" y="1177"/>
                      </a:cubicBezTo>
                      <a:cubicBezTo>
                        <a:pt x="1058" y="1179"/>
                        <a:pt x="1064" y="1191"/>
                        <a:pt x="1074" y="1194"/>
                      </a:cubicBezTo>
                      <a:cubicBezTo>
                        <a:pt x="1092" y="1200"/>
                        <a:pt x="1116" y="1199"/>
                        <a:pt x="1136" y="1200"/>
                      </a:cubicBezTo>
                      <a:cubicBezTo>
                        <a:pt x="1140" y="1200"/>
                        <a:pt x="1162" y="1202"/>
                        <a:pt x="1152" y="1194"/>
                      </a:cubicBezTo>
                      <a:cubicBezTo>
                        <a:pt x="1147" y="1190"/>
                        <a:pt x="1127" y="1194"/>
                        <a:pt x="1119" y="1195"/>
                      </a:cubicBezTo>
                      <a:cubicBezTo>
                        <a:pt x="1116" y="1195"/>
                        <a:pt x="1064" y="1198"/>
                        <a:pt x="1079" y="1182"/>
                      </a:cubicBezTo>
                      <a:cubicBezTo>
                        <a:pt x="1083" y="1177"/>
                        <a:pt x="1109" y="1180"/>
                        <a:pt x="1116" y="1179"/>
                      </a:cubicBezTo>
                      <a:cubicBezTo>
                        <a:pt x="1126" y="1178"/>
                        <a:pt x="1135" y="1174"/>
                        <a:pt x="1145" y="1172"/>
                      </a:cubicBezTo>
                      <a:cubicBezTo>
                        <a:pt x="1169" y="1170"/>
                        <a:pt x="1188" y="1179"/>
                        <a:pt x="1209" y="1163"/>
                      </a:cubicBezTo>
                      <a:cubicBezTo>
                        <a:pt x="1221" y="1153"/>
                        <a:pt x="1227" y="1153"/>
                        <a:pt x="1242" y="1148"/>
                      </a:cubicBezTo>
                      <a:cubicBezTo>
                        <a:pt x="1244" y="1147"/>
                        <a:pt x="1246" y="1149"/>
                        <a:pt x="1248" y="1148"/>
                      </a:cubicBezTo>
                      <a:cubicBezTo>
                        <a:pt x="1250" y="1148"/>
                        <a:pt x="1251" y="1144"/>
                        <a:pt x="1252" y="1144"/>
                      </a:cubicBezTo>
                      <a:cubicBezTo>
                        <a:pt x="1257" y="1143"/>
                        <a:pt x="1263" y="1142"/>
                        <a:pt x="1269" y="1142"/>
                      </a:cubicBezTo>
                      <a:cubicBezTo>
                        <a:pt x="1263" y="1159"/>
                        <a:pt x="1285" y="1157"/>
                        <a:pt x="1296" y="1155"/>
                      </a:cubicBezTo>
                      <a:cubicBezTo>
                        <a:pt x="1307" y="1154"/>
                        <a:pt x="1311" y="1153"/>
                        <a:pt x="1321" y="1155"/>
                      </a:cubicBezTo>
                      <a:cubicBezTo>
                        <a:pt x="1330" y="1157"/>
                        <a:pt x="1335" y="1161"/>
                        <a:pt x="1345" y="1156"/>
                      </a:cubicBezTo>
                      <a:cubicBezTo>
                        <a:pt x="1338" y="1154"/>
                        <a:pt x="1294" y="1141"/>
                        <a:pt x="1303" y="1135"/>
                      </a:cubicBezTo>
                      <a:cubicBezTo>
                        <a:pt x="1316" y="1126"/>
                        <a:pt x="1350" y="1156"/>
                        <a:pt x="1359" y="1134"/>
                      </a:cubicBezTo>
                      <a:cubicBezTo>
                        <a:pt x="1346" y="1132"/>
                        <a:pt x="1317" y="1131"/>
                        <a:pt x="1307" y="1124"/>
                      </a:cubicBezTo>
                      <a:cubicBezTo>
                        <a:pt x="1309" y="1123"/>
                        <a:pt x="1310" y="1121"/>
                        <a:pt x="1313" y="1121"/>
                      </a:cubicBezTo>
                      <a:cubicBezTo>
                        <a:pt x="1310" y="1119"/>
                        <a:pt x="1309" y="1116"/>
                        <a:pt x="1307" y="1114"/>
                      </a:cubicBezTo>
                      <a:cubicBezTo>
                        <a:pt x="1318" y="1108"/>
                        <a:pt x="1320" y="1108"/>
                        <a:pt x="1332" y="1110"/>
                      </a:cubicBezTo>
                      <a:cubicBezTo>
                        <a:pt x="1336" y="1111"/>
                        <a:pt x="1340" y="1108"/>
                        <a:pt x="1343" y="1109"/>
                      </a:cubicBezTo>
                      <a:cubicBezTo>
                        <a:pt x="1345" y="1110"/>
                        <a:pt x="1344" y="1114"/>
                        <a:pt x="1346" y="1115"/>
                      </a:cubicBezTo>
                      <a:cubicBezTo>
                        <a:pt x="1355" y="1119"/>
                        <a:pt x="1369" y="1127"/>
                        <a:pt x="1378" y="1118"/>
                      </a:cubicBezTo>
                      <a:cubicBezTo>
                        <a:pt x="1382" y="1114"/>
                        <a:pt x="1384" y="1100"/>
                        <a:pt x="1384" y="1096"/>
                      </a:cubicBezTo>
                      <a:cubicBezTo>
                        <a:pt x="1384" y="1095"/>
                        <a:pt x="1380" y="1088"/>
                        <a:pt x="1379" y="1085"/>
                      </a:cubicBezTo>
                      <a:cubicBezTo>
                        <a:pt x="1379" y="1080"/>
                        <a:pt x="1381" y="1073"/>
                        <a:pt x="1382" y="1069"/>
                      </a:cubicBezTo>
                      <a:cubicBezTo>
                        <a:pt x="1384" y="1071"/>
                        <a:pt x="1386" y="1072"/>
                        <a:pt x="1387" y="1074"/>
                      </a:cubicBezTo>
                      <a:cubicBezTo>
                        <a:pt x="1389" y="1061"/>
                        <a:pt x="1359" y="1055"/>
                        <a:pt x="1385" y="1040"/>
                      </a:cubicBezTo>
                      <a:cubicBezTo>
                        <a:pt x="1382" y="1051"/>
                        <a:pt x="1391" y="1051"/>
                        <a:pt x="1397" y="1044"/>
                      </a:cubicBezTo>
                      <a:cubicBezTo>
                        <a:pt x="1388" y="1043"/>
                        <a:pt x="1396" y="1038"/>
                        <a:pt x="1390" y="1033"/>
                      </a:cubicBezTo>
                      <a:cubicBezTo>
                        <a:pt x="1390" y="1033"/>
                        <a:pt x="1382" y="1034"/>
                        <a:pt x="1379" y="1032"/>
                      </a:cubicBezTo>
                      <a:cubicBezTo>
                        <a:pt x="1378" y="1032"/>
                        <a:pt x="1377" y="1029"/>
                        <a:pt x="1375" y="1028"/>
                      </a:cubicBezTo>
                      <a:cubicBezTo>
                        <a:pt x="1374" y="1027"/>
                        <a:pt x="1378" y="1026"/>
                        <a:pt x="1376" y="1023"/>
                      </a:cubicBezTo>
                      <a:cubicBezTo>
                        <a:pt x="1373" y="1021"/>
                        <a:pt x="1368" y="1023"/>
                        <a:pt x="1364" y="1020"/>
                      </a:cubicBezTo>
                      <a:cubicBezTo>
                        <a:pt x="1354" y="1012"/>
                        <a:pt x="1355" y="1006"/>
                        <a:pt x="1358" y="995"/>
                      </a:cubicBezTo>
                      <a:cubicBezTo>
                        <a:pt x="1348" y="997"/>
                        <a:pt x="1346" y="1001"/>
                        <a:pt x="1341" y="993"/>
                      </a:cubicBezTo>
                      <a:cubicBezTo>
                        <a:pt x="1340" y="992"/>
                        <a:pt x="1350" y="987"/>
                        <a:pt x="1340" y="982"/>
                      </a:cubicBezTo>
                      <a:cubicBezTo>
                        <a:pt x="1344" y="976"/>
                        <a:pt x="1350" y="980"/>
                        <a:pt x="1353" y="985"/>
                      </a:cubicBezTo>
                      <a:cubicBezTo>
                        <a:pt x="1354" y="983"/>
                        <a:pt x="1317" y="948"/>
                        <a:pt x="1341" y="954"/>
                      </a:cubicBezTo>
                      <a:cubicBezTo>
                        <a:pt x="1338" y="952"/>
                        <a:pt x="1336" y="948"/>
                        <a:pt x="1333" y="946"/>
                      </a:cubicBezTo>
                      <a:cubicBezTo>
                        <a:pt x="1337" y="947"/>
                        <a:pt x="1340" y="946"/>
                        <a:pt x="1344" y="947"/>
                      </a:cubicBezTo>
                      <a:cubicBezTo>
                        <a:pt x="1334" y="936"/>
                        <a:pt x="1330" y="924"/>
                        <a:pt x="1343" y="914"/>
                      </a:cubicBezTo>
                      <a:cubicBezTo>
                        <a:pt x="1348" y="910"/>
                        <a:pt x="1345" y="904"/>
                        <a:pt x="1350" y="914"/>
                      </a:cubicBezTo>
                      <a:cubicBezTo>
                        <a:pt x="1351" y="916"/>
                        <a:pt x="1350" y="924"/>
                        <a:pt x="1350" y="927"/>
                      </a:cubicBezTo>
                      <a:cubicBezTo>
                        <a:pt x="1353" y="926"/>
                        <a:pt x="1356" y="927"/>
                        <a:pt x="1358" y="927"/>
                      </a:cubicBezTo>
                      <a:cubicBezTo>
                        <a:pt x="1348" y="942"/>
                        <a:pt x="1378" y="927"/>
                        <a:pt x="1378" y="920"/>
                      </a:cubicBezTo>
                      <a:cubicBezTo>
                        <a:pt x="1396" y="925"/>
                        <a:pt x="1377" y="909"/>
                        <a:pt x="1374" y="904"/>
                      </a:cubicBezTo>
                      <a:cubicBezTo>
                        <a:pt x="1370" y="897"/>
                        <a:pt x="1373" y="891"/>
                        <a:pt x="1365" y="886"/>
                      </a:cubicBezTo>
                      <a:cubicBezTo>
                        <a:pt x="1376" y="879"/>
                        <a:pt x="1387" y="895"/>
                        <a:pt x="1382" y="904"/>
                      </a:cubicBezTo>
                      <a:cubicBezTo>
                        <a:pt x="1393" y="905"/>
                        <a:pt x="1388" y="899"/>
                        <a:pt x="1391" y="893"/>
                      </a:cubicBezTo>
                      <a:cubicBezTo>
                        <a:pt x="1392" y="890"/>
                        <a:pt x="1397" y="891"/>
                        <a:pt x="1398" y="887"/>
                      </a:cubicBezTo>
                      <a:cubicBezTo>
                        <a:pt x="1399" y="885"/>
                        <a:pt x="1396" y="882"/>
                        <a:pt x="1396" y="880"/>
                      </a:cubicBezTo>
                      <a:cubicBezTo>
                        <a:pt x="1398" y="874"/>
                        <a:pt x="1409" y="857"/>
                        <a:pt x="1405" y="869"/>
                      </a:cubicBezTo>
                      <a:cubicBezTo>
                        <a:pt x="1411" y="866"/>
                        <a:pt x="1426" y="872"/>
                        <a:pt x="1431" y="874"/>
                      </a:cubicBezTo>
                      <a:cubicBezTo>
                        <a:pt x="1427" y="873"/>
                        <a:pt x="1442" y="875"/>
                        <a:pt x="1437" y="875"/>
                      </a:cubicBezTo>
                      <a:cubicBezTo>
                        <a:pt x="1441" y="875"/>
                        <a:pt x="1442" y="881"/>
                        <a:pt x="1450" y="872"/>
                      </a:cubicBezTo>
                      <a:cubicBezTo>
                        <a:pt x="1450" y="878"/>
                        <a:pt x="1462" y="886"/>
                        <a:pt x="1465" y="880"/>
                      </a:cubicBezTo>
                      <a:cubicBezTo>
                        <a:pt x="1466" y="884"/>
                        <a:pt x="1468" y="888"/>
                        <a:pt x="1469" y="892"/>
                      </a:cubicBezTo>
                      <a:cubicBezTo>
                        <a:pt x="1477" y="886"/>
                        <a:pt x="1468" y="882"/>
                        <a:pt x="1470" y="877"/>
                      </a:cubicBezTo>
                      <a:cubicBezTo>
                        <a:pt x="1470" y="875"/>
                        <a:pt x="1474" y="871"/>
                        <a:pt x="1475" y="869"/>
                      </a:cubicBezTo>
                      <a:cubicBezTo>
                        <a:pt x="1480" y="874"/>
                        <a:pt x="1479" y="882"/>
                        <a:pt x="1486" y="880"/>
                      </a:cubicBezTo>
                      <a:cubicBezTo>
                        <a:pt x="1486" y="888"/>
                        <a:pt x="1486" y="886"/>
                        <a:pt x="1489" y="889"/>
                      </a:cubicBezTo>
                      <a:cubicBezTo>
                        <a:pt x="1488" y="894"/>
                        <a:pt x="1492" y="913"/>
                        <a:pt x="1495" y="900"/>
                      </a:cubicBezTo>
                      <a:cubicBezTo>
                        <a:pt x="1500" y="913"/>
                        <a:pt x="1506" y="901"/>
                        <a:pt x="1505" y="893"/>
                      </a:cubicBezTo>
                      <a:cubicBezTo>
                        <a:pt x="1507" y="899"/>
                        <a:pt x="1511" y="900"/>
                        <a:pt x="1512" y="893"/>
                      </a:cubicBezTo>
                      <a:cubicBezTo>
                        <a:pt x="1513" y="896"/>
                        <a:pt x="1515" y="895"/>
                        <a:pt x="1515" y="900"/>
                      </a:cubicBezTo>
                      <a:cubicBezTo>
                        <a:pt x="1522" y="898"/>
                        <a:pt x="1535" y="893"/>
                        <a:pt x="1533" y="905"/>
                      </a:cubicBezTo>
                      <a:cubicBezTo>
                        <a:pt x="1537" y="908"/>
                        <a:pt x="1528" y="911"/>
                        <a:pt x="1528" y="917"/>
                      </a:cubicBezTo>
                      <a:cubicBezTo>
                        <a:pt x="1528" y="924"/>
                        <a:pt x="1534" y="926"/>
                        <a:pt x="1536" y="931"/>
                      </a:cubicBezTo>
                      <a:cubicBezTo>
                        <a:pt x="1546" y="925"/>
                        <a:pt x="1531" y="919"/>
                        <a:pt x="1546" y="911"/>
                      </a:cubicBezTo>
                      <a:cubicBezTo>
                        <a:pt x="1548" y="909"/>
                        <a:pt x="1552" y="914"/>
                        <a:pt x="1553" y="912"/>
                      </a:cubicBezTo>
                      <a:cubicBezTo>
                        <a:pt x="1558" y="906"/>
                        <a:pt x="1554" y="909"/>
                        <a:pt x="1554" y="905"/>
                      </a:cubicBezTo>
                      <a:cubicBezTo>
                        <a:pt x="1555" y="905"/>
                        <a:pt x="1551" y="905"/>
                        <a:pt x="1551" y="904"/>
                      </a:cubicBezTo>
                      <a:cubicBezTo>
                        <a:pt x="1551" y="903"/>
                        <a:pt x="1553" y="899"/>
                        <a:pt x="1553" y="898"/>
                      </a:cubicBezTo>
                      <a:cubicBezTo>
                        <a:pt x="1553" y="898"/>
                        <a:pt x="1555" y="889"/>
                        <a:pt x="1554" y="890"/>
                      </a:cubicBezTo>
                      <a:cubicBezTo>
                        <a:pt x="1561" y="884"/>
                        <a:pt x="1561" y="892"/>
                        <a:pt x="1563" y="902"/>
                      </a:cubicBezTo>
                      <a:cubicBezTo>
                        <a:pt x="1564" y="906"/>
                        <a:pt x="1561" y="914"/>
                        <a:pt x="1564" y="914"/>
                      </a:cubicBezTo>
                      <a:cubicBezTo>
                        <a:pt x="1570" y="916"/>
                        <a:pt x="1568" y="905"/>
                        <a:pt x="1568" y="902"/>
                      </a:cubicBezTo>
                      <a:cubicBezTo>
                        <a:pt x="1569" y="890"/>
                        <a:pt x="1564" y="898"/>
                        <a:pt x="1572" y="886"/>
                      </a:cubicBezTo>
                      <a:cubicBezTo>
                        <a:pt x="1580" y="875"/>
                        <a:pt x="1587" y="867"/>
                        <a:pt x="1597" y="882"/>
                      </a:cubicBezTo>
                      <a:cubicBezTo>
                        <a:pt x="1600" y="886"/>
                        <a:pt x="1601" y="898"/>
                        <a:pt x="1598" y="903"/>
                      </a:cubicBezTo>
                      <a:cubicBezTo>
                        <a:pt x="1593" y="898"/>
                        <a:pt x="1593" y="898"/>
                        <a:pt x="1589" y="903"/>
                      </a:cubicBezTo>
                      <a:cubicBezTo>
                        <a:pt x="1587" y="901"/>
                        <a:pt x="1585" y="901"/>
                        <a:pt x="1582" y="901"/>
                      </a:cubicBezTo>
                      <a:cubicBezTo>
                        <a:pt x="1582" y="903"/>
                        <a:pt x="1582" y="905"/>
                        <a:pt x="1583" y="907"/>
                      </a:cubicBezTo>
                      <a:cubicBezTo>
                        <a:pt x="1593" y="905"/>
                        <a:pt x="1597" y="915"/>
                        <a:pt x="1588" y="920"/>
                      </a:cubicBezTo>
                      <a:cubicBezTo>
                        <a:pt x="1595" y="919"/>
                        <a:pt x="1611" y="895"/>
                        <a:pt x="1611" y="914"/>
                      </a:cubicBezTo>
                      <a:cubicBezTo>
                        <a:pt x="1630" y="907"/>
                        <a:pt x="1629" y="937"/>
                        <a:pt x="1635" y="945"/>
                      </a:cubicBezTo>
                      <a:cubicBezTo>
                        <a:pt x="1633" y="925"/>
                        <a:pt x="1637" y="925"/>
                        <a:pt x="1622" y="909"/>
                      </a:cubicBezTo>
                      <a:cubicBezTo>
                        <a:pt x="1635" y="907"/>
                        <a:pt x="1623" y="901"/>
                        <a:pt x="1626" y="895"/>
                      </a:cubicBezTo>
                      <a:cubicBezTo>
                        <a:pt x="1633" y="881"/>
                        <a:pt x="1633" y="895"/>
                        <a:pt x="1642" y="901"/>
                      </a:cubicBezTo>
                      <a:cubicBezTo>
                        <a:pt x="1645" y="894"/>
                        <a:pt x="1632" y="880"/>
                        <a:pt x="1648" y="885"/>
                      </a:cubicBezTo>
                      <a:cubicBezTo>
                        <a:pt x="1641" y="879"/>
                        <a:pt x="1644" y="862"/>
                        <a:pt x="1631" y="866"/>
                      </a:cubicBezTo>
                      <a:cubicBezTo>
                        <a:pt x="1635" y="845"/>
                        <a:pt x="1663" y="853"/>
                        <a:pt x="1677" y="853"/>
                      </a:cubicBezTo>
                      <a:cubicBezTo>
                        <a:pt x="1694" y="853"/>
                        <a:pt x="1713" y="847"/>
                        <a:pt x="1731" y="843"/>
                      </a:cubicBezTo>
                      <a:cubicBezTo>
                        <a:pt x="1730" y="848"/>
                        <a:pt x="1730" y="851"/>
                        <a:pt x="1727" y="855"/>
                      </a:cubicBezTo>
                      <a:cubicBezTo>
                        <a:pt x="1750" y="855"/>
                        <a:pt x="1742" y="857"/>
                        <a:pt x="1740" y="875"/>
                      </a:cubicBezTo>
                      <a:cubicBezTo>
                        <a:pt x="1746" y="871"/>
                        <a:pt x="1753" y="867"/>
                        <a:pt x="1759" y="864"/>
                      </a:cubicBezTo>
                      <a:cubicBezTo>
                        <a:pt x="1755" y="866"/>
                        <a:pt x="1776" y="863"/>
                        <a:pt x="1768" y="860"/>
                      </a:cubicBezTo>
                      <a:cubicBezTo>
                        <a:pt x="1773" y="862"/>
                        <a:pt x="1775" y="879"/>
                        <a:pt x="1771" y="887"/>
                      </a:cubicBezTo>
                      <a:cubicBezTo>
                        <a:pt x="1777" y="882"/>
                        <a:pt x="1780" y="886"/>
                        <a:pt x="1785" y="885"/>
                      </a:cubicBezTo>
                      <a:cubicBezTo>
                        <a:pt x="1786" y="885"/>
                        <a:pt x="1789" y="888"/>
                        <a:pt x="1790" y="887"/>
                      </a:cubicBezTo>
                      <a:cubicBezTo>
                        <a:pt x="1794" y="886"/>
                        <a:pt x="1795" y="879"/>
                        <a:pt x="1798" y="877"/>
                      </a:cubicBezTo>
                      <a:cubicBezTo>
                        <a:pt x="1809" y="871"/>
                        <a:pt x="1818" y="882"/>
                        <a:pt x="1830" y="878"/>
                      </a:cubicBezTo>
                      <a:cubicBezTo>
                        <a:pt x="1829" y="881"/>
                        <a:pt x="1830" y="883"/>
                        <a:pt x="1828" y="886"/>
                      </a:cubicBezTo>
                      <a:cubicBezTo>
                        <a:pt x="1835" y="880"/>
                        <a:pt x="1841" y="882"/>
                        <a:pt x="1841" y="891"/>
                      </a:cubicBezTo>
                      <a:cubicBezTo>
                        <a:pt x="1829" y="890"/>
                        <a:pt x="1836" y="899"/>
                        <a:pt x="1837" y="906"/>
                      </a:cubicBezTo>
                      <a:cubicBezTo>
                        <a:pt x="1837" y="911"/>
                        <a:pt x="1829" y="924"/>
                        <a:pt x="1840" y="914"/>
                      </a:cubicBezTo>
                      <a:cubicBezTo>
                        <a:pt x="1850" y="902"/>
                        <a:pt x="1843" y="894"/>
                        <a:pt x="1863" y="895"/>
                      </a:cubicBezTo>
                      <a:cubicBezTo>
                        <a:pt x="1874" y="896"/>
                        <a:pt x="1894" y="903"/>
                        <a:pt x="1899" y="913"/>
                      </a:cubicBezTo>
                      <a:cubicBezTo>
                        <a:pt x="1911" y="937"/>
                        <a:pt x="1857" y="930"/>
                        <a:pt x="1843" y="942"/>
                      </a:cubicBezTo>
                      <a:cubicBezTo>
                        <a:pt x="1838" y="947"/>
                        <a:pt x="1835" y="953"/>
                        <a:pt x="1829" y="958"/>
                      </a:cubicBezTo>
                      <a:cubicBezTo>
                        <a:pt x="1824" y="963"/>
                        <a:pt x="1812" y="967"/>
                        <a:pt x="1809" y="973"/>
                      </a:cubicBezTo>
                      <a:cubicBezTo>
                        <a:pt x="1801" y="987"/>
                        <a:pt x="1815" y="994"/>
                        <a:pt x="1807" y="1009"/>
                      </a:cubicBezTo>
                      <a:cubicBezTo>
                        <a:pt x="1827" y="999"/>
                        <a:pt x="1844" y="997"/>
                        <a:pt x="1866" y="995"/>
                      </a:cubicBezTo>
                      <a:cubicBezTo>
                        <a:pt x="1881" y="992"/>
                        <a:pt x="1903" y="984"/>
                        <a:pt x="1918" y="990"/>
                      </a:cubicBezTo>
                      <a:cubicBezTo>
                        <a:pt x="1912" y="992"/>
                        <a:pt x="1904" y="1001"/>
                        <a:pt x="1910" y="1005"/>
                      </a:cubicBezTo>
                      <a:cubicBezTo>
                        <a:pt x="1902" y="1013"/>
                        <a:pt x="1882" y="1011"/>
                        <a:pt x="1871" y="1011"/>
                      </a:cubicBezTo>
                      <a:cubicBezTo>
                        <a:pt x="1862" y="1011"/>
                        <a:pt x="1847" y="1019"/>
                        <a:pt x="1842" y="1013"/>
                      </a:cubicBezTo>
                      <a:cubicBezTo>
                        <a:pt x="1841" y="1023"/>
                        <a:pt x="1842" y="1025"/>
                        <a:pt x="1835" y="1031"/>
                      </a:cubicBezTo>
                      <a:cubicBezTo>
                        <a:pt x="1828" y="1037"/>
                        <a:pt x="1809" y="1045"/>
                        <a:pt x="1799" y="1046"/>
                      </a:cubicBezTo>
                      <a:cubicBezTo>
                        <a:pt x="1819" y="1059"/>
                        <a:pt x="1848" y="1066"/>
                        <a:pt x="1872" y="1068"/>
                      </a:cubicBezTo>
                      <a:cubicBezTo>
                        <a:pt x="1888" y="1069"/>
                        <a:pt x="1897" y="1064"/>
                        <a:pt x="1910" y="1058"/>
                      </a:cubicBezTo>
                      <a:cubicBezTo>
                        <a:pt x="1920" y="1053"/>
                        <a:pt x="1940" y="1046"/>
                        <a:pt x="1936" y="1065"/>
                      </a:cubicBezTo>
                      <a:cubicBezTo>
                        <a:pt x="1944" y="1063"/>
                        <a:pt x="1966" y="1069"/>
                        <a:pt x="1966" y="1077"/>
                      </a:cubicBezTo>
                      <a:cubicBezTo>
                        <a:pt x="1966" y="1083"/>
                        <a:pt x="1946" y="1092"/>
                        <a:pt x="1961" y="1099"/>
                      </a:cubicBezTo>
                      <a:cubicBezTo>
                        <a:pt x="1967" y="1101"/>
                        <a:pt x="1973" y="1095"/>
                        <a:pt x="1977" y="1097"/>
                      </a:cubicBezTo>
                      <a:cubicBezTo>
                        <a:pt x="1987" y="1103"/>
                        <a:pt x="1977" y="1103"/>
                        <a:pt x="1976" y="1106"/>
                      </a:cubicBezTo>
                      <a:cubicBezTo>
                        <a:pt x="1973" y="1115"/>
                        <a:pt x="1967" y="1125"/>
                        <a:pt x="1963" y="1134"/>
                      </a:cubicBezTo>
                      <a:cubicBezTo>
                        <a:pt x="1970" y="1134"/>
                        <a:pt x="1978" y="1121"/>
                        <a:pt x="1985" y="1128"/>
                      </a:cubicBezTo>
                      <a:cubicBezTo>
                        <a:pt x="1980" y="1131"/>
                        <a:pt x="1980" y="1138"/>
                        <a:pt x="1975" y="1142"/>
                      </a:cubicBezTo>
                      <a:cubicBezTo>
                        <a:pt x="1970" y="1147"/>
                        <a:pt x="1964" y="1144"/>
                        <a:pt x="1960" y="1146"/>
                      </a:cubicBezTo>
                      <a:cubicBezTo>
                        <a:pt x="1953" y="1150"/>
                        <a:pt x="1950" y="1162"/>
                        <a:pt x="1938" y="1158"/>
                      </a:cubicBezTo>
                      <a:cubicBezTo>
                        <a:pt x="1929" y="1156"/>
                        <a:pt x="1925" y="1148"/>
                        <a:pt x="1915" y="1146"/>
                      </a:cubicBezTo>
                      <a:cubicBezTo>
                        <a:pt x="1906" y="1144"/>
                        <a:pt x="1881" y="1144"/>
                        <a:pt x="1895" y="1130"/>
                      </a:cubicBezTo>
                      <a:cubicBezTo>
                        <a:pt x="1882" y="1122"/>
                        <a:pt x="1864" y="1128"/>
                        <a:pt x="1850" y="1123"/>
                      </a:cubicBezTo>
                      <a:cubicBezTo>
                        <a:pt x="1833" y="1118"/>
                        <a:pt x="1818" y="1097"/>
                        <a:pt x="1801" y="1112"/>
                      </a:cubicBezTo>
                      <a:cubicBezTo>
                        <a:pt x="1807" y="1116"/>
                        <a:pt x="1841" y="1136"/>
                        <a:pt x="1817" y="1136"/>
                      </a:cubicBezTo>
                      <a:cubicBezTo>
                        <a:pt x="1824" y="1142"/>
                        <a:pt x="1849" y="1144"/>
                        <a:pt x="1859" y="1148"/>
                      </a:cubicBezTo>
                      <a:cubicBezTo>
                        <a:pt x="1866" y="1150"/>
                        <a:pt x="1869" y="1148"/>
                        <a:pt x="1876" y="1154"/>
                      </a:cubicBezTo>
                      <a:cubicBezTo>
                        <a:pt x="1881" y="1158"/>
                        <a:pt x="1886" y="1162"/>
                        <a:pt x="1891" y="1166"/>
                      </a:cubicBezTo>
                      <a:cubicBezTo>
                        <a:pt x="1900" y="1173"/>
                        <a:pt x="1903" y="1181"/>
                        <a:pt x="1908" y="1187"/>
                      </a:cubicBezTo>
                      <a:cubicBezTo>
                        <a:pt x="1915" y="1195"/>
                        <a:pt x="1921" y="1194"/>
                        <a:pt x="1928" y="1200"/>
                      </a:cubicBezTo>
                      <a:cubicBezTo>
                        <a:pt x="1932" y="1202"/>
                        <a:pt x="1934" y="1208"/>
                        <a:pt x="1936" y="1212"/>
                      </a:cubicBezTo>
                      <a:cubicBezTo>
                        <a:pt x="1941" y="1218"/>
                        <a:pt x="1940" y="1219"/>
                        <a:pt x="1946" y="1223"/>
                      </a:cubicBezTo>
                      <a:cubicBezTo>
                        <a:pt x="1950" y="1227"/>
                        <a:pt x="1958" y="1231"/>
                        <a:pt x="1963" y="1235"/>
                      </a:cubicBezTo>
                      <a:cubicBezTo>
                        <a:pt x="1972" y="1242"/>
                        <a:pt x="1971" y="1242"/>
                        <a:pt x="1977" y="1239"/>
                      </a:cubicBezTo>
                      <a:cubicBezTo>
                        <a:pt x="1981" y="1237"/>
                        <a:pt x="1989" y="1224"/>
                        <a:pt x="1989" y="1219"/>
                      </a:cubicBezTo>
                      <a:cubicBezTo>
                        <a:pt x="1990" y="1210"/>
                        <a:pt x="1984" y="1207"/>
                        <a:pt x="1978" y="1201"/>
                      </a:cubicBezTo>
                      <a:cubicBezTo>
                        <a:pt x="1971" y="1193"/>
                        <a:pt x="1959" y="1181"/>
                        <a:pt x="1956" y="1171"/>
                      </a:cubicBezTo>
                      <a:cubicBezTo>
                        <a:pt x="1966" y="1171"/>
                        <a:pt x="1990" y="1193"/>
                        <a:pt x="1995" y="1201"/>
                      </a:cubicBezTo>
                      <a:cubicBezTo>
                        <a:pt x="1998" y="1206"/>
                        <a:pt x="1997" y="1210"/>
                        <a:pt x="2002" y="1214"/>
                      </a:cubicBezTo>
                      <a:cubicBezTo>
                        <a:pt x="2008" y="1219"/>
                        <a:pt x="2022" y="1223"/>
                        <a:pt x="2029" y="1226"/>
                      </a:cubicBezTo>
                      <a:cubicBezTo>
                        <a:pt x="2023" y="1232"/>
                        <a:pt x="2018" y="1225"/>
                        <a:pt x="2010" y="1226"/>
                      </a:cubicBezTo>
                      <a:cubicBezTo>
                        <a:pt x="2001" y="1227"/>
                        <a:pt x="2002" y="1231"/>
                        <a:pt x="1995" y="1238"/>
                      </a:cubicBezTo>
                      <a:cubicBezTo>
                        <a:pt x="1985" y="1248"/>
                        <a:pt x="1967" y="1250"/>
                        <a:pt x="1974" y="1269"/>
                      </a:cubicBezTo>
                      <a:cubicBezTo>
                        <a:pt x="1984" y="1294"/>
                        <a:pt x="1995" y="1265"/>
                        <a:pt x="2007" y="1268"/>
                      </a:cubicBezTo>
                      <a:cubicBezTo>
                        <a:pt x="2019" y="1270"/>
                        <a:pt x="2019" y="1285"/>
                        <a:pt x="2024" y="1292"/>
                      </a:cubicBezTo>
                      <a:cubicBezTo>
                        <a:pt x="2027" y="1296"/>
                        <a:pt x="2031" y="1295"/>
                        <a:pt x="2035" y="1298"/>
                      </a:cubicBezTo>
                      <a:cubicBezTo>
                        <a:pt x="2040" y="1304"/>
                        <a:pt x="2044" y="1312"/>
                        <a:pt x="2048" y="1318"/>
                      </a:cubicBezTo>
                      <a:cubicBezTo>
                        <a:pt x="2060" y="1333"/>
                        <a:pt x="2069" y="1329"/>
                        <a:pt x="2084" y="1337"/>
                      </a:cubicBezTo>
                      <a:cubicBezTo>
                        <a:pt x="2100" y="1346"/>
                        <a:pt x="2107" y="1367"/>
                        <a:pt x="2098" y="1381"/>
                      </a:cubicBezTo>
                      <a:cubicBezTo>
                        <a:pt x="2106" y="1374"/>
                        <a:pt x="2115" y="1363"/>
                        <a:pt x="2125" y="1368"/>
                      </a:cubicBezTo>
                      <a:cubicBezTo>
                        <a:pt x="2125" y="1371"/>
                        <a:pt x="2126" y="1373"/>
                        <a:pt x="2126" y="1375"/>
                      </a:cubicBezTo>
                      <a:cubicBezTo>
                        <a:pt x="2135" y="1367"/>
                        <a:pt x="2138" y="1363"/>
                        <a:pt x="2149" y="1370"/>
                      </a:cubicBezTo>
                      <a:cubicBezTo>
                        <a:pt x="2147" y="1369"/>
                        <a:pt x="2159" y="1383"/>
                        <a:pt x="2158" y="1381"/>
                      </a:cubicBezTo>
                      <a:cubicBezTo>
                        <a:pt x="2161" y="1385"/>
                        <a:pt x="2162" y="1387"/>
                        <a:pt x="2158" y="1390"/>
                      </a:cubicBezTo>
                      <a:cubicBezTo>
                        <a:pt x="2169" y="1392"/>
                        <a:pt x="2182" y="1390"/>
                        <a:pt x="2192" y="1393"/>
                      </a:cubicBezTo>
                      <a:cubicBezTo>
                        <a:pt x="2197" y="1395"/>
                        <a:pt x="2205" y="1408"/>
                        <a:pt x="2212" y="1394"/>
                      </a:cubicBezTo>
                      <a:cubicBezTo>
                        <a:pt x="2216" y="1386"/>
                        <a:pt x="2200" y="1351"/>
                        <a:pt x="2220" y="1378"/>
                      </a:cubicBezTo>
                      <a:cubicBezTo>
                        <a:pt x="2227" y="1387"/>
                        <a:pt x="2233" y="1398"/>
                        <a:pt x="2239" y="1407"/>
                      </a:cubicBezTo>
                      <a:cubicBezTo>
                        <a:pt x="2245" y="1417"/>
                        <a:pt x="2251" y="1420"/>
                        <a:pt x="2264" y="1413"/>
                      </a:cubicBezTo>
                      <a:cubicBezTo>
                        <a:pt x="2287" y="1401"/>
                        <a:pt x="2288" y="1361"/>
                        <a:pt x="2287" y="1338"/>
                      </a:cubicBezTo>
                      <a:cubicBezTo>
                        <a:pt x="2286" y="1329"/>
                        <a:pt x="2286" y="1319"/>
                        <a:pt x="2285" y="1309"/>
                      </a:cubicBezTo>
                      <a:cubicBezTo>
                        <a:pt x="2284" y="1305"/>
                        <a:pt x="2280" y="1295"/>
                        <a:pt x="2281" y="1291"/>
                      </a:cubicBezTo>
                      <a:cubicBezTo>
                        <a:pt x="2282" y="1287"/>
                        <a:pt x="2295" y="1279"/>
                        <a:pt x="2281" y="1278"/>
                      </a:cubicBezTo>
                      <a:cubicBezTo>
                        <a:pt x="2277" y="1261"/>
                        <a:pt x="2298" y="1259"/>
                        <a:pt x="2309" y="1256"/>
                      </a:cubicBezTo>
                      <a:cubicBezTo>
                        <a:pt x="2300" y="1249"/>
                        <a:pt x="2289" y="1260"/>
                        <a:pt x="2282" y="1250"/>
                      </a:cubicBezTo>
                      <a:cubicBezTo>
                        <a:pt x="2276" y="1242"/>
                        <a:pt x="2279" y="1226"/>
                        <a:pt x="2277" y="1217"/>
                      </a:cubicBezTo>
                      <a:cubicBezTo>
                        <a:pt x="2273" y="1193"/>
                        <a:pt x="2269" y="1170"/>
                        <a:pt x="2267" y="1145"/>
                      </a:cubicBezTo>
                      <a:cubicBezTo>
                        <a:pt x="2266" y="1124"/>
                        <a:pt x="2261" y="1076"/>
                        <a:pt x="2278" y="1059"/>
                      </a:cubicBezTo>
                      <a:cubicBezTo>
                        <a:pt x="2283" y="1054"/>
                        <a:pt x="2290" y="1054"/>
                        <a:pt x="2295" y="1050"/>
                      </a:cubicBezTo>
                      <a:cubicBezTo>
                        <a:pt x="2302" y="1045"/>
                        <a:pt x="2301" y="1039"/>
                        <a:pt x="2313" y="1039"/>
                      </a:cubicBezTo>
                      <a:cubicBezTo>
                        <a:pt x="2326" y="1040"/>
                        <a:pt x="2338" y="1052"/>
                        <a:pt x="2344" y="1062"/>
                      </a:cubicBezTo>
                      <a:cubicBezTo>
                        <a:pt x="2337" y="1055"/>
                        <a:pt x="2327" y="1047"/>
                        <a:pt x="2317" y="1045"/>
                      </a:cubicBezTo>
                      <a:cubicBezTo>
                        <a:pt x="2308" y="1043"/>
                        <a:pt x="2293" y="1047"/>
                        <a:pt x="2300" y="1059"/>
                      </a:cubicBezTo>
                      <a:cubicBezTo>
                        <a:pt x="2279" y="1058"/>
                        <a:pt x="2295" y="1080"/>
                        <a:pt x="2295" y="1085"/>
                      </a:cubicBezTo>
                      <a:cubicBezTo>
                        <a:pt x="2296" y="1089"/>
                        <a:pt x="2289" y="1091"/>
                        <a:pt x="2294" y="1098"/>
                      </a:cubicBezTo>
                      <a:cubicBezTo>
                        <a:pt x="2298" y="1104"/>
                        <a:pt x="2305" y="1102"/>
                        <a:pt x="2311" y="1103"/>
                      </a:cubicBezTo>
                      <a:cubicBezTo>
                        <a:pt x="2326" y="1105"/>
                        <a:pt x="2332" y="1112"/>
                        <a:pt x="2343" y="1122"/>
                      </a:cubicBezTo>
                      <a:cubicBezTo>
                        <a:pt x="2354" y="1132"/>
                        <a:pt x="2364" y="1136"/>
                        <a:pt x="2380" y="1141"/>
                      </a:cubicBezTo>
                      <a:cubicBezTo>
                        <a:pt x="2408" y="1149"/>
                        <a:pt x="2447" y="1151"/>
                        <a:pt x="2474" y="1138"/>
                      </a:cubicBezTo>
                      <a:cubicBezTo>
                        <a:pt x="2478" y="1136"/>
                        <a:pt x="2483" y="1134"/>
                        <a:pt x="2487" y="1131"/>
                      </a:cubicBezTo>
                      <a:cubicBezTo>
                        <a:pt x="2488" y="1130"/>
                        <a:pt x="2492" y="1123"/>
                        <a:pt x="2492" y="1123"/>
                      </a:cubicBezTo>
                      <a:cubicBezTo>
                        <a:pt x="2498" y="1120"/>
                        <a:pt x="2497" y="1116"/>
                        <a:pt x="2507" y="1121"/>
                      </a:cubicBezTo>
                      <a:cubicBezTo>
                        <a:pt x="2521" y="1128"/>
                        <a:pt x="2506" y="1139"/>
                        <a:pt x="2518" y="1150"/>
                      </a:cubicBezTo>
                      <a:cubicBezTo>
                        <a:pt x="2515" y="1142"/>
                        <a:pt x="2517" y="1135"/>
                        <a:pt x="2516" y="1128"/>
                      </a:cubicBezTo>
                      <a:cubicBezTo>
                        <a:pt x="2513" y="1118"/>
                        <a:pt x="2510" y="1119"/>
                        <a:pt x="2503" y="1111"/>
                      </a:cubicBezTo>
                      <a:cubicBezTo>
                        <a:pt x="2513" y="1107"/>
                        <a:pt x="2505" y="1098"/>
                        <a:pt x="2507" y="1090"/>
                      </a:cubicBezTo>
                      <a:cubicBezTo>
                        <a:pt x="2508" y="1085"/>
                        <a:pt x="2518" y="1071"/>
                        <a:pt x="2520" y="1069"/>
                      </a:cubicBezTo>
                      <a:cubicBezTo>
                        <a:pt x="2523" y="1067"/>
                        <a:pt x="2525" y="1072"/>
                        <a:pt x="2529" y="1070"/>
                      </a:cubicBezTo>
                      <a:cubicBezTo>
                        <a:pt x="2531" y="1068"/>
                        <a:pt x="2528" y="1062"/>
                        <a:pt x="2530" y="1061"/>
                      </a:cubicBezTo>
                      <a:cubicBezTo>
                        <a:pt x="2537" y="1057"/>
                        <a:pt x="2545" y="1061"/>
                        <a:pt x="2552" y="1056"/>
                      </a:cubicBezTo>
                      <a:cubicBezTo>
                        <a:pt x="2548" y="1052"/>
                        <a:pt x="2548" y="1051"/>
                        <a:pt x="2541" y="1051"/>
                      </a:cubicBezTo>
                      <a:cubicBezTo>
                        <a:pt x="2543" y="1034"/>
                        <a:pt x="2573" y="1013"/>
                        <a:pt x="2587" y="1009"/>
                      </a:cubicBezTo>
                      <a:cubicBezTo>
                        <a:pt x="2598" y="1006"/>
                        <a:pt x="2611" y="1009"/>
                        <a:pt x="2621" y="1008"/>
                      </a:cubicBezTo>
                      <a:cubicBezTo>
                        <a:pt x="2632" y="1006"/>
                        <a:pt x="2644" y="999"/>
                        <a:pt x="2646" y="1015"/>
                      </a:cubicBezTo>
                      <a:cubicBezTo>
                        <a:pt x="2651" y="1014"/>
                        <a:pt x="2653" y="1018"/>
                        <a:pt x="2653" y="1023"/>
                      </a:cubicBezTo>
                      <a:cubicBezTo>
                        <a:pt x="2656" y="1019"/>
                        <a:pt x="2652" y="1011"/>
                        <a:pt x="2657" y="1006"/>
                      </a:cubicBezTo>
                      <a:cubicBezTo>
                        <a:pt x="2664" y="998"/>
                        <a:pt x="2672" y="1006"/>
                        <a:pt x="2679" y="1009"/>
                      </a:cubicBezTo>
                      <a:cubicBezTo>
                        <a:pt x="2686" y="1012"/>
                        <a:pt x="2695" y="1016"/>
                        <a:pt x="2704" y="1016"/>
                      </a:cubicBezTo>
                      <a:cubicBezTo>
                        <a:pt x="2709" y="1016"/>
                        <a:pt x="2729" y="1007"/>
                        <a:pt x="2724" y="1021"/>
                      </a:cubicBezTo>
                      <a:cubicBezTo>
                        <a:pt x="2729" y="1019"/>
                        <a:pt x="2732" y="1016"/>
                        <a:pt x="2736" y="1016"/>
                      </a:cubicBezTo>
                      <a:cubicBezTo>
                        <a:pt x="2740" y="1015"/>
                        <a:pt x="2743" y="1018"/>
                        <a:pt x="2748" y="1015"/>
                      </a:cubicBezTo>
                      <a:cubicBezTo>
                        <a:pt x="2747" y="1021"/>
                        <a:pt x="2747" y="1027"/>
                        <a:pt x="2753" y="1027"/>
                      </a:cubicBezTo>
                      <a:cubicBezTo>
                        <a:pt x="2751" y="1028"/>
                        <a:pt x="2750" y="1032"/>
                        <a:pt x="2748" y="1034"/>
                      </a:cubicBezTo>
                      <a:cubicBezTo>
                        <a:pt x="2765" y="1039"/>
                        <a:pt x="2769" y="1039"/>
                        <a:pt x="2773" y="1021"/>
                      </a:cubicBezTo>
                      <a:cubicBezTo>
                        <a:pt x="2773" y="1028"/>
                        <a:pt x="2774" y="1034"/>
                        <a:pt x="2780" y="1028"/>
                      </a:cubicBezTo>
                      <a:cubicBezTo>
                        <a:pt x="2785" y="1043"/>
                        <a:pt x="2771" y="1035"/>
                        <a:pt x="2768" y="1040"/>
                      </a:cubicBezTo>
                      <a:cubicBezTo>
                        <a:pt x="2762" y="1049"/>
                        <a:pt x="2781" y="1045"/>
                        <a:pt x="2786" y="1046"/>
                      </a:cubicBezTo>
                      <a:cubicBezTo>
                        <a:pt x="2793" y="1048"/>
                        <a:pt x="2796" y="1057"/>
                        <a:pt x="2805" y="1054"/>
                      </a:cubicBezTo>
                      <a:cubicBezTo>
                        <a:pt x="2810" y="1053"/>
                        <a:pt x="2801" y="1042"/>
                        <a:pt x="2813" y="1044"/>
                      </a:cubicBezTo>
                      <a:cubicBezTo>
                        <a:pt x="2814" y="1052"/>
                        <a:pt x="2824" y="1044"/>
                        <a:pt x="2817" y="1036"/>
                      </a:cubicBezTo>
                      <a:cubicBezTo>
                        <a:pt x="2813" y="1031"/>
                        <a:pt x="2805" y="1032"/>
                        <a:pt x="2801" y="1032"/>
                      </a:cubicBezTo>
                      <a:cubicBezTo>
                        <a:pt x="2800" y="1034"/>
                        <a:pt x="2798" y="1036"/>
                        <a:pt x="2797" y="1040"/>
                      </a:cubicBezTo>
                      <a:cubicBezTo>
                        <a:pt x="2796" y="1032"/>
                        <a:pt x="2789" y="1035"/>
                        <a:pt x="2783" y="1033"/>
                      </a:cubicBezTo>
                      <a:cubicBezTo>
                        <a:pt x="2787" y="1018"/>
                        <a:pt x="2817" y="1028"/>
                        <a:pt x="2811" y="1013"/>
                      </a:cubicBezTo>
                      <a:cubicBezTo>
                        <a:pt x="2816" y="1013"/>
                        <a:pt x="2824" y="1005"/>
                        <a:pt x="2819" y="1000"/>
                      </a:cubicBezTo>
                      <a:cubicBezTo>
                        <a:pt x="2815" y="996"/>
                        <a:pt x="2800" y="1006"/>
                        <a:pt x="2797" y="1007"/>
                      </a:cubicBezTo>
                      <a:cubicBezTo>
                        <a:pt x="2796" y="1000"/>
                        <a:pt x="2802" y="993"/>
                        <a:pt x="2808" y="991"/>
                      </a:cubicBezTo>
                      <a:cubicBezTo>
                        <a:pt x="2810" y="990"/>
                        <a:pt x="2830" y="991"/>
                        <a:pt x="2823" y="984"/>
                      </a:cubicBezTo>
                      <a:cubicBezTo>
                        <a:pt x="2816" y="977"/>
                        <a:pt x="2795" y="998"/>
                        <a:pt x="2783" y="994"/>
                      </a:cubicBezTo>
                      <a:cubicBezTo>
                        <a:pt x="2783" y="991"/>
                        <a:pt x="2783" y="990"/>
                        <a:pt x="2784" y="987"/>
                      </a:cubicBezTo>
                      <a:cubicBezTo>
                        <a:pt x="2781" y="992"/>
                        <a:pt x="2777" y="996"/>
                        <a:pt x="2771" y="990"/>
                      </a:cubicBezTo>
                      <a:cubicBezTo>
                        <a:pt x="2781" y="981"/>
                        <a:pt x="2775" y="962"/>
                        <a:pt x="2772" y="951"/>
                      </a:cubicBezTo>
                      <a:cubicBezTo>
                        <a:pt x="2766" y="929"/>
                        <a:pt x="2783" y="922"/>
                        <a:pt x="2800" y="910"/>
                      </a:cubicBezTo>
                      <a:cubicBezTo>
                        <a:pt x="2794" y="916"/>
                        <a:pt x="2796" y="930"/>
                        <a:pt x="2806" y="928"/>
                      </a:cubicBezTo>
                      <a:cubicBezTo>
                        <a:pt x="2817" y="927"/>
                        <a:pt x="2815" y="911"/>
                        <a:pt x="2806" y="909"/>
                      </a:cubicBezTo>
                      <a:cubicBezTo>
                        <a:pt x="2809" y="900"/>
                        <a:pt x="2810" y="893"/>
                        <a:pt x="2819" y="892"/>
                      </a:cubicBezTo>
                      <a:cubicBezTo>
                        <a:pt x="2823" y="891"/>
                        <a:pt x="2829" y="896"/>
                        <a:pt x="2833" y="897"/>
                      </a:cubicBezTo>
                      <a:cubicBezTo>
                        <a:pt x="2837" y="897"/>
                        <a:pt x="2843" y="894"/>
                        <a:pt x="2846" y="894"/>
                      </a:cubicBezTo>
                      <a:cubicBezTo>
                        <a:pt x="2853" y="896"/>
                        <a:pt x="2876" y="921"/>
                        <a:pt x="2874" y="927"/>
                      </a:cubicBezTo>
                      <a:cubicBezTo>
                        <a:pt x="2909" y="930"/>
                        <a:pt x="2879" y="896"/>
                        <a:pt x="2904" y="891"/>
                      </a:cubicBezTo>
                      <a:cubicBezTo>
                        <a:pt x="2908" y="890"/>
                        <a:pt x="2915" y="895"/>
                        <a:pt x="2918" y="894"/>
                      </a:cubicBezTo>
                      <a:cubicBezTo>
                        <a:pt x="2923" y="892"/>
                        <a:pt x="2921" y="886"/>
                        <a:pt x="2925" y="881"/>
                      </a:cubicBezTo>
                      <a:cubicBezTo>
                        <a:pt x="2929" y="878"/>
                        <a:pt x="2939" y="877"/>
                        <a:pt x="2945" y="877"/>
                      </a:cubicBezTo>
                      <a:cubicBezTo>
                        <a:pt x="2937" y="869"/>
                        <a:pt x="2934" y="866"/>
                        <a:pt x="2922" y="861"/>
                      </a:cubicBezTo>
                      <a:cubicBezTo>
                        <a:pt x="2911" y="856"/>
                        <a:pt x="2902" y="850"/>
                        <a:pt x="2894" y="840"/>
                      </a:cubicBezTo>
                      <a:cubicBezTo>
                        <a:pt x="2887" y="832"/>
                        <a:pt x="2866" y="806"/>
                        <a:pt x="2878" y="795"/>
                      </a:cubicBezTo>
                      <a:cubicBezTo>
                        <a:pt x="2868" y="796"/>
                        <a:pt x="2867" y="792"/>
                        <a:pt x="2859" y="791"/>
                      </a:cubicBezTo>
                      <a:cubicBezTo>
                        <a:pt x="2847" y="788"/>
                        <a:pt x="2841" y="792"/>
                        <a:pt x="2829" y="796"/>
                      </a:cubicBezTo>
                      <a:cubicBezTo>
                        <a:pt x="2830" y="784"/>
                        <a:pt x="2845" y="789"/>
                        <a:pt x="2851" y="782"/>
                      </a:cubicBezTo>
                      <a:cubicBezTo>
                        <a:pt x="2858" y="773"/>
                        <a:pt x="2850" y="766"/>
                        <a:pt x="2847" y="758"/>
                      </a:cubicBezTo>
                      <a:cubicBezTo>
                        <a:pt x="2843" y="747"/>
                        <a:pt x="2842" y="738"/>
                        <a:pt x="2845" y="726"/>
                      </a:cubicBezTo>
                      <a:cubicBezTo>
                        <a:pt x="2846" y="720"/>
                        <a:pt x="2842" y="720"/>
                        <a:pt x="2847" y="717"/>
                      </a:cubicBezTo>
                      <a:cubicBezTo>
                        <a:pt x="2851" y="714"/>
                        <a:pt x="2858" y="719"/>
                        <a:pt x="2862" y="717"/>
                      </a:cubicBezTo>
                      <a:cubicBezTo>
                        <a:pt x="2870" y="714"/>
                        <a:pt x="2875" y="700"/>
                        <a:pt x="2865" y="696"/>
                      </a:cubicBezTo>
                      <a:cubicBezTo>
                        <a:pt x="2857" y="692"/>
                        <a:pt x="2843" y="703"/>
                        <a:pt x="2836" y="707"/>
                      </a:cubicBezTo>
                      <a:cubicBezTo>
                        <a:pt x="2828" y="711"/>
                        <a:pt x="2815" y="714"/>
                        <a:pt x="2811" y="721"/>
                      </a:cubicBezTo>
                      <a:cubicBezTo>
                        <a:pt x="2805" y="730"/>
                        <a:pt x="2807" y="743"/>
                        <a:pt x="2818" y="732"/>
                      </a:cubicBezTo>
                      <a:cubicBezTo>
                        <a:pt x="2816" y="742"/>
                        <a:pt x="2801" y="743"/>
                        <a:pt x="2793" y="744"/>
                      </a:cubicBezTo>
                      <a:cubicBezTo>
                        <a:pt x="2796" y="749"/>
                        <a:pt x="2801" y="750"/>
                        <a:pt x="2806" y="751"/>
                      </a:cubicBezTo>
                      <a:cubicBezTo>
                        <a:pt x="2784" y="762"/>
                        <a:pt x="2770" y="733"/>
                        <a:pt x="2768" y="716"/>
                      </a:cubicBezTo>
                      <a:cubicBezTo>
                        <a:pt x="2767" y="702"/>
                        <a:pt x="2769" y="672"/>
                        <a:pt x="2775" y="660"/>
                      </a:cubicBezTo>
                      <a:cubicBezTo>
                        <a:pt x="2781" y="651"/>
                        <a:pt x="2796" y="645"/>
                        <a:pt x="2806" y="642"/>
                      </a:cubicBezTo>
                      <a:cubicBezTo>
                        <a:pt x="2822" y="637"/>
                        <a:pt x="2830" y="633"/>
                        <a:pt x="2844" y="624"/>
                      </a:cubicBezTo>
                      <a:cubicBezTo>
                        <a:pt x="2856" y="615"/>
                        <a:pt x="2867" y="608"/>
                        <a:pt x="2874" y="594"/>
                      </a:cubicBezTo>
                      <a:cubicBezTo>
                        <a:pt x="2879" y="585"/>
                        <a:pt x="2886" y="578"/>
                        <a:pt x="2891" y="569"/>
                      </a:cubicBezTo>
                      <a:cubicBezTo>
                        <a:pt x="2869" y="585"/>
                        <a:pt x="2878" y="554"/>
                        <a:pt x="2863" y="545"/>
                      </a:cubicBezTo>
                      <a:cubicBezTo>
                        <a:pt x="2858" y="541"/>
                        <a:pt x="2845" y="540"/>
                        <a:pt x="2838" y="538"/>
                      </a:cubicBezTo>
                      <a:cubicBezTo>
                        <a:pt x="2832" y="536"/>
                        <a:pt x="2819" y="533"/>
                        <a:pt x="2816" y="528"/>
                      </a:cubicBezTo>
                      <a:cubicBezTo>
                        <a:pt x="2805" y="510"/>
                        <a:pt x="2841" y="509"/>
                        <a:pt x="2853" y="504"/>
                      </a:cubicBezTo>
                      <a:cubicBezTo>
                        <a:pt x="2866" y="499"/>
                        <a:pt x="2871" y="495"/>
                        <a:pt x="2885" y="499"/>
                      </a:cubicBezTo>
                      <a:cubicBezTo>
                        <a:pt x="2898" y="503"/>
                        <a:pt x="2906" y="507"/>
                        <a:pt x="2919" y="504"/>
                      </a:cubicBezTo>
                      <a:cubicBezTo>
                        <a:pt x="2931" y="503"/>
                        <a:pt x="2944" y="499"/>
                        <a:pt x="2956" y="495"/>
                      </a:cubicBezTo>
                      <a:cubicBezTo>
                        <a:pt x="2969" y="491"/>
                        <a:pt x="2976" y="482"/>
                        <a:pt x="2988" y="475"/>
                      </a:cubicBezTo>
                      <a:cubicBezTo>
                        <a:pt x="3000" y="468"/>
                        <a:pt x="3014" y="463"/>
                        <a:pt x="3027" y="458"/>
                      </a:cubicBezTo>
                      <a:cubicBezTo>
                        <a:pt x="3038" y="453"/>
                        <a:pt x="3048" y="445"/>
                        <a:pt x="3060" y="439"/>
                      </a:cubicBezTo>
                      <a:cubicBezTo>
                        <a:pt x="3070" y="434"/>
                        <a:pt x="3082" y="435"/>
                        <a:pt x="3093" y="432"/>
                      </a:cubicBezTo>
                      <a:cubicBezTo>
                        <a:pt x="3107" y="427"/>
                        <a:pt x="3120" y="418"/>
                        <a:pt x="3134" y="413"/>
                      </a:cubicBezTo>
                      <a:cubicBezTo>
                        <a:pt x="3159" y="405"/>
                        <a:pt x="3183" y="398"/>
                        <a:pt x="3208" y="390"/>
                      </a:cubicBezTo>
                      <a:cubicBezTo>
                        <a:pt x="3235" y="380"/>
                        <a:pt x="3263" y="382"/>
                        <a:pt x="3290" y="371"/>
                      </a:cubicBezTo>
                      <a:cubicBezTo>
                        <a:pt x="3303" y="367"/>
                        <a:pt x="3316" y="364"/>
                        <a:pt x="3329" y="363"/>
                      </a:cubicBezTo>
                      <a:cubicBezTo>
                        <a:pt x="3343" y="362"/>
                        <a:pt x="3358" y="365"/>
                        <a:pt x="3371" y="357"/>
                      </a:cubicBezTo>
                      <a:cubicBezTo>
                        <a:pt x="3372" y="361"/>
                        <a:pt x="3370" y="361"/>
                        <a:pt x="3371" y="360"/>
                      </a:cubicBezTo>
                      <a:cubicBezTo>
                        <a:pt x="3370" y="373"/>
                        <a:pt x="3332" y="383"/>
                        <a:pt x="3321" y="390"/>
                      </a:cubicBezTo>
                      <a:cubicBezTo>
                        <a:pt x="3307" y="400"/>
                        <a:pt x="3291" y="405"/>
                        <a:pt x="3276" y="414"/>
                      </a:cubicBezTo>
                      <a:cubicBezTo>
                        <a:pt x="3272" y="417"/>
                        <a:pt x="3259" y="431"/>
                        <a:pt x="3256" y="431"/>
                      </a:cubicBezTo>
                      <a:cubicBezTo>
                        <a:pt x="3251" y="432"/>
                        <a:pt x="3247" y="425"/>
                        <a:pt x="3243" y="424"/>
                      </a:cubicBezTo>
                      <a:cubicBezTo>
                        <a:pt x="3236" y="422"/>
                        <a:pt x="3229" y="423"/>
                        <a:pt x="3229" y="431"/>
                      </a:cubicBezTo>
                      <a:cubicBezTo>
                        <a:pt x="3194" y="413"/>
                        <a:pt x="3203" y="482"/>
                        <a:pt x="3208" y="498"/>
                      </a:cubicBezTo>
                      <a:cubicBezTo>
                        <a:pt x="3196" y="496"/>
                        <a:pt x="3191" y="487"/>
                        <a:pt x="3179" y="494"/>
                      </a:cubicBezTo>
                      <a:cubicBezTo>
                        <a:pt x="3173" y="498"/>
                        <a:pt x="3181" y="506"/>
                        <a:pt x="3168" y="506"/>
                      </a:cubicBezTo>
                      <a:cubicBezTo>
                        <a:pt x="3182" y="509"/>
                        <a:pt x="3201" y="524"/>
                        <a:pt x="3216" y="509"/>
                      </a:cubicBezTo>
                      <a:cubicBezTo>
                        <a:pt x="3224" y="502"/>
                        <a:pt x="3220" y="493"/>
                        <a:pt x="3226" y="484"/>
                      </a:cubicBezTo>
                      <a:cubicBezTo>
                        <a:pt x="3233" y="475"/>
                        <a:pt x="3245" y="465"/>
                        <a:pt x="3254" y="458"/>
                      </a:cubicBezTo>
                      <a:cubicBezTo>
                        <a:pt x="3294" y="423"/>
                        <a:pt x="3340" y="395"/>
                        <a:pt x="3383" y="363"/>
                      </a:cubicBezTo>
                      <a:cubicBezTo>
                        <a:pt x="3388" y="374"/>
                        <a:pt x="3383" y="386"/>
                        <a:pt x="3383" y="398"/>
                      </a:cubicBezTo>
                      <a:cubicBezTo>
                        <a:pt x="3384" y="412"/>
                        <a:pt x="3386" y="426"/>
                        <a:pt x="3384" y="439"/>
                      </a:cubicBezTo>
                      <a:cubicBezTo>
                        <a:pt x="3383" y="451"/>
                        <a:pt x="3377" y="462"/>
                        <a:pt x="3376" y="473"/>
                      </a:cubicBezTo>
                      <a:cubicBezTo>
                        <a:pt x="3374" y="484"/>
                        <a:pt x="3378" y="508"/>
                        <a:pt x="3370" y="514"/>
                      </a:cubicBezTo>
                      <a:cubicBezTo>
                        <a:pt x="3363" y="505"/>
                        <a:pt x="3362" y="491"/>
                        <a:pt x="3357" y="481"/>
                      </a:cubicBezTo>
                      <a:cubicBezTo>
                        <a:pt x="3347" y="465"/>
                        <a:pt x="3358" y="469"/>
                        <a:pt x="3361" y="451"/>
                      </a:cubicBezTo>
                      <a:cubicBezTo>
                        <a:pt x="3362" y="445"/>
                        <a:pt x="3364" y="434"/>
                        <a:pt x="3361" y="432"/>
                      </a:cubicBezTo>
                      <a:cubicBezTo>
                        <a:pt x="3357" y="427"/>
                        <a:pt x="3343" y="430"/>
                        <a:pt x="3340" y="435"/>
                      </a:cubicBezTo>
                      <a:cubicBezTo>
                        <a:pt x="3334" y="444"/>
                        <a:pt x="3341" y="438"/>
                        <a:pt x="3341" y="447"/>
                      </a:cubicBezTo>
                      <a:cubicBezTo>
                        <a:pt x="3342" y="451"/>
                        <a:pt x="3341" y="459"/>
                        <a:pt x="3344" y="464"/>
                      </a:cubicBezTo>
                      <a:cubicBezTo>
                        <a:pt x="3334" y="463"/>
                        <a:pt x="3339" y="454"/>
                        <a:pt x="3333" y="450"/>
                      </a:cubicBezTo>
                      <a:cubicBezTo>
                        <a:pt x="3327" y="446"/>
                        <a:pt x="3323" y="451"/>
                        <a:pt x="3319" y="447"/>
                      </a:cubicBezTo>
                      <a:cubicBezTo>
                        <a:pt x="3312" y="442"/>
                        <a:pt x="3324" y="440"/>
                        <a:pt x="3314" y="435"/>
                      </a:cubicBezTo>
                      <a:cubicBezTo>
                        <a:pt x="3307" y="431"/>
                        <a:pt x="3292" y="434"/>
                        <a:pt x="3291" y="442"/>
                      </a:cubicBezTo>
                      <a:cubicBezTo>
                        <a:pt x="3303" y="448"/>
                        <a:pt x="3301" y="438"/>
                        <a:pt x="3308" y="448"/>
                      </a:cubicBezTo>
                      <a:cubicBezTo>
                        <a:pt x="3313" y="456"/>
                        <a:pt x="3310" y="469"/>
                        <a:pt x="3313" y="476"/>
                      </a:cubicBezTo>
                      <a:cubicBezTo>
                        <a:pt x="3314" y="479"/>
                        <a:pt x="3318" y="484"/>
                        <a:pt x="3322" y="485"/>
                      </a:cubicBezTo>
                      <a:cubicBezTo>
                        <a:pt x="3332" y="489"/>
                        <a:pt x="3330" y="478"/>
                        <a:pt x="3341" y="491"/>
                      </a:cubicBezTo>
                      <a:cubicBezTo>
                        <a:pt x="3358" y="510"/>
                        <a:pt x="3341" y="513"/>
                        <a:pt x="3328" y="529"/>
                      </a:cubicBezTo>
                      <a:cubicBezTo>
                        <a:pt x="3316" y="544"/>
                        <a:pt x="3321" y="537"/>
                        <a:pt x="3304" y="535"/>
                      </a:cubicBezTo>
                      <a:cubicBezTo>
                        <a:pt x="3293" y="534"/>
                        <a:pt x="3287" y="538"/>
                        <a:pt x="3277" y="533"/>
                      </a:cubicBezTo>
                      <a:cubicBezTo>
                        <a:pt x="3278" y="538"/>
                        <a:pt x="3281" y="544"/>
                        <a:pt x="3286" y="548"/>
                      </a:cubicBezTo>
                      <a:cubicBezTo>
                        <a:pt x="3294" y="553"/>
                        <a:pt x="3311" y="546"/>
                        <a:pt x="3315" y="553"/>
                      </a:cubicBezTo>
                      <a:cubicBezTo>
                        <a:pt x="3321" y="561"/>
                        <a:pt x="3315" y="561"/>
                        <a:pt x="3313" y="566"/>
                      </a:cubicBezTo>
                      <a:cubicBezTo>
                        <a:pt x="3312" y="569"/>
                        <a:pt x="3312" y="575"/>
                        <a:pt x="3310" y="576"/>
                      </a:cubicBezTo>
                      <a:cubicBezTo>
                        <a:pt x="3309" y="577"/>
                        <a:pt x="3302" y="579"/>
                        <a:pt x="3302" y="579"/>
                      </a:cubicBezTo>
                      <a:cubicBezTo>
                        <a:pt x="3300" y="588"/>
                        <a:pt x="3309" y="594"/>
                        <a:pt x="3312" y="606"/>
                      </a:cubicBezTo>
                      <a:cubicBezTo>
                        <a:pt x="3311" y="598"/>
                        <a:pt x="3316" y="593"/>
                        <a:pt x="3321" y="601"/>
                      </a:cubicBezTo>
                      <a:cubicBezTo>
                        <a:pt x="3322" y="590"/>
                        <a:pt x="3329" y="592"/>
                        <a:pt x="3336" y="591"/>
                      </a:cubicBezTo>
                      <a:cubicBezTo>
                        <a:pt x="3337" y="591"/>
                        <a:pt x="3339" y="587"/>
                        <a:pt x="3341" y="586"/>
                      </a:cubicBezTo>
                      <a:cubicBezTo>
                        <a:pt x="3343" y="585"/>
                        <a:pt x="3346" y="591"/>
                        <a:pt x="3348" y="589"/>
                      </a:cubicBezTo>
                      <a:cubicBezTo>
                        <a:pt x="3356" y="582"/>
                        <a:pt x="3351" y="565"/>
                        <a:pt x="3359" y="558"/>
                      </a:cubicBezTo>
                      <a:cubicBezTo>
                        <a:pt x="3365" y="552"/>
                        <a:pt x="3370" y="554"/>
                        <a:pt x="3375" y="546"/>
                      </a:cubicBezTo>
                      <a:cubicBezTo>
                        <a:pt x="3378" y="542"/>
                        <a:pt x="3379" y="536"/>
                        <a:pt x="3381" y="531"/>
                      </a:cubicBezTo>
                      <a:cubicBezTo>
                        <a:pt x="3386" y="522"/>
                        <a:pt x="3391" y="517"/>
                        <a:pt x="3392" y="505"/>
                      </a:cubicBezTo>
                      <a:cubicBezTo>
                        <a:pt x="3394" y="495"/>
                        <a:pt x="3394" y="485"/>
                        <a:pt x="3394" y="477"/>
                      </a:cubicBezTo>
                      <a:cubicBezTo>
                        <a:pt x="3396" y="456"/>
                        <a:pt x="3394" y="435"/>
                        <a:pt x="3395" y="414"/>
                      </a:cubicBezTo>
                      <a:cubicBezTo>
                        <a:pt x="3397" y="397"/>
                        <a:pt x="3395" y="378"/>
                        <a:pt x="3397" y="361"/>
                      </a:cubicBezTo>
                      <a:cubicBezTo>
                        <a:pt x="3399" y="347"/>
                        <a:pt x="3403" y="346"/>
                        <a:pt x="3414" y="339"/>
                      </a:cubicBezTo>
                      <a:cubicBezTo>
                        <a:pt x="3435" y="324"/>
                        <a:pt x="3456" y="310"/>
                        <a:pt x="3482" y="297"/>
                      </a:cubicBezTo>
                      <a:cubicBezTo>
                        <a:pt x="3506" y="286"/>
                        <a:pt x="3534" y="278"/>
                        <a:pt x="3560" y="274"/>
                      </a:cubicBezTo>
                      <a:cubicBezTo>
                        <a:pt x="3583" y="270"/>
                        <a:pt x="3609" y="263"/>
                        <a:pt x="3629" y="269"/>
                      </a:cubicBezTo>
                      <a:cubicBezTo>
                        <a:pt x="3657" y="278"/>
                        <a:pt x="3695" y="287"/>
                        <a:pt x="3684" y="322"/>
                      </a:cubicBezTo>
                      <a:cubicBezTo>
                        <a:pt x="3677" y="341"/>
                        <a:pt x="3678" y="347"/>
                        <a:pt x="3658" y="341"/>
                      </a:cubicBezTo>
                      <a:cubicBezTo>
                        <a:pt x="3649" y="338"/>
                        <a:pt x="3626" y="323"/>
                        <a:pt x="3627" y="341"/>
                      </a:cubicBezTo>
                      <a:cubicBezTo>
                        <a:pt x="3628" y="341"/>
                        <a:pt x="3630" y="341"/>
                        <a:pt x="3631" y="340"/>
                      </a:cubicBezTo>
                      <a:cubicBezTo>
                        <a:pt x="3632" y="343"/>
                        <a:pt x="3633" y="369"/>
                        <a:pt x="3632" y="371"/>
                      </a:cubicBezTo>
                      <a:cubicBezTo>
                        <a:pt x="3630" y="378"/>
                        <a:pt x="3610" y="379"/>
                        <a:pt x="3602" y="379"/>
                      </a:cubicBezTo>
                      <a:cubicBezTo>
                        <a:pt x="3610" y="387"/>
                        <a:pt x="3617" y="384"/>
                        <a:pt x="3625" y="379"/>
                      </a:cubicBezTo>
                      <a:cubicBezTo>
                        <a:pt x="3626" y="385"/>
                        <a:pt x="3628" y="391"/>
                        <a:pt x="3631" y="395"/>
                      </a:cubicBezTo>
                      <a:cubicBezTo>
                        <a:pt x="3625" y="398"/>
                        <a:pt x="3621" y="403"/>
                        <a:pt x="3622" y="410"/>
                      </a:cubicBezTo>
                      <a:cubicBezTo>
                        <a:pt x="3626" y="408"/>
                        <a:pt x="3634" y="406"/>
                        <a:pt x="3637" y="402"/>
                      </a:cubicBezTo>
                      <a:cubicBezTo>
                        <a:pt x="3639" y="400"/>
                        <a:pt x="3637" y="394"/>
                        <a:pt x="3638" y="392"/>
                      </a:cubicBezTo>
                      <a:cubicBezTo>
                        <a:pt x="3644" y="387"/>
                        <a:pt x="3655" y="385"/>
                        <a:pt x="3663" y="382"/>
                      </a:cubicBezTo>
                      <a:cubicBezTo>
                        <a:pt x="3680" y="375"/>
                        <a:pt x="3703" y="367"/>
                        <a:pt x="3710" y="353"/>
                      </a:cubicBezTo>
                      <a:cubicBezTo>
                        <a:pt x="3716" y="359"/>
                        <a:pt x="3743" y="360"/>
                        <a:pt x="3728" y="372"/>
                      </a:cubicBezTo>
                      <a:cubicBezTo>
                        <a:pt x="3727" y="369"/>
                        <a:pt x="3725" y="367"/>
                        <a:pt x="3724" y="365"/>
                      </a:cubicBezTo>
                      <a:cubicBezTo>
                        <a:pt x="3716" y="372"/>
                        <a:pt x="3729" y="379"/>
                        <a:pt x="3731" y="385"/>
                      </a:cubicBezTo>
                      <a:cubicBezTo>
                        <a:pt x="3733" y="392"/>
                        <a:pt x="3728" y="396"/>
                        <a:pt x="3734" y="403"/>
                      </a:cubicBezTo>
                      <a:cubicBezTo>
                        <a:pt x="3737" y="391"/>
                        <a:pt x="3747" y="367"/>
                        <a:pt x="3762" y="368"/>
                      </a:cubicBezTo>
                      <a:cubicBezTo>
                        <a:pt x="3762" y="369"/>
                        <a:pt x="3761" y="370"/>
                        <a:pt x="3762" y="371"/>
                      </a:cubicBezTo>
                      <a:cubicBezTo>
                        <a:pt x="3769" y="368"/>
                        <a:pt x="3772" y="355"/>
                        <a:pt x="3780" y="353"/>
                      </a:cubicBezTo>
                      <a:cubicBezTo>
                        <a:pt x="3795" y="350"/>
                        <a:pt x="3796" y="362"/>
                        <a:pt x="3797" y="373"/>
                      </a:cubicBezTo>
                      <a:cubicBezTo>
                        <a:pt x="3799" y="390"/>
                        <a:pt x="3800" y="396"/>
                        <a:pt x="3793" y="413"/>
                      </a:cubicBezTo>
                      <a:cubicBezTo>
                        <a:pt x="3790" y="421"/>
                        <a:pt x="3785" y="431"/>
                        <a:pt x="3785" y="441"/>
                      </a:cubicBezTo>
                      <a:cubicBezTo>
                        <a:pt x="3785" y="441"/>
                        <a:pt x="3778" y="451"/>
                        <a:pt x="3786" y="449"/>
                      </a:cubicBezTo>
                      <a:cubicBezTo>
                        <a:pt x="3790" y="448"/>
                        <a:pt x="3790" y="444"/>
                        <a:pt x="3792" y="440"/>
                      </a:cubicBezTo>
                      <a:cubicBezTo>
                        <a:pt x="3794" y="435"/>
                        <a:pt x="3791" y="428"/>
                        <a:pt x="3794" y="422"/>
                      </a:cubicBezTo>
                      <a:cubicBezTo>
                        <a:pt x="3796" y="416"/>
                        <a:pt x="3801" y="414"/>
                        <a:pt x="3803" y="408"/>
                      </a:cubicBezTo>
                      <a:cubicBezTo>
                        <a:pt x="3808" y="396"/>
                        <a:pt x="3799" y="379"/>
                        <a:pt x="3812" y="372"/>
                      </a:cubicBezTo>
                      <a:cubicBezTo>
                        <a:pt x="3808" y="384"/>
                        <a:pt x="3818" y="393"/>
                        <a:pt x="3818" y="405"/>
                      </a:cubicBezTo>
                      <a:cubicBezTo>
                        <a:pt x="3823" y="395"/>
                        <a:pt x="3820" y="381"/>
                        <a:pt x="3823" y="371"/>
                      </a:cubicBezTo>
                      <a:cubicBezTo>
                        <a:pt x="3829" y="355"/>
                        <a:pt x="3836" y="358"/>
                        <a:pt x="3848" y="356"/>
                      </a:cubicBezTo>
                      <a:cubicBezTo>
                        <a:pt x="3871" y="352"/>
                        <a:pt x="3880" y="342"/>
                        <a:pt x="3902" y="349"/>
                      </a:cubicBezTo>
                      <a:cubicBezTo>
                        <a:pt x="3920" y="355"/>
                        <a:pt x="3937" y="365"/>
                        <a:pt x="3957" y="371"/>
                      </a:cubicBezTo>
                      <a:cubicBezTo>
                        <a:pt x="3997" y="382"/>
                        <a:pt x="3968" y="395"/>
                        <a:pt x="3944" y="410"/>
                      </a:cubicBezTo>
                      <a:cubicBezTo>
                        <a:pt x="3952" y="414"/>
                        <a:pt x="3963" y="406"/>
                        <a:pt x="3971" y="404"/>
                      </a:cubicBezTo>
                      <a:cubicBezTo>
                        <a:pt x="3980" y="402"/>
                        <a:pt x="3988" y="404"/>
                        <a:pt x="3997" y="403"/>
                      </a:cubicBezTo>
                      <a:cubicBezTo>
                        <a:pt x="4011" y="402"/>
                        <a:pt x="4037" y="384"/>
                        <a:pt x="4043" y="404"/>
                      </a:cubicBezTo>
                      <a:cubicBezTo>
                        <a:pt x="4037" y="385"/>
                        <a:pt x="4062" y="377"/>
                        <a:pt x="4074" y="366"/>
                      </a:cubicBezTo>
                      <a:cubicBezTo>
                        <a:pt x="4081" y="360"/>
                        <a:pt x="4088" y="352"/>
                        <a:pt x="4093" y="345"/>
                      </a:cubicBezTo>
                      <a:cubicBezTo>
                        <a:pt x="4093" y="345"/>
                        <a:pt x="4092" y="330"/>
                        <a:pt x="4101" y="335"/>
                      </a:cubicBezTo>
                      <a:cubicBezTo>
                        <a:pt x="4110" y="326"/>
                        <a:pt x="4115" y="326"/>
                        <a:pt x="4123" y="320"/>
                      </a:cubicBezTo>
                      <a:cubicBezTo>
                        <a:pt x="4130" y="315"/>
                        <a:pt x="4135" y="302"/>
                        <a:pt x="4139" y="293"/>
                      </a:cubicBezTo>
                      <a:cubicBezTo>
                        <a:pt x="4143" y="285"/>
                        <a:pt x="4145" y="275"/>
                        <a:pt x="4149" y="267"/>
                      </a:cubicBezTo>
                      <a:cubicBezTo>
                        <a:pt x="4155" y="257"/>
                        <a:pt x="4166" y="248"/>
                        <a:pt x="4173" y="239"/>
                      </a:cubicBezTo>
                      <a:cubicBezTo>
                        <a:pt x="4188" y="222"/>
                        <a:pt x="4200" y="203"/>
                        <a:pt x="4217" y="187"/>
                      </a:cubicBezTo>
                      <a:cubicBezTo>
                        <a:pt x="4236" y="169"/>
                        <a:pt x="4225" y="191"/>
                        <a:pt x="4242" y="194"/>
                      </a:cubicBezTo>
                      <a:cubicBezTo>
                        <a:pt x="4216" y="159"/>
                        <a:pt x="4267" y="138"/>
                        <a:pt x="4289" y="119"/>
                      </a:cubicBezTo>
                      <a:cubicBezTo>
                        <a:pt x="4323" y="92"/>
                        <a:pt x="4360" y="66"/>
                        <a:pt x="4396" y="45"/>
                      </a:cubicBezTo>
                      <a:cubicBezTo>
                        <a:pt x="4432" y="25"/>
                        <a:pt x="4472" y="17"/>
                        <a:pt x="4513" y="8"/>
                      </a:cubicBezTo>
                      <a:cubicBezTo>
                        <a:pt x="4556" y="0"/>
                        <a:pt x="4602" y="2"/>
                        <a:pt x="4642" y="23"/>
                      </a:cubicBezTo>
                      <a:cubicBezTo>
                        <a:pt x="4660" y="32"/>
                        <a:pt x="4692" y="45"/>
                        <a:pt x="4703" y="63"/>
                      </a:cubicBezTo>
                      <a:cubicBezTo>
                        <a:pt x="4705" y="67"/>
                        <a:pt x="4713" y="93"/>
                        <a:pt x="4713" y="97"/>
                      </a:cubicBezTo>
                      <a:cubicBezTo>
                        <a:pt x="4712" y="109"/>
                        <a:pt x="4697" y="104"/>
                        <a:pt x="4694" y="116"/>
                      </a:cubicBezTo>
                      <a:cubicBezTo>
                        <a:pt x="4695" y="115"/>
                        <a:pt x="4717" y="109"/>
                        <a:pt x="4715" y="108"/>
                      </a:cubicBezTo>
                      <a:cubicBezTo>
                        <a:pt x="4715" y="108"/>
                        <a:pt x="4726" y="127"/>
                        <a:pt x="4727" y="129"/>
                      </a:cubicBezTo>
                      <a:cubicBezTo>
                        <a:pt x="4735" y="145"/>
                        <a:pt x="4724" y="164"/>
                        <a:pt x="4750" y="171"/>
                      </a:cubicBezTo>
                      <a:cubicBezTo>
                        <a:pt x="4749" y="172"/>
                        <a:pt x="4749" y="172"/>
                        <a:pt x="4748" y="173"/>
                      </a:cubicBezTo>
                      <a:cubicBezTo>
                        <a:pt x="4757" y="172"/>
                        <a:pt x="4763" y="177"/>
                        <a:pt x="4764" y="186"/>
                      </a:cubicBezTo>
                      <a:cubicBezTo>
                        <a:pt x="4762" y="165"/>
                        <a:pt x="4793" y="172"/>
                        <a:pt x="4806" y="171"/>
                      </a:cubicBezTo>
                      <a:cubicBezTo>
                        <a:pt x="4803" y="171"/>
                        <a:pt x="4800" y="170"/>
                        <a:pt x="4798" y="169"/>
                      </a:cubicBezTo>
                      <a:cubicBezTo>
                        <a:pt x="4808" y="162"/>
                        <a:pt x="4818" y="160"/>
                        <a:pt x="4824" y="172"/>
                      </a:cubicBezTo>
                      <a:cubicBezTo>
                        <a:pt x="4825" y="149"/>
                        <a:pt x="4847" y="148"/>
                        <a:pt x="4865" y="142"/>
                      </a:cubicBezTo>
                      <a:cubicBezTo>
                        <a:pt x="4871" y="140"/>
                        <a:pt x="4866" y="136"/>
                        <a:pt x="4873" y="137"/>
                      </a:cubicBezTo>
                      <a:cubicBezTo>
                        <a:pt x="4877" y="137"/>
                        <a:pt x="4886" y="141"/>
                        <a:pt x="4889" y="143"/>
                      </a:cubicBezTo>
                      <a:cubicBezTo>
                        <a:pt x="4893" y="148"/>
                        <a:pt x="4894" y="159"/>
                        <a:pt x="4898" y="165"/>
                      </a:cubicBezTo>
                      <a:cubicBezTo>
                        <a:pt x="4902" y="171"/>
                        <a:pt x="4906" y="175"/>
                        <a:pt x="4911" y="179"/>
                      </a:cubicBezTo>
                      <a:cubicBezTo>
                        <a:pt x="4919" y="185"/>
                        <a:pt x="4927" y="189"/>
                        <a:pt x="4935" y="195"/>
                      </a:cubicBezTo>
                      <a:cubicBezTo>
                        <a:pt x="4942" y="202"/>
                        <a:pt x="4948" y="209"/>
                        <a:pt x="4955" y="215"/>
                      </a:cubicBezTo>
                      <a:cubicBezTo>
                        <a:pt x="4967" y="228"/>
                        <a:pt x="4963" y="246"/>
                        <a:pt x="4986" y="239"/>
                      </a:cubicBezTo>
                      <a:cubicBezTo>
                        <a:pt x="5004" y="234"/>
                        <a:pt x="5019" y="223"/>
                        <a:pt x="5029" y="246"/>
                      </a:cubicBezTo>
                      <a:cubicBezTo>
                        <a:pt x="5034" y="258"/>
                        <a:pt x="5036" y="271"/>
                        <a:pt x="5041" y="282"/>
                      </a:cubicBezTo>
                      <a:cubicBezTo>
                        <a:pt x="5046" y="292"/>
                        <a:pt x="5055" y="302"/>
                        <a:pt x="5059" y="312"/>
                      </a:cubicBezTo>
                      <a:cubicBezTo>
                        <a:pt x="5062" y="320"/>
                        <a:pt x="5070" y="335"/>
                        <a:pt x="5068" y="343"/>
                      </a:cubicBezTo>
                      <a:cubicBezTo>
                        <a:pt x="5066" y="353"/>
                        <a:pt x="5055" y="357"/>
                        <a:pt x="5046" y="363"/>
                      </a:cubicBezTo>
                      <a:cubicBezTo>
                        <a:pt x="5060" y="375"/>
                        <a:pt x="5074" y="352"/>
                        <a:pt x="5075" y="341"/>
                      </a:cubicBezTo>
                      <a:cubicBezTo>
                        <a:pt x="5076" y="330"/>
                        <a:pt x="5069" y="319"/>
                        <a:pt x="5067" y="308"/>
                      </a:cubicBezTo>
                      <a:cubicBezTo>
                        <a:pt x="5065" y="301"/>
                        <a:pt x="5068" y="300"/>
                        <a:pt x="5065" y="295"/>
                      </a:cubicBezTo>
                      <a:cubicBezTo>
                        <a:pt x="5062" y="290"/>
                        <a:pt x="5055" y="290"/>
                        <a:pt x="5052" y="283"/>
                      </a:cubicBezTo>
                      <a:cubicBezTo>
                        <a:pt x="5046" y="273"/>
                        <a:pt x="5050" y="258"/>
                        <a:pt x="5047" y="246"/>
                      </a:cubicBezTo>
                      <a:cubicBezTo>
                        <a:pt x="5043" y="225"/>
                        <a:pt x="5025" y="217"/>
                        <a:pt x="5007" y="206"/>
                      </a:cubicBezTo>
                      <a:cubicBezTo>
                        <a:pt x="5000" y="202"/>
                        <a:pt x="4994" y="195"/>
                        <a:pt x="4988" y="190"/>
                      </a:cubicBezTo>
                      <a:cubicBezTo>
                        <a:pt x="4986" y="188"/>
                        <a:pt x="4982" y="190"/>
                        <a:pt x="4980" y="189"/>
                      </a:cubicBezTo>
                      <a:cubicBezTo>
                        <a:pt x="4977" y="185"/>
                        <a:pt x="4978" y="177"/>
                        <a:pt x="4974" y="173"/>
                      </a:cubicBezTo>
                      <a:cubicBezTo>
                        <a:pt x="4971" y="169"/>
                        <a:pt x="4967" y="167"/>
                        <a:pt x="4962" y="166"/>
                      </a:cubicBezTo>
                      <a:cubicBezTo>
                        <a:pt x="4968" y="161"/>
                        <a:pt x="4965" y="161"/>
                        <a:pt x="4963" y="157"/>
                      </a:cubicBezTo>
                      <a:cubicBezTo>
                        <a:pt x="4960" y="151"/>
                        <a:pt x="4957" y="158"/>
                        <a:pt x="4955" y="147"/>
                      </a:cubicBezTo>
                      <a:cubicBezTo>
                        <a:pt x="4955" y="141"/>
                        <a:pt x="4958" y="134"/>
                        <a:pt x="4958" y="128"/>
                      </a:cubicBezTo>
                      <a:cubicBezTo>
                        <a:pt x="4957" y="122"/>
                        <a:pt x="4956" y="117"/>
                        <a:pt x="4956" y="111"/>
                      </a:cubicBezTo>
                      <a:cubicBezTo>
                        <a:pt x="4956" y="96"/>
                        <a:pt x="4964" y="101"/>
                        <a:pt x="4968" y="89"/>
                      </a:cubicBezTo>
                      <a:cubicBezTo>
                        <a:pt x="4970" y="81"/>
                        <a:pt x="4965" y="79"/>
                        <a:pt x="4965" y="72"/>
                      </a:cubicBezTo>
                      <a:cubicBezTo>
                        <a:pt x="4965" y="67"/>
                        <a:pt x="4967" y="60"/>
                        <a:pt x="4968" y="56"/>
                      </a:cubicBezTo>
                      <a:cubicBezTo>
                        <a:pt x="4957" y="53"/>
                        <a:pt x="4979" y="43"/>
                        <a:pt x="4964" y="32"/>
                      </a:cubicBezTo>
                      <a:cubicBezTo>
                        <a:pt x="4969" y="32"/>
                        <a:pt x="4973" y="31"/>
                        <a:pt x="4977" y="30"/>
                      </a:cubicBezTo>
                      <a:cubicBezTo>
                        <a:pt x="4988" y="36"/>
                        <a:pt x="4979" y="41"/>
                        <a:pt x="4982" y="49"/>
                      </a:cubicBezTo>
                      <a:cubicBezTo>
                        <a:pt x="4983" y="53"/>
                        <a:pt x="4989" y="51"/>
                        <a:pt x="4990" y="53"/>
                      </a:cubicBezTo>
                      <a:cubicBezTo>
                        <a:pt x="4991" y="54"/>
                        <a:pt x="4990" y="58"/>
                        <a:pt x="4990" y="59"/>
                      </a:cubicBezTo>
                      <a:cubicBezTo>
                        <a:pt x="4992" y="61"/>
                        <a:pt x="4992" y="65"/>
                        <a:pt x="4995" y="67"/>
                      </a:cubicBezTo>
                      <a:cubicBezTo>
                        <a:pt x="4999" y="72"/>
                        <a:pt x="5008" y="70"/>
                        <a:pt x="5013" y="74"/>
                      </a:cubicBezTo>
                      <a:cubicBezTo>
                        <a:pt x="5019" y="79"/>
                        <a:pt x="5015" y="82"/>
                        <a:pt x="5022" y="85"/>
                      </a:cubicBezTo>
                      <a:cubicBezTo>
                        <a:pt x="5026" y="86"/>
                        <a:pt x="5032" y="83"/>
                        <a:pt x="5037" y="85"/>
                      </a:cubicBezTo>
                      <a:cubicBezTo>
                        <a:pt x="5041" y="87"/>
                        <a:pt x="5044" y="93"/>
                        <a:pt x="5048" y="95"/>
                      </a:cubicBezTo>
                      <a:cubicBezTo>
                        <a:pt x="5058" y="99"/>
                        <a:pt x="5082" y="92"/>
                        <a:pt x="5089" y="102"/>
                      </a:cubicBezTo>
                      <a:cubicBezTo>
                        <a:pt x="5093" y="109"/>
                        <a:pt x="5085" y="120"/>
                        <a:pt x="5084" y="125"/>
                      </a:cubicBezTo>
                      <a:cubicBezTo>
                        <a:pt x="5083" y="131"/>
                        <a:pt x="5082" y="135"/>
                        <a:pt x="5085" y="139"/>
                      </a:cubicBezTo>
                      <a:cubicBezTo>
                        <a:pt x="5089" y="146"/>
                        <a:pt x="5092" y="142"/>
                        <a:pt x="5096" y="145"/>
                      </a:cubicBezTo>
                      <a:cubicBezTo>
                        <a:pt x="5107" y="155"/>
                        <a:pt x="5103" y="158"/>
                        <a:pt x="5122" y="157"/>
                      </a:cubicBezTo>
                      <a:cubicBezTo>
                        <a:pt x="5131" y="156"/>
                        <a:pt x="5147" y="157"/>
                        <a:pt x="5153" y="163"/>
                      </a:cubicBezTo>
                      <a:cubicBezTo>
                        <a:pt x="5161" y="172"/>
                        <a:pt x="5156" y="189"/>
                        <a:pt x="5144" y="191"/>
                      </a:cubicBezTo>
                      <a:cubicBezTo>
                        <a:pt x="5148" y="196"/>
                        <a:pt x="5155" y="205"/>
                        <a:pt x="5161" y="208"/>
                      </a:cubicBezTo>
                      <a:cubicBezTo>
                        <a:pt x="5169" y="212"/>
                        <a:pt x="5177" y="211"/>
                        <a:pt x="5185" y="218"/>
                      </a:cubicBezTo>
                      <a:cubicBezTo>
                        <a:pt x="5192" y="226"/>
                        <a:pt x="5191" y="233"/>
                        <a:pt x="5194" y="243"/>
                      </a:cubicBezTo>
                      <a:cubicBezTo>
                        <a:pt x="5197" y="252"/>
                        <a:pt x="5202" y="254"/>
                        <a:pt x="5207" y="262"/>
                      </a:cubicBezTo>
                      <a:cubicBezTo>
                        <a:pt x="5211" y="267"/>
                        <a:pt x="5218" y="281"/>
                        <a:pt x="5219" y="286"/>
                      </a:cubicBezTo>
                      <a:cubicBezTo>
                        <a:pt x="5224" y="303"/>
                        <a:pt x="5209" y="304"/>
                        <a:pt x="5197" y="308"/>
                      </a:cubicBezTo>
                      <a:cubicBezTo>
                        <a:pt x="5181" y="314"/>
                        <a:pt x="5169" y="328"/>
                        <a:pt x="5153" y="336"/>
                      </a:cubicBezTo>
                      <a:cubicBezTo>
                        <a:pt x="5137" y="344"/>
                        <a:pt x="5121" y="344"/>
                        <a:pt x="5115" y="366"/>
                      </a:cubicBezTo>
                      <a:cubicBezTo>
                        <a:pt x="5112" y="377"/>
                        <a:pt x="5115" y="391"/>
                        <a:pt x="5109" y="401"/>
                      </a:cubicBezTo>
                      <a:cubicBezTo>
                        <a:pt x="5097" y="420"/>
                        <a:pt x="5072" y="436"/>
                        <a:pt x="5056" y="451"/>
                      </a:cubicBezTo>
                      <a:cubicBezTo>
                        <a:pt x="5049" y="459"/>
                        <a:pt x="5025" y="474"/>
                        <a:pt x="5025" y="486"/>
                      </a:cubicBezTo>
                      <a:cubicBezTo>
                        <a:pt x="5025" y="490"/>
                        <a:pt x="5032" y="493"/>
                        <a:pt x="5032" y="497"/>
                      </a:cubicBezTo>
                      <a:cubicBezTo>
                        <a:pt x="5030" y="506"/>
                        <a:pt x="5027" y="497"/>
                        <a:pt x="5022" y="499"/>
                      </a:cubicBezTo>
                      <a:cubicBezTo>
                        <a:pt x="5007" y="506"/>
                        <a:pt x="4996" y="528"/>
                        <a:pt x="4987" y="541"/>
                      </a:cubicBezTo>
                      <a:cubicBezTo>
                        <a:pt x="4981" y="551"/>
                        <a:pt x="4980" y="561"/>
                        <a:pt x="4975" y="570"/>
                      </a:cubicBezTo>
                      <a:cubicBezTo>
                        <a:pt x="4971" y="578"/>
                        <a:pt x="4959" y="582"/>
                        <a:pt x="4953" y="589"/>
                      </a:cubicBezTo>
                      <a:cubicBezTo>
                        <a:pt x="4948" y="595"/>
                        <a:pt x="4943" y="604"/>
                        <a:pt x="4940" y="611"/>
                      </a:cubicBezTo>
                      <a:cubicBezTo>
                        <a:pt x="4931" y="632"/>
                        <a:pt x="4941" y="632"/>
                        <a:pt x="4947" y="650"/>
                      </a:cubicBezTo>
                      <a:cubicBezTo>
                        <a:pt x="4950" y="662"/>
                        <a:pt x="4942" y="670"/>
                        <a:pt x="4949" y="680"/>
                      </a:cubicBezTo>
                      <a:cubicBezTo>
                        <a:pt x="4960" y="695"/>
                        <a:pt x="4962" y="677"/>
                        <a:pt x="4975" y="677"/>
                      </a:cubicBezTo>
                      <a:cubicBezTo>
                        <a:pt x="4978" y="678"/>
                        <a:pt x="4994" y="688"/>
                        <a:pt x="4995" y="691"/>
                      </a:cubicBezTo>
                      <a:cubicBezTo>
                        <a:pt x="4997" y="706"/>
                        <a:pt x="4972" y="710"/>
                        <a:pt x="4966" y="718"/>
                      </a:cubicBezTo>
                      <a:cubicBezTo>
                        <a:pt x="4960" y="725"/>
                        <a:pt x="4959" y="740"/>
                        <a:pt x="4963" y="748"/>
                      </a:cubicBezTo>
                      <a:cubicBezTo>
                        <a:pt x="4965" y="753"/>
                        <a:pt x="4969" y="756"/>
                        <a:pt x="4971" y="759"/>
                      </a:cubicBezTo>
                      <a:cubicBezTo>
                        <a:pt x="4972" y="762"/>
                        <a:pt x="4975" y="770"/>
                        <a:pt x="4977" y="773"/>
                      </a:cubicBezTo>
                      <a:cubicBezTo>
                        <a:pt x="4991" y="788"/>
                        <a:pt x="5009" y="774"/>
                        <a:pt x="5016" y="797"/>
                      </a:cubicBezTo>
                      <a:cubicBezTo>
                        <a:pt x="5024" y="826"/>
                        <a:pt x="5052" y="816"/>
                        <a:pt x="5078" y="815"/>
                      </a:cubicBezTo>
                      <a:cubicBezTo>
                        <a:pt x="5084" y="815"/>
                        <a:pt x="5092" y="818"/>
                        <a:pt x="5098" y="817"/>
                      </a:cubicBezTo>
                      <a:cubicBezTo>
                        <a:pt x="5105" y="815"/>
                        <a:pt x="5106" y="813"/>
                        <a:pt x="5112" y="810"/>
                      </a:cubicBezTo>
                      <a:cubicBezTo>
                        <a:pt x="5126" y="805"/>
                        <a:pt x="5139" y="807"/>
                        <a:pt x="5152" y="811"/>
                      </a:cubicBezTo>
                      <a:cubicBezTo>
                        <a:pt x="5165" y="816"/>
                        <a:pt x="5162" y="821"/>
                        <a:pt x="5172" y="828"/>
                      </a:cubicBezTo>
                      <a:cubicBezTo>
                        <a:pt x="5179" y="833"/>
                        <a:pt x="5186" y="835"/>
                        <a:pt x="5193" y="840"/>
                      </a:cubicBezTo>
                      <a:cubicBezTo>
                        <a:pt x="5204" y="848"/>
                        <a:pt x="5205" y="847"/>
                        <a:pt x="5203" y="864"/>
                      </a:cubicBezTo>
                      <a:cubicBezTo>
                        <a:pt x="5202" y="872"/>
                        <a:pt x="5199" y="871"/>
                        <a:pt x="5201" y="880"/>
                      </a:cubicBezTo>
                      <a:cubicBezTo>
                        <a:pt x="5203" y="889"/>
                        <a:pt x="5211" y="896"/>
                        <a:pt x="5212" y="904"/>
                      </a:cubicBezTo>
                      <a:cubicBezTo>
                        <a:pt x="5213" y="914"/>
                        <a:pt x="5211" y="921"/>
                        <a:pt x="5214" y="930"/>
                      </a:cubicBezTo>
                      <a:cubicBezTo>
                        <a:pt x="5215" y="934"/>
                        <a:pt x="5219" y="937"/>
                        <a:pt x="5219" y="941"/>
                      </a:cubicBezTo>
                      <a:cubicBezTo>
                        <a:pt x="5220" y="947"/>
                        <a:pt x="5213" y="949"/>
                        <a:pt x="5218" y="955"/>
                      </a:cubicBezTo>
                      <a:cubicBezTo>
                        <a:pt x="5222" y="961"/>
                        <a:pt x="5241" y="957"/>
                        <a:pt x="5247" y="966"/>
                      </a:cubicBezTo>
                      <a:cubicBezTo>
                        <a:pt x="5253" y="975"/>
                        <a:pt x="5248" y="986"/>
                        <a:pt x="5255" y="996"/>
                      </a:cubicBezTo>
                      <a:cubicBezTo>
                        <a:pt x="5260" y="1001"/>
                        <a:pt x="5283" y="1009"/>
                        <a:pt x="5283" y="1014"/>
                      </a:cubicBezTo>
                      <a:cubicBezTo>
                        <a:pt x="5284" y="1027"/>
                        <a:pt x="5254" y="1026"/>
                        <a:pt x="5248" y="1029"/>
                      </a:cubicBezTo>
                      <a:cubicBezTo>
                        <a:pt x="5242" y="1033"/>
                        <a:pt x="5241" y="1044"/>
                        <a:pt x="5237" y="1049"/>
                      </a:cubicBezTo>
                      <a:cubicBezTo>
                        <a:pt x="5232" y="1057"/>
                        <a:pt x="5222" y="1062"/>
                        <a:pt x="5218" y="1070"/>
                      </a:cubicBezTo>
                      <a:cubicBezTo>
                        <a:pt x="5215" y="1077"/>
                        <a:pt x="5218" y="1082"/>
                        <a:pt x="5218" y="1090"/>
                      </a:cubicBezTo>
                      <a:cubicBezTo>
                        <a:pt x="5217" y="1097"/>
                        <a:pt x="5210" y="1106"/>
                        <a:pt x="5210" y="1112"/>
                      </a:cubicBezTo>
                      <a:cubicBezTo>
                        <a:pt x="5211" y="1122"/>
                        <a:pt x="5222" y="1120"/>
                        <a:pt x="5221" y="1129"/>
                      </a:cubicBezTo>
                      <a:cubicBezTo>
                        <a:pt x="5220" y="1141"/>
                        <a:pt x="5189" y="1159"/>
                        <a:pt x="5178" y="1152"/>
                      </a:cubicBezTo>
                      <a:cubicBezTo>
                        <a:pt x="5172" y="1148"/>
                        <a:pt x="5176" y="1144"/>
                        <a:pt x="5172" y="1140"/>
                      </a:cubicBezTo>
                      <a:cubicBezTo>
                        <a:pt x="5166" y="1134"/>
                        <a:pt x="5169" y="1137"/>
                        <a:pt x="5161" y="1135"/>
                      </a:cubicBezTo>
                      <a:cubicBezTo>
                        <a:pt x="5152" y="1133"/>
                        <a:pt x="5144" y="1136"/>
                        <a:pt x="5136" y="1133"/>
                      </a:cubicBezTo>
                      <a:cubicBezTo>
                        <a:pt x="5131" y="1132"/>
                        <a:pt x="5117" y="1120"/>
                        <a:pt x="5113" y="1122"/>
                      </a:cubicBezTo>
                      <a:cubicBezTo>
                        <a:pt x="5100" y="1130"/>
                        <a:pt x="5120" y="1160"/>
                        <a:pt x="5110" y="1171"/>
                      </a:cubicBezTo>
                      <a:cubicBezTo>
                        <a:pt x="5107" y="1175"/>
                        <a:pt x="5104" y="1170"/>
                        <a:pt x="5101" y="1172"/>
                      </a:cubicBezTo>
                      <a:cubicBezTo>
                        <a:pt x="5092" y="1177"/>
                        <a:pt x="5082" y="1187"/>
                        <a:pt x="5073" y="1190"/>
                      </a:cubicBezTo>
                      <a:cubicBezTo>
                        <a:pt x="5067" y="1191"/>
                        <a:pt x="5057" y="1188"/>
                        <a:pt x="5051" y="1188"/>
                      </a:cubicBezTo>
                      <a:cubicBezTo>
                        <a:pt x="5048" y="1188"/>
                        <a:pt x="5048" y="1184"/>
                        <a:pt x="5042" y="1186"/>
                      </a:cubicBezTo>
                      <a:cubicBezTo>
                        <a:pt x="5036" y="1189"/>
                        <a:pt x="5038" y="1199"/>
                        <a:pt x="5035" y="1202"/>
                      </a:cubicBezTo>
                      <a:cubicBezTo>
                        <a:pt x="5030" y="1207"/>
                        <a:pt x="5024" y="1204"/>
                        <a:pt x="5018" y="1209"/>
                      </a:cubicBezTo>
                      <a:cubicBezTo>
                        <a:pt x="5012" y="1215"/>
                        <a:pt x="5013" y="1222"/>
                        <a:pt x="5005" y="1223"/>
                      </a:cubicBezTo>
                      <a:cubicBezTo>
                        <a:pt x="5006" y="1223"/>
                        <a:pt x="4997" y="1218"/>
                        <a:pt x="4995" y="1218"/>
                      </a:cubicBezTo>
                      <a:cubicBezTo>
                        <a:pt x="4988" y="1217"/>
                        <a:pt x="4986" y="1219"/>
                        <a:pt x="4982" y="1225"/>
                      </a:cubicBezTo>
                      <a:cubicBezTo>
                        <a:pt x="4977" y="1233"/>
                        <a:pt x="4986" y="1251"/>
                        <a:pt x="4972" y="1255"/>
                      </a:cubicBezTo>
                      <a:cubicBezTo>
                        <a:pt x="4968" y="1255"/>
                        <a:pt x="4965" y="1250"/>
                        <a:pt x="4962" y="1250"/>
                      </a:cubicBezTo>
                      <a:cubicBezTo>
                        <a:pt x="4954" y="1249"/>
                        <a:pt x="4948" y="1254"/>
                        <a:pt x="4939" y="1255"/>
                      </a:cubicBezTo>
                      <a:cubicBezTo>
                        <a:pt x="4928" y="1257"/>
                        <a:pt x="4919" y="1253"/>
                        <a:pt x="4919" y="1271"/>
                      </a:cubicBezTo>
                      <a:cubicBezTo>
                        <a:pt x="4919" y="1276"/>
                        <a:pt x="4923" y="1279"/>
                        <a:pt x="4924" y="1284"/>
                      </a:cubicBezTo>
                      <a:cubicBezTo>
                        <a:pt x="4925" y="1291"/>
                        <a:pt x="4923" y="1301"/>
                        <a:pt x="4925" y="1307"/>
                      </a:cubicBezTo>
                      <a:cubicBezTo>
                        <a:pt x="4930" y="1318"/>
                        <a:pt x="4926" y="1307"/>
                        <a:pt x="4938" y="1309"/>
                      </a:cubicBezTo>
                      <a:cubicBezTo>
                        <a:pt x="4944" y="1309"/>
                        <a:pt x="4944" y="1312"/>
                        <a:pt x="4948" y="1315"/>
                      </a:cubicBezTo>
                      <a:cubicBezTo>
                        <a:pt x="4964" y="1326"/>
                        <a:pt x="4969" y="1349"/>
                        <a:pt x="4963" y="1366"/>
                      </a:cubicBezTo>
                      <a:cubicBezTo>
                        <a:pt x="4957" y="1384"/>
                        <a:pt x="4958" y="1374"/>
                        <a:pt x="4946" y="1368"/>
                      </a:cubicBezTo>
                      <a:cubicBezTo>
                        <a:pt x="4934" y="1362"/>
                        <a:pt x="4920" y="1375"/>
                        <a:pt x="4913" y="1383"/>
                      </a:cubicBezTo>
                      <a:cubicBezTo>
                        <a:pt x="4897" y="1401"/>
                        <a:pt x="4895" y="1416"/>
                        <a:pt x="4915" y="1431"/>
                      </a:cubicBezTo>
                      <a:cubicBezTo>
                        <a:pt x="4922" y="1437"/>
                        <a:pt x="4928" y="1443"/>
                        <a:pt x="4933" y="1452"/>
                      </a:cubicBezTo>
                      <a:cubicBezTo>
                        <a:pt x="4937" y="1462"/>
                        <a:pt x="4936" y="1473"/>
                        <a:pt x="4942" y="1482"/>
                      </a:cubicBezTo>
                      <a:cubicBezTo>
                        <a:pt x="4949" y="1495"/>
                        <a:pt x="4957" y="1486"/>
                        <a:pt x="4966" y="1495"/>
                      </a:cubicBezTo>
                      <a:cubicBezTo>
                        <a:pt x="4978" y="1507"/>
                        <a:pt x="4963" y="1523"/>
                        <a:pt x="4959" y="1533"/>
                      </a:cubicBezTo>
                      <a:cubicBezTo>
                        <a:pt x="4953" y="1547"/>
                        <a:pt x="4954" y="1554"/>
                        <a:pt x="4943" y="1564"/>
                      </a:cubicBezTo>
                      <a:cubicBezTo>
                        <a:pt x="4939" y="1568"/>
                        <a:pt x="4924" y="1582"/>
                        <a:pt x="4923" y="1587"/>
                      </a:cubicBezTo>
                      <a:cubicBezTo>
                        <a:pt x="4922" y="1590"/>
                        <a:pt x="4923" y="1604"/>
                        <a:pt x="4925" y="1609"/>
                      </a:cubicBezTo>
                      <a:cubicBezTo>
                        <a:pt x="4929" y="1620"/>
                        <a:pt x="4937" y="1620"/>
                        <a:pt x="4944" y="1627"/>
                      </a:cubicBezTo>
                      <a:cubicBezTo>
                        <a:pt x="4953" y="1638"/>
                        <a:pt x="4947" y="1643"/>
                        <a:pt x="4947" y="1655"/>
                      </a:cubicBezTo>
                      <a:cubicBezTo>
                        <a:pt x="4948" y="1668"/>
                        <a:pt x="4952" y="1666"/>
                        <a:pt x="4960" y="1672"/>
                      </a:cubicBezTo>
                      <a:cubicBezTo>
                        <a:pt x="4965" y="1676"/>
                        <a:pt x="4968" y="1686"/>
                        <a:pt x="4972" y="1688"/>
                      </a:cubicBezTo>
                      <a:cubicBezTo>
                        <a:pt x="4978" y="1692"/>
                        <a:pt x="4982" y="1687"/>
                        <a:pt x="4988" y="1688"/>
                      </a:cubicBezTo>
                      <a:cubicBezTo>
                        <a:pt x="4992" y="1689"/>
                        <a:pt x="4993" y="1692"/>
                        <a:pt x="4996" y="1694"/>
                      </a:cubicBezTo>
                      <a:cubicBezTo>
                        <a:pt x="5010" y="1702"/>
                        <a:pt x="5014" y="1703"/>
                        <a:pt x="5010" y="1718"/>
                      </a:cubicBezTo>
                      <a:cubicBezTo>
                        <a:pt x="5008" y="1730"/>
                        <a:pt x="4998" y="1753"/>
                        <a:pt x="5000" y="1765"/>
                      </a:cubicBezTo>
                      <a:cubicBezTo>
                        <a:pt x="5003" y="1775"/>
                        <a:pt x="5021" y="1777"/>
                        <a:pt x="5023" y="1786"/>
                      </a:cubicBezTo>
                      <a:cubicBezTo>
                        <a:pt x="5025" y="1791"/>
                        <a:pt x="5016" y="1811"/>
                        <a:pt x="5010" y="1814"/>
                      </a:cubicBezTo>
                      <a:cubicBezTo>
                        <a:pt x="4993" y="1822"/>
                        <a:pt x="4991" y="1771"/>
                        <a:pt x="4969" y="1799"/>
                      </a:cubicBezTo>
                      <a:cubicBezTo>
                        <a:pt x="4960" y="1810"/>
                        <a:pt x="4936" y="1830"/>
                        <a:pt x="4933" y="1842"/>
                      </a:cubicBezTo>
                      <a:cubicBezTo>
                        <a:pt x="4930" y="1853"/>
                        <a:pt x="4944" y="1868"/>
                        <a:pt x="4946" y="1878"/>
                      </a:cubicBezTo>
                      <a:cubicBezTo>
                        <a:pt x="4943" y="1877"/>
                        <a:pt x="4935" y="1872"/>
                        <a:pt x="4933" y="1871"/>
                      </a:cubicBezTo>
                      <a:cubicBezTo>
                        <a:pt x="4930" y="1871"/>
                        <a:pt x="4917" y="1873"/>
                        <a:pt x="4913" y="1875"/>
                      </a:cubicBezTo>
                      <a:cubicBezTo>
                        <a:pt x="4906" y="1881"/>
                        <a:pt x="4906" y="1892"/>
                        <a:pt x="4900" y="1899"/>
                      </a:cubicBezTo>
                      <a:cubicBezTo>
                        <a:pt x="4895" y="1904"/>
                        <a:pt x="4870" y="1912"/>
                        <a:pt x="4870" y="1920"/>
                      </a:cubicBezTo>
                      <a:cubicBezTo>
                        <a:pt x="4869" y="1927"/>
                        <a:pt x="4890" y="1944"/>
                        <a:pt x="4892" y="1952"/>
                      </a:cubicBezTo>
                      <a:cubicBezTo>
                        <a:pt x="4893" y="1959"/>
                        <a:pt x="4891" y="1960"/>
                        <a:pt x="4880" y="1963"/>
                      </a:cubicBezTo>
                      <a:cubicBezTo>
                        <a:pt x="4875" y="1964"/>
                        <a:pt x="4871" y="1963"/>
                        <a:pt x="4866" y="1964"/>
                      </a:cubicBezTo>
                      <a:cubicBezTo>
                        <a:pt x="4862" y="1965"/>
                        <a:pt x="4853" y="1972"/>
                        <a:pt x="4849" y="1972"/>
                      </a:cubicBezTo>
                      <a:cubicBezTo>
                        <a:pt x="4839" y="1973"/>
                        <a:pt x="4819" y="1962"/>
                        <a:pt x="4812" y="1956"/>
                      </a:cubicBezTo>
                      <a:cubicBezTo>
                        <a:pt x="4801" y="1947"/>
                        <a:pt x="4806" y="1929"/>
                        <a:pt x="4795" y="1921"/>
                      </a:cubicBezTo>
                      <a:cubicBezTo>
                        <a:pt x="4778" y="1909"/>
                        <a:pt x="4751" y="1921"/>
                        <a:pt x="4744" y="1938"/>
                      </a:cubicBezTo>
                      <a:cubicBezTo>
                        <a:pt x="4741" y="1947"/>
                        <a:pt x="4745" y="1963"/>
                        <a:pt x="4741" y="1971"/>
                      </a:cubicBezTo>
                      <a:cubicBezTo>
                        <a:pt x="4737" y="1977"/>
                        <a:pt x="4729" y="1974"/>
                        <a:pt x="4726" y="1980"/>
                      </a:cubicBezTo>
                      <a:cubicBezTo>
                        <a:pt x="4723" y="1984"/>
                        <a:pt x="4730" y="1989"/>
                        <a:pt x="4726" y="1993"/>
                      </a:cubicBezTo>
                      <a:cubicBezTo>
                        <a:pt x="4723" y="1996"/>
                        <a:pt x="4719" y="1994"/>
                        <a:pt x="4716" y="1995"/>
                      </a:cubicBezTo>
                      <a:cubicBezTo>
                        <a:pt x="4710" y="1998"/>
                        <a:pt x="4707" y="1996"/>
                        <a:pt x="4700" y="2000"/>
                      </a:cubicBezTo>
                      <a:cubicBezTo>
                        <a:pt x="4684" y="2010"/>
                        <a:pt x="4673" y="2034"/>
                        <a:pt x="4652" y="2027"/>
                      </a:cubicBezTo>
                      <a:cubicBezTo>
                        <a:pt x="4642" y="2023"/>
                        <a:pt x="4625" y="2008"/>
                        <a:pt x="4616" y="2021"/>
                      </a:cubicBezTo>
                      <a:cubicBezTo>
                        <a:pt x="4612" y="2026"/>
                        <a:pt x="4617" y="2039"/>
                        <a:pt x="4616" y="2045"/>
                      </a:cubicBezTo>
                      <a:cubicBezTo>
                        <a:pt x="4615" y="2049"/>
                        <a:pt x="4608" y="2059"/>
                        <a:pt x="4608" y="2061"/>
                      </a:cubicBezTo>
                      <a:cubicBezTo>
                        <a:pt x="4608" y="2067"/>
                        <a:pt x="4614" y="2067"/>
                        <a:pt x="4617" y="2072"/>
                      </a:cubicBezTo>
                      <a:cubicBezTo>
                        <a:pt x="4620" y="2078"/>
                        <a:pt x="4613" y="2076"/>
                        <a:pt x="4620" y="2081"/>
                      </a:cubicBezTo>
                      <a:cubicBezTo>
                        <a:pt x="4626" y="2086"/>
                        <a:pt x="4642" y="2083"/>
                        <a:pt x="4649" y="2086"/>
                      </a:cubicBezTo>
                      <a:cubicBezTo>
                        <a:pt x="4659" y="2092"/>
                        <a:pt x="4663" y="2100"/>
                        <a:pt x="4664" y="2111"/>
                      </a:cubicBezTo>
                      <a:cubicBezTo>
                        <a:pt x="4664" y="2116"/>
                        <a:pt x="4662" y="2122"/>
                        <a:pt x="4663" y="2127"/>
                      </a:cubicBezTo>
                      <a:cubicBezTo>
                        <a:pt x="4667" y="2138"/>
                        <a:pt x="4670" y="2139"/>
                        <a:pt x="4671" y="2150"/>
                      </a:cubicBezTo>
                      <a:cubicBezTo>
                        <a:pt x="4671" y="2154"/>
                        <a:pt x="4673" y="2164"/>
                        <a:pt x="4672" y="2168"/>
                      </a:cubicBezTo>
                      <a:cubicBezTo>
                        <a:pt x="4670" y="2181"/>
                        <a:pt x="4669" y="2172"/>
                        <a:pt x="4665" y="2176"/>
                      </a:cubicBezTo>
                      <a:cubicBezTo>
                        <a:pt x="4667" y="2174"/>
                        <a:pt x="4659" y="2176"/>
                        <a:pt x="4659" y="2176"/>
                      </a:cubicBezTo>
                      <a:cubicBezTo>
                        <a:pt x="4657" y="2177"/>
                        <a:pt x="4661" y="2184"/>
                        <a:pt x="4658" y="2185"/>
                      </a:cubicBezTo>
                      <a:cubicBezTo>
                        <a:pt x="4649" y="2188"/>
                        <a:pt x="4650" y="2180"/>
                        <a:pt x="4646" y="2178"/>
                      </a:cubicBezTo>
                      <a:cubicBezTo>
                        <a:pt x="4645" y="2177"/>
                        <a:pt x="4646" y="2173"/>
                        <a:pt x="4643" y="2173"/>
                      </a:cubicBezTo>
                      <a:cubicBezTo>
                        <a:pt x="4640" y="2172"/>
                        <a:pt x="4640" y="2176"/>
                        <a:pt x="4638" y="2176"/>
                      </a:cubicBezTo>
                      <a:cubicBezTo>
                        <a:pt x="4634" y="2175"/>
                        <a:pt x="4629" y="2181"/>
                        <a:pt x="4623" y="2176"/>
                      </a:cubicBezTo>
                      <a:cubicBezTo>
                        <a:pt x="4614" y="2169"/>
                        <a:pt x="4624" y="2151"/>
                        <a:pt x="4610" y="2148"/>
                      </a:cubicBezTo>
                      <a:cubicBezTo>
                        <a:pt x="4602" y="2147"/>
                        <a:pt x="4591" y="2163"/>
                        <a:pt x="4587" y="2169"/>
                      </a:cubicBezTo>
                      <a:cubicBezTo>
                        <a:pt x="4579" y="2182"/>
                        <a:pt x="4585" y="2173"/>
                        <a:pt x="4587" y="2182"/>
                      </a:cubicBezTo>
                      <a:cubicBezTo>
                        <a:pt x="4588" y="2185"/>
                        <a:pt x="4594" y="2184"/>
                        <a:pt x="4591" y="2191"/>
                      </a:cubicBezTo>
                      <a:cubicBezTo>
                        <a:pt x="4587" y="2199"/>
                        <a:pt x="4582" y="2196"/>
                        <a:pt x="4574" y="2195"/>
                      </a:cubicBezTo>
                      <a:cubicBezTo>
                        <a:pt x="4566" y="2194"/>
                        <a:pt x="4558" y="2190"/>
                        <a:pt x="4549" y="2191"/>
                      </a:cubicBezTo>
                      <a:cubicBezTo>
                        <a:pt x="4535" y="2192"/>
                        <a:pt x="4517" y="2200"/>
                        <a:pt x="4504" y="2204"/>
                      </a:cubicBezTo>
                      <a:cubicBezTo>
                        <a:pt x="4486" y="2210"/>
                        <a:pt x="4481" y="2210"/>
                        <a:pt x="4486" y="2229"/>
                      </a:cubicBezTo>
                      <a:cubicBezTo>
                        <a:pt x="4488" y="2232"/>
                        <a:pt x="4491" y="2240"/>
                        <a:pt x="4492" y="2243"/>
                      </a:cubicBezTo>
                      <a:cubicBezTo>
                        <a:pt x="4494" y="2252"/>
                        <a:pt x="4489" y="2254"/>
                        <a:pt x="4489" y="2263"/>
                      </a:cubicBezTo>
                      <a:cubicBezTo>
                        <a:pt x="4489" y="2269"/>
                        <a:pt x="4494" y="2275"/>
                        <a:pt x="4494" y="2282"/>
                      </a:cubicBezTo>
                      <a:cubicBezTo>
                        <a:pt x="4494" y="2292"/>
                        <a:pt x="4485" y="2304"/>
                        <a:pt x="4479" y="2312"/>
                      </a:cubicBezTo>
                      <a:cubicBezTo>
                        <a:pt x="4475" y="2318"/>
                        <a:pt x="4453" y="2347"/>
                        <a:pt x="4454" y="2351"/>
                      </a:cubicBezTo>
                      <a:cubicBezTo>
                        <a:pt x="4455" y="2354"/>
                        <a:pt x="4465" y="2356"/>
                        <a:pt x="4468" y="2358"/>
                      </a:cubicBezTo>
                      <a:cubicBezTo>
                        <a:pt x="4471" y="2361"/>
                        <a:pt x="4477" y="2370"/>
                        <a:pt x="4479" y="2374"/>
                      </a:cubicBezTo>
                      <a:cubicBezTo>
                        <a:pt x="4485" y="2385"/>
                        <a:pt x="4483" y="2396"/>
                        <a:pt x="4484" y="2409"/>
                      </a:cubicBezTo>
                      <a:cubicBezTo>
                        <a:pt x="4487" y="2428"/>
                        <a:pt x="4494" y="2444"/>
                        <a:pt x="4499" y="2463"/>
                      </a:cubicBezTo>
                      <a:cubicBezTo>
                        <a:pt x="4503" y="2476"/>
                        <a:pt x="4502" y="2488"/>
                        <a:pt x="4506" y="2501"/>
                      </a:cubicBezTo>
                      <a:cubicBezTo>
                        <a:pt x="4510" y="2516"/>
                        <a:pt x="4523" y="2522"/>
                        <a:pt x="4530" y="2535"/>
                      </a:cubicBezTo>
                      <a:cubicBezTo>
                        <a:pt x="4531" y="2537"/>
                        <a:pt x="4535" y="2544"/>
                        <a:pt x="4535" y="2545"/>
                      </a:cubicBezTo>
                      <a:cubicBezTo>
                        <a:pt x="4538" y="2549"/>
                        <a:pt x="4540" y="2549"/>
                        <a:pt x="4544" y="2552"/>
                      </a:cubicBezTo>
                      <a:cubicBezTo>
                        <a:pt x="4549" y="2558"/>
                        <a:pt x="4557" y="2564"/>
                        <a:pt x="4562" y="2570"/>
                      </a:cubicBezTo>
                      <a:cubicBezTo>
                        <a:pt x="4571" y="2581"/>
                        <a:pt x="4571" y="2599"/>
                        <a:pt x="4582" y="2609"/>
                      </a:cubicBezTo>
                      <a:cubicBezTo>
                        <a:pt x="4585" y="2612"/>
                        <a:pt x="4591" y="2615"/>
                        <a:pt x="4595" y="2618"/>
                      </a:cubicBezTo>
                      <a:cubicBezTo>
                        <a:pt x="4599" y="2622"/>
                        <a:pt x="4602" y="2628"/>
                        <a:pt x="4604" y="2630"/>
                      </a:cubicBezTo>
                      <a:cubicBezTo>
                        <a:pt x="4605" y="2631"/>
                        <a:pt x="4605" y="2635"/>
                        <a:pt x="4607" y="2637"/>
                      </a:cubicBezTo>
                      <a:cubicBezTo>
                        <a:pt x="4608" y="2638"/>
                        <a:pt x="4612" y="2637"/>
                        <a:pt x="4614" y="2638"/>
                      </a:cubicBezTo>
                      <a:cubicBezTo>
                        <a:pt x="4620" y="2643"/>
                        <a:pt x="4629" y="2649"/>
                        <a:pt x="4620" y="2658"/>
                      </a:cubicBezTo>
                      <a:cubicBezTo>
                        <a:pt x="4612" y="2666"/>
                        <a:pt x="4599" y="2660"/>
                        <a:pt x="4599" y="2677"/>
                      </a:cubicBezTo>
                      <a:cubicBezTo>
                        <a:pt x="4599" y="2678"/>
                        <a:pt x="4595" y="2678"/>
                        <a:pt x="4596" y="2681"/>
                      </a:cubicBezTo>
                      <a:cubicBezTo>
                        <a:pt x="4597" y="2684"/>
                        <a:pt x="4604" y="2683"/>
                        <a:pt x="4605" y="2686"/>
                      </a:cubicBezTo>
                      <a:cubicBezTo>
                        <a:pt x="4609" y="2691"/>
                        <a:pt x="4609" y="2696"/>
                        <a:pt x="4612" y="2701"/>
                      </a:cubicBezTo>
                      <a:cubicBezTo>
                        <a:pt x="4615" y="2706"/>
                        <a:pt x="4619" y="2707"/>
                        <a:pt x="4622" y="2711"/>
                      </a:cubicBezTo>
                      <a:cubicBezTo>
                        <a:pt x="4623" y="2713"/>
                        <a:pt x="4621" y="2718"/>
                        <a:pt x="4621" y="2719"/>
                      </a:cubicBezTo>
                      <a:cubicBezTo>
                        <a:pt x="4620" y="2717"/>
                        <a:pt x="4626" y="2726"/>
                        <a:pt x="4625" y="2722"/>
                      </a:cubicBezTo>
                      <a:cubicBezTo>
                        <a:pt x="4626" y="2727"/>
                        <a:pt x="4629" y="2724"/>
                        <a:pt x="4627" y="2732"/>
                      </a:cubicBezTo>
                      <a:cubicBezTo>
                        <a:pt x="4626" y="2740"/>
                        <a:pt x="4624" y="2745"/>
                        <a:pt x="4614" y="2745"/>
                      </a:cubicBezTo>
                      <a:cubicBezTo>
                        <a:pt x="4643" y="2764"/>
                        <a:pt x="4589" y="2789"/>
                        <a:pt x="4617" y="2804"/>
                      </a:cubicBezTo>
                      <a:cubicBezTo>
                        <a:pt x="4610" y="2810"/>
                        <a:pt x="4611" y="2835"/>
                        <a:pt x="4613" y="2844"/>
                      </a:cubicBezTo>
                      <a:cubicBezTo>
                        <a:pt x="4614" y="2846"/>
                        <a:pt x="4618" y="2846"/>
                        <a:pt x="4619" y="2848"/>
                      </a:cubicBezTo>
                      <a:cubicBezTo>
                        <a:pt x="4620" y="2850"/>
                        <a:pt x="4616" y="2852"/>
                        <a:pt x="4617" y="2854"/>
                      </a:cubicBezTo>
                      <a:cubicBezTo>
                        <a:pt x="4619" y="2862"/>
                        <a:pt x="4623" y="2858"/>
                        <a:pt x="4616" y="2870"/>
                      </a:cubicBezTo>
                      <a:cubicBezTo>
                        <a:pt x="4615" y="2873"/>
                        <a:pt x="4611" y="2875"/>
                        <a:pt x="4609" y="2878"/>
                      </a:cubicBezTo>
                      <a:cubicBezTo>
                        <a:pt x="4608" y="2880"/>
                        <a:pt x="4612" y="2884"/>
                        <a:pt x="4611" y="2886"/>
                      </a:cubicBezTo>
                      <a:cubicBezTo>
                        <a:pt x="4610" y="2888"/>
                        <a:pt x="4606" y="2899"/>
                        <a:pt x="4604" y="2901"/>
                      </a:cubicBezTo>
                      <a:cubicBezTo>
                        <a:pt x="4603" y="2903"/>
                        <a:pt x="4605" y="2907"/>
                        <a:pt x="4604" y="2909"/>
                      </a:cubicBezTo>
                      <a:cubicBezTo>
                        <a:pt x="4604" y="2908"/>
                        <a:pt x="4595" y="2912"/>
                        <a:pt x="4594" y="2912"/>
                      </a:cubicBezTo>
                      <a:cubicBezTo>
                        <a:pt x="4588" y="2917"/>
                        <a:pt x="4585" y="2925"/>
                        <a:pt x="4575" y="2922"/>
                      </a:cubicBezTo>
                      <a:cubicBezTo>
                        <a:pt x="4563" y="2919"/>
                        <a:pt x="4549" y="2864"/>
                        <a:pt x="4539" y="2868"/>
                      </a:cubicBezTo>
                      <a:cubicBezTo>
                        <a:pt x="4543" y="2867"/>
                        <a:pt x="4528" y="2889"/>
                        <a:pt x="4528" y="2885"/>
                      </a:cubicBezTo>
                      <a:cubicBezTo>
                        <a:pt x="4527" y="2891"/>
                        <a:pt x="4532" y="2895"/>
                        <a:pt x="4531" y="2901"/>
                      </a:cubicBezTo>
                      <a:cubicBezTo>
                        <a:pt x="4530" y="2915"/>
                        <a:pt x="4520" y="2914"/>
                        <a:pt x="4513" y="2904"/>
                      </a:cubicBezTo>
                      <a:cubicBezTo>
                        <a:pt x="4509" y="2898"/>
                        <a:pt x="4512" y="2899"/>
                        <a:pt x="4510" y="2891"/>
                      </a:cubicBezTo>
                      <a:cubicBezTo>
                        <a:pt x="4510" y="2893"/>
                        <a:pt x="4503" y="2881"/>
                        <a:pt x="4505" y="2881"/>
                      </a:cubicBezTo>
                      <a:cubicBezTo>
                        <a:pt x="4497" y="2878"/>
                        <a:pt x="4499" y="2882"/>
                        <a:pt x="4492" y="2884"/>
                      </a:cubicBezTo>
                      <a:cubicBezTo>
                        <a:pt x="4489" y="2885"/>
                        <a:pt x="4484" y="2883"/>
                        <a:pt x="4482" y="2885"/>
                      </a:cubicBezTo>
                      <a:cubicBezTo>
                        <a:pt x="4479" y="2886"/>
                        <a:pt x="4481" y="2892"/>
                        <a:pt x="4479" y="2893"/>
                      </a:cubicBezTo>
                      <a:cubicBezTo>
                        <a:pt x="4470" y="2897"/>
                        <a:pt x="4464" y="2893"/>
                        <a:pt x="4456" y="2890"/>
                      </a:cubicBezTo>
                      <a:cubicBezTo>
                        <a:pt x="4451" y="2887"/>
                        <a:pt x="4449" y="2876"/>
                        <a:pt x="4442" y="2889"/>
                      </a:cubicBezTo>
                      <a:cubicBezTo>
                        <a:pt x="4439" y="2896"/>
                        <a:pt x="4446" y="2902"/>
                        <a:pt x="4447" y="2909"/>
                      </a:cubicBezTo>
                      <a:cubicBezTo>
                        <a:pt x="4448" y="2916"/>
                        <a:pt x="4445" y="2923"/>
                        <a:pt x="4446" y="2931"/>
                      </a:cubicBezTo>
                      <a:cubicBezTo>
                        <a:pt x="4447" y="2935"/>
                        <a:pt x="4454" y="2941"/>
                        <a:pt x="4451" y="2946"/>
                      </a:cubicBezTo>
                      <a:cubicBezTo>
                        <a:pt x="4448" y="2952"/>
                        <a:pt x="4438" y="2946"/>
                        <a:pt x="4432" y="2945"/>
                      </a:cubicBezTo>
                      <a:cubicBezTo>
                        <a:pt x="4430" y="2945"/>
                        <a:pt x="4420" y="2946"/>
                        <a:pt x="4418" y="2947"/>
                      </a:cubicBezTo>
                      <a:cubicBezTo>
                        <a:pt x="4411" y="2951"/>
                        <a:pt x="4414" y="2952"/>
                        <a:pt x="4411" y="2956"/>
                      </a:cubicBezTo>
                      <a:cubicBezTo>
                        <a:pt x="4406" y="2961"/>
                        <a:pt x="4405" y="2965"/>
                        <a:pt x="4403" y="2971"/>
                      </a:cubicBezTo>
                      <a:cubicBezTo>
                        <a:pt x="4402" y="2973"/>
                        <a:pt x="4402" y="2984"/>
                        <a:pt x="4399" y="2986"/>
                      </a:cubicBezTo>
                      <a:cubicBezTo>
                        <a:pt x="4391" y="2990"/>
                        <a:pt x="4392" y="2981"/>
                        <a:pt x="4389" y="2978"/>
                      </a:cubicBezTo>
                      <a:cubicBezTo>
                        <a:pt x="4387" y="2976"/>
                        <a:pt x="4388" y="2973"/>
                        <a:pt x="4386" y="2971"/>
                      </a:cubicBezTo>
                      <a:cubicBezTo>
                        <a:pt x="4380" y="2968"/>
                        <a:pt x="4377" y="2974"/>
                        <a:pt x="4372" y="2973"/>
                      </a:cubicBezTo>
                      <a:cubicBezTo>
                        <a:pt x="4365" y="2971"/>
                        <a:pt x="4367" y="2966"/>
                        <a:pt x="4365" y="2964"/>
                      </a:cubicBezTo>
                      <a:cubicBezTo>
                        <a:pt x="4359" y="2961"/>
                        <a:pt x="4352" y="2959"/>
                        <a:pt x="4346" y="2957"/>
                      </a:cubicBezTo>
                      <a:cubicBezTo>
                        <a:pt x="4344" y="2956"/>
                        <a:pt x="4343" y="2946"/>
                        <a:pt x="4336" y="2954"/>
                      </a:cubicBezTo>
                      <a:cubicBezTo>
                        <a:pt x="4331" y="2958"/>
                        <a:pt x="4338" y="2968"/>
                        <a:pt x="4334" y="2973"/>
                      </a:cubicBezTo>
                      <a:cubicBezTo>
                        <a:pt x="4334" y="2973"/>
                        <a:pt x="4319" y="2984"/>
                        <a:pt x="4318" y="2983"/>
                      </a:cubicBezTo>
                      <a:cubicBezTo>
                        <a:pt x="4309" y="2980"/>
                        <a:pt x="4319" y="2973"/>
                        <a:pt x="4312" y="2969"/>
                      </a:cubicBezTo>
                      <a:cubicBezTo>
                        <a:pt x="4305" y="2965"/>
                        <a:pt x="4303" y="2976"/>
                        <a:pt x="4300" y="2977"/>
                      </a:cubicBezTo>
                      <a:cubicBezTo>
                        <a:pt x="4296" y="2978"/>
                        <a:pt x="4292" y="2976"/>
                        <a:pt x="4288" y="2974"/>
                      </a:cubicBezTo>
                      <a:cubicBezTo>
                        <a:pt x="4275" y="2969"/>
                        <a:pt x="4268" y="2968"/>
                        <a:pt x="4258" y="2957"/>
                      </a:cubicBezTo>
                      <a:cubicBezTo>
                        <a:pt x="4247" y="2946"/>
                        <a:pt x="4235" y="2946"/>
                        <a:pt x="4223" y="2936"/>
                      </a:cubicBezTo>
                      <a:cubicBezTo>
                        <a:pt x="4219" y="2933"/>
                        <a:pt x="4209" y="2922"/>
                        <a:pt x="4205" y="2922"/>
                      </a:cubicBezTo>
                      <a:cubicBezTo>
                        <a:pt x="4198" y="2921"/>
                        <a:pt x="4195" y="2933"/>
                        <a:pt x="4193" y="2934"/>
                      </a:cubicBezTo>
                      <a:cubicBezTo>
                        <a:pt x="4189" y="2937"/>
                        <a:pt x="4190" y="2942"/>
                        <a:pt x="4182" y="2937"/>
                      </a:cubicBezTo>
                      <a:cubicBezTo>
                        <a:pt x="4179" y="2936"/>
                        <a:pt x="4180" y="2930"/>
                        <a:pt x="4177" y="2929"/>
                      </a:cubicBezTo>
                      <a:cubicBezTo>
                        <a:pt x="4171" y="2925"/>
                        <a:pt x="4175" y="2929"/>
                        <a:pt x="4170" y="2928"/>
                      </a:cubicBezTo>
                      <a:cubicBezTo>
                        <a:pt x="4169" y="2927"/>
                        <a:pt x="4161" y="2927"/>
                        <a:pt x="4158" y="2927"/>
                      </a:cubicBezTo>
                      <a:cubicBezTo>
                        <a:pt x="4156" y="2927"/>
                        <a:pt x="4156" y="2932"/>
                        <a:pt x="4153" y="2931"/>
                      </a:cubicBezTo>
                      <a:cubicBezTo>
                        <a:pt x="4149" y="2930"/>
                        <a:pt x="4147" y="2924"/>
                        <a:pt x="4143" y="2923"/>
                      </a:cubicBezTo>
                      <a:cubicBezTo>
                        <a:pt x="4142" y="2922"/>
                        <a:pt x="4127" y="2923"/>
                        <a:pt x="4126" y="2924"/>
                      </a:cubicBezTo>
                      <a:cubicBezTo>
                        <a:pt x="4117" y="2935"/>
                        <a:pt x="4132" y="2937"/>
                        <a:pt x="4134" y="2943"/>
                      </a:cubicBezTo>
                      <a:cubicBezTo>
                        <a:pt x="4135" y="2946"/>
                        <a:pt x="4139" y="2959"/>
                        <a:pt x="4138" y="2962"/>
                      </a:cubicBezTo>
                      <a:cubicBezTo>
                        <a:pt x="4133" y="2971"/>
                        <a:pt x="4122" y="2965"/>
                        <a:pt x="4116" y="2974"/>
                      </a:cubicBezTo>
                      <a:cubicBezTo>
                        <a:pt x="4108" y="2985"/>
                        <a:pt x="4115" y="3006"/>
                        <a:pt x="4121" y="3017"/>
                      </a:cubicBezTo>
                      <a:cubicBezTo>
                        <a:pt x="4126" y="3027"/>
                        <a:pt x="4136" y="3036"/>
                        <a:pt x="4139" y="3048"/>
                      </a:cubicBezTo>
                      <a:cubicBezTo>
                        <a:pt x="4139" y="3050"/>
                        <a:pt x="4138" y="3059"/>
                        <a:pt x="4139" y="3060"/>
                      </a:cubicBezTo>
                      <a:cubicBezTo>
                        <a:pt x="4139" y="3061"/>
                        <a:pt x="4144" y="3064"/>
                        <a:pt x="4143" y="3064"/>
                      </a:cubicBezTo>
                      <a:cubicBezTo>
                        <a:pt x="4145" y="3069"/>
                        <a:pt x="4146" y="3071"/>
                        <a:pt x="4144" y="3078"/>
                      </a:cubicBezTo>
                      <a:cubicBezTo>
                        <a:pt x="4144" y="3079"/>
                        <a:pt x="4141" y="3082"/>
                        <a:pt x="4140" y="3084"/>
                      </a:cubicBezTo>
                      <a:cubicBezTo>
                        <a:pt x="4140" y="3085"/>
                        <a:pt x="4143" y="3087"/>
                        <a:pt x="4142" y="3089"/>
                      </a:cubicBezTo>
                      <a:cubicBezTo>
                        <a:pt x="4141" y="3091"/>
                        <a:pt x="4143" y="3094"/>
                        <a:pt x="4141" y="3096"/>
                      </a:cubicBezTo>
                      <a:cubicBezTo>
                        <a:pt x="4139" y="3100"/>
                        <a:pt x="4135" y="3097"/>
                        <a:pt x="4133" y="3098"/>
                      </a:cubicBezTo>
                      <a:cubicBezTo>
                        <a:pt x="4127" y="3105"/>
                        <a:pt x="4125" y="3099"/>
                        <a:pt x="4127" y="3112"/>
                      </a:cubicBezTo>
                      <a:cubicBezTo>
                        <a:pt x="4129" y="3120"/>
                        <a:pt x="4133" y="3121"/>
                        <a:pt x="4135" y="3126"/>
                      </a:cubicBezTo>
                      <a:cubicBezTo>
                        <a:pt x="4148" y="3152"/>
                        <a:pt x="4129" y="3181"/>
                        <a:pt x="4135" y="3206"/>
                      </a:cubicBezTo>
                      <a:cubicBezTo>
                        <a:pt x="4137" y="3216"/>
                        <a:pt x="4146" y="3240"/>
                        <a:pt x="4138" y="3248"/>
                      </a:cubicBezTo>
                      <a:cubicBezTo>
                        <a:pt x="4133" y="3253"/>
                        <a:pt x="4127" y="3249"/>
                        <a:pt x="4123" y="3255"/>
                      </a:cubicBezTo>
                      <a:cubicBezTo>
                        <a:pt x="4118" y="3260"/>
                        <a:pt x="4119" y="3269"/>
                        <a:pt x="4111" y="3274"/>
                      </a:cubicBezTo>
                      <a:cubicBezTo>
                        <a:pt x="4102" y="3279"/>
                        <a:pt x="4095" y="3273"/>
                        <a:pt x="4092" y="3286"/>
                      </a:cubicBezTo>
                      <a:cubicBezTo>
                        <a:pt x="4091" y="3289"/>
                        <a:pt x="4096" y="3289"/>
                        <a:pt x="4096" y="3291"/>
                      </a:cubicBezTo>
                      <a:cubicBezTo>
                        <a:pt x="4096" y="3292"/>
                        <a:pt x="4095" y="3297"/>
                        <a:pt x="4095" y="3299"/>
                      </a:cubicBezTo>
                      <a:cubicBezTo>
                        <a:pt x="4097" y="3317"/>
                        <a:pt x="4090" y="3318"/>
                        <a:pt x="4078" y="3322"/>
                      </a:cubicBezTo>
                      <a:cubicBezTo>
                        <a:pt x="4083" y="3321"/>
                        <a:pt x="4069" y="3331"/>
                        <a:pt x="4072" y="3329"/>
                      </a:cubicBezTo>
                      <a:cubicBezTo>
                        <a:pt x="4072" y="3328"/>
                        <a:pt x="4071" y="3321"/>
                        <a:pt x="4069" y="3323"/>
                      </a:cubicBezTo>
                      <a:cubicBezTo>
                        <a:pt x="4064" y="3327"/>
                        <a:pt x="4065" y="3340"/>
                        <a:pt x="4067" y="3346"/>
                      </a:cubicBezTo>
                      <a:cubicBezTo>
                        <a:pt x="4069" y="3351"/>
                        <a:pt x="4074" y="3355"/>
                        <a:pt x="4076" y="3358"/>
                      </a:cubicBezTo>
                      <a:cubicBezTo>
                        <a:pt x="4077" y="3360"/>
                        <a:pt x="4081" y="3355"/>
                        <a:pt x="4082" y="3359"/>
                      </a:cubicBezTo>
                      <a:cubicBezTo>
                        <a:pt x="4084" y="3363"/>
                        <a:pt x="4079" y="3366"/>
                        <a:pt x="4078" y="3369"/>
                      </a:cubicBezTo>
                      <a:cubicBezTo>
                        <a:pt x="4073" y="3382"/>
                        <a:pt x="4070" y="3379"/>
                        <a:pt x="4064" y="3388"/>
                      </a:cubicBezTo>
                      <a:cubicBezTo>
                        <a:pt x="4057" y="3398"/>
                        <a:pt x="4064" y="3402"/>
                        <a:pt x="4048" y="3403"/>
                      </a:cubicBezTo>
                      <a:cubicBezTo>
                        <a:pt x="4052" y="3407"/>
                        <a:pt x="4060" y="3415"/>
                        <a:pt x="4063" y="3418"/>
                      </a:cubicBezTo>
                      <a:cubicBezTo>
                        <a:pt x="4072" y="3433"/>
                        <a:pt x="4060" y="3429"/>
                        <a:pt x="4058" y="3440"/>
                      </a:cubicBezTo>
                      <a:cubicBezTo>
                        <a:pt x="4054" y="3456"/>
                        <a:pt x="4070" y="3468"/>
                        <a:pt x="4080" y="3477"/>
                      </a:cubicBezTo>
                      <a:cubicBezTo>
                        <a:pt x="4088" y="3485"/>
                        <a:pt x="4091" y="3487"/>
                        <a:pt x="4101" y="3490"/>
                      </a:cubicBezTo>
                      <a:cubicBezTo>
                        <a:pt x="4112" y="3492"/>
                        <a:pt x="4113" y="3492"/>
                        <a:pt x="4117" y="3503"/>
                      </a:cubicBezTo>
                      <a:cubicBezTo>
                        <a:pt x="4121" y="3512"/>
                        <a:pt x="4117" y="3514"/>
                        <a:pt x="4116" y="3522"/>
                      </a:cubicBezTo>
                      <a:cubicBezTo>
                        <a:pt x="4116" y="3525"/>
                        <a:pt x="4116" y="3527"/>
                        <a:pt x="4116" y="3531"/>
                      </a:cubicBezTo>
                      <a:cubicBezTo>
                        <a:pt x="4117" y="3534"/>
                        <a:pt x="4121" y="3536"/>
                        <a:pt x="4121" y="3540"/>
                      </a:cubicBezTo>
                      <a:cubicBezTo>
                        <a:pt x="4122" y="3552"/>
                        <a:pt x="4114" y="3551"/>
                        <a:pt x="4125" y="3560"/>
                      </a:cubicBezTo>
                      <a:cubicBezTo>
                        <a:pt x="4135" y="3568"/>
                        <a:pt x="4138" y="3569"/>
                        <a:pt x="4141" y="3583"/>
                      </a:cubicBezTo>
                      <a:cubicBezTo>
                        <a:pt x="4143" y="3588"/>
                        <a:pt x="4144" y="3588"/>
                        <a:pt x="4144" y="3594"/>
                      </a:cubicBezTo>
                      <a:cubicBezTo>
                        <a:pt x="4144" y="3599"/>
                        <a:pt x="4140" y="3604"/>
                        <a:pt x="4141" y="3609"/>
                      </a:cubicBezTo>
                      <a:cubicBezTo>
                        <a:pt x="4143" y="3618"/>
                        <a:pt x="4149" y="3618"/>
                        <a:pt x="4153" y="3625"/>
                      </a:cubicBezTo>
                      <a:cubicBezTo>
                        <a:pt x="4155" y="3630"/>
                        <a:pt x="4153" y="3636"/>
                        <a:pt x="4156" y="3640"/>
                      </a:cubicBezTo>
                      <a:cubicBezTo>
                        <a:pt x="4158" y="3645"/>
                        <a:pt x="4164" y="3645"/>
                        <a:pt x="4167" y="3649"/>
                      </a:cubicBezTo>
                      <a:cubicBezTo>
                        <a:pt x="4172" y="3655"/>
                        <a:pt x="4172" y="3665"/>
                        <a:pt x="4177" y="3672"/>
                      </a:cubicBezTo>
                      <a:cubicBezTo>
                        <a:pt x="4180" y="3675"/>
                        <a:pt x="4184" y="3676"/>
                        <a:pt x="4185" y="3680"/>
                      </a:cubicBezTo>
                      <a:cubicBezTo>
                        <a:pt x="4187" y="3686"/>
                        <a:pt x="4183" y="3694"/>
                        <a:pt x="4184" y="3701"/>
                      </a:cubicBezTo>
                      <a:cubicBezTo>
                        <a:pt x="4185" y="3708"/>
                        <a:pt x="4194" y="3724"/>
                        <a:pt x="4199" y="3728"/>
                      </a:cubicBezTo>
                      <a:cubicBezTo>
                        <a:pt x="4207" y="3734"/>
                        <a:pt x="4217" y="3727"/>
                        <a:pt x="4209" y="3743"/>
                      </a:cubicBezTo>
                      <a:cubicBezTo>
                        <a:pt x="4206" y="3747"/>
                        <a:pt x="4200" y="3754"/>
                        <a:pt x="4193" y="3753"/>
                      </a:cubicBezTo>
                      <a:cubicBezTo>
                        <a:pt x="4185" y="3752"/>
                        <a:pt x="4191" y="3753"/>
                        <a:pt x="4186" y="3747"/>
                      </a:cubicBezTo>
                      <a:cubicBezTo>
                        <a:pt x="4182" y="3742"/>
                        <a:pt x="4179" y="3728"/>
                        <a:pt x="4171" y="3733"/>
                      </a:cubicBezTo>
                      <a:cubicBezTo>
                        <a:pt x="4171" y="3733"/>
                        <a:pt x="4173" y="3742"/>
                        <a:pt x="4172" y="3744"/>
                      </a:cubicBezTo>
                      <a:cubicBezTo>
                        <a:pt x="4167" y="3751"/>
                        <a:pt x="4163" y="3746"/>
                        <a:pt x="4157" y="3749"/>
                      </a:cubicBezTo>
                      <a:cubicBezTo>
                        <a:pt x="4139" y="3758"/>
                        <a:pt x="4133" y="3769"/>
                        <a:pt x="4130" y="3787"/>
                      </a:cubicBezTo>
                      <a:cubicBezTo>
                        <a:pt x="4128" y="3805"/>
                        <a:pt x="4134" y="3799"/>
                        <a:pt x="4138" y="3812"/>
                      </a:cubicBezTo>
                      <a:cubicBezTo>
                        <a:pt x="4142" y="3824"/>
                        <a:pt x="4132" y="3821"/>
                        <a:pt x="4127" y="3830"/>
                      </a:cubicBezTo>
                      <a:cubicBezTo>
                        <a:pt x="4123" y="3838"/>
                        <a:pt x="4127" y="3853"/>
                        <a:pt x="4121" y="3861"/>
                      </a:cubicBezTo>
                      <a:cubicBezTo>
                        <a:pt x="4119" y="3863"/>
                        <a:pt x="4112" y="3865"/>
                        <a:pt x="4109" y="3867"/>
                      </a:cubicBezTo>
                      <a:cubicBezTo>
                        <a:pt x="4108" y="3868"/>
                        <a:pt x="4109" y="3871"/>
                        <a:pt x="4107" y="3872"/>
                      </a:cubicBezTo>
                      <a:cubicBezTo>
                        <a:pt x="4102" y="3876"/>
                        <a:pt x="4098" y="3877"/>
                        <a:pt x="4094" y="3882"/>
                      </a:cubicBezTo>
                      <a:cubicBezTo>
                        <a:pt x="4083" y="3893"/>
                        <a:pt x="4088" y="3909"/>
                        <a:pt x="4071" y="3912"/>
                      </a:cubicBezTo>
                      <a:cubicBezTo>
                        <a:pt x="4067" y="3913"/>
                        <a:pt x="4066" y="3908"/>
                        <a:pt x="4062" y="3908"/>
                      </a:cubicBezTo>
                      <a:cubicBezTo>
                        <a:pt x="4058" y="3909"/>
                        <a:pt x="4051" y="3912"/>
                        <a:pt x="4047" y="3914"/>
                      </a:cubicBezTo>
                      <a:cubicBezTo>
                        <a:pt x="4044" y="3915"/>
                        <a:pt x="4035" y="3919"/>
                        <a:pt x="4031" y="3919"/>
                      </a:cubicBezTo>
                      <a:cubicBezTo>
                        <a:pt x="4026" y="3919"/>
                        <a:pt x="4025" y="3912"/>
                        <a:pt x="4020" y="3914"/>
                      </a:cubicBezTo>
                      <a:cubicBezTo>
                        <a:pt x="4017" y="3914"/>
                        <a:pt x="4015" y="3922"/>
                        <a:pt x="4012" y="3923"/>
                      </a:cubicBezTo>
                      <a:cubicBezTo>
                        <a:pt x="4011" y="3924"/>
                        <a:pt x="4002" y="3925"/>
                        <a:pt x="4000" y="3925"/>
                      </a:cubicBezTo>
                      <a:cubicBezTo>
                        <a:pt x="3994" y="3925"/>
                        <a:pt x="3996" y="3926"/>
                        <a:pt x="3989" y="3924"/>
                      </a:cubicBezTo>
                      <a:cubicBezTo>
                        <a:pt x="3986" y="3923"/>
                        <a:pt x="3985" y="3919"/>
                        <a:pt x="3981" y="3918"/>
                      </a:cubicBezTo>
                      <a:cubicBezTo>
                        <a:pt x="3978" y="3917"/>
                        <a:pt x="3976" y="3921"/>
                        <a:pt x="3973" y="3920"/>
                      </a:cubicBezTo>
                      <a:cubicBezTo>
                        <a:pt x="3967" y="3919"/>
                        <a:pt x="3960" y="3914"/>
                        <a:pt x="3953" y="3916"/>
                      </a:cubicBezTo>
                      <a:cubicBezTo>
                        <a:pt x="3948" y="3917"/>
                        <a:pt x="3937" y="3931"/>
                        <a:pt x="3934" y="3936"/>
                      </a:cubicBezTo>
                      <a:cubicBezTo>
                        <a:pt x="3933" y="3939"/>
                        <a:pt x="3935" y="3943"/>
                        <a:pt x="3934" y="3947"/>
                      </a:cubicBezTo>
                      <a:cubicBezTo>
                        <a:pt x="3932" y="3955"/>
                        <a:pt x="3926" y="3962"/>
                        <a:pt x="3924" y="3971"/>
                      </a:cubicBezTo>
                      <a:cubicBezTo>
                        <a:pt x="3923" y="3980"/>
                        <a:pt x="3925" y="3990"/>
                        <a:pt x="3924" y="3999"/>
                      </a:cubicBezTo>
                      <a:cubicBezTo>
                        <a:pt x="3924" y="4008"/>
                        <a:pt x="3926" y="4017"/>
                        <a:pt x="3926" y="4024"/>
                      </a:cubicBezTo>
                      <a:cubicBezTo>
                        <a:pt x="3927" y="4028"/>
                        <a:pt x="3931" y="4041"/>
                        <a:pt x="3929" y="4045"/>
                      </a:cubicBezTo>
                      <a:cubicBezTo>
                        <a:pt x="3924" y="4058"/>
                        <a:pt x="3918" y="4052"/>
                        <a:pt x="3909" y="4052"/>
                      </a:cubicBezTo>
                      <a:cubicBezTo>
                        <a:pt x="3893" y="4053"/>
                        <a:pt x="3891" y="4067"/>
                        <a:pt x="3878" y="4065"/>
                      </a:cubicBezTo>
                      <a:cubicBezTo>
                        <a:pt x="3867" y="4063"/>
                        <a:pt x="3875" y="4054"/>
                        <a:pt x="3865" y="4054"/>
                      </a:cubicBezTo>
                      <a:cubicBezTo>
                        <a:pt x="3861" y="4053"/>
                        <a:pt x="3849" y="4066"/>
                        <a:pt x="3845" y="4070"/>
                      </a:cubicBezTo>
                      <a:cubicBezTo>
                        <a:pt x="3843" y="4072"/>
                        <a:pt x="3847" y="4078"/>
                        <a:pt x="3845" y="4079"/>
                      </a:cubicBezTo>
                      <a:cubicBezTo>
                        <a:pt x="3843" y="4082"/>
                        <a:pt x="3833" y="4079"/>
                        <a:pt x="3830" y="4079"/>
                      </a:cubicBezTo>
                      <a:cubicBezTo>
                        <a:pt x="3827" y="4079"/>
                        <a:pt x="3826" y="4075"/>
                        <a:pt x="3822" y="4076"/>
                      </a:cubicBezTo>
                      <a:cubicBezTo>
                        <a:pt x="3814" y="4076"/>
                        <a:pt x="3808" y="4081"/>
                        <a:pt x="3799" y="4080"/>
                      </a:cubicBezTo>
                      <a:cubicBezTo>
                        <a:pt x="3783" y="4079"/>
                        <a:pt x="3772" y="4079"/>
                        <a:pt x="3759" y="4090"/>
                      </a:cubicBezTo>
                      <a:cubicBezTo>
                        <a:pt x="3747" y="4100"/>
                        <a:pt x="3740" y="4109"/>
                        <a:pt x="3726" y="4103"/>
                      </a:cubicBezTo>
                      <a:cubicBezTo>
                        <a:pt x="3722" y="4101"/>
                        <a:pt x="3725" y="4096"/>
                        <a:pt x="3719" y="4095"/>
                      </a:cubicBezTo>
                      <a:cubicBezTo>
                        <a:pt x="3714" y="4095"/>
                        <a:pt x="3709" y="4100"/>
                        <a:pt x="3706" y="4104"/>
                      </a:cubicBezTo>
                      <a:cubicBezTo>
                        <a:pt x="3701" y="4111"/>
                        <a:pt x="3701" y="4120"/>
                        <a:pt x="3693" y="4127"/>
                      </a:cubicBezTo>
                      <a:cubicBezTo>
                        <a:pt x="3691" y="4129"/>
                        <a:pt x="3685" y="4127"/>
                        <a:pt x="3684" y="4128"/>
                      </a:cubicBezTo>
                      <a:cubicBezTo>
                        <a:pt x="3682" y="4130"/>
                        <a:pt x="3684" y="4136"/>
                        <a:pt x="3682" y="4139"/>
                      </a:cubicBezTo>
                      <a:cubicBezTo>
                        <a:pt x="3680" y="4141"/>
                        <a:pt x="3675" y="4138"/>
                        <a:pt x="3673" y="4140"/>
                      </a:cubicBezTo>
                      <a:cubicBezTo>
                        <a:pt x="3672" y="4142"/>
                        <a:pt x="3673" y="4145"/>
                        <a:pt x="3672" y="4147"/>
                      </a:cubicBezTo>
                      <a:cubicBezTo>
                        <a:pt x="3667" y="4155"/>
                        <a:pt x="3669" y="4162"/>
                        <a:pt x="3665" y="4170"/>
                      </a:cubicBezTo>
                      <a:cubicBezTo>
                        <a:pt x="3664" y="4172"/>
                        <a:pt x="3665" y="4175"/>
                        <a:pt x="3663" y="4177"/>
                      </a:cubicBezTo>
                      <a:cubicBezTo>
                        <a:pt x="3662" y="4179"/>
                        <a:pt x="3655" y="4177"/>
                        <a:pt x="3655" y="4177"/>
                      </a:cubicBezTo>
                      <a:cubicBezTo>
                        <a:pt x="3652" y="4183"/>
                        <a:pt x="3654" y="4177"/>
                        <a:pt x="3654" y="4184"/>
                      </a:cubicBezTo>
                      <a:cubicBezTo>
                        <a:pt x="3654" y="4180"/>
                        <a:pt x="3660" y="4199"/>
                        <a:pt x="3658" y="4196"/>
                      </a:cubicBezTo>
                      <a:cubicBezTo>
                        <a:pt x="3658" y="4196"/>
                        <a:pt x="3657" y="4199"/>
                        <a:pt x="3658" y="4200"/>
                      </a:cubicBezTo>
                      <a:cubicBezTo>
                        <a:pt x="3659" y="4203"/>
                        <a:pt x="3664" y="4203"/>
                        <a:pt x="3665" y="4205"/>
                      </a:cubicBezTo>
                      <a:cubicBezTo>
                        <a:pt x="3665" y="4205"/>
                        <a:pt x="3673" y="4233"/>
                        <a:pt x="3671" y="4235"/>
                      </a:cubicBezTo>
                      <a:cubicBezTo>
                        <a:pt x="3666" y="4245"/>
                        <a:pt x="3651" y="4232"/>
                        <a:pt x="3646" y="4246"/>
                      </a:cubicBezTo>
                      <a:cubicBezTo>
                        <a:pt x="3645" y="4249"/>
                        <a:pt x="3646" y="4264"/>
                        <a:pt x="3647" y="4267"/>
                      </a:cubicBezTo>
                      <a:cubicBezTo>
                        <a:pt x="3649" y="4272"/>
                        <a:pt x="3652" y="4271"/>
                        <a:pt x="3654" y="4275"/>
                      </a:cubicBezTo>
                      <a:cubicBezTo>
                        <a:pt x="3658" y="4282"/>
                        <a:pt x="3665" y="4298"/>
                        <a:pt x="3665" y="4303"/>
                      </a:cubicBezTo>
                      <a:cubicBezTo>
                        <a:pt x="3666" y="4312"/>
                        <a:pt x="3659" y="4323"/>
                        <a:pt x="3659" y="4335"/>
                      </a:cubicBezTo>
                      <a:cubicBezTo>
                        <a:pt x="3658" y="4339"/>
                        <a:pt x="3657" y="4343"/>
                        <a:pt x="3658" y="4347"/>
                      </a:cubicBezTo>
                      <a:cubicBezTo>
                        <a:pt x="3659" y="4351"/>
                        <a:pt x="3669" y="4347"/>
                        <a:pt x="3666" y="4354"/>
                      </a:cubicBezTo>
                      <a:cubicBezTo>
                        <a:pt x="3662" y="4361"/>
                        <a:pt x="3637" y="4352"/>
                        <a:pt x="3633" y="4364"/>
                      </a:cubicBezTo>
                      <a:cubicBezTo>
                        <a:pt x="3632" y="4365"/>
                        <a:pt x="3641" y="4379"/>
                        <a:pt x="3645" y="4383"/>
                      </a:cubicBezTo>
                      <a:cubicBezTo>
                        <a:pt x="3649" y="4390"/>
                        <a:pt x="3654" y="4395"/>
                        <a:pt x="3657" y="4402"/>
                      </a:cubicBezTo>
                      <a:cubicBezTo>
                        <a:pt x="3660" y="4406"/>
                        <a:pt x="3662" y="4412"/>
                        <a:pt x="3663" y="4416"/>
                      </a:cubicBezTo>
                      <a:cubicBezTo>
                        <a:pt x="3664" y="4429"/>
                        <a:pt x="3663" y="4419"/>
                        <a:pt x="3659" y="4425"/>
                      </a:cubicBezTo>
                      <a:cubicBezTo>
                        <a:pt x="3659" y="4425"/>
                        <a:pt x="3655" y="4423"/>
                        <a:pt x="3654" y="4424"/>
                      </a:cubicBezTo>
                      <a:cubicBezTo>
                        <a:pt x="3652" y="4426"/>
                        <a:pt x="3653" y="4429"/>
                        <a:pt x="3652" y="4432"/>
                      </a:cubicBezTo>
                      <a:cubicBezTo>
                        <a:pt x="3650" y="4436"/>
                        <a:pt x="3649" y="4442"/>
                        <a:pt x="3649" y="4445"/>
                      </a:cubicBezTo>
                      <a:cubicBezTo>
                        <a:pt x="3650" y="4450"/>
                        <a:pt x="3657" y="4464"/>
                        <a:pt x="3660" y="4466"/>
                      </a:cubicBezTo>
                      <a:cubicBezTo>
                        <a:pt x="3664" y="4468"/>
                        <a:pt x="3674" y="4463"/>
                        <a:pt x="3676" y="4469"/>
                      </a:cubicBezTo>
                      <a:cubicBezTo>
                        <a:pt x="3677" y="4471"/>
                        <a:pt x="3674" y="4481"/>
                        <a:pt x="3673" y="4482"/>
                      </a:cubicBezTo>
                      <a:cubicBezTo>
                        <a:pt x="3668" y="4486"/>
                        <a:pt x="3654" y="4478"/>
                        <a:pt x="3648" y="4475"/>
                      </a:cubicBezTo>
                      <a:cubicBezTo>
                        <a:pt x="3636" y="4470"/>
                        <a:pt x="3630" y="4471"/>
                        <a:pt x="3619" y="4469"/>
                      </a:cubicBezTo>
                      <a:cubicBezTo>
                        <a:pt x="3614" y="4469"/>
                        <a:pt x="3615" y="4466"/>
                        <a:pt x="3609" y="4466"/>
                      </a:cubicBezTo>
                      <a:cubicBezTo>
                        <a:pt x="3607" y="4466"/>
                        <a:pt x="3595" y="4470"/>
                        <a:pt x="3593" y="4471"/>
                      </a:cubicBezTo>
                      <a:cubicBezTo>
                        <a:pt x="3581" y="4479"/>
                        <a:pt x="3586" y="4478"/>
                        <a:pt x="3593" y="4485"/>
                      </a:cubicBezTo>
                      <a:cubicBezTo>
                        <a:pt x="3595" y="4487"/>
                        <a:pt x="3599" y="4492"/>
                        <a:pt x="3601" y="4493"/>
                      </a:cubicBezTo>
                      <a:cubicBezTo>
                        <a:pt x="3606" y="4495"/>
                        <a:pt x="3612" y="4493"/>
                        <a:pt x="3616" y="4497"/>
                      </a:cubicBezTo>
                      <a:cubicBezTo>
                        <a:pt x="3625" y="4504"/>
                        <a:pt x="3616" y="4507"/>
                        <a:pt x="3624" y="4514"/>
                      </a:cubicBezTo>
                      <a:cubicBezTo>
                        <a:pt x="3634" y="4524"/>
                        <a:pt x="3648" y="4516"/>
                        <a:pt x="3653" y="4526"/>
                      </a:cubicBezTo>
                      <a:cubicBezTo>
                        <a:pt x="3656" y="4531"/>
                        <a:pt x="3649" y="4538"/>
                        <a:pt x="3654" y="4542"/>
                      </a:cubicBezTo>
                      <a:cubicBezTo>
                        <a:pt x="3654" y="4542"/>
                        <a:pt x="3663" y="4541"/>
                        <a:pt x="3665" y="4541"/>
                      </a:cubicBezTo>
                      <a:cubicBezTo>
                        <a:pt x="3672" y="4543"/>
                        <a:pt x="3681" y="4549"/>
                        <a:pt x="3687" y="4553"/>
                      </a:cubicBezTo>
                      <a:cubicBezTo>
                        <a:pt x="3694" y="4558"/>
                        <a:pt x="3708" y="4564"/>
                        <a:pt x="3707" y="4575"/>
                      </a:cubicBezTo>
                      <a:cubicBezTo>
                        <a:pt x="3707" y="4579"/>
                        <a:pt x="3702" y="4581"/>
                        <a:pt x="3701" y="4585"/>
                      </a:cubicBezTo>
                      <a:cubicBezTo>
                        <a:pt x="3700" y="4589"/>
                        <a:pt x="3708" y="4591"/>
                        <a:pt x="3705" y="4595"/>
                      </a:cubicBezTo>
                      <a:cubicBezTo>
                        <a:pt x="3704" y="4596"/>
                        <a:pt x="3693" y="4596"/>
                        <a:pt x="3690" y="4599"/>
                      </a:cubicBezTo>
                      <a:cubicBezTo>
                        <a:pt x="3686" y="4602"/>
                        <a:pt x="3685" y="4607"/>
                        <a:pt x="3682" y="4611"/>
                      </a:cubicBezTo>
                      <a:cubicBezTo>
                        <a:pt x="3680" y="4614"/>
                        <a:pt x="3675" y="4609"/>
                        <a:pt x="3674" y="4616"/>
                      </a:cubicBezTo>
                      <a:cubicBezTo>
                        <a:pt x="3674" y="4623"/>
                        <a:pt x="3682" y="4618"/>
                        <a:pt x="3684" y="4622"/>
                      </a:cubicBezTo>
                      <a:cubicBezTo>
                        <a:pt x="3687" y="4632"/>
                        <a:pt x="3675" y="4642"/>
                        <a:pt x="3675" y="4653"/>
                      </a:cubicBezTo>
                      <a:cubicBezTo>
                        <a:pt x="3675" y="4664"/>
                        <a:pt x="3690" y="4676"/>
                        <a:pt x="3690" y="4684"/>
                      </a:cubicBezTo>
                      <a:cubicBezTo>
                        <a:pt x="3689" y="4689"/>
                        <a:pt x="3682" y="4689"/>
                        <a:pt x="3682" y="4690"/>
                      </a:cubicBezTo>
                      <a:cubicBezTo>
                        <a:pt x="3682" y="4689"/>
                        <a:pt x="3681" y="4703"/>
                        <a:pt x="3683" y="4701"/>
                      </a:cubicBezTo>
                      <a:cubicBezTo>
                        <a:pt x="3681" y="4703"/>
                        <a:pt x="3664" y="4708"/>
                        <a:pt x="3660" y="4707"/>
                      </a:cubicBezTo>
                      <a:cubicBezTo>
                        <a:pt x="3653" y="4706"/>
                        <a:pt x="3651" y="4694"/>
                        <a:pt x="3645" y="4703"/>
                      </a:cubicBezTo>
                      <a:cubicBezTo>
                        <a:pt x="3639" y="4710"/>
                        <a:pt x="3652" y="4724"/>
                        <a:pt x="3635" y="4725"/>
                      </a:cubicBezTo>
                      <a:cubicBezTo>
                        <a:pt x="3638" y="4728"/>
                        <a:pt x="3648" y="4739"/>
                        <a:pt x="3651" y="4741"/>
                      </a:cubicBezTo>
                      <a:cubicBezTo>
                        <a:pt x="3664" y="4748"/>
                        <a:pt x="3652" y="4739"/>
                        <a:pt x="3658" y="4737"/>
                      </a:cubicBezTo>
                      <a:cubicBezTo>
                        <a:pt x="3664" y="4735"/>
                        <a:pt x="3663" y="4736"/>
                        <a:pt x="3668" y="4737"/>
                      </a:cubicBezTo>
                      <a:cubicBezTo>
                        <a:pt x="3667" y="4737"/>
                        <a:pt x="3672" y="4740"/>
                        <a:pt x="3672" y="4740"/>
                      </a:cubicBezTo>
                      <a:cubicBezTo>
                        <a:pt x="3678" y="4742"/>
                        <a:pt x="3686" y="4740"/>
                        <a:pt x="3692" y="4743"/>
                      </a:cubicBezTo>
                      <a:cubicBezTo>
                        <a:pt x="3701" y="4747"/>
                        <a:pt x="3694" y="4752"/>
                        <a:pt x="3706" y="4761"/>
                      </a:cubicBezTo>
                      <a:cubicBezTo>
                        <a:pt x="3713" y="4767"/>
                        <a:pt x="3721" y="4768"/>
                        <a:pt x="3727" y="4771"/>
                      </a:cubicBezTo>
                      <a:cubicBezTo>
                        <a:pt x="3732" y="4774"/>
                        <a:pt x="3735" y="4780"/>
                        <a:pt x="3739" y="4782"/>
                      </a:cubicBezTo>
                      <a:cubicBezTo>
                        <a:pt x="3743" y="4784"/>
                        <a:pt x="3750" y="4785"/>
                        <a:pt x="3753" y="4787"/>
                      </a:cubicBezTo>
                      <a:cubicBezTo>
                        <a:pt x="3758" y="4790"/>
                        <a:pt x="3768" y="4799"/>
                        <a:pt x="3770" y="4806"/>
                      </a:cubicBezTo>
                      <a:cubicBezTo>
                        <a:pt x="3775" y="4817"/>
                        <a:pt x="3768" y="4819"/>
                        <a:pt x="3768" y="4831"/>
                      </a:cubicBezTo>
                      <a:cubicBezTo>
                        <a:pt x="3768" y="4833"/>
                        <a:pt x="3765" y="4834"/>
                        <a:pt x="3765" y="4837"/>
                      </a:cubicBezTo>
                      <a:cubicBezTo>
                        <a:pt x="3765" y="4839"/>
                        <a:pt x="3770" y="4838"/>
                        <a:pt x="3771" y="4841"/>
                      </a:cubicBezTo>
                      <a:cubicBezTo>
                        <a:pt x="3771" y="4845"/>
                        <a:pt x="3772" y="4851"/>
                        <a:pt x="3773" y="4855"/>
                      </a:cubicBezTo>
                      <a:cubicBezTo>
                        <a:pt x="3775" y="4866"/>
                        <a:pt x="3778" y="4869"/>
                        <a:pt x="3783" y="4877"/>
                      </a:cubicBezTo>
                      <a:cubicBezTo>
                        <a:pt x="3784" y="4880"/>
                        <a:pt x="3788" y="4878"/>
                        <a:pt x="3789" y="4883"/>
                      </a:cubicBezTo>
                      <a:cubicBezTo>
                        <a:pt x="3789" y="4887"/>
                        <a:pt x="3784" y="4882"/>
                        <a:pt x="3784" y="4882"/>
                      </a:cubicBezTo>
                      <a:cubicBezTo>
                        <a:pt x="3774" y="4894"/>
                        <a:pt x="3782" y="4885"/>
                        <a:pt x="3775" y="4881"/>
                      </a:cubicBezTo>
                      <a:cubicBezTo>
                        <a:pt x="3775" y="4881"/>
                        <a:pt x="3774" y="4878"/>
                        <a:pt x="3774" y="4877"/>
                      </a:cubicBezTo>
                      <a:cubicBezTo>
                        <a:pt x="3772" y="4875"/>
                        <a:pt x="3769" y="4879"/>
                        <a:pt x="3769" y="4879"/>
                      </a:cubicBezTo>
                      <a:cubicBezTo>
                        <a:pt x="3766" y="4877"/>
                        <a:pt x="3762" y="4870"/>
                        <a:pt x="3758" y="4870"/>
                      </a:cubicBezTo>
                      <a:cubicBezTo>
                        <a:pt x="3745" y="4872"/>
                        <a:pt x="3748" y="4890"/>
                        <a:pt x="3750" y="4897"/>
                      </a:cubicBezTo>
                      <a:cubicBezTo>
                        <a:pt x="3751" y="4901"/>
                        <a:pt x="3760" y="4901"/>
                        <a:pt x="3755" y="4908"/>
                      </a:cubicBezTo>
                      <a:cubicBezTo>
                        <a:pt x="3749" y="4917"/>
                        <a:pt x="3747" y="4902"/>
                        <a:pt x="3745" y="4901"/>
                      </a:cubicBezTo>
                      <a:cubicBezTo>
                        <a:pt x="3733" y="4893"/>
                        <a:pt x="3725" y="4896"/>
                        <a:pt x="3721" y="4913"/>
                      </a:cubicBezTo>
                      <a:cubicBezTo>
                        <a:pt x="3717" y="4934"/>
                        <a:pt x="3726" y="4942"/>
                        <a:pt x="3734" y="4958"/>
                      </a:cubicBezTo>
                      <a:cubicBezTo>
                        <a:pt x="3743" y="4977"/>
                        <a:pt x="3729" y="4983"/>
                        <a:pt x="3729" y="5000"/>
                      </a:cubicBezTo>
                      <a:cubicBezTo>
                        <a:pt x="3729" y="5009"/>
                        <a:pt x="3736" y="5018"/>
                        <a:pt x="3737" y="5028"/>
                      </a:cubicBezTo>
                      <a:cubicBezTo>
                        <a:pt x="3738" y="5036"/>
                        <a:pt x="3742" y="5045"/>
                        <a:pt x="3743" y="5053"/>
                      </a:cubicBezTo>
                      <a:cubicBezTo>
                        <a:pt x="3744" y="5062"/>
                        <a:pt x="3739" y="5063"/>
                        <a:pt x="3743" y="5074"/>
                      </a:cubicBezTo>
                      <a:cubicBezTo>
                        <a:pt x="3747" y="5085"/>
                        <a:pt x="3772" y="5098"/>
                        <a:pt x="3769" y="5112"/>
                      </a:cubicBezTo>
                      <a:cubicBezTo>
                        <a:pt x="3766" y="5122"/>
                        <a:pt x="3751" y="5115"/>
                        <a:pt x="3742" y="5115"/>
                      </a:cubicBezTo>
                      <a:cubicBezTo>
                        <a:pt x="3731" y="5116"/>
                        <a:pt x="3724" y="5123"/>
                        <a:pt x="3715" y="5128"/>
                      </a:cubicBezTo>
                      <a:cubicBezTo>
                        <a:pt x="3699" y="5137"/>
                        <a:pt x="3680" y="5145"/>
                        <a:pt x="3664" y="5153"/>
                      </a:cubicBezTo>
                      <a:cubicBezTo>
                        <a:pt x="3663" y="5154"/>
                        <a:pt x="3653" y="5160"/>
                        <a:pt x="3651" y="5160"/>
                      </a:cubicBezTo>
                      <a:cubicBezTo>
                        <a:pt x="3642" y="5161"/>
                        <a:pt x="3638" y="5154"/>
                        <a:pt x="3629" y="5157"/>
                      </a:cubicBezTo>
                      <a:cubicBezTo>
                        <a:pt x="3627" y="5157"/>
                        <a:pt x="3629" y="5163"/>
                        <a:pt x="3626" y="5164"/>
                      </a:cubicBezTo>
                      <a:cubicBezTo>
                        <a:pt x="3623" y="5165"/>
                        <a:pt x="3621" y="5163"/>
                        <a:pt x="3619" y="5163"/>
                      </a:cubicBezTo>
                      <a:cubicBezTo>
                        <a:pt x="3613" y="5165"/>
                        <a:pt x="3603" y="5163"/>
                        <a:pt x="3596" y="5167"/>
                      </a:cubicBezTo>
                      <a:cubicBezTo>
                        <a:pt x="3581" y="5176"/>
                        <a:pt x="3578" y="5186"/>
                        <a:pt x="3564" y="5194"/>
                      </a:cubicBezTo>
                      <a:cubicBezTo>
                        <a:pt x="3550" y="5201"/>
                        <a:pt x="3523" y="5213"/>
                        <a:pt x="3532" y="5228"/>
                      </a:cubicBezTo>
                      <a:cubicBezTo>
                        <a:pt x="3538" y="5237"/>
                        <a:pt x="3551" y="5242"/>
                        <a:pt x="3546" y="5258"/>
                      </a:cubicBezTo>
                      <a:cubicBezTo>
                        <a:pt x="3544" y="5265"/>
                        <a:pt x="3538" y="5267"/>
                        <a:pt x="3532" y="5270"/>
                      </a:cubicBezTo>
                      <a:cubicBezTo>
                        <a:pt x="3529" y="5271"/>
                        <a:pt x="3524" y="5272"/>
                        <a:pt x="3520" y="5273"/>
                      </a:cubicBezTo>
                      <a:cubicBezTo>
                        <a:pt x="3519" y="5273"/>
                        <a:pt x="3513" y="5276"/>
                        <a:pt x="3512" y="5276"/>
                      </a:cubicBezTo>
                      <a:cubicBezTo>
                        <a:pt x="3509" y="5277"/>
                        <a:pt x="3504" y="5277"/>
                        <a:pt x="3500" y="5277"/>
                      </a:cubicBezTo>
                      <a:cubicBezTo>
                        <a:pt x="3495" y="5276"/>
                        <a:pt x="3500" y="5270"/>
                        <a:pt x="3493" y="5270"/>
                      </a:cubicBezTo>
                      <a:cubicBezTo>
                        <a:pt x="3486" y="5270"/>
                        <a:pt x="3478" y="5281"/>
                        <a:pt x="3469" y="5279"/>
                      </a:cubicBezTo>
                      <a:cubicBezTo>
                        <a:pt x="3464" y="5278"/>
                        <a:pt x="3461" y="5271"/>
                        <a:pt x="3456" y="5269"/>
                      </a:cubicBezTo>
                      <a:cubicBezTo>
                        <a:pt x="3442" y="5262"/>
                        <a:pt x="3429" y="5254"/>
                        <a:pt x="3415" y="5262"/>
                      </a:cubicBezTo>
                      <a:cubicBezTo>
                        <a:pt x="3405" y="5268"/>
                        <a:pt x="3383" y="5289"/>
                        <a:pt x="3370" y="5286"/>
                      </a:cubicBezTo>
                      <a:cubicBezTo>
                        <a:pt x="3364" y="5284"/>
                        <a:pt x="3358" y="5267"/>
                        <a:pt x="3346" y="5281"/>
                      </a:cubicBezTo>
                      <a:cubicBezTo>
                        <a:pt x="3339" y="5290"/>
                        <a:pt x="3348" y="5300"/>
                        <a:pt x="3344" y="5309"/>
                      </a:cubicBezTo>
                      <a:cubicBezTo>
                        <a:pt x="3339" y="5322"/>
                        <a:pt x="3328" y="5320"/>
                        <a:pt x="3317" y="5315"/>
                      </a:cubicBezTo>
                      <a:cubicBezTo>
                        <a:pt x="3312" y="5313"/>
                        <a:pt x="3309" y="5307"/>
                        <a:pt x="3306" y="5305"/>
                      </a:cubicBezTo>
                      <a:cubicBezTo>
                        <a:pt x="3299" y="5301"/>
                        <a:pt x="3302" y="5302"/>
                        <a:pt x="3294" y="5302"/>
                      </a:cubicBezTo>
                      <a:cubicBezTo>
                        <a:pt x="3287" y="5302"/>
                        <a:pt x="3285" y="5302"/>
                        <a:pt x="3280" y="5305"/>
                      </a:cubicBezTo>
                      <a:cubicBezTo>
                        <a:pt x="3275" y="5307"/>
                        <a:pt x="3255" y="5310"/>
                        <a:pt x="3253" y="5312"/>
                      </a:cubicBezTo>
                      <a:cubicBezTo>
                        <a:pt x="3246" y="5319"/>
                        <a:pt x="3257" y="5329"/>
                        <a:pt x="3244" y="5339"/>
                      </a:cubicBezTo>
                      <a:cubicBezTo>
                        <a:pt x="3246" y="5337"/>
                        <a:pt x="3227" y="5345"/>
                        <a:pt x="3231" y="5346"/>
                      </a:cubicBezTo>
                      <a:cubicBezTo>
                        <a:pt x="3219" y="5345"/>
                        <a:pt x="3227" y="5335"/>
                        <a:pt x="3219" y="5333"/>
                      </a:cubicBezTo>
                      <a:cubicBezTo>
                        <a:pt x="3203" y="5329"/>
                        <a:pt x="3205" y="5359"/>
                        <a:pt x="3201" y="5365"/>
                      </a:cubicBezTo>
                      <a:cubicBezTo>
                        <a:pt x="3194" y="5373"/>
                        <a:pt x="3175" y="5368"/>
                        <a:pt x="3162" y="5372"/>
                      </a:cubicBezTo>
                      <a:cubicBezTo>
                        <a:pt x="3153" y="5376"/>
                        <a:pt x="3147" y="5384"/>
                        <a:pt x="3142" y="5375"/>
                      </a:cubicBezTo>
                      <a:cubicBezTo>
                        <a:pt x="3139" y="5367"/>
                        <a:pt x="3142" y="5363"/>
                        <a:pt x="3149" y="5365"/>
                      </a:cubicBezTo>
                      <a:cubicBezTo>
                        <a:pt x="3148" y="5360"/>
                        <a:pt x="3134" y="5348"/>
                        <a:pt x="3130" y="5345"/>
                      </a:cubicBezTo>
                      <a:cubicBezTo>
                        <a:pt x="3121" y="5339"/>
                        <a:pt x="3097" y="5336"/>
                        <a:pt x="3087" y="5341"/>
                      </a:cubicBezTo>
                      <a:cubicBezTo>
                        <a:pt x="3070" y="5349"/>
                        <a:pt x="3073" y="5367"/>
                        <a:pt x="3056" y="5362"/>
                      </a:cubicBezTo>
                      <a:cubicBezTo>
                        <a:pt x="3051" y="5360"/>
                        <a:pt x="3047" y="5353"/>
                        <a:pt x="3044" y="5350"/>
                      </a:cubicBezTo>
                      <a:cubicBezTo>
                        <a:pt x="3036" y="5345"/>
                        <a:pt x="3036" y="5343"/>
                        <a:pt x="3023" y="5344"/>
                      </a:cubicBezTo>
                      <a:cubicBezTo>
                        <a:pt x="2995" y="5345"/>
                        <a:pt x="2985" y="5376"/>
                        <a:pt x="2956" y="5368"/>
                      </a:cubicBezTo>
                      <a:cubicBezTo>
                        <a:pt x="2946" y="5366"/>
                        <a:pt x="2939" y="5360"/>
                        <a:pt x="2929" y="5367"/>
                      </a:cubicBezTo>
                      <a:cubicBezTo>
                        <a:pt x="2921" y="5372"/>
                        <a:pt x="2924" y="5379"/>
                        <a:pt x="2913" y="5376"/>
                      </a:cubicBezTo>
                      <a:cubicBezTo>
                        <a:pt x="2903" y="5373"/>
                        <a:pt x="2904" y="5367"/>
                        <a:pt x="2900" y="5359"/>
                      </a:cubicBezTo>
                      <a:cubicBezTo>
                        <a:pt x="2898" y="5355"/>
                        <a:pt x="2895" y="5350"/>
                        <a:pt x="2891" y="5347"/>
                      </a:cubicBezTo>
                      <a:cubicBezTo>
                        <a:pt x="2885" y="5339"/>
                        <a:pt x="2882" y="5341"/>
                        <a:pt x="2875" y="5338"/>
                      </a:cubicBezTo>
                      <a:cubicBezTo>
                        <a:pt x="2864" y="5333"/>
                        <a:pt x="2869" y="5338"/>
                        <a:pt x="2862" y="5330"/>
                      </a:cubicBezTo>
                      <a:cubicBezTo>
                        <a:pt x="2858" y="5325"/>
                        <a:pt x="2856" y="5320"/>
                        <a:pt x="2852" y="5317"/>
                      </a:cubicBezTo>
                      <a:cubicBezTo>
                        <a:pt x="2848" y="5313"/>
                        <a:pt x="2842" y="5311"/>
                        <a:pt x="2837" y="5308"/>
                      </a:cubicBezTo>
                      <a:cubicBezTo>
                        <a:pt x="2829" y="5304"/>
                        <a:pt x="2829" y="5304"/>
                        <a:pt x="2822" y="5299"/>
                      </a:cubicBezTo>
                      <a:cubicBezTo>
                        <a:pt x="2814" y="5292"/>
                        <a:pt x="2809" y="5282"/>
                        <a:pt x="2799" y="5277"/>
                      </a:cubicBezTo>
                      <a:cubicBezTo>
                        <a:pt x="2786" y="5271"/>
                        <a:pt x="2773" y="5278"/>
                        <a:pt x="2761" y="5281"/>
                      </a:cubicBezTo>
                      <a:cubicBezTo>
                        <a:pt x="2747" y="5285"/>
                        <a:pt x="2733" y="5288"/>
                        <a:pt x="2719" y="5289"/>
                      </a:cubicBezTo>
                      <a:cubicBezTo>
                        <a:pt x="2697" y="5290"/>
                        <a:pt x="2686" y="5285"/>
                        <a:pt x="2668" y="5278"/>
                      </a:cubicBezTo>
                      <a:cubicBezTo>
                        <a:pt x="2663" y="5275"/>
                        <a:pt x="2655" y="5272"/>
                        <a:pt x="2650" y="5270"/>
                      </a:cubicBezTo>
                      <a:cubicBezTo>
                        <a:pt x="2645" y="5268"/>
                        <a:pt x="2640" y="5258"/>
                        <a:pt x="2636" y="5273"/>
                      </a:cubicBezTo>
                      <a:cubicBezTo>
                        <a:pt x="2635" y="5275"/>
                        <a:pt x="2639" y="5283"/>
                        <a:pt x="2638" y="5286"/>
                      </a:cubicBezTo>
                      <a:cubicBezTo>
                        <a:pt x="2636" y="5297"/>
                        <a:pt x="2638" y="5289"/>
                        <a:pt x="2628" y="5295"/>
                      </a:cubicBezTo>
                      <a:cubicBezTo>
                        <a:pt x="2623" y="5298"/>
                        <a:pt x="2627" y="5304"/>
                        <a:pt x="2617" y="5302"/>
                      </a:cubicBezTo>
                      <a:cubicBezTo>
                        <a:pt x="2609" y="5301"/>
                        <a:pt x="2614" y="5297"/>
                        <a:pt x="2608" y="5293"/>
                      </a:cubicBezTo>
                      <a:cubicBezTo>
                        <a:pt x="2596" y="5284"/>
                        <a:pt x="2586" y="5279"/>
                        <a:pt x="2570" y="5275"/>
                      </a:cubicBezTo>
                      <a:cubicBezTo>
                        <a:pt x="2550" y="5270"/>
                        <a:pt x="2541" y="5251"/>
                        <a:pt x="2519" y="5259"/>
                      </a:cubicBezTo>
                      <a:cubicBezTo>
                        <a:pt x="2513" y="5261"/>
                        <a:pt x="2509" y="5265"/>
                        <a:pt x="2501" y="5267"/>
                      </a:cubicBezTo>
                      <a:cubicBezTo>
                        <a:pt x="2500" y="5268"/>
                        <a:pt x="2467" y="5278"/>
                        <a:pt x="2466" y="5277"/>
                      </a:cubicBezTo>
                      <a:cubicBezTo>
                        <a:pt x="2460" y="5275"/>
                        <a:pt x="2467" y="5270"/>
                        <a:pt x="2465" y="5266"/>
                      </a:cubicBezTo>
                      <a:cubicBezTo>
                        <a:pt x="2459" y="5256"/>
                        <a:pt x="2455" y="5260"/>
                        <a:pt x="2449" y="5252"/>
                      </a:cubicBezTo>
                      <a:cubicBezTo>
                        <a:pt x="2438" y="5241"/>
                        <a:pt x="2441" y="5228"/>
                        <a:pt x="2422" y="5226"/>
                      </a:cubicBezTo>
                      <a:cubicBezTo>
                        <a:pt x="2405" y="5224"/>
                        <a:pt x="2386" y="5237"/>
                        <a:pt x="2374" y="5233"/>
                      </a:cubicBezTo>
                      <a:cubicBezTo>
                        <a:pt x="2372" y="5233"/>
                        <a:pt x="2370" y="5227"/>
                        <a:pt x="2367" y="5226"/>
                      </a:cubicBezTo>
                      <a:cubicBezTo>
                        <a:pt x="2365" y="5225"/>
                        <a:pt x="2362" y="5228"/>
                        <a:pt x="2361" y="5228"/>
                      </a:cubicBezTo>
                      <a:cubicBezTo>
                        <a:pt x="2352" y="5228"/>
                        <a:pt x="2349" y="5233"/>
                        <a:pt x="2343" y="5235"/>
                      </a:cubicBezTo>
                      <a:cubicBezTo>
                        <a:pt x="2326" y="5240"/>
                        <a:pt x="2316" y="5245"/>
                        <a:pt x="2299" y="5250"/>
                      </a:cubicBezTo>
                      <a:cubicBezTo>
                        <a:pt x="2270" y="5258"/>
                        <a:pt x="2272" y="5281"/>
                        <a:pt x="2250" y="5296"/>
                      </a:cubicBezTo>
                      <a:cubicBezTo>
                        <a:pt x="2234" y="5307"/>
                        <a:pt x="2230" y="5304"/>
                        <a:pt x="2217" y="5293"/>
                      </a:cubicBezTo>
                      <a:cubicBezTo>
                        <a:pt x="2207" y="5284"/>
                        <a:pt x="2213" y="5290"/>
                        <a:pt x="2199" y="5287"/>
                      </a:cubicBezTo>
                      <a:cubicBezTo>
                        <a:pt x="2190" y="5284"/>
                        <a:pt x="2188" y="5282"/>
                        <a:pt x="2184" y="5273"/>
                      </a:cubicBezTo>
                      <a:cubicBezTo>
                        <a:pt x="2180" y="5263"/>
                        <a:pt x="2184" y="5257"/>
                        <a:pt x="2183" y="5248"/>
                      </a:cubicBezTo>
                      <a:cubicBezTo>
                        <a:pt x="2183" y="5235"/>
                        <a:pt x="2182" y="5241"/>
                        <a:pt x="2172" y="5230"/>
                      </a:cubicBezTo>
                      <a:cubicBezTo>
                        <a:pt x="2162" y="5218"/>
                        <a:pt x="2161" y="5206"/>
                        <a:pt x="2147" y="5197"/>
                      </a:cubicBezTo>
                      <a:cubicBezTo>
                        <a:pt x="2143" y="5194"/>
                        <a:pt x="2141" y="5198"/>
                        <a:pt x="2136" y="5191"/>
                      </a:cubicBezTo>
                      <a:cubicBezTo>
                        <a:pt x="2131" y="5186"/>
                        <a:pt x="2132" y="5182"/>
                        <a:pt x="2130" y="5176"/>
                      </a:cubicBezTo>
                      <a:cubicBezTo>
                        <a:pt x="2126" y="5162"/>
                        <a:pt x="2131" y="5162"/>
                        <a:pt x="2132" y="5149"/>
                      </a:cubicBezTo>
                      <a:cubicBezTo>
                        <a:pt x="2132" y="5133"/>
                        <a:pt x="2111" y="5132"/>
                        <a:pt x="2103" y="5145"/>
                      </a:cubicBezTo>
                      <a:cubicBezTo>
                        <a:pt x="2100" y="5151"/>
                        <a:pt x="2105" y="5176"/>
                        <a:pt x="2093" y="5170"/>
                      </a:cubicBezTo>
                      <a:cubicBezTo>
                        <a:pt x="2089" y="5168"/>
                        <a:pt x="2085" y="5146"/>
                        <a:pt x="2084" y="5140"/>
                      </a:cubicBezTo>
                      <a:cubicBezTo>
                        <a:pt x="2082" y="5135"/>
                        <a:pt x="2086" y="5129"/>
                        <a:pt x="2080" y="5124"/>
                      </a:cubicBezTo>
                      <a:cubicBezTo>
                        <a:pt x="2075" y="5120"/>
                        <a:pt x="2068" y="5125"/>
                        <a:pt x="2064" y="5120"/>
                      </a:cubicBezTo>
                      <a:cubicBezTo>
                        <a:pt x="2059" y="5115"/>
                        <a:pt x="2063" y="5098"/>
                        <a:pt x="2062" y="5092"/>
                      </a:cubicBezTo>
                      <a:cubicBezTo>
                        <a:pt x="2059" y="5064"/>
                        <a:pt x="2058" y="5034"/>
                        <a:pt x="2049" y="5009"/>
                      </a:cubicBezTo>
                      <a:cubicBezTo>
                        <a:pt x="2046" y="5000"/>
                        <a:pt x="2040" y="4994"/>
                        <a:pt x="2037" y="4985"/>
                      </a:cubicBezTo>
                      <a:cubicBezTo>
                        <a:pt x="2036" y="4981"/>
                        <a:pt x="2037" y="4977"/>
                        <a:pt x="2035" y="4973"/>
                      </a:cubicBezTo>
                      <a:cubicBezTo>
                        <a:pt x="2033" y="4970"/>
                        <a:pt x="2029" y="4969"/>
                        <a:pt x="2027" y="4966"/>
                      </a:cubicBezTo>
                      <a:cubicBezTo>
                        <a:pt x="2021" y="4953"/>
                        <a:pt x="2031" y="4941"/>
                        <a:pt x="2024" y="4929"/>
                      </a:cubicBezTo>
                      <a:cubicBezTo>
                        <a:pt x="2019" y="4920"/>
                        <a:pt x="2020" y="4927"/>
                        <a:pt x="2010" y="4922"/>
                      </a:cubicBezTo>
                      <a:cubicBezTo>
                        <a:pt x="2005" y="4919"/>
                        <a:pt x="2001" y="4914"/>
                        <a:pt x="1995" y="4912"/>
                      </a:cubicBezTo>
                      <a:cubicBezTo>
                        <a:pt x="1987" y="4909"/>
                        <a:pt x="1973" y="4915"/>
                        <a:pt x="1969" y="4901"/>
                      </a:cubicBezTo>
                      <a:cubicBezTo>
                        <a:pt x="1971" y="4908"/>
                        <a:pt x="1974" y="4889"/>
                        <a:pt x="1974" y="4889"/>
                      </a:cubicBezTo>
                      <a:cubicBezTo>
                        <a:pt x="1975" y="4881"/>
                        <a:pt x="1975" y="4877"/>
                        <a:pt x="1974" y="4869"/>
                      </a:cubicBezTo>
                      <a:cubicBezTo>
                        <a:pt x="1973" y="4863"/>
                        <a:pt x="1973" y="4852"/>
                        <a:pt x="1970" y="4847"/>
                      </a:cubicBezTo>
                      <a:cubicBezTo>
                        <a:pt x="1967" y="4840"/>
                        <a:pt x="1960" y="4840"/>
                        <a:pt x="1955" y="4834"/>
                      </a:cubicBezTo>
                      <a:cubicBezTo>
                        <a:pt x="1943" y="4821"/>
                        <a:pt x="1964" y="4813"/>
                        <a:pt x="1952" y="4800"/>
                      </a:cubicBezTo>
                      <a:cubicBezTo>
                        <a:pt x="1947" y="4794"/>
                        <a:pt x="1940" y="4798"/>
                        <a:pt x="1934" y="4795"/>
                      </a:cubicBezTo>
                      <a:cubicBezTo>
                        <a:pt x="1927" y="4790"/>
                        <a:pt x="1922" y="4770"/>
                        <a:pt x="1920" y="4762"/>
                      </a:cubicBezTo>
                      <a:cubicBezTo>
                        <a:pt x="1919" y="4755"/>
                        <a:pt x="1919" y="4751"/>
                        <a:pt x="1921" y="4744"/>
                      </a:cubicBezTo>
                      <a:cubicBezTo>
                        <a:pt x="1922" y="4741"/>
                        <a:pt x="1927" y="4741"/>
                        <a:pt x="1929" y="4738"/>
                      </a:cubicBezTo>
                      <a:cubicBezTo>
                        <a:pt x="1930" y="4736"/>
                        <a:pt x="1927" y="4733"/>
                        <a:pt x="1927" y="4731"/>
                      </a:cubicBezTo>
                      <a:cubicBezTo>
                        <a:pt x="1927" y="4729"/>
                        <a:pt x="1933" y="4729"/>
                        <a:pt x="1932" y="4726"/>
                      </a:cubicBezTo>
                      <a:cubicBezTo>
                        <a:pt x="1930" y="4723"/>
                        <a:pt x="1926" y="4724"/>
                        <a:pt x="1925" y="4722"/>
                      </a:cubicBezTo>
                      <a:cubicBezTo>
                        <a:pt x="1921" y="4717"/>
                        <a:pt x="1918" y="4716"/>
                        <a:pt x="1915" y="4709"/>
                      </a:cubicBezTo>
                      <a:cubicBezTo>
                        <a:pt x="1913" y="4705"/>
                        <a:pt x="1915" y="4701"/>
                        <a:pt x="1911" y="4697"/>
                      </a:cubicBezTo>
                      <a:cubicBezTo>
                        <a:pt x="1907" y="4695"/>
                        <a:pt x="1889" y="4690"/>
                        <a:pt x="1884" y="4688"/>
                      </a:cubicBezTo>
                      <a:cubicBezTo>
                        <a:pt x="1876" y="4686"/>
                        <a:pt x="1865" y="4686"/>
                        <a:pt x="1859" y="4682"/>
                      </a:cubicBezTo>
                      <a:cubicBezTo>
                        <a:pt x="1853" y="4677"/>
                        <a:pt x="1853" y="4666"/>
                        <a:pt x="1845" y="4663"/>
                      </a:cubicBezTo>
                      <a:cubicBezTo>
                        <a:pt x="1834" y="4659"/>
                        <a:pt x="1818" y="4670"/>
                        <a:pt x="1813" y="4679"/>
                      </a:cubicBezTo>
                      <a:cubicBezTo>
                        <a:pt x="1807" y="4689"/>
                        <a:pt x="1813" y="4709"/>
                        <a:pt x="1806" y="4715"/>
                      </a:cubicBezTo>
                      <a:cubicBezTo>
                        <a:pt x="1794" y="4729"/>
                        <a:pt x="1792" y="4708"/>
                        <a:pt x="1786" y="4703"/>
                      </a:cubicBezTo>
                      <a:cubicBezTo>
                        <a:pt x="1778" y="4696"/>
                        <a:pt x="1778" y="4697"/>
                        <a:pt x="1771" y="4707"/>
                      </a:cubicBezTo>
                      <a:cubicBezTo>
                        <a:pt x="1762" y="4721"/>
                        <a:pt x="1765" y="4717"/>
                        <a:pt x="1750" y="4717"/>
                      </a:cubicBezTo>
                      <a:cubicBezTo>
                        <a:pt x="1743" y="4717"/>
                        <a:pt x="1735" y="4720"/>
                        <a:pt x="1728" y="4719"/>
                      </a:cubicBezTo>
                      <a:cubicBezTo>
                        <a:pt x="1719" y="4718"/>
                        <a:pt x="1717" y="4711"/>
                        <a:pt x="1710" y="4708"/>
                      </a:cubicBezTo>
                      <a:cubicBezTo>
                        <a:pt x="1705" y="4706"/>
                        <a:pt x="1694" y="4705"/>
                        <a:pt x="1694" y="4702"/>
                      </a:cubicBezTo>
                      <a:cubicBezTo>
                        <a:pt x="1693" y="4699"/>
                        <a:pt x="1701" y="4686"/>
                        <a:pt x="1702" y="4681"/>
                      </a:cubicBezTo>
                      <a:cubicBezTo>
                        <a:pt x="1703" y="4672"/>
                        <a:pt x="1700" y="4655"/>
                        <a:pt x="1698" y="4647"/>
                      </a:cubicBezTo>
                      <a:cubicBezTo>
                        <a:pt x="1692" y="4632"/>
                        <a:pt x="1674" y="4636"/>
                        <a:pt x="1670" y="4622"/>
                      </a:cubicBezTo>
                      <a:cubicBezTo>
                        <a:pt x="1664" y="4605"/>
                        <a:pt x="1683" y="4609"/>
                        <a:pt x="1689" y="4604"/>
                      </a:cubicBezTo>
                      <a:cubicBezTo>
                        <a:pt x="1712" y="4585"/>
                        <a:pt x="1674" y="4591"/>
                        <a:pt x="1670" y="4590"/>
                      </a:cubicBezTo>
                      <a:cubicBezTo>
                        <a:pt x="1657" y="4589"/>
                        <a:pt x="1658" y="4583"/>
                        <a:pt x="1649" y="4572"/>
                      </a:cubicBezTo>
                      <a:cubicBezTo>
                        <a:pt x="1642" y="4563"/>
                        <a:pt x="1632" y="4550"/>
                        <a:pt x="1621" y="4545"/>
                      </a:cubicBezTo>
                      <a:cubicBezTo>
                        <a:pt x="1610" y="4539"/>
                        <a:pt x="1609" y="4543"/>
                        <a:pt x="1599" y="4534"/>
                      </a:cubicBezTo>
                      <a:cubicBezTo>
                        <a:pt x="1592" y="4528"/>
                        <a:pt x="1589" y="4524"/>
                        <a:pt x="1581" y="4521"/>
                      </a:cubicBezTo>
                      <a:cubicBezTo>
                        <a:pt x="1570" y="4518"/>
                        <a:pt x="1558" y="4521"/>
                        <a:pt x="1548" y="4522"/>
                      </a:cubicBezTo>
                      <a:cubicBezTo>
                        <a:pt x="1546" y="4523"/>
                        <a:pt x="1544" y="4526"/>
                        <a:pt x="1541" y="4526"/>
                      </a:cubicBezTo>
                      <a:cubicBezTo>
                        <a:pt x="1538" y="4527"/>
                        <a:pt x="1533" y="4523"/>
                        <a:pt x="1530" y="4523"/>
                      </a:cubicBezTo>
                      <a:cubicBezTo>
                        <a:pt x="1525" y="4522"/>
                        <a:pt x="1520" y="4525"/>
                        <a:pt x="1515" y="4523"/>
                      </a:cubicBezTo>
                      <a:cubicBezTo>
                        <a:pt x="1513" y="4522"/>
                        <a:pt x="1513" y="4517"/>
                        <a:pt x="1511" y="4516"/>
                      </a:cubicBezTo>
                      <a:cubicBezTo>
                        <a:pt x="1502" y="4514"/>
                        <a:pt x="1492" y="4517"/>
                        <a:pt x="1482" y="4513"/>
                      </a:cubicBezTo>
                      <a:cubicBezTo>
                        <a:pt x="1475" y="4511"/>
                        <a:pt x="1472" y="4503"/>
                        <a:pt x="1463" y="4504"/>
                      </a:cubicBezTo>
                      <a:cubicBezTo>
                        <a:pt x="1454" y="4504"/>
                        <a:pt x="1438" y="4517"/>
                        <a:pt x="1430" y="4522"/>
                      </a:cubicBezTo>
                      <a:cubicBezTo>
                        <a:pt x="1413" y="4534"/>
                        <a:pt x="1399" y="4550"/>
                        <a:pt x="1397" y="4571"/>
                      </a:cubicBezTo>
                      <a:cubicBezTo>
                        <a:pt x="1397" y="4579"/>
                        <a:pt x="1398" y="4584"/>
                        <a:pt x="1394" y="4591"/>
                      </a:cubicBezTo>
                      <a:cubicBezTo>
                        <a:pt x="1392" y="4594"/>
                        <a:pt x="1379" y="4616"/>
                        <a:pt x="1376" y="4617"/>
                      </a:cubicBezTo>
                      <a:cubicBezTo>
                        <a:pt x="1370" y="4618"/>
                        <a:pt x="1368" y="4606"/>
                        <a:pt x="1361" y="4609"/>
                      </a:cubicBezTo>
                      <a:cubicBezTo>
                        <a:pt x="1357" y="4611"/>
                        <a:pt x="1355" y="4631"/>
                        <a:pt x="1353" y="4636"/>
                      </a:cubicBezTo>
                      <a:cubicBezTo>
                        <a:pt x="1350" y="4645"/>
                        <a:pt x="1343" y="4646"/>
                        <a:pt x="1348" y="4659"/>
                      </a:cubicBezTo>
                      <a:cubicBezTo>
                        <a:pt x="1350" y="4664"/>
                        <a:pt x="1356" y="4664"/>
                        <a:pt x="1356" y="4670"/>
                      </a:cubicBezTo>
                      <a:cubicBezTo>
                        <a:pt x="1357" y="4683"/>
                        <a:pt x="1334" y="4704"/>
                        <a:pt x="1329" y="4717"/>
                      </a:cubicBezTo>
                      <a:cubicBezTo>
                        <a:pt x="1328" y="4722"/>
                        <a:pt x="1327" y="4727"/>
                        <a:pt x="1326" y="4732"/>
                      </a:cubicBezTo>
                      <a:cubicBezTo>
                        <a:pt x="1322" y="4744"/>
                        <a:pt x="1320" y="4742"/>
                        <a:pt x="1313" y="4749"/>
                      </a:cubicBezTo>
                      <a:cubicBezTo>
                        <a:pt x="1309" y="4755"/>
                        <a:pt x="1309" y="4752"/>
                        <a:pt x="1306" y="4757"/>
                      </a:cubicBezTo>
                      <a:cubicBezTo>
                        <a:pt x="1305" y="4759"/>
                        <a:pt x="1310" y="4765"/>
                        <a:pt x="1308" y="4767"/>
                      </a:cubicBezTo>
                      <a:cubicBezTo>
                        <a:pt x="1305" y="4771"/>
                        <a:pt x="1291" y="4767"/>
                        <a:pt x="1286" y="4772"/>
                      </a:cubicBezTo>
                      <a:cubicBezTo>
                        <a:pt x="1284" y="4774"/>
                        <a:pt x="1285" y="4779"/>
                        <a:pt x="1283" y="4784"/>
                      </a:cubicBezTo>
                      <a:cubicBezTo>
                        <a:pt x="1278" y="4795"/>
                        <a:pt x="1265" y="4797"/>
                        <a:pt x="1260" y="4807"/>
                      </a:cubicBezTo>
                      <a:cubicBezTo>
                        <a:pt x="1255" y="4819"/>
                        <a:pt x="1266" y="4827"/>
                        <a:pt x="1257" y="4843"/>
                      </a:cubicBezTo>
                      <a:cubicBezTo>
                        <a:pt x="1254" y="4847"/>
                        <a:pt x="1248" y="4849"/>
                        <a:pt x="1247" y="4856"/>
                      </a:cubicBezTo>
                      <a:cubicBezTo>
                        <a:pt x="1246" y="4867"/>
                        <a:pt x="1252" y="4863"/>
                        <a:pt x="1255" y="4871"/>
                      </a:cubicBezTo>
                      <a:cubicBezTo>
                        <a:pt x="1261" y="4887"/>
                        <a:pt x="1254" y="4898"/>
                        <a:pt x="1246" y="4911"/>
                      </a:cubicBezTo>
                      <a:cubicBezTo>
                        <a:pt x="1243" y="4916"/>
                        <a:pt x="1242" y="4922"/>
                        <a:pt x="1236" y="4925"/>
                      </a:cubicBezTo>
                      <a:cubicBezTo>
                        <a:pt x="1232" y="4927"/>
                        <a:pt x="1228" y="4923"/>
                        <a:pt x="1224" y="4925"/>
                      </a:cubicBezTo>
                      <a:cubicBezTo>
                        <a:pt x="1218" y="4927"/>
                        <a:pt x="1213" y="4932"/>
                        <a:pt x="1206" y="4934"/>
                      </a:cubicBezTo>
                      <a:cubicBezTo>
                        <a:pt x="1201" y="4935"/>
                        <a:pt x="1198" y="4934"/>
                        <a:pt x="1194" y="4937"/>
                      </a:cubicBezTo>
                      <a:cubicBezTo>
                        <a:pt x="1193" y="4937"/>
                        <a:pt x="1188" y="4945"/>
                        <a:pt x="1187" y="4947"/>
                      </a:cubicBezTo>
                      <a:cubicBezTo>
                        <a:pt x="1184" y="4950"/>
                        <a:pt x="1179" y="4951"/>
                        <a:pt x="1175" y="4956"/>
                      </a:cubicBezTo>
                      <a:cubicBezTo>
                        <a:pt x="1168" y="4964"/>
                        <a:pt x="1167" y="4980"/>
                        <a:pt x="1156" y="4964"/>
                      </a:cubicBezTo>
                      <a:cubicBezTo>
                        <a:pt x="1152" y="4971"/>
                        <a:pt x="1157" y="4976"/>
                        <a:pt x="1160" y="4982"/>
                      </a:cubicBezTo>
                      <a:cubicBezTo>
                        <a:pt x="1164" y="4991"/>
                        <a:pt x="1169" y="5003"/>
                        <a:pt x="1159" y="5013"/>
                      </a:cubicBezTo>
                      <a:cubicBezTo>
                        <a:pt x="1150" y="5021"/>
                        <a:pt x="1145" y="5000"/>
                        <a:pt x="1144" y="4990"/>
                      </a:cubicBezTo>
                      <a:cubicBezTo>
                        <a:pt x="1142" y="4977"/>
                        <a:pt x="1138" y="4964"/>
                        <a:pt x="1137" y="4951"/>
                      </a:cubicBezTo>
                      <a:cubicBezTo>
                        <a:pt x="1136" y="4934"/>
                        <a:pt x="1144" y="4925"/>
                        <a:pt x="1149" y="4912"/>
                      </a:cubicBezTo>
                      <a:cubicBezTo>
                        <a:pt x="1151" y="4909"/>
                        <a:pt x="1157" y="4904"/>
                        <a:pt x="1149" y="4899"/>
                      </a:cubicBezTo>
                      <a:cubicBezTo>
                        <a:pt x="1149" y="4898"/>
                        <a:pt x="1134" y="4900"/>
                        <a:pt x="1132" y="4901"/>
                      </a:cubicBezTo>
                      <a:cubicBezTo>
                        <a:pt x="1128" y="4902"/>
                        <a:pt x="1116" y="4910"/>
                        <a:pt x="1113" y="4910"/>
                      </a:cubicBezTo>
                      <a:cubicBezTo>
                        <a:pt x="1105" y="4910"/>
                        <a:pt x="1110" y="4907"/>
                        <a:pt x="1108" y="4900"/>
                      </a:cubicBezTo>
                      <a:cubicBezTo>
                        <a:pt x="1107" y="4896"/>
                        <a:pt x="1103" y="4896"/>
                        <a:pt x="1103" y="4893"/>
                      </a:cubicBezTo>
                      <a:cubicBezTo>
                        <a:pt x="1103" y="4889"/>
                        <a:pt x="1108" y="4885"/>
                        <a:pt x="1108" y="4881"/>
                      </a:cubicBezTo>
                      <a:cubicBezTo>
                        <a:pt x="1107" y="4877"/>
                        <a:pt x="1099" y="4866"/>
                        <a:pt x="1096" y="4864"/>
                      </a:cubicBezTo>
                      <a:cubicBezTo>
                        <a:pt x="1093" y="4861"/>
                        <a:pt x="1099" y="4857"/>
                        <a:pt x="1091" y="4859"/>
                      </a:cubicBezTo>
                      <a:cubicBezTo>
                        <a:pt x="1088" y="4860"/>
                        <a:pt x="1084" y="4873"/>
                        <a:pt x="1083" y="4877"/>
                      </a:cubicBezTo>
                      <a:cubicBezTo>
                        <a:pt x="1079" y="4886"/>
                        <a:pt x="1075" y="4893"/>
                        <a:pt x="1072" y="4901"/>
                      </a:cubicBezTo>
                      <a:cubicBezTo>
                        <a:pt x="1069" y="4907"/>
                        <a:pt x="1069" y="4922"/>
                        <a:pt x="1065" y="4926"/>
                      </a:cubicBezTo>
                      <a:cubicBezTo>
                        <a:pt x="1063" y="4928"/>
                        <a:pt x="1050" y="4926"/>
                        <a:pt x="1046" y="4929"/>
                      </a:cubicBezTo>
                      <a:cubicBezTo>
                        <a:pt x="1042" y="4931"/>
                        <a:pt x="1043" y="4933"/>
                        <a:pt x="1039" y="4937"/>
                      </a:cubicBezTo>
                      <a:cubicBezTo>
                        <a:pt x="1031" y="4947"/>
                        <a:pt x="1031" y="4953"/>
                        <a:pt x="1017" y="4946"/>
                      </a:cubicBezTo>
                      <a:cubicBezTo>
                        <a:pt x="1007" y="4942"/>
                        <a:pt x="1010" y="4938"/>
                        <a:pt x="997" y="4940"/>
                      </a:cubicBezTo>
                      <a:cubicBezTo>
                        <a:pt x="987" y="4943"/>
                        <a:pt x="984" y="4947"/>
                        <a:pt x="979" y="4954"/>
                      </a:cubicBezTo>
                      <a:cubicBezTo>
                        <a:pt x="977" y="4958"/>
                        <a:pt x="978" y="4965"/>
                        <a:pt x="972" y="4966"/>
                      </a:cubicBezTo>
                      <a:cubicBezTo>
                        <a:pt x="964" y="4967"/>
                        <a:pt x="963" y="4955"/>
                        <a:pt x="955" y="4956"/>
                      </a:cubicBezTo>
                      <a:cubicBezTo>
                        <a:pt x="953" y="4956"/>
                        <a:pt x="952" y="4964"/>
                        <a:pt x="949" y="4964"/>
                      </a:cubicBezTo>
                      <a:cubicBezTo>
                        <a:pt x="946" y="4965"/>
                        <a:pt x="945" y="4961"/>
                        <a:pt x="943" y="4961"/>
                      </a:cubicBezTo>
                      <a:cubicBezTo>
                        <a:pt x="933" y="4961"/>
                        <a:pt x="923" y="4953"/>
                        <a:pt x="912" y="4957"/>
                      </a:cubicBezTo>
                      <a:cubicBezTo>
                        <a:pt x="899" y="4963"/>
                        <a:pt x="899" y="4978"/>
                        <a:pt x="898" y="4989"/>
                      </a:cubicBezTo>
                      <a:cubicBezTo>
                        <a:pt x="898" y="4994"/>
                        <a:pt x="897" y="4998"/>
                        <a:pt x="896" y="5004"/>
                      </a:cubicBezTo>
                      <a:cubicBezTo>
                        <a:pt x="893" y="5017"/>
                        <a:pt x="895" y="5016"/>
                        <a:pt x="882" y="5023"/>
                      </a:cubicBezTo>
                      <a:cubicBezTo>
                        <a:pt x="879" y="5025"/>
                        <a:pt x="876" y="5023"/>
                        <a:pt x="872" y="5026"/>
                      </a:cubicBezTo>
                      <a:cubicBezTo>
                        <a:pt x="870" y="5028"/>
                        <a:pt x="871" y="5033"/>
                        <a:pt x="870" y="5035"/>
                      </a:cubicBezTo>
                      <a:cubicBezTo>
                        <a:pt x="861" y="5042"/>
                        <a:pt x="851" y="5043"/>
                        <a:pt x="839" y="5042"/>
                      </a:cubicBezTo>
                      <a:cubicBezTo>
                        <a:pt x="830" y="5042"/>
                        <a:pt x="823" y="5043"/>
                        <a:pt x="814" y="5044"/>
                      </a:cubicBezTo>
                      <a:cubicBezTo>
                        <a:pt x="809" y="5045"/>
                        <a:pt x="813" y="5049"/>
                        <a:pt x="807" y="5048"/>
                      </a:cubicBezTo>
                      <a:cubicBezTo>
                        <a:pt x="805" y="5047"/>
                        <a:pt x="802" y="5041"/>
                        <a:pt x="801" y="5039"/>
                      </a:cubicBezTo>
                      <a:cubicBezTo>
                        <a:pt x="799" y="5036"/>
                        <a:pt x="798" y="5030"/>
                        <a:pt x="795" y="5029"/>
                      </a:cubicBezTo>
                      <a:cubicBezTo>
                        <a:pt x="792" y="5027"/>
                        <a:pt x="787" y="5030"/>
                        <a:pt x="787" y="5030"/>
                      </a:cubicBezTo>
                      <a:cubicBezTo>
                        <a:pt x="786" y="5029"/>
                        <a:pt x="785" y="5033"/>
                        <a:pt x="781" y="5030"/>
                      </a:cubicBezTo>
                      <a:cubicBezTo>
                        <a:pt x="777" y="5027"/>
                        <a:pt x="780" y="5018"/>
                        <a:pt x="779" y="5015"/>
                      </a:cubicBezTo>
                      <a:cubicBezTo>
                        <a:pt x="775" y="5004"/>
                        <a:pt x="770" y="5009"/>
                        <a:pt x="765" y="5003"/>
                      </a:cubicBezTo>
                      <a:cubicBezTo>
                        <a:pt x="763" y="5001"/>
                        <a:pt x="761" y="4993"/>
                        <a:pt x="760" y="4990"/>
                      </a:cubicBezTo>
                      <a:cubicBezTo>
                        <a:pt x="755" y="4972"/>
                        <a:pt x="754" y="4977"/>
                        <a:pt x="736" y="4975"/>
                      </a:cubicBezTo>
                      <a:cubicBezTo>
                        <a:pt x="727" y="4974"/>
                        <a:pt x="723" y="4975"/>
                        <a:pt x="721" y="4965"/>
                      </a:cubicBezTo>
                      <a:cubicBezTo>
                        <a:pt x="720" y="4956"/>
                        <a:pt x="731" y="4953"/>
                        <a:pt x="730" y="4947"/>
                      </a:cubicBezTo>
                      <a:cubicBezTo>
                        <a:pt x="730" y="4940"/>
                        <a:pt x="720" y="4943"/>
                        <a:pt x="718" y="4936"/>
                      </a:cubicBezTo>
                      <a:cubicBezTo>
                        <a:pt x="718" y="4935"/>
                        <a:pt x="724" y="4921"/>
                        <a:pt x="725" y="4919"/>
                      </a:cubicBezTo>
                      <a:cubicBezTo>
                        <a:pt x="730" y="4909"/>
                        <a:pt x="745" y="4893"/>
                        <a:pt x="743" y="4881"/>
                      </a:cubicBezTo>
                      <a:cubicBezTo>
                        <a:pt x="743" y="4877"/>
                        <a:pt x="737" y="4873"/>
                        <a:pt x="736" y="4869"/>
                      </a:cubicBezTo>
                      <a:cubicBezTo>
                        <a:pt x="733" y="4862"/>
                        <a:pt x="735" y="4854"/>
                        <a:pt x="736" y="4848"/>
                      </a:cubicBezTo>
                      <a:cubicBezTo>
                        <a:pt x="738" y="4839"/>
                        <a:pt x="748" y="4830"/>
                        <a:pt x="749" y="4823"/>
                      </a:cubicBezTo>
                      <a:cubicBezTo>
                        <a:pt x="750" y="4816"/>
                        <a:pt x="746" y="4814"/>
                        <a:pt x="746" y="4807"/>
                      </a:cubicBezTo>
                      <a:cubicBezTo>
                        <a:pt x="746" y="4804"/>
                        <a:pt x="752" y="4794"/>
                        <a:pt x="753" y="4788"/>
                      </a:cubicBezTo>
                      <a:cubicBezTo>
                        <a:pt x="756" y="4776"/>
                        <a:pt x="754" y="4780"/>
                        <a:pt x="751" y="4771"/>
                      </a:cubicBezTo>
                      <a:cubicBezTo>
                        <a:pt x="746" y="4758"/>
                        <a:pt x="741" y="4746"/>
                        <a:pt x="744" y="4732"/>
                      </a:cubicBezTo>
                      <a:cubicBezTo>
                        <a:pt x="746" y="4724"/>
                        <a:pt x="751" y="4722"/>
                        <a:pt x="753" y="4715"/>
                      </a:cubicBezTo>
                      <a:cubicBezTo>
                        <a:pt x="754" y="4710"/>
                        <a:pt x="751" y="4704"/>
                        <a:pt x="752" y="4699"/>
                      </a:cubicBezTo>
                      <a:cubicBezTo>
                        <a:pt x="752" y="4699"/>
                        <a:pt x="757" y="4693"/>
                        <a:pt x="757" y="4692"/>
                      </a:cubicBezTo>
                      <a:cubicBezTo>
                        <a:pt x="758" y="4691"/>
                        <a:pt x="753" y="4687"/>
                        <a:pt x="755" y="4684"/>
                      </a:cubicBezTo>
                      <a:cubicBezTo>
                        <a:pt x="758" y="4678"/>
                        <a:pt x="763" y="4679"/>
                        <a:pt x="764" y="4670"/>
                      </a:cubicBezTo>
                      <a:cubicBezTo>
                        <a:pt x="764" y="4668"/>
                        <a:pt x="758" y="4666"/>
                        <a:pt x="758" y="4663"/>
                      </a:cubicBezTo>
                      <a:cubicBezTo>
                        <a:pt x="758" y="4658"/>
                        <a:pt x="760" y="4654"/>
                        <a:pt x="762" y="4650"/>
                      </a:cubicBezTo>
                      <a:cubicBezTo>
                        <a:pt x="765" y="4643"/>
                        <a:pt x="768" y="4637"/>
                        <a:pt x="770" y="4630"/>
                      </a:cubicBezTo>
                      <a:cubicBezTo>
                        <a:pt x="773" y="4623"/>
                        <a:pt x="779" y="4624"/>
                        <a:pt x="775" y="4614"/>
                      </a:cubicBezTo>
                      <a:cubicBezTo>
                        <a:pt x="773" y="4609"/>
                        <a:pt x="764" y="4605"/>
                        <a:pt x="766" y="4601"/>
                      </a:cubicBezTo>
                      <a:cubicBezTo>
                        <a:pt x="767" y="4598"/>
                        <a:pt x="781" y="4600"/>
                        <a:pt x="783" y="4598"/>
                      </a:cubicBezTo>
                      <a:cubicBezTo>
                        <a:pt x="791" y="4594"/>
                        <a:pt x="788" y="4593"/>
                        <a:pt x="789" y="4584"/>
                      </a:cubicBezTo>
                      <a:cubicBezTo>
                        <a:pt x="790" y="4569"/>
                        <a:pt x="779" y="4568"/>
                        <a:pt x="783" y="4552"/>
                      </a:cubicBezTo>
                      <a:cubicBezTo>
                        <a:pt x="785" y="4539"/>
                        <a:pt x="796" y="4528"/>
                        <a:pt x="800" y="4515"/>
                      </a:cubicBezTo>
                      <a:cubicBezTo>
                        <a:pt x="802" y="4505"/>
                        <a:pt x="803" y="4489"/>
                        <a:pt x="802" y="4479"/>
                      </a:cubicBezTo>
                      <a:cubicBezTo>
                        <a:pt x="800" y="4472"/>
                        <a:pt x="797" y="4460"/>
                        <a:pt x="787" y="4462"/>
                      </a:cubicBezTo>
                      <a:cubicBezTo>
                        <a:pt x="780" y="4463"/>
                        <a:pt x="778" y="4469"/>
                        <a:pt x="772" y="4471"/>
                      </a:cubicBezTo>
                      <a:cubicBezTo>
                        <a:pt x="753" y="4477"/>
                        <a:pt x="756" y="4461"/>
                        <a:pt x="747" y="4451"/>
                      </a:cubicBezTo>
                      <a:cubicBezTo>
                        <a:pt x="736" y="4436"/>
                        <a:pt x="716" y="4448"/>
                        <a:pt x="707" y="4438"/>
                      </a:cubicBezTo>
                      <a:cubicBezTo>
                        <a:pt x="702" y="4433"/>
                        <a:pt x="706" y="4409"/>
                        <a:pt x="706" y="4402"/>
                      </a:cubicBezTo>
                      <a:cubicBezTo>
                        <a:pt x="706" y="4390"/>
                        <a:pt x="708" y="4382"/>
                        <a:pt x="700" y="4371"/>
                      </a:cubicBezTo>
                      <a:cubicBezTo>
                        <a:pt x="694" y="4363"/>
                        <a:pt x="687" y="4358"/>
                        <a:pt x="681" y="4352"/>
                      </a:cubicBezTo>
                      <a:cubicBezTo>
                        <a:pt x="680" y="4350"/>
                        <a:pt x="680" y="4347"/>
                        <a:pt x="679" y="4345"/>
                      </a:cubicBezTo>
                      <a:cubicBezTo>
                        <a:pt x="676" y="4342"/>
                        <a:pt x="670" y="4340"/>
                        <a:pt x="668" y="4337"/>
                      </a:cubicBezTo>
                      <a:cubicBezTo>
                        <a:pt x="659" y="4324"/>
                        <a:pt x="658" y="4301"/>
                        <a:pt x="662" y="4288"/>
                      </a:cubicBezTo>
                      <a:cubicBezTo>
                        <a:pt x="668" y="4270"/>
                        <a:pt x="680" y="4259"/>
                        <a:pt x="683" y="4242"/>
                      </a:cubicBezTo>
                      <a:cubicBezTo>
                        <a:pt x="685" y="4229"/>
                        <a:pt x="696" y="4217"/>
                        <a:pt x="693" y="4206"/>
                      </a:cubicBezTo>
                      <a:cubicBezTo>
                        <a:pt x="692" y="4202"/>
                        <a:pt x="685" y="4201"/>
                        <a:pt x="685" y="4197"/>
                      </a:cubicBezTo>
                      <a:cubicBezTo>
                        <a:pt x="684" y="4192"/>
                        <a:pt x="688" y="4190"/>
                        <a:pt x="688" y="4186"/>
                      </a:cubicBezTo>
                      <a:cubicBezTo>
                        <a:pt x="687" y="4180"/>
                        <a:pt x="687" y="4178"/>
                        <a:pt x="683" y="4173"/>
                      </a:cubicBezTo>
                      <a:cubicBezTo>
                        <a:pt x="682" y="4172"/>
                        <a:pt x="674" y="4165"/>
                        <a:pt x="675" y="4165"/>
                      </a:cubicBezTo>
                      <a:cubicBezTo>
                        <a:pt x="673" y="4163"/>
                        <a:pt x="676" y="4154"/>
                        <a:pt x="675" y="4153"/>
                      </a:cubicBezTo>
                      <a:cubicBezTo>
                        <a:pt x="667" y="4145"/>
                        <a:pt x="662" y="4151"/>
                        <a:pt x="652" y="4153"/>
                      </a:cubicBezTo>
                      <a:cubicBezTo>
                        <a:pt x="645" y="4153"/>
                        <a:pt x="638" y="4150"/>
                        <a:pt x="632" y="4151"/>
                      </a:cubicBezTo>
                      <a:cubicBezTo>
                        <a:pt x="633" y="4151"/>
                        <a:pt x="623" y="4155"/>
                        <a:pt x="626" y="4155"/>
                      </a:cubicBezTo>
                      <a:cubicBezTo>
                        <a:pt x="624" y="4155"/>
                        <a:pt x="610" y="4149"/>
                        <a:pt x="605" y="4145"/>
                      </a:cubicBezTo>
                      <a:cubicBezTo>
                        <a:pt x="600" y="4141"/>
                        <a:pt x="598" y="4141"/>
                        <a:pt x="594" y="4135"/>
                      </a:cubicBezTo>
                      <a:cubicBezTo>
                        <a:pt x="593" y="4132"/>
                        <a:pt x="592" y="4130"/>
                        <a:pt x="592" y="4127"/>
                      </a:cubicBezTo>
                      <a:cubicBezTo>
                        <a:pt x="590" y="4114"/>
                        <a:pt x="589" y="4128"/>
                        <a:pt x="596" y="4118"/>
                      </a:cubicBezTo>
                      <a:cubicBezTo>
                        <a:pt x="598" y="4115"/>
                        <a:pt x="601" y="4117"/>
                        <a:pt x="603" y="4113"/>
                      </a:cubicBezTo>
                      <a:cubicBezTo>
                        <a:pt x="605" y="4109"/>
                        <a:pt x="600" y="4102"/>
                        <a:pt x="601" y="4098"/>
                      </a:cubicBezTo>
                      <a:cubicBezTo>
                        <a:pt x="602" y="4095"/>
                        <a:pt x="608" y="4096"/>
                        <a:pt x="609" y="4091"/>
                      </a:cubicBezTo>
                      <a:cubicBezTo>
                        <a:pt x="610" y="4086"/>
                        <a:pt x="607" y="4081"/>
                        <a:pt x="608" y="4076"/>
                      </a:cubicBezTo>
                      <a:cubicBezTo>
                        <a:pt x="608" y="4061"/>
                        <a:pt x="623" y="4059"/>
                        <a:pt x="625" y="4047"/>
                      </a:cubicBezTo>
                      <a:cubicBezTo>
                        <a:pt x="627" y="4032"/>
                        <a:pt x="603" y="4028"/>
                        <a:pt x="598" y="4015"/>
                      </a:cubicBezTo>
                      <a:cubicBezTo>
                        <a:pt x="594" y="4005"/>
                        <a:pt x="596" y="3996"/>
                        <a:pt x="593" y="3986"/>
                      </a:cubicBezTo>
                      <a:cubicBezTo>
                        <a:pt x="592" y="3982"/>
                        <a:pt x="591" y="3977"/>
                        <a:pt x="589" y="3973"/>
                      </a:cubicBezTo>
                      <a:cubicBezTo>
                        <a:pt x="588" y="3969"/>
                        <a:pt x="583" y="3962"/>
                        <a:pt x="582" y="3959"/>
                      </a:cubicBezTo>
                      <a:cubicBezTo>
                        <a:pt x="582" y="3953"/>
                        <a:pt x="586" y="3950"/>
                        <a:pt x="585" y="3944"/>
                      </a:cubicBezTo>
                      <a:cubicBezTo>
                        <a:pt x="583" y="3938"/>
                        <a:pt x="577" y="3938"/>
                        <a:pt x="575" y="3933"/>
                      </a:cubicBezTo>
                      <a:cubicBezTo>
                        <a:pt x="573" y="3928"/>
                        <a:pt x="575" y="3920"/>
                        <a:pt x="572" y="3916"/>
                      </a:cubicBezTo>
                      <a:cubicBezTo>
                        <a:pt x="565" y="3909"/>
                        <a:pt x="566" y="3918"/>
                        <a:pt x="558" y="3912"/>
                      </a:cubicBezTo>
                      <a:cubicBezTo>
                        <a:pt x="555" y="3910"/>
                        <a:pt x="553" y="3901"/>
                        <a:pt x="551" y="3898"/>
                      </a:cubicBezTo>
                      <a:cubicBezTo>
                        <a:pt x="547" y="3893"/>
                        <a:pt x="543" y="3889"/>
                        <a:pt x="539" y="3884"/>
                      </a:cubicBezTo>
                      <a:cubicBezTo>
                        <a:pt x="534" y="3880"/>
                        <a:pt x="535" y="3876"/>
                        <a:pt x="529" y="3872"/>
                      </a:cubicBezTo>
                      <a:cubicBezTo>
                        <a:pt x="521" y="3866"/>
                        <a:pt x="522" y="3868"/>
                        <a:pt x="511" y="3870"/>
                      </a:cubicBezTo>
                      <a:cubicBezTo>
                        <a:pt x="501" y="3872"/>
                        <a:pt x="500" y="3871"/>
                        <a:pt x="489" y="3869"/>
                      </a:cubicBezTo>
                      <a:cubicBezTo>
                        <a:pt x="485" y="3868"/>
                        <a:pt x="480" y="3868"/>
                        <a:pt x="477" y="3868"/>
                      </a:cubicBezTo>
                      <a:cubicBezTo>
                        <a:pt x="474" y="3867"/>
                        <a:pt x="471" y="3863"/>
                        <a:pt x="468" y="3863"/>
                      </a:cubicBezTo>
                      <a:cubicBezTo>
                        <a:pt x="458" y="3863"/>
                        <a:pt x="413" y="3893"/>
                        <a:pt x="415" y="3868"/>
                      </a:cubicBezTo>
                      <a:cubicBezTo>
                        <a:pt x="415" y="3860"/>
                        <a:pt x="422" y="3862"/>
                        <a:pt x="426" y="3856"/>
                      </a:cubicBezTo>
                      <a:cubicBezTo>
                        <a:pt x="432" y="3847"/>
                        <a:pt x="430" y="3839"/>
                        <a:pt x="429" y="3829"/>
                      </a:cubicBezTo>
                      <a:cubicBezTo>
                        <a:pt x="428" y="3823"/>
                        <a:pt x="425" y="3815"/>
                        <a:pt x="430" y="3810"/>
                      </a:cubicBezTo>
                      <a:cubicBezTo>
                        <a:pt x="437" y="3804"/>
                        <a:pt x="439" y="3811"/>
                        <a:pt x="446" y="3812"/>
                      </a:cubicBezTo>
                      <a:cubicBezTo>
                        <a:pt x="451" y="3812"/>
                        <a:pt x="451" y="3811"/>
                        <a:pt x="456" y="3811"/>
                      </a:cubicBezTo>
                      <a:cubicBezTo>
                        <a:pt x="453" y="3811"/>
                        <a:pt x="470" y="3809"/>
                        <a:pt x="466" y="3811"/>
                      </a:cubicBezTo>
                      <a:cubicBezTo>
                        <a:pt x="474" y="3808"/>
                        <a:pt x="474" y="3809"/>
                        <a:pt x="477" y="3799"/>
                      </a:cubicBezTo>
                      <a:cubicBezTo>
                        <a:pt x="480" y="3792"/>
                        <a:pt x="480" y="3791"/>
                        <a:pt x="478" y="3785"/>
                      </a:cubicBezTo>
                      <a:cubicBezTo>
                        <a:pt x="477" y="3782"/>
                        <a:pt x="470" y="3782"/>
                        <a:pt x="469" y="3778"/>
                      </a:cubicBezTo>
                      <a:cubicBezTo>
                        <a:pt x="468" y="3773"/>
                        <a:pt x="473" y="3769"/>
                        <a:pt x="472" y="3764"/>
                      </a:cubicBezTo>
                      <a:cubicBezTo>
                        <a:pt x="471" y="3756"/>
                        <a:pt x="467" y="3755"/>
                        <a:pt x="461" y="3750"/>
                      </a:cubicBezTo>
                      <a:cubicBezTo>
                        <a:pt x="457" y="3747"/>
                        <a:pt x="454" y="3746"/>
                        <a:pt x="451" y="3742"/>
                      </a:cubicBezTo>
                      <a:cubicBezTo>
                        <a:pt x="451" y="3742"/>
                        <a:pt x="439" y="3727"/>
                        <a:pt x="439" y="3728"/>
                      </a:cubicBezTo>
                      <a:cubicBezTo>
                        <a:pt x="438" y="3724"/>
                        <a:pt x="441" y="3713"/>
                        <a:pt x="441" y="3709"/>
                      </a:cubicBezTo>
                      <a:cubicBezTo>
                        <a:pt x="441" y="3712"/>
                        <a:pt x="436" y="3702"/>
                        <a:pt x="437" y="3703"/>
                      </a:cubicBezTo>
                      <a:cubicBezTo>
                        <a:pt x="436" y="3703"/>
                        <a:pt x="439" y="3698"/>
                        <a:pt x="438" y="3695"/>
                      </a:cubicBezTo>
                      <a:cubicBezTo>
                        <a:pt x="437" y="3690"/>
                        <a:pt x="428" y="3684"/>
                        <a:pt x="424" y="3683"/>
                      </a:cubicBezTo>
                      <a:cubicBezTo>
                        <a:pt x="410" y="3681"/>
                        <a:pt x="421" y="3686"/>
                        <a:pt x="415" y="3692"/>
                      </a:cubicBezTo>
                      <a:cubicBezTo>
                        <a:pt x="408" y="3698"/>
                        <a:pt x="403" y="3694"/>
                        <a:pt x="395" y="3696"/>
                      </a:cubicBezTo>
                      <a:cubicBezTo>
                        <a:pt x="378" y="3700"/>
                        <a:pt x="387" y="3709"/>
                        <a:pt x="380" y="3718"/>
                      </a:cubicBezTo>
                      <a:cubicBezTo>
                        <a:pt x="370" y="3732"/>
                        <a:pt x="348" y="3708"/>
                        <a:pt x="339" y="3702"/>
                      </a:cubicBezTo>
                      <a:cubicBezTo>
                        <a:pt x="319" y="3686"/>
                        <a:pt x="312" y="3722"/>
                        <a:pt x="294" y="3707"/>
                      </a:cubicBezTo>
                      <a:cubicBezTo>
                        <a:pt x="289" y="3702"/>
                        <a:pt x="291" y="3696"/>
                        <a:pt x="286" y="3692"/>
                      </a:cubicBezTo>
                      <a:cubicBezTo>
                        <a:pt x="282" y="3689"/>
                        <a:pt x="275" y="3692"/>
                        <a:pt x="271" y="3691"/>
                      </a:cubicBezTo>
                      <a:cubicBezTo>
                        <a:pt x="269" y="3690"/>
                        <a:pt x="266" y="3686"/>
                        <a:pt x="263" y="3684"/>
                      </a:cubicBezTo>
                      <a:cubicBezTo>
                        <a:pt x="258" y="3681"/>
                        <a:pt x="251" y="3676"/>
                        <a:pt x="245" y="3675"/>
                      </a:cubicBezTo>
                      <a:cubicBezTo>
                        <a:pt x="231" y="3672"/>
                        <a:pt x="234" y="3680"/>
                        <a:pt x="225" y="3669"/>
                      </a:cubicBezTo>
                      <a:cubicBezTo>
                        <a:pt x="222" y="3665"/>
                        <a:pt x="222" y="3658"/>
                        <a:pt x="217" y="3655"/>
                      </a:cubicBezTo>
                      <a:cubicBezTo>
                        <a:pt x="206" y="3650"/>
                        <a:pt x="211" y="3657"/>
                        <a:pt x="209" y="3662"/>
                      </a:cubicBezTo>
                      <a:cubicBezTo>
                        <a:pt x="205" y="3673"/>
                        <a:pt x="219" y="3667"/>
                        <a:pt x="200" y="3673"/>
                      </a:cubicBezTo>
                      <a:cubicBezTo>
                        <a:pt x="191" y="3676"/>
                        <a:pt x="183" y="3677"/>
                        <a:pt x="175" y="3682"/>
                      </a:cubicBezTo>
                      <a:cubicBezTo>
                        <a:pt x="169" y="3685"/>
                        <a:pt x="168" y="3693"/>
                        <a:pt x="159" y="3687"/>
                      </a:cubicBezTo>
                      <a:cubicBezTo>
                        <a:pt x="146" y="3680"/>
                        <a:pt x="160" y="3680"/>
                        <a:pt x="160" y="3675"/>
                      </a:cubicBezTo>
                      <a:cubicBezTo>
                        <a:pt x="158" y="3650"/>
                        <a:pt x="139" y="3670"/>
                        <a:pt x="128" y="3671"/>
                      </a:cubicBezTo>
                      <a:cubicBezTo>
                        <a:pt x="115" y="3671"/>
                        <a:pt x="125" y="3670"/>
                        <a:pt x="120" y="3661"/>
                      </a:cubicBezTo>
                      <a:cubicBezTo>
                        <a:pt x="117" y="3655"/>
                        <a:pt x="112" y="3650"/>
                        <a:pt x="109" y="3644"/>
                      </a:cubicBezTo>
                      <a:cubicBezTo>
                        <a:pt x="109" y="3643"/>
                        <a:pt x="106" y="3625"/>
                        <a:pt x="106" y="3625"/>
                      </a:cubicBezTo>
                      <a:cubicBezTo>
                        <a:pt x="109" y="3622"/>
                        <a:pt x="116" y="3632"/>
                        <a:pt x="121" y="3629"/>
                      </a:cubicBezTo>
                      <a:cubicBezTo>
                        <a:pt x="129" y="3624"/>
                        <a:pt x="113" y="3600"/>
                        <a:pt x="117" y="3590"/>
                      </a:cubicBezTo>
                      <a:cubicBezTo>
                        <a:pt x="121" y="3580"/>
                        <a:pt x="125" y="3587"/>
                        <a:pt x="128" y="3584"/>
                      </a:cubicBezTo>
                      <a:cubicBezTo>
                        <a:pt x="136" y="3576"/>
                        <a:pt x="130" y="3584"/>
                        <a:pt x="128" y="3572"/>
                      </a:cubicBezTo>
                      <a:cubicBezTo>
                        <a:pt x="122" y="3539"/>
                        <a:pt x="145" y="3578"/>
                        <a:pt x="155" y="3570"/>
                      </a:cubicBezTo>
                      <a:cubicBezTo>
                        <a:pt x="160" y="3566"/>
                        <a:pt x="127" y="3538"/>
                        <a:pt x="126" y="3533"/>
                      </a:cubicBezTo>
                      <a:cubicBezTo>
                        <a:pt x="123" y="3524"/>
                        <a:pt x="128" y="3522"/>
                        <a:pt x="133" y="3516"/>
                      </a:cubicBezTo>
                      <a:cubicBezTo>
                        <a:pt x="140" y="3508"/>
                        <a:pt x="142" y="3503"/>
                        <a:pt x="147" y="3496"/>
                      </a:cubicBezTo>
                      <a:cubicBezTo>
                        <a:pt x="148" y="3493"/>
                        <a:pt x="153" y="3495"/>
                        <a:pt x="155" y="3492"/>
                      </a:cubicBezTo>
                      <a:cubicBezTo>
                        <a:pt x="157" y="3489"/>
                        <a:pt x="157" y="3483"/>
                        <a:pt x="159" y="3480"/>
                      </a:cubicBezTo>
                      <a:cubicBezTo>
                        <a:pt x="165" y="3472"/>
                        <a:pt x="167" y="3470"/>
                        <a:pt x="177" y="3471"/>
                      </a:cubicBezTo>
                      <a:cubicBezTo>
                        <a:pt x="168" y="3466"/>
                        <a:pt x="164" y="3456"/>
                        <a:pt x="167" y="3446"/>
                      </a:cubicBezTo>
                      <a:cubicBezTo>
                        <a:pt x="169" y="3439"/>
                        <a:pt x="179" y="3423"/>
                        <a:pt x="185" y="3421"/>
                      </a:cubicBezTo>
                      <a:cubicBezTo>
                        <a:pt x="200" y="3417"/>
                        <a:pt x="201" y="3431"/>
                        <a:pt x="209" y="3416"/>
                      </a:cubicBezTo>
                      <a:cubicBezTo>
                        <a:pt x="212" y="3410"/>
                        <a:pt x="218" y="3390"/>
                        <a:pt x="215" y="3385"/>
                      </a:cubicBezTo>
                      <a:cubicBezTo>
                        <a:pt x="209" y="3379"/>
                        <a:pt x="193" y="3384"/>
                        <a:pt x="187" y="3378"/>
                      </a:cubicBezTo>
                      <a:cubicBezTo>
                        <a:pt x="185" y="3375"/>
                        <a:pt x="188" y="3370"/>
                        <a:pt x="186" y="3366"/>
                      </a:cubicBezTo>
                      <a:cubicBezTo>
                        <a:pt x="188" y="3371"/>
                        <a:pt x="173" y="3356"/>
                        <a:pt x="178" y="3358"/>
                      </a:cubicBezTo>
                      <a:cubicBezTo>
                        <a:pt x="172" y="3355"/>
                        <a:pt x="157" y="3357"/>
                        <a:pt x="153" y="3352"/>
                      </a:cubicBezTo>
                      <a:cubicBezTo>
                        <a:pt x="149" y="3346"/>
                        <a:pt x="153" y="3332"/>
                        <a:pt x="153" y="3325"/>
                      </a:cubicBezTo>
                      <a:cubicBezTo>
                        <a:pt x="152" y="3316"/>
                        <a:pt x="153" y="3308"/>
                        <a:pt x="152" y="3299"/>
                      </a:cubicBezTo>
                      <a:cubicBezTo>
                        <a:pt x="151" y="3277"/>
                        <a:pt x="147" y="3250"/>
                        <a:pt x="131" y="3232"/>
                      </a:cubicBezTo>
                      <a:cubicBezTo>
                        <a:pt x="123" y="3224"/>
                        <a:pt x="131" y="3230"/>
                        <a:pt x="119" y="3226"/>
                      </a:cubicBezTo>
                      <a:cubicBezTo>
                        <a:pt x="113" y="3225"/>
                        <a:pt x="109" y="3227"/>
                        <a:pt x="105" y="3221"/>
                      </a:cubicBezTo>
                      <a:cubicBezTo>
                        <a:pt x="100" y="3214"/>
                        <a:pt x="103" y="3205"/>
                        <a:pt x="102" y="3197"/>
                      </a:cubicBezTo>
                      <a:cubicBezTo>
                        <a:pt x="100" y="3188"/>
                        <a:pt x="94" y="3180"/>
                        <a:pt x="95" y="3170"/>
                      </a:cubicBezTo>
                      <a:cubicBezTo>
                        <a:pt x="96" y="3154"/>
                        <a:pt x="112" y="3153"/>
                        <a:pt x="115" y="3140"/>
                      </a:cubicBezTo>
                      <a:cubicBezTo>
                        <a:pt x="116" y="3136"/>
                        <a:pt x="110" y="3122"/>
                        <a:pt x="109" y="3117"/>
                      </a:cubicBezTo>
                      <a:cubicBezTo>
                        <a:pt x="107" y="3113"/>
                        <a:pt x="104" y="3109"/>
                        <a:pt x="102" y="3104"/>
                      </a:cubicBezTo>
                      <a:cubicBezTo>
                        <a:pt x="101" y="3100"/>
                        <a:pt x="102" y="3089"/>
                        <a:pt x="101" y="3086"/>
                      </a:cubicBezTo>
                      <a:cubicBezTo>
                        <a:pt x="98" y="3081"/>
                        <a:pt x="91" y="3080"/>
                        <a:pt x="88" y="3075"/>
                      </a:cubicBezTo>
                      <a:cubicBezTo>
                        <a:pt x="85" y="3068"/>
                        <a:pt x="92" y="3064"/>
                        <a:pt x="91" y="3060"/>
                      </a:cubicBezTo>
                      <a:cubicBezTo>
                        <a:pt x="86" y="3047"/>
                        <a:pt x="83" y="3063"/>
                        <a:pt x="75" y="3061"/>
                      </a:cubicBezTo>
                      <a:cubicBezTo>
                        <a:pt x="65" y="3059"/>
                        <a:pt x="73" y="3053"/>
                        <a:pt x="74" y="3047"/>
                      </a:cubicBezTo>
                      <a:cubicBezTo>
                        <a:pt x="75" y="3042"/>
                        <a:pt x="78" y="3037"/>
                        <a:pt x="73" y="3032"/>
                      </a:cubicBezTo>
                      <a:cubicBezTo>
                        <a:pt x="70" y="3030"/>
                        <a:pt x="63" y="3033"/>
                        <a:pt x="60" y="3031"/>
                      </a:cubicBezTo>
                      <a:cubicBezTo>
                        <a:pt x="56" y="3030"/>
                        <a:pt x="52" y="3025"/>
                        <a:pt x="49" y="3024"/>
                      </a:cubicBezTo>
                      <a:cubicBezTo>
                        <a:pt x="43" y="3023"/>
                        <a:pt x="38" y="3027"/>
                        <a:pt x="31" y="3025"/>
                      </a:cubicBezTo>
                      <a:cubicBezTo>
                        <a:pt x="25" y="3023"/>
                        <a:pt x="17" y="3011"/>
                        <a:pt x="15" y="3006"/>
                      </a:cubicBezTo>
                      <a:cubicBezTo>
                        <a:pt x="28" y="3002"/>
                        <a:pt x="50" y="3001"/>
                        <a:pt x="59" y="2990"/>
                      </a:cubicBezTo>
                      <a:cubicBezTo>
                        <a:pt x="65" y="2982"/>
                        <a:pt x="59" y="2970"/>
                        <a:pt x="64" y="2963"/>
                      </a:cubicBezTo>
                      <a:cubicBezTo>
                        <a:pt x="68" y="2955"/>
                        <a:pt x="76" y="2958"/>
                        <a:pt x="81" y="2955"/>
                      </a:cubicBezTo>
                      <a:cubicBezTo>
                        <a:pt x="90" y="2950"/>
                        <a:pt x="90" y="2943"/>
                        <a:pt x="96" y="2936"/>
                      </a:cubicBezTo>
                      <a:cubicBezTo>
                        <a:pt x="98" y="2932"/>
                        <a:pt x="102" y="2925"/>
                        <a:pt x="108" y="2924"/>
                      </a:cubicBezTo>
                      <a:cubicBezTo>
                        <a:pt x="114" y="2923"/>
                        <a:pt x="120" y="2933"/>
                        <a:pt x="123" y="2932"/>
                      </a:cubicBezTo>
                      <a:cubicBezTo>
                        <a:pt x="150" y="2929"/>
                        <a:pt x="129" y="2826"/>
                        <a:pt x="129" y="2806"/>
                      </a:cubicBezTo>
                      <a:cubicBezTo>
                        <a:pt x="127" y="2757"/>
                        <a:pt x="122" y="2708"/>
                        <a:pt x="114" y="2659"/>
                      </a:cubicBezTo>
                      <a:cubicBezTo>
                        <a:pt x="109" y="2633"/>
                        <a:pt x="108" y="2607"/>
                        <a:pt x="105" y="2581"/>
                      </a:cubicBezTo>
                      <a:cubicBezTo>
                        <a:pt x="101" y="2553"/>
                        <a:pt x="103" y="2518"/>
                        <a:pt x="87" y="2494"/>
                      </a:cubicBezTo>
                      <a:cubicBezTo>
                        <a:pt x="63" y="2457"/>
                        <a:pt x="37" y="2422"/>
                        <a:pt x="12" y="2386"/>
                      </a:cubicBezTo>
                      <a:cubicBezTo>
                        <a:pt x="8" y="2381"/>
                        <a:pt x="0" y="2372"/>
                        <a:pt x="2" y="2365"/>
                      </a:cubicBezTo>
                      <a:cubicBezTo>
                        <a:pt x="3" y="2360"/>
                        <a:pt x="12" y="2358"/>
                        <a:pt x="15" y="2353"/>
                      </a:cubicBezTo>
                      <a:cubicBezTo>
                        <a:pt x="17" y="2350"/>
                        <a:pt x="16" y="2345"/>
                        <a:pt x="17" y="2341"/>
                      </a:cubicBezTo>
                      <a:cubicBezTo>
                        <a:pt x="22" y="2327"/>
                        <a:pt x="24" y="2322"/>
                        <a:pt x="37" y="2327"/>
                      </a:cubicBezTo>
                      <a:cubicBezTo>
                        <a:pt x="39" y="2328"/>
                        <a:pt x="39" y="2333"/>
                        <a:pt x="42" y="2335"/>
                      </a:cubicBezTo>
                      <a:cubicBezTo>
                        <a:pt x="47" y="2337"/>
                        <a:pt x="61" y="2334"/>
                        <a:pt x="66" y="2332"/>
                      </a:cubicBezTo>
                      <a:cubicBezTo>
                        <a:pt x="77" y="2328"/>
                        <a:pt x="85" y="2316"/>
                        <a:pt x="94" y="2309"/>
                      </a:cubicBezTo>
                      <a:cubicBezTo>
                        <a:pt x="110" y="2298"/>
                        <a:pt x="132" y="2284"/>
                        <a:pt x="150" y="2278"/>
                      </a:cubicBezTo>
                      <a:cubicBezTo>
                        <a:pt x="159" y="2275"/>
                        <a:pt x="171" y="2278"/>
                        <a:pt x="175" y="2266"/>
                      </a:cubicBezTo>
                      <a:cubicBezTo>
                        <a:pt x="177" y="2261"/>
                        <a:pt x="174" y="2253"/>
                        <a:pt x="177" y="2247"/>
                      </a:cubicBezTo>
                      <a:cubicBezTo>
                        <a:pt x="182" y="2232"/>
                        <a:pt x="193" y="2223"/>
                        <a:pt x="208" y="2222"/>
                      </a:cubicBezTo>
                      <a:cubicBezTo>
                        <a:pt x="215" y="2222"/>
                        <a:pt x="222" y="2224"/>
                        <a:pt x="229" y="2224"/>
                      </a:cubicBezTo>
                      <a:cubicBezTo>
                        <a:pt x="235" y="2224"/>
                        <a:pt x="248" y="2217"/>
                        <a:pt x="254" y="2219"/>
                      </a:cubicBezTo>
                      <a:cubicBezTo>
                        <a:pt x="259" y="2221"/>
                        <a:pt x="258" y="2228"/>
                        <a:pt x="263" y="2231"/>
                      </a:cubicBezTo>
                      <a:cubicBezTo>
                        <a:pt x="267" y="2235"/>
                        <a:pt x="279" y="2235"/>
                        <a:pt x="284" y="2234"/>
                      </a:cubicBezTo>
                      <a:cubicBezTo>
                        <a:pt x="294" y="2231"/>
                        <a:pt x="298" y="2222"/>
                        <a:pt x="301" y="2212"/>
                      </a:cubicBezTo>
                      <a:cubicBezTo>
                        <a:pt x="305" y="2203"/>
                        <a:pt x="300" y="2198"/>
                        <a:pt x="300" y="2191"/>
                      </a:cubicBezTo>
                      <a:cubicBezTo>
                        <a:pt x="300" y="2183"/>
                        <a:pt x="304" y="2177"/>
                        <a:pt x="306" y="2170"/>
                      </a:cubicBezTo>
                      <a:cubicBezTo>
                        <a:pt x="309" y="2154"/>
                        <a:pt x="307" y="2163"/>
                        <a:pt x="298" y="2156"/>
                      </a:cubicBezTo>
                      <a:cubicBezTo>
                        <a:pt x="289" y="2149"/>
                        <a:pt x="291" y="2146"/>
                        <a:pt x="287" y="2137"/>
                      </a:cubicBezTo>
                      <a:cubicBezTo>
                        <a:pt x="283" y="2129"/>
                        <a:pt x="274" y="2123"/>
                        <a:pt x="279" y="2113"/>
                      </a:cubicBezTo>
                      <a:cubicBezTo>
                        <a:pt x="284" y="2104"/>
                        <a:pt x="300" y="2103"/>
                        <a:pt x="303" y="2091"/>
                      </a:cubicBezTo>
                      <a:cubicBezTo>
                        <a:pt x="306" y="2082"/>
                        <a:pt x="297" y="2077"/>
                        <a:pt x="300" y="2070"/>
                      </a:cubicBezTo>
                      <a:cubicBezTo>
                        <a:pt x="303" y="2062"/>
                        <a:pt x="319" y="2059"/>
                        <a:pt x="326" y="2056"/>
                      </a:cubicBezTo>
                      <a:cubicBezTo>
                        <a:pt x="332" y="2053"/>
                        <a:pt x="358" y="2051"/>
                        <a:pt x="361" y="2046"/>
                      </a:cubicBezTo>
                      <a:cubicBezTo>
                        <a:pt x="371" y="2035"/>
                        <a:pt x="351" y="2036"/>
                        <a:pt x="346" y="2032"/>
                      </a:cubicBezTo>
                      <a:cubicBezTo>
                        <a:pt x="342" y="2027"/>
                        <a:pt x="346" y="2019"/>
                        <a:pt x="339" y="2014"/>
                      </a:cubicBezTo>
                      <a:cubicBezTo>
                        <a:pt x="350" y="2014"/>
                        <a:pt x="342" y="2006"/>
                        <a:pt x="341" y="1999"/>
                      </a:cubicBezTo>
                      <a:cubicBezTo>
                        <a:pt x="340" y="1989"/>
                        <a:pt x="345" y="1983"/>
                        <a:pt x="353" y="1976"/>
                      </a:cubicBezTo>
                      <a:cubicBezTo>
                        <a:pt x="359" y="1971"/>
                        <a:pt x="368" y="1968"/>
                        <a:pt x="371" y="1960"/>
                      </a:cubicBezTo>
                      <a:cubicBezTo>
                        <a:pt x="373" y="1953"/>
                        <a:pt x="365" y="1949"/>
                        <a:pt x="373" y="1942"/>
                      </a:cubicBezTo>
                      <a:cubicBezTo>
                        <a:pt x="374" y="1940"/>
                        <a:pt x="389" y="1935"/>
                        <a:pt x="392" y="1935"/>
                      </a:cubicBezTo>
                      <a:cubicBezTo>
                        <a:pt x="397" y="1934"/>
                        <a:pt x="399" y="1938"/>
                        <a:pt x="405" y="1935"/>
                      </a:cubicBezTo>
                      <a:cubicBezTo>
                        <a:pt x="411" y="1932"/>
                        <a:pt x="414" y="1924"/>
                        <a:pt x="421" y="1920"/>
                      </a:cubicBezTo>
                      <a:cubicBezTo>
                        <a:pt x="427" y="1917"/>
                        <a:pt x="440" y="1919"/>
                        <a:pt x="445" y="1914"/>
                      </a:cubicBezTo>
                      <a:cubicBezTo>
                        <a:pt x="448" y="1911"/>
                        <a:pt x="447" y="1908"/>
                        <a:pt x="449" y="1905"/>
                      </a:cubicBezTo>
                      <a:cubicBezTo>
                        <a:pt x="458" y="1890"/>
                        <a:pt x="464" y="1887"/>
                        <a:pt x="480" y="1879"/>
                      </a:cubicBezTo>
                      <a:cubicBezTo>
                        <a:pt x="492" y="1873"/>
                        <a:pt x="497" y="1872"/>
                        <a:pt x="501" y="1861"/>
                      </a:cubicBezTo>
                      <a:cubicBezTo>
                        <a:pt x="504" y="1853"/>
                        <a:pt x="500" y="1844"/>
                        <a:pt x="512" y="1850"/>
                      </a:cubicBezTo>
                      <a:cubicBezTo>
                        <a:pt x="518" y="1853"/>
                        <a:pt x="515" y="1863"/>
                        <a:pt x="524" y="1860"/>
                      </a:cubicBezTo>
                      <a:cubicBezTo>
                        <a:pt x="528" y="1858"/>
                        <a:pt x="528" y="1847"/>
                        <a:pt x="532" y="1843"/>
                      </a:cubicBezTo>
                      <a:cubicBezTo>
                        <a:pt x="534" y="1840"/>
                        <a:pt x="539" y="1841"/>
                        <a:pt x="542" y="1838"/>
                      </a:cubicBezTo>
                      <a:cubicBezTo>
                        <a:pt x="555" y="1824"/>
                        <a:pt x="539" y="1825"/>
                        <a:pt x="542" y="1811"/>
                      </a:cubicBezTo>
                      <a:cubicBezTo>
                        <a:pt x="544" y="1801"/>
                        <a:pt x="558" y="1801"/>
                        <a:pt x="554" y="1788"/>
                      </a:cubicBezTo>
                      <a:cubicBezTo>
                        <a:pt x="554" y="1789"/>
                        <a:pt x="547" y="1782"/>
                        <a:pt x="547" y="1782"/>
                      </a:cubicBezTo>
                      <a:cubicBezTo>
                        <a:pt x="538" y="1778"/>
                        <a:pt x="547" y="1785"/>
                        <a:pt x="537" y="1784"/>
                      </a:cubicBezTo>
                      <a:cubicBezTo>
                        <a:pt x="528" y="1784"/>
                        <a:pt x="525" y="1777"/>
                        <a:pt x="516" y="1772"/>
                      </a:cubicBezTo>
                      <a:cubicBezTo>
                        <a:pt x="504" y="1764"/>
                        <a:pt x="486" y="1766"/>
                        <a:pt x="479" y="1754"/>
                      </a:cubicBezTo>
                      <a:cubicBezTo>
                        <a:pt x="471" y="1739"/>
                        <a:pt x="472" y="1712"/>
                        <a:pt x="468" y="1695"/>
                      </a:cubicBezTo>
                      <a:cubicBezTo>
                        <a:pt x="461" y="1653"/>
                        <a:pt x="453" y="1611"/>
                        <a:pt x="445" y="1569"/>
                      </a:cubicBezTo>
                      <a:cubicBezTo>
                        <a:pt x="423" y="1574"/>
                        <a:pt x="430" y="1571"/>
                        <a:pt x="418" y="1560"/>
                      </a:cubicBezTo>
                      <a:cubicBezTo>
                        <a:pt x="415" y="1558"/>
                        <a:pt x="407" y="1555"/>
                        <a:pt x="406" y="1553"/>
                      </a:cubicBezTo>
                      <a:cubicBezTo>
                        <a:pt x="405" y="1550"/>
                        <a:pt x="408" y="1543"/>
                        <a:pt x="407" y="1539"/>
                      </a:cubicBezTo>
                      <a:cubicBezTo>
                        <a:pt x="401" y="1524"/>
                        <a:pt x="380" y="1531"/>
                        <a:pt x="367" y="1527"/>
                      </a:cubicBezTo>
                      <a:cubicBezTo>
                        <a:pt x="348" y="1520"/>
                        <a:pt x="345" y="1521"/>
                        <a:pt x="355" y="1504"/>
                      </a:cubicBezTo>
                      <a:cubicBezTo>
                        <a:pt x="361" y="1494"/>
                        <a:pt x="369" y="1488"/>
                        <a:pt x="359" y="1478"/>
                      </a:cubicBezTo>
                      <a:cubicBezTo>
                        <a:pt x="353" y="1473"/>
                        <a:pt x="344" y="1471"/>
                        <a:pt x="337" y="1470"/>
                      </a:cubicBezTo>
                      <a:cubicBezTo>
                        <a:pt x="334" y="1470"/>
                        <a:pt x="328" y="1474"/>
                        <a:pt x="325" y="1471"/>
                      </a:cubicBezTo>
                      <a:cubicBezTo>
                        <a:pt x="321" y="1468"/>
                        <a:pt x="326" y="1461"/>
                        <a:pt x="325" y="1460"/>
                      </a:cubicBezTo>
                      <a:cubicBezTo>
                        <a:pt x="320" y="1454"/>
                        <a:pt x="314" y="1459"/>
                        <a:pt x="308" y="1456"/>
                      </a:cubicBezTo>
                      <a:cubicBezTo>
                        <a:pt x="300" y="1452"/>
                        <a:pt x="300" y="1445"/>
                        <a:pt x="297" y="1437"/>
                      </a:cubicBezTo>
                      <a:cubicBezTo>
                        <a:pt x="295" y="1431"/>
                        <a:pt x="290" y="1424"/>
                        <a:pt x="291" y="1418"/>
                      </a:cubicBezTo>
                      <a:cubicBezTo>
                        <a:pt x="291" y="1412"/>
                        <a:pt x="295" y="1412"/>
                        <a:pt x="294" y="1405"/>
                      </a:cubicBezTo>
                      <a:cubicBezTo>
                        <a:pt x="293" y="1401"/>
                        <a:pt x="286" y="1398"/>
                        <a:pt x="287" y="1392"/>
                      </a:cubicBezTo>
                      <a:cubicBezTo>
                        <a:pt x="288" y="1388"/>
                        <a:pt x="301" y="1380"/>
                        <a:pt x="303" y="1374"/>
                      </a:cubicBezTo>
                      <a:cubicBezTo>
                        <a:pt x="294" y="1371"/>
                        <a:pt x="294" y="1365"/>
                        <a:pt x="296" y="1359"/>
                      </a:cubicBezTo>
                      <a:cubicBezTo>
                        <a:pt x="299" y="1352"/>
                        <a:pt x="306" y="1357"/>
                        <a:pt x="304" y="1347"/>
                      </a:cubicBezTo>
                      <a:cubicBezTo>
                        <a:pt x="304" y="1346"/>
                        <a:pt x="297" y="1339"/>
                        <a:pt x="296" y="1337"/>
                      </a:cubicBezTo>
                      <a:cubicBezTo>
                        <a:pt x="289" y="1327"/>
                        <a:pt x="292" y="1320"/>
                        <a:pt x="281" y="1317"/>
                      </a:cubicBezTo>
                      <a:cubicBezTo>
                        <a:pt x="276" y="1315"/>
                        <a:pt x="258" y="1323"/>
                        <a:pt x="254" y="1318"/>
                      </a:cubicBezTo>
                      <a:cubicBezTo>
                        <a:pt x="250" y="1311"/>
                        <a:pt x="264" y="1306"/>
                        <a:pt x="265" y="1300"/>
                      </a:cubicBezTo>
                      <a:cubicBezTo>
                        <a:pt x="269" y="1287"/>
                        <a:pt x="261" y="1285"/>
                        <a:pt x="250" y="1280"/>
                      </a:cubicBezTo>
                      <a:cubicBezTo>
                        <a:pt x="237" y="1275"/>
                        <a:pt x="211" y="1269"/>
                        <a:pt x="237" y="1263"/>
                      </a:cubicBezTo>
                      <a:cubicBezTo>
                        <a:pt x="260" y="1259"/>
                        <a:pt x="260" y="1254"/>
                        <a:pt x="268" y="1233"/>
                      </a:cubicBezTo>
                      <a:cubicBezTo>
                        <a:pt x="269" y="1230"/>
                        <a:pt x="272" y="1216"/>
                        <a:pt x="274" y="1214"/>
                      </a:cubicBezTo>
                      <a:cubicBezTo>
                        <a:pt x="278" y="1209"/>
                        <a:pt x="286" y="1213"/>
                        <a:pt x="291" y="1209"/>
                      </a:cubicBezTo>
                      <a:cubicBezTo>
                        <a:pt x="318" y="1189"/>
                        <a:pt x="257" y="1181"/>
                        <a:pt x="273" y="1159"/>
                      </a:cubicBezTo>
                      <a:cubicBezTo>
                        <a:pt x="272" y="1159"/>
                        <a:pt x="270" y="1160"/>
                        <a:pt x="269" y="1159"/>
                      </a:cubicBezTo>
                      <a:cubicBezTo>
                        <a:pt x="276" y="1145"/>
                        <a:pt x="294" y="1140"/>
                        <a:pt x="300" y="1127"/>
                      </a:cubicBezTo>
                      <a:cubicBezTo>
                        <a:pt x="320" y="1144"/>
                        <a:pt x="342" y="1151"/>
                        <a:pt x="368" y="1154"/>
                      </a:cubicBezTo>
                      <a:cubicBezTo>
                        <a:pt x="381" y="1155"/>
                        <a:pt x="390" y="1154"/>
                        <a:pt x="403" y="1151"/>
                      </a:cubicBezTo>
                      <a:cubicBezTo>
                        <a:pt x="412" y="1148"/>
                        <a:pt x="427" y="1142"/>
                        <a:pt x="436" y="1135"/>
                      </a:cubicBezTo>
                      <a:cubicBezTo>
                        <a:pt x="463" y="1110"/>
                        <a:pt x="423" y="1092"/>
                        <a:pt x="424" y="1069"/>
                      </a:cubicBezTo>
                      <a:cubicBezTo>
                        <a:pt x="431" y="1072"/>
                        <a:pt x="439" y="1081"/>
                        <a:pt x="446" y="1087"/>
                      </a:cubicBezTo>
                      <a:cubicBezTo>
                        <a:pt x="452" y="1091"/>
                        <a:pt x="457" y="1093"/>
                        <a:pt x="460" y="110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8" name="Freeform 17">
                  <a:extLst>
                    <a:ext uri="{FF2B5EF4-FFF2-40B4-BE49-F238E27FC236}">
                      <a16:creationId xmlns:a16="http://schemas.microsoft.com/office/drawing/2014/main" id="{8708C164-CD10-ADD6-CA18-2085278C6C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83150" y="1497013"/>
                  <a:ext cx="71438" cy="41275"/>
                </a:xfrm>
                <a:custGeom>
                  <a:avLst/>
                  <a:gdLst>
                    <a:gd name="T0" fmla="*/ 41 w 116"/>
                    <a:gd name="T1" fmla="*/ 8 h 68"/>
                    <a:gd name="T2" fmla="*/ 97 w 116"/>
                    <a:gd name="T3" fmla="*/ 29 h 68"/>
                    <a:gd name="T4" fmla="*/ 96 w 116"/>
                    <a:gd name="T5" fmla="*/ 60 h 68"/>
                    <a:gd name="T6" fmla="*/ 90 w 116"/>
                    <a:gd name="T7" fmla="*/ 53 h 68"/>
                    <a:gd name="T8" fmla="*/ 70 w 116"/>
                    <a:gd name="T9" fmla="*/ 46 h 68"/>
                    <a:gd name="T10" fmla="*/ 44 w 116"/>
                    <a:gd name="T11" fmla="*/ 28 h 68"/>
                    <a:gd name="T12" fmla="*/ 30 w 116"/>
                    <a:gd name="T13" fmla="*/ 21 h 68"/>
                    <a:gd name="T14" fmla="*/ 20 w 116"/>
                    <a:gd name="T15" fmla="*/ 22 h 68"/>
                    <a:gd name="T16" fmla="*/ 0 w 116"/>
                    <a:gd name="T17" fmla="*/ 1 h 68"/>
                    <a:gd name="T18" fmla="*/ 41 w 116"/>
                    <a:gd name="T19" fmla="*/ 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6" h="68">
                      <a:moveTo>
                        <a:pt x="41" y="8"/>
                      </a:moveTo>
                      <a:cubicBezTo>
                        <a:pt x="60" y="13"/>
                        <a:pt x="81" y="17"/>
                        <a:pt x="97" y="29"/>
                      </a:cubicBezTo>
                      <a:cubicBezTo>
                        <a:pt x="109" y="38"/>
                        <a:pt x="116" y="68"/>
                        <a:pt x="96" y="60"/>
                      </a:cubicBezTo>
                      <a:cubicBezTo>
                        <a:pt x="94" y="59"/>
                        <a:pt x="92" y="54"/>
                        <a:pt x="90" y="53"/>
                      </a:cubicBezTo>
                      <a:cubicBezTo>
                        <a:pt x="84" y="49"/>
                        <a:pt x="76" y="48"/>
                        <a:pt x="70" y="46"/>
                      </a:cubicBezTo>
                      <a:cubicBezTo>
                        <a:pt x="56" y="41"/>
                        <a:pt x="54" y="37"/>
                        <a:pt x="44" y="28"/>
                      </a:cubicBezTo>
                      <a:cubicBezTo>
                        <a:pt x="40" y="25"/>
                        <a:pt x="35" y="22"/>
                        <a:pt x="30" y="21"/>
                      </a:cubicBezTo>
                      <a:cubicBezTo>
                        <a:pt x="27" y="20"/>
                        <a:pt x="22" y="23"/>
                        <a:pt x="20" y="22"/>
                      </a:cubicBezTo>
                      <a:cubicBezTo>
                        <a:pt x="11" y="18"/>
                        <a:pt x="9" y="6"/>
                        <a:pt x="0" y="1"/>
                      </a:cubicBezTo>
                      <a:cubicBezTo>
                        <a:pt x="18" y="1"/>
                        <a:pt x="24" y="0"/>
                        <a:pt x="41" y="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09" name="Freeform 18">
                  <a:extLst>
                    <a:ext uri="{FF2B5EF4-FFF2-40B4-BE49-F238E27FC236}">
                      <a16:creationId xmlns:a16="http://schemas.microsoft.com/office/drawing/2014/main" id="{86F58600-C79F-7DC3-4B9A-69D8345E79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3338" y="1357313"/>
                  <a:ext cx="58738" cy="84138"/>
                </a:xfrm>
                <a:custGeom>
                  <a:avLst/>
                  <a:gdLst>
                    <a:gd name="T0" fmla="*/ 64 w 95"/>
                    <a:gd name="T1" fmla="*/ 110 h 137"/>
                    <a:gd name="T2" fmla="*/ 3 w 95"/>
                    <a:gd name="T3" fmla="*/ 58 h 137"/>
                    <a:gd name="T4" fmla="*/ 68 w 95"/>
                    <a:gd name="T5" fmla="*/ 19 h 137"/>
                    <a:gd name="T6" fmla="*/ 86 w 95"/>
                    <a:gd name="T7" fmla="*/ 57 h 137"/>
                    <a:gd name="T8" fmla="*/ 64 w 95"/>
                    <a:gd name="T9" fmla="*/ 110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" h="137">
                      <a:moveTo>
                        <a:pt x="64" y="110"/>
                      </a:moveTo>
                      <a:cubicBezTo>
                        <a:pt x="46" y="137"/>
                        <a:pt x="5" y="75"/>
                        <a:pt x="3" y="58"/>
                      </a:cubicBezTo>
                      <a:cubicBezTo>
                        <a:pt x="0" y="32"/>
                        <a:pt x="47" y="0"/>
                        <a:pt x="68" y="19"/>
                      </a:cubicBezTo>
                      <a:cubicBezTo>
                        <a:pt x="77" y="28"/>
                        <a:pt x="82" y="45"/>
                        <a:pt x="86" y="57"/>
                      </a:cubicBezTo>
                      <a:cubicBezTo>
                        <a:pt x="95" y="83"/>
                        <a:pt x="68" y="86"/>
                        <a:pt x="64" y="11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0" name="Freeform 19">
                  <a:extLst>
                    <a:ext uri="{FF2B5EF4-FFF2-40B4-BE49-F238E27FC236}">
                      <a16:creationId xmlns:a16="http://schemas.microsoft.com/office/drawing/2014/main" id="{F83F27CB-51DD-B9DC-F3CB-3ED754D3EB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14775" y="1804988"/>
                  <a:ext cx="20638" cy="20638"/>
                </a:xfrm>
                <a:custGeom>
                  <a:avLst/>
                  <a:gdLst>
                    <a:gd name="T0" fmla="*/ 24 w 35"/>
                    <a:gd name="T1" fmla="*/ 31 h 34"/>
                    <a:gd name="T2" fmla="*/ 10 w 35"/>
                    <a:gd name="T3" fmla="*/ 11 h 34"/>
                    <a:gd name="T4" fmla="*/ 24 w 35"/>
                    <a:gd name="T5" fmla="*/ 31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5" h="34">
                      <a:moveTo>
                        <a:pt x="24" y="31"/>
                      </a:moveTo>
                      <a:cubicBezTo>
                        <a:pt x="13" y="34"/>
                        <a:pt x="0" y="23"/>
                        <a:pt x="10" y="11"/>
                      </a:cubicBezTo>
                      <a:cubicBezTo>
                        <a:pt x="20" y="0"/>
                        <a:pt x="35" y="22"/>
                        <a:pt x="24" y="3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1" name="Freeform 20">
                  <a:extLst>
                    <a:ext uri="{FF2B5EF4-FFF2-40B4-BE49-F238E27FC236}">
                      <a16:creationId xmlns:a16="http://schemas.microsoft.com/office/drawing/2014/main" id="{DF70A3F7-B9FD-0D70-104C-87D4C9DE0A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86175" y="1819276"/>
                  <a:ext cx="106363" cy="74613"/>
                </a:xfrm>
                <a:custGeom>
                  <a:avLst/>
                  <a:gdLst>
                    <a:gd name="T0" fmla="*/ 170 w 174"/>
                    <a:gd name="T1" fmla="*/ 39 h 121"/>
                    <a:gd name="T2" fmla="*/ 164 w 174"/>
                    <a:gd name="T3" fmla="*/ 53 h 121"/>
                    <a:gd name="T4" fmla="*/ 166 w 174"/>
                    <a:gd name="T5" fmla="*/ 59 h 121"/>
                    <a:gd name="T6" fmla="*/ 160 w 174"/>
                    <a:gd name="T7" fmla="*/ 74 h 121"/>
                    <a:gd name="T8" fmla="*/ 145 w 174"/>
                    <a:gd name="T9" fmla="*/ 89 h 121"/>
                    <a:gd name="T10" fmla="*/ 139 w 174"/>
                    <a:gd name="T11" fmla="*/ 112 h 121"/>
                    <a:gd name="T12" fmla="*/ 89 w 174"/>
                    <a:gd name="T13" fmla="*/ 114 h 121"/>
                    <a:gd name="T14" fmla="*/ 44 w 174"/>
                    <a:gd name="T15" fmla="*/ 95 h 121"/>
                    <a:gd name="T16" fmla="*/ 15 w 174"/>
                    <a:gd name="T17" fmla="*/ 66 h 121"/>
                    <a:gd name="T18" fmla="*/ 53 w 174"/>
                    <a:gd name="T19" fmla="*/ 50 h 121"/>
                    <a:gd name="T20" fmla="*/ 47 w 174"/>
                    <a:gd name="T21" fmla="*/ 21 h 121"/>
                    <a:gd name="T22" fmla="*/ 94 w 174"/>
                    <a:gd name="T23" fmla="*/ 10 h 121"/>
                    <a:gd name="T24" fmla="*/ 159 w 174"/>
                    <a:gd name="T25" fmla="*/ 7 h 121"/>
                    <a:gd name="T26" fmla="*/ 172 w 174"/>
                    <a:gd name="T27" fmla="*/ 23 h 121"/>
                    <a:gd name="T28" fmla="*/ 170 w 174"/>
                    <a:gd name="T29" fmla="*/ 39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4" h="121">
                      <a:moveTo>
                        <a:pt x="170" y="39"/>
                      </a:moveTo>
                      <a:cubicBezTo>
                        <a:pt x="169" y="45"/>
                        <a:pt x="165" y="48"/>
                        <a:pt x="164" y="53"/>
                      </a:cubicBezTo>
                      <a:cubicBezTo>
                        <a:pt x="163" y="57"/>
                        <a:pt x="167" y="56"/>
                        <a:pt x="166" y="59"/>
                      </a:cubicBezTo>
                      <a:cubicBezTo>
                        <a:pt x="166" y="62"/>
                        <a:pt x="163" y="71"/>
                        <a:pt x="160" y="74"/>
                      </a:cubicBezTo>
                      <a:cubicBezTo>
                        <a:pt x="155" y="80"/>
                        <a:pt x="149" y="81"/>
                        <a:pt x="145" y="89"/>
                      </a:cubicBezTo>
                      <a:cubicBezTo>
                        <a:pt x="141" y="95"/>
                        <a:pt x="144" y="106"/>
                        <a:pt x="139" y="112"/>
                      </a:cubicBezTo>
                      <a:cubicBezTo>
                        <a:pt x="131" y="121"/>
                        <a:pt x="102" y="115"/>
                        <a:pt x="89" y="114"/>
                      </a:cubicBezTo>
                      <a:cubicBezTo>
                        <a:pt x="72" y="113"/>
                        <a:pt x="62" y="99"/>
                        <a:pt x="44" y="95"/>
                      </a:cubicBezTo>
                      <a:cubicBezTo>
                        <a:pt x="31" y="93"/>
                        <a:pt x="0" y="86"/>
                        <a:pt x="15" y="66"/>
                      </a:cubicBezTo>
                      <a:cubicBezTo>
                        <a:pt x="28" y="49"/>
                        <a:pt x="47" y="77"/>
                        <a:pt x="53" y="50"/>
                      </a:cubicBezTo>
                      <a:cubicBezTo>
                        <a:pt x="54" y="41"/>
                        <a:pt x="46" y="31"/>
                        <a:pt x="47" y="21"/>
                      </a:cubicBezTo>
                      <a:cubicBezTo>
                        <a:pt x="49" y="0"/>
                        <a:pt x="77" y="7"/>
                        <a:pt x="94" y="10"/>
                      </a:cubicBezTo>
                      <a:cubicBezTo>
                        <a:pt x="114" y="12"/>
                        <a:pt x="141" y="0"/>
                        <a:pt x="159" y="7"/>
                      </a:cubicBezTo>
                      <a:cubicBezTo>
                        <a:pt x="166" y="9"/>
                        <a:pt x="170" y="16"/>
                        <a:pt x="172" y="23"/>
                      </a:cubicBezTo>
                      <a:cubicBezTo>
                        <a:pt x="174" y="30"/>
                        <a:pt x="166" y="31"/>
                        <a:pt x="170" y="3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2" name="Freeform 21">
                  <a:extLst>
                    <a:ext uri="{FF2B5EF4-FFF2-40B4-BE49-F238E27FC236}">
                      <a16:creationId xmlns:a16="http://schemas.microsoft.com/office/drawing/2014/main" id="{76448456-73AA-160D-8652-9484B8B72E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4150" y="966788"/>
                  <a:ext cx="254000" cy="138113"/>
                </a:xfrm>
                <a:custGeom>
                  <a:avLst/>
                  <a:gdLst>
                    <a:gd name="T0" fmla="*/ 59 w 416"/>
                    <a:gd name="T1" fmla="*/ 124 h 225"/>
                    <a:gd name="T2" fmla="*/ 56 w 416"/>
                    <a:gd name="T3" fmla="*/ 127 h 225"/>
                    <a:gd name="T4" fmla="*/ 64 w 416"/>
                    <a:gd name="T5" fmla="*/ 143 h 225"/>
                    <a:gd name="T6" fmla="*/ 83 w 416"/>
                    <a:gd name="T7" fmla="*/ 148 h 225"/>
                    <a:gd name="T8" fmla="*/ 114 w 416"/>
                    <a:gd name="T9" fmla="*/ 133 h 225"/>
                    <a:gd name="T10" fmla="*/ 107 w 416"/>
                    <a:gd name="T11" fmla="*/ 133 h 225"/>
                    <a:gd name="T12" fmla="*/ 122 w 416"/>
                    <a:gd name="T13" fmla="*/ 115 h 225"/>
                    <a:gd name="T14" fmla="*/ 109 w 416"/>
                    <a:gd name="T15" fmla="*/ 111 h 225"/>
                    <a:gd name="T16" fmla="*/ 146 w 416"/>
                    <a:gd name="T17" fmla="*/ 90 h 225"/>
                    <a:gd name="T18" fmla="*/ 184 w 416"/>
                    <a:gd name="T19" fmla="*/ 65 h 225"/>
                    <a:gd name="T20" fmla="*/ 204 w 416"/>
                    <a:gd name="T21" fmla="*/ 84 h 225"/>
                    <a:gd name="T22" fmla="*/ 229 w 416"/>
                    <a:gd name="T23" fmla="*/ 100 h 225"/>
                    <a:gd name="T24" fmla="*/ 253 w 416"/>
                    <a:gd name="T25" fmla="*/ 71 h 225"/>
                    <a:gd name="T26" fmla="*/ 289 w 416"/>
                    <a:gd name="T27" fmla="*/ 50 h 225"/>
                    <a:gd name="T28" fmla="*/ 344 w 416"/>
                    <a:gd name="T29" fmla="*/ 42 h 225"/>
                    <a:gd name="T30" fmla="*/ 375 w 416"/>
                    <a:gd name="T31" fmla="*/ 30 h 225"/>
                    <a:gd name="T32" fmla="*/ 373 w 416"/>
                    <a:gd name="T33" fmla="*/ 40 h 225"/>
                    <a:gd name="T34" fmla="*/ 400 w 416"/>
                    <a:gd name="T35" fmla="*/ 8 h 225"/>
                    <a:gd name="T36" fmla="*/ 401 w 416"/>
                    <a:gd name="T37" fmla="*/ 47 h 225"/>
                    <a:gd name="T38" fmla="*/ 403 w 416"/>
                    <a:gd name="T39" fmla="*/ 56 h 225"/>
                    <a:gd name="T40" fmla="*/ 414 w 416"/>
                    <a:gd name="T41" fmla="*/ 76 h 225"/>
                    <a:gd name="T42" fmla="*/ 374 w 416"/>
                    <a:gd name="T43" fmla="*/ 132 h 225"/>
                    <a:gd name="T44" fmla="*/ 371 w 416"/>
                    <a:gd name="T45" fmla="*/ 149 h 225"/>
                    <a:gd name="T46" fmla="*/ 341 w 416"/>
                    <a:gd name="T47" fmla="*/ 168 h 225"/>
                    <a:gd name="T48" fmla="*/ 336 w 416"/>
                    <a:gd name="T49" fmla="*/ 175 h 225"/>
                    <a:gd name="T50" fmla="*/ 317 w 416"/>
                    <a:gd name="T51" fmla="*/ 184 h 225"/>
                    <a:gd name="T52" fmla="*/ 285 w 416"/>
                    <a:gd name="T53" fmla="*/ 200 h 225"/>
                    <a:gd name="T54" fmla="*/ 258 w 416"/>
                    <a:gd name="T55" fmla="*/ 213 h 225"/>
                    <a:gd name="T56" fmla="*/ 223 w 416"/>
                    <a:gd name="T57" fmla="*/ 208 h 225"/>
                    <a:gd name="T58" fmla="*/ 207 w 416"/>
                    <a:gd name="T59" fmla="*/ 204 h 225"/>
                    <a:gd name="T60" fmla="*/ 178 w 416"/>
                    <a:gd name="T61" fmla="*/ 211 h 225"/>
                    <a:gd name="T62" fmla="*/ 117 w 416"/>
                    <a:gd name="T63" fmla="*/ 210 h 225"/>
                    <a:gd name="T64" fmla="*/ 52 w 416"/>
                    <a:gd name="T65" fmla="*/ 212 h 225"/>
                    <a:gd name="T66" fmla="*/ 48 w 416"/>
                    <a:gd name="T67" fmla="*/ 194 h 225"/>
                    <a:gd name="T68" fmla="*/ 33 w 416"/>
                    <a:gd name="T69" fmla="*/ 169 h 225"/>
                    <a:gd name="T70" fmla="*/ 34 w 416"/>
                    <a:gd name="T71" fmla="*/ 158 h 225"/>
                    <a:gd name="T72" fmla="*/ 38 w 416"/>
                    <a:gd name="T73" fmla="*/ 145 h 225"/>
                    <a:gd name="T74" fmla="*/ 29 w 416"/>
                    <a:gd name="T75" fmla="*/ 136 h 225"/>
                    <a:gd name="T76" fmla="*/ 59 w 416"/>
                    <a:gd name="T77" fmla="*/ 124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416" h="225">
                      <a:moveTo>
                        <a:pt x="59" y="124"/>
                      </a:moveTo>
                      <a:cubicBezTo>
                        <a:pt x="58" y="125"/>
                        <a:pt x="57" y="126"/>
                        <a:pt x="56" y="127"/>
                      </a:cubicBezTo>
                      <a:cubicBezTo>
                        <a:pt x="60" y="134"/>
                        <a:pt x="58" y="138"/>
                        <a:pt x="64" y="143"/>
                      </a:cubicBezTo>
                      <a:cubicBezTo>
                        <a:pt x="67" y="145"/>
                        <a:pt x="79" y="148"/>
                        <a:pt x="83" y="148"/>
                      </a:cubicBezTo>
                      <a:cubicBezTo>
                        <a:pt x="93" y="148"/>
                        <a:pt x="109" y="141"/>
                        <a:pt x="114" y="133"/>
                      </a:cubicBezTo>
                      <a:cubicBezTo>
                        <a:pt x="123" y="120"/>
                        <a:pt x="110" y="124"/>
                        <a:pt x="107" y="133"/>
                      </a:cubicBezTo>
                      <a:cubicBezTo>
                        <a:pt x="102" y="118"/>
                        <a:pt x="112" y="115"/>
                        <a:pt x="122" y="115"/>
                      </a:cubicBezTo>
                      <a:cubicBezTo>
                        <a:pt x="118" y="111"/>
                        <a:pt x="114" y="110"/>
                        <a:pt x="109" y="111"/>
                      </a:cubicBezTo>
                      <a:cubicBezTo>
                        <a:pt x="114" y="95"/>
                        <a:pt x="134" y="94"/>
                        <a:pt x="146" y="90"/>
                      </a:cubicBezTo>
                      <a:cubicBezTo>
                        <a:pt x="160" y="85"/>
                        <a:pt x="170" y="68"/>
                        <a:pt x="184" y="65"/>
                      </a:cubicBezTo>
                      <a:cubicBezTo>
                        <a:pt x="207" y="59"/>
                        <a:pt x="200" y="73"/>
                        <a:pt x="204" y="84"/>
                      </a:cubicBezTo>
                      <a:cubicBezTo>
                        <a:pt x="208" y="95"/>
                        <a:pt x="220" y="102"/>
                        <a:pt x="229" y="100"/>
                      </a:cubicBezTo>
                      <a:cubicBezTo>
                        <a:pt x="242" y="96"/>
                        <a:pt x="246" y="81"/>
                        <a:pt x="253" y="71"/>
                      </a:cubicBezTo>
                      <a:cubicBezTo>
                        <a:pt x="261" y="60"/>
                        <a:pt x="277" y="56"/>
                        <a:pt x="289" y="50"/>
                      </a:cubicBezTo>
                      <a:cubicBezTo>
                        <a:pt x="297" y="46"/>
                        <a:pt x="352" y="14"/>
                        <a:pt x="344" y="42"/>
                      </a:cubicBezTo>
                      <a:cubicBezTo>
                        <a:pt x="346" y="32"/>
                        <a:pt x="366" y="36"/>
                        <a:pt x="375" y="30"/>
                      </a:cubicBezTo>
                      <a:cubicBezTo>
                        <a:pt x="374" y="33"/>
                        <a:pt x="374" y="37"/>
                        <a:pt x="373" y="40"/>
                      </a:cubicBezTo>
                      <a:cubicBezTo>
                        <a:pt x="391" y="37"/>
                        <a:pt x="367" y="0"/>
                        <a:pt x="400" y="8"/>
                      </a:cubicBezTo>
                      <a:cubicBezTo>
                        <a:pt x="392" y="16"/>
                        <a:pt x="399" y="37"/>
                        <a:pt x="401" y="47"/>
                      </a:cubicBezTo>
                      <a:cubicBezTo>
                        <a:pt x="402" y="49"/>
                        <a:pt x="401" y="52"/>
                        <a:pt x="403" y="56"/>
                      </a:cubicBezTo>
                      <a:cubicBezTo>
                        <a:pt x="407" y="63"/>
                        <a:pt x="416" y="65"/>
                        <a:pt x="414" y="76"/>
                      </a:cubicBezTo>
                      <a:cubicBezTo>
                        <a:pt x="411" y="96"/>
                        <a:pt x="383" y="114"/>
                        <a:pt x="374" y="132"/>
                      </a:cubicBezTo>
                      <a:cubicBezTo>
                        <a:pt x="372" y="137"/>
                        <a:pt x="373" y="145"/>
                        <a:pt x="371" y="149"/>
                      </a:cubicBezTo>
                      <a:cubicBezTo>
                        <a:pt x="367" y="157"/>
                        <a:pt x="348" y="162"/>
                        <a:pt x="341" y="168"/>
                      </a:cubicBezTo>
                      <a:cubicBezTo>
                        <a:pt x="339" y="169"/>
                        <a:pt x="338" y="173"/>
                        <a:pt x="336" y="175"/>
                      </a:cubicBezTo>
                      <a:cubicBezTo>
                        <a:pt x="331" y="179"/>
                        <a:pt x="323" y="182"/>
                        <a:pt x="317" y="184"/>
                      </a:cubicBezTo>
                      <a:cubicBezTo>
                        <a:pt x="306" y="189"/>
                        <a:pt x="296" y="194"/>
                        <a:pt x="285" y="200"/>
                      </a:cubicBezTo>
                      <a:cubicBezTo>
                        <a:pt x="277" y="203"/>
                        <a:pt x="267" y="211"/>
                        <a:pt x="258" y="213"/>
                      </a:cubicBezTo>
                      <a:cubicBezTo>
                        <a:pt x="248" y="214"/>
                        <a:pt x="233" y="210"/>
                        <a:pt x="223" y="208"/>
                      </a:cubicBezTo>
                      <a:cubicBezTo>
                        <a:pt x="218" y="208"/>
                        <a:pt x="211" y="205"/>
                        <a:pt x="207" y="204"/>
                      </a:cubicBezTo>
                      <a:cubicBezTo>
                        <a:pt x="194" y="202"/>
                        <a:pt x="189" y="206"/>
                        <a:pt x="178" y="211"/>
                      </a:cubicBezTo>
                      <a:cubicBezTo>
                        <a:pt x="156" y="219"/>
                        <a:pt x="140" y="212"/>
                        <a:pt x="117" y="210"/>
                      </a:cubicBezTo>
                      <a:cubicBezTo>
                        <a:pt x="100" y="208"/>
                        <a:pt x="65" y="225"/>
                        <a:pt x="52" y="212"/>
                      </a:cubicBezTo>
                      <a:cubicBezTo>
                        <a:pt x="46" y="207"/>
                        <a:pt x="50" y="202"/>
                        <a:pt x="48" y="194"/>
                      </a:cubicBezTo>
                      <a:cubicBezTo>
                        <a:pt x="46" y="185"/>
                        <a:pt x="38" y="177"/>
                        <a:pt x="33" y="169"/>
                      </a:cubicBezTo>
                      <a:cubicBezTo>
                        <a:pt x="46" y="169"/>
                        <a:pt x="34" y="163"/>
                        <a:pt x="34" y="158"/>
                      </a:cubicBezTo>
                      <a:cubicBezTo>
                        <a:pt x="34" y="155"/>
                        <a:pt x="38" y="145"/>
                        <a:pt x="38" y="145"/>
                      </a:cubicBezTo>
                      <a:cubicBezTo>
                        <a:pt x="37" y="140"/>
                        <a:pt x="33" y="141"/>
                        <a:pt x="29" y="136"/>
                      </a:cubicBezTo>
                      <a:cubicBezTo>
                        <a:pt x="0" y="98"/>
                        <a:pt x="62" y="113"/>
                        <a:pt x="59" y="12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3" name="Freeform 22">
                  <a:extLst>
                    <a:ext uri="{FF2B5EF4-FFF2-40B4-BE49-F238E27FC236}">
                      <a16:creationId xmlns:a16="http://schemas.microsoft.com/office/drawing/2014/main" id="{F64973E3-DF10-DE2C-402E-27AD3C59D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2513" y="1263651"/>
                  <a:ext cx="7938" cy="4763"/>
                </a:xfrm>
                <a:custGeom>
                  <a:avLst/>
                  <a:gdLst>
                    <a:gd name="T0" fmla="*/ 13 w 13"/>
                    <a:gd name="T1" fmla="*/ 6 h 9"/>
                    <a:gd name="T2" fmla="*/ 0 w 13"/>
                    <a:gd name="T3" fmla="*/ 0 h 9"/>
                    <a:gd name="T4" fmla="*/ 13 w 13"/>
                    <a:gd name="T5" fmla="*/ 6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9">
                      <a:moveTo>
                        <a:pt x="13" y="6"/>
                      </a:moveTo>
                      <a:cubicBezTo>
                        <a:pt x="7" y="9"/>
                        <a:pt x="2" y="6"/>
                        <a:pt x="0" y="0"/>
                      </a:cubicBezTo>
                      <a:cubicBezTo>
                        <a:pt x="3" y="5"/>
                        <a:pt x="8" y="6"/>
                        <a:pt x="13" y="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4" name="Freeform 23">
                  <a:extLst>
                    <a:ext uri="{FF2B5EF4-FFF2-40B4-BE49-F238E27FC236}">
                      <a16:creationId xmlns:a16="http://schemas.microsoft.com/office/drawing/2014/main" id="{CEDD1B04-C352-4D30-8969-7C0042D40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2513" y="1254126"/>
                  <a:ext cx="4763" cy="7938"/>
                </a:xfrm>
                <a:custGeom>
                  <a:avLst/>
                  <a:gdLst>
                    <a:gd name="T0" fmla="*/ 2 w 9"/>
                    <a:gd name="T1" fmla="*/ 14 h 14"/>
                    <a:gd name="T2" fmla="*/ 9 w 9"/>
                    <a:gd name="T3" fmla="*/ 0 h 14"/>
                    <a:gd name="T4" fmla="*/ 2 w 9"/>
                    <a:gd name="T5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14">
                      <a:moveTo>
                        <a:pt x="2" y="14"/>
                      </a:moveTo>
                      <a:cubicBezTo>
                        <a:pt x="0" y="14"/>
                        <a:pt x="5" y="4"/>
                        <a:pt x="9" y="0"/>
                      </a:cubicBezTo>
                      <a:cubicBezTo>
                        <a:pt x="8" y="5"/>
                        <a:pt x="5" y="10"/>
                        <a:pt x="2" y="1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5" name="Freeform 24">
                  <a:extLst>
                    <a:ext uri="{FF2B5EF4-FFF2-40B4-BE49-F238E27FC236}">
                      <a16:creationId xmlns:a16="http://schemas.microsoft.com/office/drawing/2014/main" id="{39E7C493-A1A3-160C-83B7-77957425F9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87900" y="1252538"/>
                  <a:ext cx="46038" cy="77788"/>
                </a:xfrm>
                <a:custGeom>
                  <a:avLst/>
                  <a:gdLst>
                    <a:gd name="T0" fmla="*/ 67 w 76"/>
                    <a:gd name="T1" fmla="*/ 112 h 127"/>
                    <a:gd name="T2" fmla="*/ 38 w 76"/>
                    <a:gd name="T3" fmla="*/ 127 h 127"/>
                    <a:gd name="T4" fmla="*/ 31 w 76"/>
                    <a:gd name="T5" fmla="*/ 97 h 127"/>
                    <a:gd name="T6" fmla="*/ 11 w 76"/>
                    <a:gd name="T7" fmla="*/ 52 h 127"/>
                    <a:gd name="T8" fmla="*/ 0 w 76"/>
                    <a:gd name="T9" fmla="*/ 0 h 127"/>
                    <a:gd name="T10" fmla="*/ 27 w 76"/>
                    <a:gd name="T11" fmla="*/ 28 h 127"/>
                    <a:gd name="T12" fmla="*/ 53 w 76"/>
                    <a:gd name="T13" fmla="*/ 39 h 127"/>
                    <a:gd name="T14" fmla="*/ 61 w 76"/>
                    <a:gd name="T15" fmla="*/ 74 h 127"/>
                    <a:gd name="T16" fmla="*/ 74 w 76"/>
                    <a:gd name="T17" fmla="*/ 90 h 127"/>
                    <a:gd name="T18" fmla="*/ 67 w 76"/>
                    <a:gd name="T19" fmla="*/ 112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" h="127">
                      <a:moveTo>
                        <a:pt x="67" y="112"/>
                      </a:moveTo>
                      <a:cubicBezTo>
                        <a:pt x="57" y="117"/>
                        <a:pt x="48" y="122"/>
                        <a:pt x="38" y="127"/>
                      </a:cubicBezTo>
                      <a:cubicBezTo>
                        <a:pt x="34" y="116"/>
                        <a:pt x="32" y="109"/>
                        <a:pt x="31" y="97"/>
                      </a:cubicBezTo>
                      <a:cubicBezTo>
                        <a:pt x="29" y="78"/>
                        <a:pt x="19" y="69"/>
                        <a:pt x="11" y="52"/>
                      </a:cubicBezTo>
                      <a:cubicBezTo>
                        <a:pt x="5" y="38"/>
                        <a:pt x="4" y="16"/>
                        <a:pt x="0" y="0"/>
                      </a:cubicBezTo>
                      <a:cubicBezTo>
                        <a:pt x="6" y="9"/>
                        <a:pt x="19" y="20"/>
                        <a:pt x="27" y="28"/>
                      </a:cubicBezTo>
                      <a:cubicBezTo>
                        <a:pt x="36" y="37"/>
                        <a:pt x="41" y="36"/>
                        <a:pt x="53" y="39"/>
                      </a:cubicBezTo>
                      <a:cubicBezTo>
                        <a:pt x="76" y="46"/>
                        <a:pt x="59" y="55"/>
                        <a:pt x="61" y="74"/>
                      </a:cubicBezTo>
                      <a:cubicBezTo>
                        <a:pt x="63" y="84"/>
                        <a:pt x="72" y="84"/>
                        <a:pt x="74" y="90"/>
                      </a:cubicBezTo>
                      <a:cubicBezTo>
                        <a:pt x="76" y="97"/>
                        <a:pt x="70" y="106"/>
                        <a:pt x="67" y="1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6" name="Freeform 25">
                  <a:extLst>
                    <a:ext uri="{FF2B5EF4-FFF2-40B4-BE49-F238E27FC236}">
                      <a16:creationId xmlns:a16="http://schemas.microsoft.com/office/drawing/2014/main" id="{2FBE9F7D-E343-5931-C699-E5144B71B7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938" y="776288"/>
                  <a:ext cx="26988" cy="28575"/>
                </a:xfrm>
                <a:custGeom>
                  <a:avLst/>
                  <a:gdLst>
                    <a:gd name="T0" fmla="*/ 41 w 43"/>
                    <a:gd name="T1" fmla="*/ 26 h 47"/>
                    <a:gd name="T2" fmla="*/ 24 w 43"/>
                    <a:gd name="T3" fmla="*/ 3 h 47"/>
                    <a:gd name="T4" fmla="*/ 41 w 43"/>
                    <a:gd name="T5" fmla="*/ 26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3" h="47">
                      <a:moveTo>
                        <a:pt x="41" y="26"/>
                      </a:moveTo>
                      <a:cubicBezTo>
                        <a:pt x="27" y="47"/>
                        <a:pt x="0" y="13"/>
                        <a:pt x="24" y="3"/>
                      </a:cubicBezTo>
                      <a:cubicBezTo>
                        <a:pt x="32" y="0"/>
                        <a:pt x="43" y="16"/>
                        <a:pt x="41" y="2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7" name="Freeform 26">
                  <a:extLst>
                    <a:ext uri="{FF2B5EF4-FFF2-40B4-BE49-F238E27FC236}">
                      <a16:creationId xmlns:a16="http://schemas.microsoft.com/office/drawing/2014/main" id="{DA34D5F0-3FB4-755A-1855-54E3240600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2988" y="1062038"/>
                  <a:ext cx="390525" cy="295275"/>
                </a:xfrm>
                <a:custGeom>
                  <a:avLst/>
                  <a:gdLst>
                    <a:gd name="T0" fmla="*/ 161 w 639"/>
                    <a:gd name="T1" fmla="*/ 142 h 483"/>
                    <a:gd name="T2" fmla="*/ 191 w 639"/>
                    <a:gd name="T3" fmla="*/ 161 h 483"/>
                    <a:gd name="T4" fmla="*/ 229 w 639"/>
                    <a:gd name="T5" fmla="*/ 155 h 483"/>
                    <a:gd name="T6" fmla="*/ 258 w 639"/>
                    <a:gd name="T7" fmla="*/ 173 h 483"/>
                    <a:gd name="T8" fmla="*/ 295 w 639"/>
                    <a:gd name="T9" fmla="*/ 181 h 483"/>
                    <a:gd name="T10" fmla="*/ 299 w 639"/>
                    <a:gd name="T11" fmla="*/ 160 h 483"/>
                    <a:gd name="T12" fmla="*/ 272 w 639"/>
                    <a:gd name="T13" fmla="*/ 126 h 483"/>
                    <a:gd name="T14" fmla="*/ 257 w 639"/>
                    <a:gd name="T15" fmla="*/ 72 h 483"/>
                    <a:gd name="T16" fmla="*/ 291 w 639"/>
                    <a:gd name="T17" fmla="*/ 55 h 483"/>
                    <a:gd name="T18" fmla="*/ 307 w 639"/>
                    <a:gd name="T19" fmla="*/ 35 h 483"/>
                    <a:gd name="T20" fmla="*/ 404 w 639"/>
                    <a:gd name="T21" fmla="*/ 53 h 483"/>
                    <a:gd name="T22" fmla="*/ 452 w 639"/>
                    <a:gd name="T23" fmla="*/ 37 h 483"/>
                    <a:gd name="T24" fmla="*/ 514 w 639"/>
                    <a:gd name="T25" fmla="*/ 13 h 483"/>
                    <a:gd name="T26" fmla="*/ 551 w 639"/>
                    <a:gd name="T27" fmla="*/ 11 h 483"/>
                    <a:gd name="T28" fmla="*/ 573 w 639"/>
                    <a:gd name="T29" fmla="*/ 15 h 483"/>
                    <a:gd name="T30" fmla="*/ 632 w 639"/>
                    <a:gd name="T31" fmla="*/ 20 h 483"/>
                    <a:gd name="T32" fmla="*/ 608 w 639"/>
                    <a:gd name="T33" fmla="*/ 49 h 483"/>
                    <a:gd name="T34" fmla="*/ 626 w 639"/>
                    <a:gd name="T35" fmla="*/ 92 h 483"/>
                    <a:gd name="T36" fmla="*/ 622 w 639"/>
                    <a:gd name="T37" fmla="*/ 110 h 483"/>
                    <a:gd name="T38" fmla="*/ 625 w 639"/>
                    <a:gd name="T39" fmla="*/ 154 h 483"/>
                    <a:gd name="T40" fmla="*/ 602 w 639"/>
                    <a:gd name="T41" fmla="*/ 190 h 483"/>
                    <a:gd name="T42" fmla="*/ 554 w 639"/>
                    <a:gd name="T43" fmla="*/ 203 h 483"/>
                    <a:gd name="T44" fmla="*/ 504 w 639"/>
                    <a:gd name="T45" fmla="*/ 209 h 483"/>
                    <a:gd name="T46" fmla="*/ 481 w 639"/>
                    <a:gd name="T47" fmla="*/ 196 h 483"/>
                    <a:gd name="T48" fmla="*/ 465 w 639"/>
                    <a:gd name="T49" fmla="*/ 180 h 483"/>
                    <a:gd name="T50" fmla="*/ 443 w 639"/>
                    <a:gd name="T51" fmla="*/ 160 h 483"/>
                    <a:gd name="T52" fmla="*/ 452 w 639"/>
                    <a:gd name="T53" fmla="*/ 94 h 483"/>
                    <a:gd name="T54" fmla="*/ 418 w 639"/>
                    <a:gd name="T55" fmla="*/ 86 h 483"/>
                    <a:gd name="T56" fmla="*/ 388 w 639"/>
                    <a:gd name="T57" fmla="*/ 103 h 483"/>
                    <a:gd name="T58" fmla="*/ 374 w 639"/>
                    <a:gd name="T59" fmla="*/ 125 h 483"/>
                    <a:gd name="T60" fmla="*/ 379 w 639"/>
                    <a:gd name="T61" fmla="*/ 135 h 483"/>
                    <a:gd name="T62" fmla="*/ 406 w 639"/>
                    <a:gd name="T63" fmla="*/ 159 h 483"/>
                    <a:gd name="T64" fmla="*/ 454 w 639"/>
                    <a:gd name="T65" fmla="*/ 201 h 483"/>
                    <a:gd name="T66" fmla="*/ 475 w 639"/>
                    <a:gd name="T67" fmla="*/ 216 h 483"/>
                    <a:gd name="T68" fmla="*/ 547 w 639"/>
                    <a:gd name="T69" fmla="*/ 222 h 483"/>
                    <a:gd name="T70" fmla="*/ 577 w 639"/>
                    <a:gd name="T71" fmla="*/ 243 h 483"/>
                    <a:gd name="T72" fmla="*/ 543 w 639"/>
                    <a:gd name="T73" fmla="*/ 266 h 483"/>
                    <a:gd name="T74" fmla="*/ 525 w 639"/>
                    <a:gd name="T75" fmla="*/ 289 h 483"/>
                    <a:gd name="T76" fmla="*/ 490 w 639"/>
                    <a:gd name="T77" fmla="*/ 301 h 483"/>
                    <a:gd name="T78" fmla="*/ 476 w 639"/>
                    <a:gd name="T79" fmla="*/ 283 h 483"/>
                    <a:gd name="T80" fmla="*/ 482 w 639"/>
                    <a:gd name="T81" fmla="*/ 276 h 483"/>
                    <a:gd name="T82" fmla="*/ 443 w 639"/>
                    <a:gd name="T83" fmla="*/ 296 h 483"/>
                    <a:gd name="T84" fmla="*/ 406 w 639"/>
                    <a:gd name="T85" fmla="*/ 334 h 483"/>
                    <a:gd name="T86" fmla="*/ 331 w 639"/>
                    <a:gd name="T87" fmla="*/ 391 h 483"/>
                    <a:gd name="T88" fmla="*/ 314 w 639"/>
                    <a:gd name="T89" fmla="*/ 383 h 483"/>
                    <a:gd name="T90" fmla="*/ 283 w 639"/>
                    <a:gd name="T91" fmla="*/ 392 h 483"/>
                    <a:gd name="T92" fmla="*/ 276 w 639"/>
                    <a:gd name="T93" fmla="*/ 477 h 483"/>
                    <a:gd name="T94" fmla="*/ 213 w 639"/>
                    <a:gd name="T95" fmla="*/ 482 h 483"/>
                    <a:gd name="T96" fmla="*/ 135 w 639"/>
                    <a:gd name="T97" fmla="*/ 444 h 483"/>
                    <a:gd name="T98" fmla="*/ 80 w 639"/>
                    <a:gd name="T99" fmla="*/ 431 h 483"/>
                    <a:gd name="T100" fmla="*/ 48 w 639"/>
                    <a:gd name="T101" fmla="*/ 402 h 483"/>
                    <a:gd name="T102" fmla="*/ 59 w 639"/>
                    <a:gd name="T103" fmla="*/ 388 h 483"/>
                    <a:gd name="T104" fmla="*/ 50 w 639"/>
                    <a:gd name="T105" fmla="*/ 366 h 483"/>
                    <a:gd name="T106" fmla="*/ 37 w 639"/>
                    <a:gd name="T107" fmla="*/ 328 h 483"/>
                    <a:gd name="T108" fmla="*/ 24 w 639"/>
                    <a:gd name="T109" fmla="*/ 313 h 483"/>
                    <a:gd name="T110" fmla="*/ 15 w 639"/>
                    <a:gd name="T111" fmla="*/ 277 h 483"/>
                    <a:gd name="T112" fmla="*/ 52 w 639"/>
                    <a:gd name="T113" fmla="*/ 270 h 483"/>
                    <a:gd name="T114" fmla="*/ 19 w 639"/>
                    <a:gd name="T115" fmla="*/ 214 h 483"/>
                    <a:gd name="T116" fmla="*/ 37 w 639"/>
                    <a:gd name="T117" fmla="*/ 187 h 483"/>
                    <a:gd name="T118" fmla="*/ 67 w 639"/>
                    <a:gd name="T119" fmla="*/ 158 h 483"/>
                    <a:gd name="T120" fmla="*/ 91 w 639"/>
                    <a:gd name="T121" fmla="*/ 104 h 483"/>
                    <a:gd name="T122" fmla="*/ 92 w 639"/>
                    <a:gd name="T123" fmla="*/ 122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39" h="483">
                      <a:moveTo>
                        <a:pt x="113" y="136"/>
                      </a:moveTo>
                      <a:cubicBezTo>
                        <a:pt x="128" y="137"/>
                        <a:pt x="147" y="142"/>
                        <a:pt x="161" y="142"/>
                      </a:cubicBezTo>
                      <a:cubicBezTo>
                        <a:pt x="170" y="142"/>
                        <a:pt x="186" y="134"/>
                        <a:pt x="190" y="147"/>
                      </a:cubicBezTo>
                      <a:cubicBezTo>
                        <a:pt x="183" y="147"/>
                        <a:pt x="186" y="157"/>
                        <a:pt x="191" y="161"/>
                      </a:cubicBezTo>
                      <a:cubicBezTo>
                        <a:pt x="192" y="162"/>
                        <a:pt x="204" y="165"/>
                        <a:pt x="208" y="165"/>
                      </a:cubicBezTo>
                      <a:cubicBezTo>
                        <a:pt x="228" y="169"/>
                        <a:pt x="218" y="161"/>
                        <a:pt x="229" y="155"/>
                      </a:cubicBezTo>
                      <a:cubicBezTo>
                        <a:pt x="231" y="153"/>
                        <a:pt x="246" y="153"/>
                        <a:pt x="248" y="154"/>
                      </a:cubicBezTo>
                      <a:cubicBezTo>
                        <a:pt x="259" y="158"/>
                        <a:pt x="257" y="164"/>
                        <a:pt x="258" y="173"/>
                      </a:cubicBezTo>
                      <a:cubicBezTo>
                        <a:pt x="260" y="185"/>
                        <a:pt x="260" y="191"/>
                        <a:pt x="273" y="190"/>
                      </a:cubicBezTo>
                      <a:cubicBezTo>
                        <a:pt x="281" y="189"/>
                        <a:pt x="289" y="184"/>
                        <a:pt x="295" y="181"/>
                      </a:cubicBezTo>
                      <a:cubicBezTo>
                        <a:pt x="303" y="177"/>
                        <a:pt x="311" y="177"/>
                        <a:pt x="308" y="166"/>
                      </a:cubicBezTo>
                      <a:cubicBezTo>
                        <a:pt x="308" y="167"/>
                        <a:pt x="297" y="160"/>
                        <a:pt x="299" y="160"/>
                      </a:cubicBezTo>
                      <a:cubicBezTo>
                        <a:pt x="296" y="159"/>
                        <a:pt x="285" y="154"/>
                        <a:pt x="282" y="151"/>
                      </a:cubicBezTo>
                      <a:cubicBezTo>
                        <a:pt x="278" y="145"/>
                        <a:pt x="276" y="133"/>
                        <a:pt x="272" y="126"/>
                      </a:cubicBezTo>
                      <a:cubicBezTo>
                        <a:pt x="267" y="119"/>
                        <a:pt x="264" y="114"/>
                        <a:pt x="261" y="106"/>
                      </a:cubicBezTo>
                      <a:cubicBezTo>
                        <a:pt x="255" y="95"/>
                        <a:pt x="248" y="83"/>
                        <a:pt x="257" y="72"/>
                      </a:cubicBezTo>
                      <a:cubicBezTo>
                        <a:pt x="265" y="62"/>
                        <a:pt x="278" y="65"/>
                        <a:pt x="289" y="63"/>
                      </a:cubicBezTo>
                      <a:cubicBezTo>
                        <a:pt x="304" y="60"/>
                        <a:pt x="301" y="62"/>
                        <a:pt x="291" y="55"/>
                      </a:cubicBezTo>
                      <a:cubicBezTo>
                        <a:pt x="280" y="47"/>
                        <a:pt x="269" y="38"/>
                        <a:pt x="258" y="32"/>
                      </a:cubicBezTo>
                      <a:cubicBezTo>
                        <a:pt x="269" y="27"/>
                        <a:pt x="295" y="32"/>
                        <a:pt x="307" y="35"/>
                      </a:cubicBezTo>
                      <a:cubicBezTo>
                        <a:pt x="325" y="39"/>
                        <a:pt x="342" y="40"/>
                        <a:pt x="360" y="47"/>
                      </a:cubicBezTo>
                      <a:cubicBezTo>
                        <a:pt x="379" y="54"/>
                        <a:pt x="382" y="58"/>
                        <a:pt x="404" y="53"/>
                      </a:cubicBezTo>
                      <a:cubicBezTo>
                        <a:pt x="412" y="51"/>
                        <a:pt x="423" y="52"/>
                        <a:pt x="430" y="50"/>
                      </a:cubicBezTo>
                      <a:cubicBezTo>
                        <a:pt x="438" y="47"/>
                        <a:pt x="442" y="38"/>
                        <a:pt x="452" y="37"/>
                      </a:cubicBezTo>
                      <a:cubicBezTo>
                        <a:pt x="436" y="27"/>
                        <a:pt x="464" y="6"/>
                        <a:pt x="479" y="15"/>
                      </a:cubicBezTo>
                      <a:cubicBezTo>
                        <a:pt x="482" y="0"/>
                        <a:pt x="505" y="13"/>
                        <a:pt x="514" y="13"/>
                      </a:cubicBezTo>
                      <a:cubicBezTo>
                        <a:pt x="521" y="13"/>
                        <a:pt x="528" y="11"/>
                        <a:pt x="535" y="10"/>
                      </a:cubicBezTo>
                      <a:cubicBezTo>
                        <a:pt x="541" y="10"/>
                        <a:pt x="546" y="11"/>
                        <a:pt x="551" y="11"/>
                      </a:cubicBezTo>
                      <a:cubicBezTo>
                        <a:pt x="554" y="11"/>
                        <a:pt x="557" y="7"/>
                        <a:pt x="559" y="7"/>
                      </a:cubicBezTo>
                      <a:cubicBezTo>
                        <a:pt x="565" y="8"/>
                        <a:pt x="567" y="13"/>
                        <a:pt x="573" y="15"/>
                      </a:cubicBezTo>
                      <a:cubicBezTo>
                        <a:pt x="581" y="16"/>
                        <a:pt x="590" y="10"/>
                        <a:pt x="599" y="9"/>
                      </a:cubicBezTo>
                      <a:cubicBezTo>
                        <a:pt x="605" y="9"/>
                        <a:pt x="633" y="9"/>
                        <a:pt x="632" y="20"/>
                      </a:cubicBezTo>
                      <a:cubicBezTo>
                        <a:pt x="632" y="19"/>
                        <a:pt x="618" y="30"/>
                        <a:pt x="616" y="32"/>
                      </a:cubicBezTo>
                      <a:cubicBezTo>
                        <a:pt x="612" y="38"/>
                        <a:pt x="611" y="43"/>
                        <a:pt x="608" y="49"/>
                      </a:cubicBezTo>
                      <a:cubicBezTo>
                        <a:pt x="600" y="64"/>
                        <a:pt x="597" y="65"/>
                        <a:pt x="603" y="80"/>
                      </a:cubicBezTo>
                      <a:cubicBezTo>
                        <a:pt x="611" y="99"/>
                        <a:pt x="608" y="86"/>
                        <a:pt x="626" y="92"/>
                      </a:cubicBezTo>
                      <a:cubicBezTo>
                        <a:pt x="639" y="96"/>
                        <a:pt x="630" y="95"/>
                        <a:pt x="628" y="102"/>
                      </a:cubicBezTo>
                      <a:cubicBezTo>
                        <a:pt x="627" y="105"/>
                        <a:pt x="623" y="104"/>
                        <a:pt x="622" y="110"/>
                      </a:cubicBezTo>
                      <a:cubicBezTo>
                        <a:pt x="622" y="111"/>
                        <a:pt x="628" y="118"/>
                        <a:pt x="629" y="120"/>
                      </a:cubicBezTo>
                      <a:cubicBezTo>
                        <a:pt x="633" y="134"/>
                        <a:pt x="626" y="140"/>
                        <a:pt x="625" y="154"/>
                      </a:cubicBezTo>
                      <a:cubicBezTo>
                        <a:pt x="624" y="161"/>
                        <a:pt x="626" y="166"/>
                        <a:pt x="622" y="172"/>
                      </a:cubicBezTo>
                      <a:cubicBezTo>
                        <a:pt x="620" y="173"/>
                        <a:pt x="603" y="189"/>
                        <a:pt x="602" y="190"/>
                      </a:cubicBezTo>
                      <a:cubicBezTo>
                        <a:pt x="593" y="195"/>
                        <a:pt x="581" y="188"/>
                        <a:pt x="573" y="190"/>
                      </a:cubicBezTo>
                      <a:cubicBezTo>
                        <a:pt x="563" y="191"/>
                        <a:pt x="561" y="200"/>
                        <a:pt x="554" y="203"/>
                      </a:cubicBezTo>
                      <a:cubicBezTo>
                        <a:pt x="548" y="207"/>
                        <a:pt x="544" y="206"/>
                        <a:pt x="537" y="206"/>
                      </a:cubicBezTo>
                      <a:cubicBezTo>
                        <a:pt x="527" y="207"/>
                        <a:pt x="513" y="212"/>
                        <a:pt x="504" y="209"/>
                      </a:cubicBezTo>
                      <a:cubicBezTo>
                        <a:pt x="498" y="207"/>
                        <a:pt x="494" y="196"/>
                        <a:pt x="488" y="193"/>
                      </a:cubicBezTo>
                      <a:cubicBezTo>
                        <a:pt x="487" y="192"/>
                        <a:pt x="484" y="197"/>
                        <a:pt x="481" y="196"/>
                      </a:cubicBezTo>
                      <a:cubicBezTo>
                        <a:pt x="479" y="195"/>
                        <a:pt x="479" y="193"/>
                        <a:pt x="477" y="191"/>
                      </a:cubicBezTo>
                      <a:cubicBezTo>
                        <a:pt x="472" y="188"/>
                        <a:pt x="470" y="183"/>
                        <a:pt x="465" y="180"/>
                      </a:cubicBezTo>
                      <a:cubicBezTo>
                        <a:pt x="460" y="177"/>
                        <a:pt x="453" y="180"/>
                        <a:pt x="449" y="175"/>
                      </a:cubicBezTo>
                      <a:cubicBezTo>
                        <a:pt x="444" y="171"/>
                        <a:pt x="445" y="165"/>
                        <a:pt x="443" y="160"/>
                      </a:cubicBezTo>
                      <a:cubicBezTo>
                        <a:pt x="439" y="150"/>
                        <a:pt x="436" y="147"/>
                        <a:pt x="438" y="135"/>
                      </a:cubicBezTo>
                      <a:cubicBezTo>
                        <a:pt x="441" y="121"/>
                        <a:pt x="456" y="108"/>
                        <a:pt x="452" y="94"/>
                      </a:cubicBezTo>
                      <a:cubicBezTo>
                        <a:pt x="451" y="89"/>
                        <a:pt x="443" y="77"/>
                        <a:pt x="439" y="75"/>
                      </a:cubicBezTo>
                      <a:cubicBezTo>
                        <a:pt x="428" y="72"/>
                        <a:pt x="426" y="82"/>
                        <a:pt x="418" y="86"/>
                      </a:cubicBezTo>
                      <a:cubicBezTo>
                        <a:pt x="417" y="86"/>
                        <a:pt x="410" y="86"/>
                        <a:pt x="407" y="87"/>
                      </a:cubicBezTo>
                      <a:cubicBezTo>
                        <a:pt x="402" y="89"/>
                        <a:pt x="389" y="98"/>
                        <a:pt x="388" y="103"/>
                      </a:cubicBezTo>
                      <a:cubicBezTo>
                        <a:pt x="394" y="99"/>
                        <a:pt x="404" y="102"/>
                        <a:pt x="402" y="110"/>
                      </a:cubicBezTo>
                      <a:cubicBezTo>
                        <a:pt x="399" y="116"/>
                        <a:pt x="380" y="120"/>
                        <a:pt x="374" y="125"/>
                      </a:cubicBezTo>
                      <a:cubicBezTo>
                        <a:pt x="380" y="126"/>
                        <a:pt x="386" y="124"/>
                        <a:pt x="392" y="124"/>
                      </a:cubicBezTo>
                      <a:cubicBezTo>
                        <a:pt x="389" y="129"/>
                        <a:pt x="384" y="131"/>
                        <a:pt x="379" y="135"/>
                      </a:cubicBezTo>
                      <a:cubicBezTo>
                        <a:pt x="397" y="138"/>
                        <a:pt x="387" y="137"/>
                        <a:pt x="396" y="152"/>
                      </a:cubicBezTo>
                      <a:cubicBezTo>
                        <a:pt x="398" y="156"/>
                        <a:pt x="402" y="156"/>
                        <a:pt x="406" y="159"/>
                      </a:cubicBezTo>
                      <a:cubicBezTo>
                        <a:pt x="412" y="166"/>
                        <a:pt x="413" y="170"/>
                        <a:pt x="418" y="178"/>
                      </a:cubicBezTo>
                      <a:cubicBezTo>
                        <a:pt x="427" y="194"/>
                        <a:pt x="441" y="191"/>
                        <a:pt x="454" y="201"/>
                      </a:cubicBezTo>
                      <a:cubicBezTo>
                        <a:pt x="457" y="203"/>
                        <a:pt x="459" y="208"/>
                        <a:pt x="461" y="210"/>
                      </a:cubicBezTo>
                      <a:cubicBezTo>
                        <a:pt x="466" y="214"/>
                        <a:pt x="469" y="213"/>
                        <a:pt x="475" y="216"/>
                      </a:cubicBezTo>
                      <a:cubicBezTo>
                        <a:pt x="488" y="223"/>
                        <a:pt x="488" y="232"/>
                        <a:pt x="504" y="230"/>
                      </a:cubicBezTo>
                      <a:cubicBezTo>
                        <a:pt x="518" y="229"/>
                        <a:pt x="532" y="224"/>
                        <a:pt x="547" y="222"/>
                      </a:cubicBezTo>
                      <a:cubicBezTo>
                        <a:pt x="562" y="220"/>
                        <a:pt x="572" y="205"/>
                        <a:pt x="584" y="216"/>
                      </a:cubicBezTo>
                      <a:cubicBezTo>
                        <a:pt x="595" y="225"/>
                        <a:pt x="587" y="234"/>
                        <a:pt x="577" y="243"/>
                      </a:cubicBezTo>
                      <a:cubicBezTo>
                        <a:pt x="570" y="251"/>
                        <a:pt x="560" y="258"/>
                        <a:pt x="551" y="263"/>
                      </a:cubicBezTo>
                      <a:cubicBezTo>
                        <a:pt x="548" y="265"/>
                        <a:pt x="545" y="264"/>
                        <a:pt x="543" y="266"/>
                      </a:cubicBezTo>
                      <a:cubicBezTo>
                        <a:pt x="541" y="267"/>
                        <a:pt x="538" y="272"/>
                        <a:pt x="538" y="272"/>
                      </a:cubicBezTo>
                      <a:cubicBezTo>
                        <a:pt x="530" y="275"/>
                        <a:pt x="518" y="273"/>
                        <a:pt x="525" y="289"/>
                      </a:cubicBezTo>
                      <a:cubicBezTo>
                        <a:pt x="527" y="287"/>
                        <a:pt x="530" y="286"/>
                        <a:pt x="532" y="285"/>
                      </a:cubicBezTo>
                      <a:cubicBezTo>
                        <a:pt x="530" y="307"/>
                        <a:pt x="505" y="305"/>
                        <a:pt x="490" y="301"/>
                      </a:cubicBezTo>
                      <a:cubicBezTo>
                        <a:pt x="486" y="301"/>
                        <a:pt x="467" y="299"/>
                        <a:pt x="466" y="295"/>
                      </a:cubicBezTo>
                      <a:cubicBezTo>
                        <a:pt x="463" y="288"/>
                        <a:pt x="471" y="284"/>
                        <a:pt x="476" y="283"/>
                      </a:cubicBezTo>
                      <a:cubicBezTo>
                        <a:pt x="482" y="282"/>
                        <a:pt x="491" y="288"/>
                        <a:pt x="494" y="283"/>
                      </a:cubicBezTo>
                      <a:cubicBezTo>
                        <a:pt x="499" y="278"/>
                        <a:pt x="484" y="276"/>
                        <a:pt x="482" y="276"/>
                      </a:cubicBezTo>
                      <a:cubicBezTo>
                        <a:pt x="472" y="273"/>
                        <a:pt x="477" y="270"/>
                        <a:pt x="466" y="275"/>
                      </a:cubicBezTo>
                      <a:cubicBezTo>
                        <a:pt x="454" y="281"/>
                        <a:pt x="450" y="286"/>
                        <a:pt x="443" y="296"/>
                      </a:cubicBezTo>
                      <a:cubicBezTo>
                        <a:pt x="438" y="303"/>
                        <a:pt x="434" y="312"/>
                        <a:pt x="428" y="318"/>
                      </a:cubicBezTo>
                      <a:cubicBezTo>
                        <a:pt x="422" y="326"/>
                        <a:pt x="414" y="329"/>
                        <a:pt x="406" y="334"/>
                      </a:cubicBezTo>
                      <a:cubicBezTo>
                        <a:pt x="394" y="344"/>
                        <a:pt x="378" y="357"/>
                        <a:pt x="368" y="368"/>
                      </a:cubicBezTo>
                      <a:cubicBezTo>
                        <a:pt x="356" y="381"/>
                        <a:pt x="351" y="402"/>
                        <a:pt x="331" y="391"/>
                      </a:cubicBezTo>
                      <a:cubicBezTo>
                        <a:pt x="327" y="389"/>
                        <a:pt x="324" y="385"/>
                        <a:pt x="321" y="383"/>
                      </a:cubicBezTo>
                      <a:cubicBezTo>
                        <a:pt x="320" y="382"/>
                        <a:pt x="316" y="385"/>
                        <a:pt x="314" y="383"/>
                      </a:cubicBezTo>
                      <a:cubicBezTo>
                        <a:pt x="312" y="382"/>
                        <a:pt x="310" y="376"/>
                        <a:pt x="308" y="375"/>
                      </a:cubicBezTo>
                      <a:cubicBezTo>
                        <a:pt x="300" y="373"/>
                        <a:pt x="283" y="379"/>
                        <a:pt x="283" y="392"/>
                      </a:cubicBezTo>
                      <a:cubicBezTo>
                        <a:pt x="282" y="404"/>
                        <a:pt x="304" y="423"/>
                        <a:pt x="301" y="400"/>
                      </a:cubicBezTo>
                      <a:cubicBezTo>
                        <a:pt x="302" y="424"/>
                        <a:pt x="317" y="481"/>
                        <a:pt x="276" y="477"/>
                      </a:cubicBezTo>
                      <a:cubicBezTo>
                        <a:pt x="264" y="476"/>
                        <a:pt x="259" y="473"/>
                        <a:pt x="247" y="476"/>
                      </a:cubicBezTo>
                      <a:cubicBezTo>
                        <a:pt x="236" y="478"/>
                        <a:pt x="224" y="481"/>
                        <a:pt x="213" y="482"/>
                      </a:cubicBezTo>
                      <a:cubicBezTo>
                        <a:pt x="196" y="483"/>
                        <a:pt x="179" y="482"/>
                        <a:pt x="167" y="469"/>
                      </a:cubicBezTo>
                      <a:cubicBezTo>
                        <a:pt x="155" y="457"/>
                        <a:pt x="155" y="447"/>
                        <a:pt x="135" y="444"/>
                      </a:cubicBezTo>
                      <a:cubicBezTo>
                        <a:pt x="123" y="443"/>
                        <a:pt x="116" y="445"/>
                        <a:pt x="104" y="442"/>
                      </a:cubicBezTo>
                      <a:cubicBezTo>
                        <a:pt x="94" y="439"/>
                        <a:pt x="88" y="436"/>
                        <a:pt x="80" y="431"/>
                      </a:cubicBezTo>
                      <a:cubicBezTo>
                        <a:pt x="74" y="427"/>
                        <a:pt x="69" y="423"/>
                        <a:pt x="64" y="420"/>
                      </a:cubicBezTo>
                      <a:cubicBezTo>
                        <a:pt x="54" y="413"/>
                        <a:pt x="55" y="410"/>
                        <a:pt x="48" y="402"/>
                      </a:cubicBezTo>
                      <a:cubicBezTo>
                        <a:pt x="45" y="398"/>
                        <a:pt x="39" y="395"/>
                        <a:pt x="39" y="391"/>
                      </a:cubicBezTo>
                      <a:cubicBezTo>
                        <a:pt x="38" y="371"/>
                        <a:pt x="54" y="387"/>
                        <a:pt x="59" y="388"/>
                      </a:cubicBezTo>
                      <a:cubicBezTo>
                        <a:pt x="77" y="390"/>
                        <a:pt x="87" y="358"/>
                        <a:pt x="67" y="360"/>
                      </a:cubicBezTo>
                      <a:cubicBezTo>
                        <a:pt x="56" y="361"/>
                        <a:pt x="57" y="377"/>
                        <a:pt x="50" y="366"/>
                      </a:cubicBezTo>
                      <a:cubicBezTo>
                        <a:pt x="45" y="359"/>
                        <a:pt x="48" y="352"/>
                        <a:pt x="57" y="350"/>
                      </a:cubicBezTo>
                      <a:cubicBezTo>
                        <a:pt x="50" y="341"/>
                        <a:pt x="39" y="340"/>
                        <a:pt x="37" y="328"/>
                      </a:cubicBezTo>
                      <a:cubicBezTo>
                        <a:pt x="35" y="322"/>
                        <a:pt x="43" y="325"/>
                        <a:pt x="40" y="319"/>
                      </a:cubicBezTo>
                      <a:cubicBezTo>
                        <a:pt x="38" y="315"/>
                        <a:pt x="29" y="312"/>
                        <a:pt x="24" y="313"/>
                      </a:cubicBezTo>
                      <a:cubicBezTo>
                        <a:pt x="25" y="302"/>
                        <a:pt x="16" y="306"/>
                        <a:pt x="13" y="300"/>
                      </a:cubicBezTo>
                      <a:cubicBezTo>
                        <a:pt x="9" y="295"/>
                        <a:pt x="10" y="281"/>
                        <a:pt x="15" y="277"/>
                      </a:cubicBezTo>
                      <a:cubicBezTo>
                        <a:pt x="20" y="272"/>
                        <a:pt x="26" y="275"/>
                        <a:pt x="32" y="273"/>
                      </a:cubicBezTo>
                      <a:cubicBezTo>
                        <a:pt x="32" y="273"/>
                        <a:pt x="54" y="269"/>
                        <a:pt x="52" y="270"/>
                      </a:cubicBezTo>
                      <a:cubicBezTo>
                        <a:pt x="59" y="265"/>
                        <a:pt x="53" y="264"/>
                        <a:pt x="45" y="260"/>
                      </a:cubicBezTo>
                      <a:cubicBezTo>
                        <a:pt x="23" y="248"/>
                        <a:pt x="0" y="242"/>
                        <a:pt x="19" y="214"/>
                      </a:cubicBezTo>
                      <a:cubicBezTo>
                        <a:pt x="26" y="204"/>
                        <a:pt x="40" y="200"/>
                        <a:pt x="44" y="189"/>
                      </a:cubicBezTo>
                      <a:cubicBezTo>
                        <a:pt x="48" y="173"/>
                        <a:pt x="38" y="172"/>
                        <a:pt x="37" y="187"/>
                      </a:cubicBezTo>
                      <a:cubicBezTo>
                        <a:pt x="35" y="174"/>
                        <a:pt x="46" y="159"/>
                        <a:pt x="53" y="148"/>
                      </a:cubicBezTo>
                      <a:cubicBezTo>
                        <a:pt x="51" y="154"/>
                        <a:pt x="71" y="182"/>
                        <a:pt x="67" y="158"/>
                      </a:cubicBezTo>
                      <a:cubicBezTo>
                        <a:pt x="66" y="152"/>
                        <a:pt x="59" y="146"/>
                        <a:pt x="61" y="137"/>
                      </a:cubicBezTo>
                      <a:cubicBezTo>
                        <a:pt x="63" y="128"/>
                        <a:pt x="84" y="112"/>
                        <a:pt x="91" y="104"/>
                      </a:cubicBezTo>
                      <a:cubicBezTo>
                        <a:pt x="90" y="109"/>
                        <a:pt x="87" y="112"/>
                        <a:pt x="83" y="115"/>
                      </a:cubicBezTo>
                      <a:cubicBezTo>
                        <a:pt x="92" y="114"/>
                        <a:pt x="88" y="118"/>
                        <a:pt x="92" y="122"/>
                      </a:cubicBezTo>
                      <a:cubicBezTo>
                        <a:pt x="99" y="128"/>
                        <a:pt x="104" y="131"/>
                        <a:pt x="113" y="13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8" name="Freeform 27">
                  <a:extLst>
                    <a:ext uri="{FF2B5EF4-FFF2-40B4-BE49-F238E27FC236}">
                      <a16:creationId xmlns:a16="http://schemas.microsoft.com/office/drawing/2014/main" id="{4A350A2A-F30A-19F7-48B9-706B8D7B2D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67325" y="795338"/>
                  <a:ext cx="34925" cy="50800"/>
                </a:xfrm>
                <a:custGeom>
                  <a:avLst/>
                  <a:gdLst>
                    <a:gd name="T0" fmla="*/ 56 w 56"/>
                    <a:gd name="T1" fmla="*/ 38 h 84"/>
                    <a:gd name="T2" fmla="*/ 22 w 56"/>
                    <a:gd name="T3" fmla="*/ 63 h 84"/>
                    <a:gd name="T4" fmla="*/ 2 w 56"/>
                    <a:gd name="T5" fmla="*/ 65 h 84"/>
                    <a:gd name="T6" fmla="*/ 17 w 56"/>
                    <a:gd name="T7" fmla="*/ 31 h 84"/>
                    <a:gd name="T8" fmla="*/ 49 w 56"/>
                    <a:gd name="T9" fmla="*/ 0 h 84"/>
                    <a:gd name="T10" fmla="*/ 45 w 56"/>
                    <a:gd name="T11" fmla="*/ 21 h 84"/>
                    <a:gd name="T12" fmla="*/ 56 w 56"/>
                    <a:gd name="T13" fmla="*/ 3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84">
                      <a:moveTo>
                        <a:pt x="56" y="38"/>
                      </a:moveTo>
                      <a:cubicBezTo>
                        <a:pt x="49" y="49"/>
                        <a:pt x="32" y="56"/>
                        <a:pt x="22" y="63"/>
                      </a:cubicBezTo>
                      <a:cubicBezTo>
                        <a:pt x="13" y="69"/>
                        <a:pt x="0" y="84"/>
                        <a:pt x="2" y="65"/>
                      </a:cubicBezTo>
                      <a:cubicBezTo>
                        <a:pt x="3" y="57"/>
                        <a:pt x="13" y="38"/>
                        <a:pt x="17" y="31"/>
                      </a:cubicBezTo>
                      <a:cubicBezTo>
                        <a:pt x="24" y="21"/>
                        <a:pt x="38" y="6"/>
                        <a:pt x="49" y="0"/>
                      </a:cubicBezTo>
                      <a:cubicBezTo>
                        <a:pt x="53" y="8"/>
                        <a:pt x="44" y="13"/>
                        <a:pt x="45" y="21"/>
                      </a:cubicBezTo>
                      <a:cubicBezTo>
                        <a:pt x="46" y="28"/>
                        <a:pt x="52" y="34"/>
                        <a:pt x="56" y="3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119" name="Freeform 28">
                  <a:extLst>
                    <a:ext uri="{FF2B5EF4-FFF2-40B4-BE49-F238E27FC236}">
                      <a16:creationId xmlns:a16="http://schemas.microsoft.com/office/drawing/2014/main" id="{DC5915F2-3D7D-FB14-512D-0CF8FBD736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50" y="534988"/>
                  <a:ext cx="12700" cy="31750"/>
                </a:xfrm>
                <a:custGeom>
                  <a:avLst/>
                  <a:gdLst>
                    <a:gd name="T0" fmla="*/ 22 w 22"/>
                    <a:gd name="T1" fmla="*/ 25 h 50"/>
                    <a:gd name="T2" fmla="*/ 22 w 22"/>
                    <a:gd name="T3" fmla="*/ 25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22" h="50">
                      <a:moveTo>
                        <a:pt x="22" y="25"/>
                      </a:moveTo>
                      <a:cubicBezTo>
                        <a:pt x="0" y="50"/>
                        <a:pt x="14" y="0"/>
                        <a:pt x="22" y="2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grpSp>
            <p:nvGrpSpPr>
              <p:cNvPr id="39" name="Группа 38">
                <a:extLst>
                  <a:ext uri="{FF2B5EF4-FFF2-40B4-BE49-F238E27FC236}">
                    <a16:creationId xmlns:a16="http://schemas.microsoft.com/office/drawing/2014/main" id="{04782CC7-6C59-F8EA-12BC-BE39B2327709}"/>
                  </a:ext>
                </a:extLst>
              </p:cNvPr>
              <p:cNvGrpSpPr/>
              <p:nvPr/>
            </p:nvGrpSpPr>
            <p:grpSpPr>
              <a:xfrm>
                <a:off x="3977239" y="4385478"/>
                <a:ext cx="1182360" cy="1330154"/>
                <a:chOff x="6800850" y="3895726"/>
                <a:chExt cx="1422401" cy="1600200"/>
              </a:xfrm>
              <a:grpFill/>
            </p:grpSpPr>
            <p:sp>
              <p:nvSpPr>
                <p:cNvPr id="75" name="Freeform 51">
                  <a:extLst>
                    <a:ext uri="{FF2B5EF4-FFF2-40B4-BE49-F238E27FC236}">
                      <a16:creationId xmlns:a16="http://schemas.microsoft.com/office/drawing/2014/main" id="{F4A72D4B-7652-1B91-F3C1-DB73EB8F5B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61338" y="3895726"/>
                  <a:ext cx="33338" cy="47625"/>
                </a:xfrm>
                <a:custGeom>
                  <a:avLst/>
                  <a:gdLst>
                    <a:gd name="T0" fmla="*/ 52 w 56"/>
                    <a:gd name="T1" fmla="*/ 57 h 76"/>
                    <a:gd name="T2" fmla="*/ 56 w 56"/>
                    <a:gd name="T3" fmla="*/ 62 h 76"/>
                    <a:gd name="T4" fmla="*/ 22 w 56"/>
                    <a:gd name="T5" fmla="*/ 71 h 76"/>
                    <a:gd name="T6" fmla="*/ 12 w 56"/>
                    <a:gd name="T7" fmla="*/ 28 h 76"/>
                    <a:gd name="T8" fmla="*/ 39 w 56"/>
                    <a:gd name="T9" fmla="*/ 17 h 76"/>
                    <a:gd name="T10" fmla="*/ 52 w 56"/>
                    <a:gd name="T11" fmla="*/ 57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6" h="76">
                      <a:moveTo>
                        <a:pt x="52" y="57"/>
                      </a:moveTo>
                      <a:cubicBezTo>
                        <a:pt x="53" y="58"/>
                        <a:pt x="54" y="60"/>
                        <a:pt x="56" y="62"/>
                      </a:cubicBezTo>
                      <a:cubicBezTo>
                        <a:pt x="44" y="68"/>
                        <a:pt x="36" y="76"/>
                        <a:pt x="22" y="71"/>
                      </a:cubicBezTo>
                      <a:cubicBezTo>
                        <a:pt x="0" y="64"/>
                        <a:pt x="9" y="44"/>
                        <a:pt x="12" y="28"/>
                      </a:cubicBezTo>
                      <a:cubicBezTo>
                        <a:pt x="15" y="8"/>
                        <a:pt x="23" y="0"/>
                        <a:pt x="39" y="17"/>
                      </a:cubicBezTo>
                      <a:cubicBezTo>
                        <a:pt x="48" y="27"/>
                        <a:pt x="53" y="42"/>
                        <a:pt x="52" y="5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6" name="Freeform 32">
                  <a:extLst>
                    <a:ext uri="{FF2B5EF4-FFF2-40B4-BE49-F238E27FC236}">
                      <a16:creationId xmlns:a16="http://schemas.microsoft.com/office/drawing/2014/main" id="{3673DEE8-849E-B3A2-094B-03CCDE905A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0525" y="5478463"/>
                  <a:ext cx="4763" cy="14288"/>
                </a:xfrm>
                <a:custGeom>
                  <a:avLst/>
                  <a:gdLst>
                    <a:gd name="T0" fmla="*/ 8 w 8"/>
                    <a:gd name="T1" fmla="*/ 8 h 25"/>
                    <a:gd name="T2" fmla="*/ 2 w 8"/>
                    <a:gd name="T3" fmla="*/ 12 h 25"/>
                    <a:gd name="T4" fmla="*/ 8 w 8"/>
                    <a:gd name="T5" fmla="*/ 8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" h="25">
                      <a:moveTo>
                        <a:pt x="8" y="8"/>
                      </a:moveTo>
                      <a:cubicBezTo>
                        <a:pt x="7" y="15"/>
                        <a:pt x="0" y="25"/>
                        <a:pt x="2" y="12"/>
                      </a:cubicBezTo>
                      <a:cubicBezTo>
                        <a:pt x="2" y="9"/>
                        <a:pt x="6" y="0"/>
                        <a:pt x="8" y="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7" name="Freeform 33">
                  <a:extLst>
                    <a:ext uri="{FF2B5EF4-FFF2-40B4-BE49-F238E27FC236}">
                      <a16:creationId xmlns:a16="http://schemas.microsoft.com/office/drawing/2014/main" id="{248A5D98-E91E-FFF4-9A4D-8F9B80B03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3063" y="5487988"/>
                  <a:ext cx="9525" cy="7938"/>
                </a:xfrm>
                <a:custGeom>
                  <a:avLst/>
                  <a:gdLst>
                    <a:gd name="T0" fmla="*/ 6 w 16"/>
                    <a:gd name="T1" fmla="*/ 5 h 13"/>
                    <a:gd name="T2" fmla="*/ 11 w 16"/>
                    <a:gd name="T3" fmla="*/ 0 h 13"/>
                    <a:gd name="T4" fmla="*/ 16 w 16"/>
                    <a:gd name="T5" fmla="*/ 6 h 13"/>
                    <a:gd name="T6" fmla="*/ 10 w 16"/>
                    <a:gd name="T7" fmla="*/ 13 h 13"/>
                    <a:gd name="T8" fmla="*/ 0 w 16"/>
                    <a:gd name="T9" fmla="*/ 8 h 13"/>
                    <a:gd name="T10" fmla="*/ 6 w 16"/>
                    <a:gd name="T11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13">
                      <a:moveTo>
                        <a:pt x="6" y="5"/>
                      </a:moveTo>
                      <a:cubicBezTo>
                        <a:pt x="7" y="4"/>
                        <a:pt x="9" y="2"/>
                        <a:pt x="11" y="0"/>
                      </a:cubicBezTo>
                      <a:cubicBezTo>
                        <a:pt x="11" y="1"/>
                        <a:pt x="15" y="5"/>
                        <a:pt x="16" y="6"/>
                      </a:cubicBezTo>
                      <a:cubicBezTo>
                        <a:pt x="15" y="8"/>
                        <a:pt x="11" y="11"/>
                        <a:pt x="10" y="13"/>
                      </a:cubicBezTo>
                      <a:cubicBezTo>
                        <a:pt x="8" y="9"/>
                        <a:pt x="5" y="7"/>
                        <a:pt x="0" y="8"/>
                      </a:cubicBezTo>
                      <a:cubicBezTo>
                        <a:pt x="0" y="3"/>
                        <a:pt x="2" y="5"/>
                        <a:pt x="6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8" name="Freeform 34">
                  <a:extLst>
                    <a:ext uri="{FF2B5EF4-FFF2-40B4-BE49-F238E27FC236}">
                      <a16:creationId xmlns:a16="http://schemas.microsoft.com/office/drawing/2014/main" id="{DE0A446F-0428-67C1-D67C-273715A19A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7350" y="5461001"/>
                  <a:ext cx="14288" cy="19050"/>
                </a:xfrm>
                <a:custGeom>
                  <a:avLst/>
                  <a:gdLst>
                    <a:gd name="T0" fmla="*/ 8 w 24"/>
                    <a:gd name="T1" fmla="*/ 5 h 32"/>
                    <a:gd name="T2" fmla="*/ 20 w 24"/>
                    <a:gd name="T3" fmla="*/ 1 h 32"/>
                    <a:gd name="T4" fmla="*/ 24 w 24"/>
                    <a:gd name="T5" fmla="*/ 14 h 32"/>
                    <a:gd name="T6" fmla="*/ 0 w 24"/>
                    <a:gd name="T7" fmla="*/ 18 h 32"/>
                    <a:gd name="T8" fmla="*/ 8 w 24"/>
                    <a:gd name="T9" fmla="*/ 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32">
                      <a:moveTo>
                        <a:pt x="8" y="5"/>
                      </a:moveTo>
                      <a:cubicBezTo>
                        <a:pt x="10" y="4"/>
                        <a:pt x="18" y="0"/>
                        <a:pt x="20" y="1"/>
                      </a:cubicBezTo>
                      <a:cubicBezTo>
                        <a:pt x="20" y="1"/>
                        <a:pt x="24" y="15"/>
                        <a:pt x="24" y="14"/>
                      </a:cubicBezTo>
                      <a:cubicBezTo>
                        <a:pt x="21" y="32"/>
                        <a:pt x="10" y="20"/>
                        <a:pt x="0" y="18"/>
                      </a:cubicBezTo>
                      <a:cubicBezTo>
                        <a:pt x="2" y="13"/>
                        <a:pt x="4" y="8"/>
                        <a:pt x="8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9" name="Freeform 35">
                  <a:extLst>
                    <a:ext uri="{FF2B5EF4-FFF2-40B4-BE49-F238E27FC236}">
                      <a16:creationId xmlns:a16="http://schemas.microsoft.com/office/drawing/2014/main" id="{F8BF04AB-2889-5239-60A2-36DD7D1AAB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15288" y="5437188"/>
                  <a:ext cx="11113" cy="7938"/>
                </a:xfrm>
                <a:custGeom>
                  <a:avLst/>
                  <a:gdLst>
                    <a:gd name="T0" fmla="*/ 4 w 19"/>
                    <a:gd name="T1" fmla="*/ 3 h 13"/>
                    <a:gd name="T2" fmla="*/ 0 w 19"/>
                    <a:gd name="T3" fmla="*/ 13 h 13"/>
                    <a:gd name="T4" fmla="*/ 4 w 19"/>
                    <a:gd name="T5" fmla="*/ 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13">
                      <a:moveTo>
                        <a:pt x="4" y="3"/>
                      </a:moveTo>
                      <a:cubicBezTo>
                        <a:pt x="19" y="0"/>
                        <a:pt x="10" y="10"/>
                        <a:pt x="0" y="13"/>
                      </a:cubicBezTo>
                      <a:cubicBezTo>
                        <a:pt x="3" y="10"/>
                        <a:pt x="2" y="7"/>
                        <a:pt x="4" y="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0" name="Freeform 36">
                  <a:extLst>
                    <a:ext uri="{FF2B5EF4-FFF2-40B4-BE49-F238E27FC236}">
                      <a16:creationId xmlns:a16="http://schemas.microsoft.com/office/drawing/2014/main" id="{8819AF1A-FBC9-2FA2-6D13-11CF0D8F20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9575" y="5378451"/>
                  <a:ext cx="31750" cy="34925"/>
                </a:xfrm>
                <a:custGeom>
                  <a:avLst/>
                  <a:gdLst>
                    <a:gd name="T0" fmla="*/ 31 w 50"/>
                    <a:gd name="T1" fmla="*/ 1 h 58"/>
                    <a:gd name="T2" fmla="*/ 44 w 50"/>
                    <a:gd name="T3" fmla="*/ 0 h 58"/>
                    <a:gd name="T4" fmla="*/ 35 w 50"/>
                    <a:gd name="T5" fmla="*/ 26 h 58"/>
                    <a:gd name="T6" fmla="*/ 24 w 50"/>
                    <a:gd name="T7" fmla="*/ 44 h 58"/>
                    <a:gd name="T8" fmla="*/ 13 w 50"/>
                    <a:gd name="T9" fmla="*/ 56 h 58"/>
                    <a:gd name="T10" fmla="*/ 1 w 50"/>
                    <a:gd name="T11" fmla="*/ 41 h 58"/>
                    <a:gd name="T12" fmla="*/ 31 w 50"/>
                    <a:gd name="T13" fmla="*/ 1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0" h="58">
                      <a:moveTo>
                        <a:pt x="31" y="1"/>
                      </a:moveTo>
                      <a:cubicBezTo>
                        <a:pt x="36" y="4"/>
                        <a:pt x="40" y="4"/>
                        <a:pt x="44" y="0"/>
                      </a:cubicBezTo>
                      <a:cubicBezTo>
                        <a:pt x="50" y="13"/>
                        <a:pt x="39" y="17"/>
                        <a:pt x="35" y="26"/>
                      </a:cubicBezTo>
                      <a:cubicBezTo>
                        <a:pt x="31" y="33"/>
                        <a:pt x="34" y="40"/>
                        <a:pt x="24" y="44"/>
                      </a:cubicBezTo>
                      <a:cubicBezTo>
                        <a:pt x="31" y="52"/>
                        <a:pt x="21" y="58"/>
                        <a:pt x="13" y="56"/>
                      </a:cubicBezTo>
                      <a:cubicBezTo>
                        <a:pt x="10" y="55"/>
                        <a:pt x="1" y="46"/>
                        <a:pt x="1" y="41"/>
                      </a:cubicBezTo>
                      <a:cubicBezTo>
                        <a:pt x="0" y="32"/>
                        <a:pt x="22" y="1"/>
                        <a:pt x="31" y="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1" name="Freeform 37">
                  <a:extLst>
                    <a:ext uri="{FF2B5EF4-FFF2-40B4-BE49-F238E27FC236}">
                      <a16:creationId xmlns:a16="http://schemas.microsoft.com/office/drawing/2014/main" id="{DA0C5B4A-2AD9-6136-01D3-92A6BBF8DE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16863" y="5316538"/>
                  <a:ext cx="58738" cy="166688"/>
                </a:xfrm>
                <a:custGeom>
                  <a:avLst/>
                  <a:gdLst>
                    <a:gd name="T0" fmla="*/ 57 w 96"/>
                    <a:gd name="T1" fmla="*/ 26 h 272"/>
                    <a:gd name="T2" fmla="*/ 89 w 96"/>
                    <a:gd name="T3" fmla="*/ 0 h 272"/>
                    <a:gd name="T4" fmla="*/ 92 w 96"/>
                    <a:gd name="T5" fmla="*/ 23 h 272"/>
                    <a:gd name="T6" fmla="*/ 76 w 96"/>
                    <a:gd name="T7" fmla="*/ 36 h 272"/>
                    <a:gd name="T8" fmla="*/ 67 w 96"/>
                    <a:gd name="T9" fmla="*/ 69 h 272"/>
                    <a:gd name="T10" fmla="*/ 49 w 96"/>
                    <a:gd name="T11" fmla="*/ 91 h 272"/>
                    <a:gd name="T12" fmla="*/ 47 w 96"/>
                    <a:gd name="T13" fmla="*/ 109 h 272"/>
                    <a:gd name="T14" fmla="*/ 42 w 96"/>
                    <a:gd name="T15" fmla="*/ 147 h 272"/>
                    <a:gd name="T16" fmla="*/ 47 w 96"/>
                    <a:gd name="T17" fmla="*/ 159 h 272"/>
                    <a:gd name="T18" fmla="*/ 40 w 96"/>
                    <a:gd name="T19" fmla="*/ 167 h 272"/>
                    <a:gd name="T20" fmla="*/ 42 w 96"/>
                    <a:gd name="T21" fmla="*/ 197 h 272"/>
                    <a:gd name="T22" fmla="*/ 29 w 96"/>
                    <a:gd name="T23" fmla="*/ 227 h 272"/>
                    <a:gd name="T24" fmla="*/ 51 w 96"/>
                    <a:gd name="T25" fmla="*/ 272 h 272"/>
                    <a:gd name="T26" fmla="*/ 33 w 96"/>
                    <a:gd name="T27" fmla="*/ 257 h 272"/>
                    <a:gd name="T28" fmla="*/ 17 w 96"/>
                    <a:gd name="T29" fmla="*/ 258 h 272"/>
                    <a:gd name="T30" fmla="*/ 8 w 96"/>
                    <a:gd name="T31" fmla="*/ 247 h 272"/>
                    <a:gd name="T32" fmla="*/ 19 w 96"/>
                    <a:gd name="T33" fmla="*/ 187 h 272"/>
                    <a:gd name="T34" fmla="*/ 19 w 96"/>
                    <a:gd name="T35" fmla="*/ 153 h 272"/>
                    <a:gd name="T36" fmla="*/ 21 w 96"/>
                    <a:gd name="T37" fmla="*/ 123 h 272"/>
                    <a:gd name="T38" fmla="*/ 17 w 96"/>
                    <a:gd name="T39" fmla="*/ 111 h 272"/>
                    <a:gd name="T40" fmla="*/ 23 w 96"/>
                    <a:gd name="T41" fmla="*/ 93 h 272"/>
                    <a:gd name="T42" fmla="*/ 21 w 96"/>
                    <a:gd name="T43" fmla="*/ 74 h 272"/>
                    <a:gd name="T44" fmla="*/ 15 w 96"/>
                    <a:gd name="T45" fmla="*/ 28 h 272"/>
                    <a:gd name="T46" fmla="*/ 57 w 96"/>
                    <a:gd name="T47" fmla="*/ 26 h 2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96" h="272">
                      <a:moveTo>
                        <a:pt x="57" y="26"/>
                      </a:moveTo>
                      <a:cubicBezTo>
                        <a:pt x="73" y="24"/>
                        <a:pt x="77" y="7"/>
                        <a:pt x="89" y="0"/>
                      </a:cubicBezTo>
                      <a:cubicBezTo>
                        <a:pt x="90" y="5"/>
                        <a:pt x="96" y="18"/>
                        <a:pt x="92" y="23"/>
                      </a:cubicBezTo>
                      <a:cubicBezTo>
                        <a:pt x="88" y="30"/>
                        <a:pt x="80" y="23"/>
                        <a:pt x="76" y="36"/>
                      </a:cubicBezTo>
                      <a:cubicBezTo>
                        <a:pt x="73" y="49"/>
                        <a:pt x="78" y="58"/>
                        <a:pt x="67" y="69"/>
                      </a:cubicBezTo>
                      <a:cubicBezTo>
                        <a:pt x="60" y="76"/>
                        <a:pt x="51" y="78"/>
                        <a:pt x="49" y="91"/>
                      </a:cubicBezTo>
                      <a:cubicBezTo>
                        <a:pt x="48" y="96"/>
                        <a:pt x="48" y="103"/>
                        <a:pt x="47" y="109"/>
                      </a:cubicBezTo>
                      <a:cubicBezTo>
                        <a:pt x="45" y="122"/>
                        <a:pt x="38" y="134"/>
                        <a:pt x="42" y="147"/>
                      </a:cubicBezTo>
                      <a:cubicBezTo>
                        <a:pt x="43" y="151"/>
                        <a:pt x="47" y="154"/>
                        <a:pt x="47" y="159"/>
                      </a:cubicBezTo>
                      <a:cubicBezTo>
                        <a:pt x="47" y="161"/>
                        <a:pt x="41" y="162"/>
                        <a:pt x="40" y="167"/>
                      </a:cubicBezTo>
                      <a:cubicBezTo>
                        <a:pt x="38" y="178"/>
                        <a:pt x="48" y="185"/>
                        <a:pt x="42" y="197"/>
                      </a:cubicBezTo>
                      <a:cubicBezTo>
                        <a:pt x="36" y="208"/>
                        <a:pt x="27" y="213"/>
                        <a:pt x="29" y="227"/>
                      </a:cubicBezTo>
                      <a:cubicBezTo>
                        <a:pt x="32" y="241"/>
                        <a:pt x="45" y="258"/>
                        <a:pt x="51" y="272"/>
                      </a:cubicBezTo>
                      <a:cubicBezTo>
                        <a:pt x="42" y="267"/>
                        <a:pt x="44" y="255"/>
                        <a:pt x="33" y="257"/>
                      </a:cubicBezTo>
                      <a:cubicBezTo>
                        <a:pt x="20" y="258"/>
                        <a:pt x="31" y="270"/>
                        <a:pt x="17" y="258"/>
                      </a:cubicBezTo>
                      <a:cubicBezTo>
                        <a:pt x="15" y="256"/>
                        <a:pt x="9" y="250"/>
                        <a:pt x="8" y="247"/>
                      </a:cubicBezTo>
                      <a:cubicBezTo>
                        <a:pt x="0" y="230"/>
                        <a:pt x="15" y="208"/>
                        <a:pt x="19" y="187"/>
                      </a:cubicBezTo>
                      <a:cubicBezTo>
                        <a:pt x="21" y="176"/>
                        <a:pt x="21" y="165"/>
                        <a:pt x="19" y="153"/>
                      </a:cubicBezTo>
                      <a:cubicBezTo>
                        <a:pt x="17" y="140"/>
                        <a:pt x="20" y="136"/>
                        <a:pt x="21" y="123"/>
                      </a:cubicBezTo>
                      <a:cubicBezTo>
                        <a:pt x="21" y="119"/>
                        <a:pt x="17" y="116"/>
                        <a:pt x="17" y="111"/>
                      </a:cubicBezTo>
                      <a:cubicBezTo>
                        <a:pt x="17" y="103"/>
                        <a:pt x="22" y="100"/>
                        <a:pt x="23" y="93"/>
                      </a:cubicBezTo>
                      <a:cubicBezTo>
                        <a:pt x="24" y="88"/>
                        <a:pt x="22" y="79"/>
                        <a:pt x="21" y="74"/>
                      </a:cubicBezTo>
                      <a:cubicBezTo>
                        <a:pt x="19" y="63"/>
                        <a:pt x="9" y="39"/>
                        <a:pt x="15" y="28"/>
                      </a:cubicBezTo>
                      <a:cubicBezTo>
                        <a:pt x="21" y="17"/>
                        <a:pt x="47" y="24"/>
                        <a:pt x="57" y="2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2" name="Freeform 38">
                  <a:extLst>
                    <a:ext uri="{FF2B5EF4-FFF2-40B4-BE49-F238E27FC236}">
                      <a16:creationId xmlns:a16="http://schemas.microsoft.com/office/drawing/2014/main" id="{5316B4FF-E8B5-EE3A-D564-C2D20FC5DE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83538" y="5043488"/>
                  <a:ext cx="109538" cy="258763"/>
                </a:xfrm>
                <a:custGeom>
                  <a:avLst/>
                  <a:gdLst>
                    <a:gd name="T0" fmla="*/ 175 w 180"/>
                    <a:gd name="T1" fmla="*/ 42 h 423"/>
                    <a:gd name="T2" fmla="*/ 155 w 180"/>
                    <a:gd name="T3" fmla="*/ 60 h 423"/>
                    <a:gd name="T4" fmla="*/ 139 w 180"/>
                    <a:gd name="T5" fmla="*/ 82 h 423"/>
                    <a:gd name="T6" fmla="*/ 110 w 180"/>
                    <a:gd name="T7" fmla="*/ 129 h 423"/>
                    <a:gd name="T8" fmla="*/ 106 w 180"/>
                    <a:gd name="T9" fmla="*/ 190 h 423"/>
                    <a:gd name="T10" fmla="*/ 95 w 180"/>
                    <a:gd name="T11" fmla="*/ 211 h 423"/>
                    <a:gd name="T12" fmla="*/ 84 w 180"/>
                    <a:gd name="T13" fmla="*/ 225 h 423"/>
                    <a:gd name="T14" fmla="*/ 64 w 180"/>
                    <a:gd name="T15" fmla="*/ 218 h 423"/>
                    <a:gd name="T16" fmla="*/ 64 w 180"/>
                    <a:gd name="T17" fmla="*/ 242 h 423"/>
                    <a:gd name="T18" fmla="*/ 70 w 180"/>
                    <a:gd name="T19" fmla="*/ 245 h 423"/>
                    <a:gd name="T20" fmla="*/ 69 w 180"/>
                    <a:gd name="T21" fmla="*/ 252 h 423"/>
                    <a:gd name="T22" fmla="*/ 69 w 180"/>
                    <a:gd name="T23" fmla="*/ 274 h 423"/>
                    <a:gd name="T24" fmla="*/ 54 w 180"/>
                    <a:gd name="T25" fmla="*/ 333 h 423"/>
                    <a:gd name="T26" fmla="*/ 54 w 180"/>
                    <a:gd name="T27" fmla="*/ 360 h 423"/>
                    <a:gd name="T28" fmla="*/ 38 w 180"/>
                    <a:gd name="T29" fmla="*/ 382 h 423"/>
                    <a:gd name="T30" fmla="*/ 40 w 180"/>
                    <a:gd name="T31" fmla="*/ 415 h 423"/>
                    <a:gd name="T32" fmla="*/ 22 w 180"/>
                    <a:gd name="T33" fmla="*/ 419 h 423"/>
                    <a:gd name="T34" fmla="*/ 21 w 180"/>
                    <a:gd name="T35" fmla="*/ 395 h 423"/>
                    <a:gd name="T36" fmla="*/ 9 w 180"/>
                    <a:gd name="T37" fmla="*/ 373 h 423"/>
                    <a:gd name="T38" fmla="*/ 25 w 180"/>
                    <a:gd name="T39" fmla="*/ 368 h 423"/>
                    <a:gd name="T40" fmla="*/ 15 w 180"/>
                    <a:gd name="T41" fmla="*/ 356 h 423"/>
                    <a:gd name="T42" fmla="*/ 33 w 180"/>
                    <a:gd name="T43" fmla="*/ 350 h 423"/>
                    <a:gd name="T44" fmla="*/ 33 w 180"/>
                    <a:gd name="T45" fmla="*/ 328 h 423"/>
                    <a:gd name="T46" fmla="*/ 16 w 180"/>
                    <a:gd name="T47" fmla="*/ 322 h 423"/>
                    <a:gd name="T48" fmla="*/ 9 w 180"/>
                    <a:gd name="T49" fmla="*/ 308 h 423"/>
                    <a:gd name="T50" fmla="*/ 26 w 180"/>
                    <a:gd name="T51" fmla="*/ 303 h 423"/>
                    <a:gd name="T52" fmla="*/ 22 w 180"/>
                    <a:gd name="T53" fmla="*/ 287 h 423"/>
                    <a:gd name="T54" fmla="*/ 32 w 180"/>
                    <a:gd name="T55" fmla="*/ 261 h 423"/>
                    <a:gd name="T56" fmla="*/ 36 w 180"/>
                    <a:gd name="T57" fmla="*/ 243 h 423"/>
                    <a:gd name="T58" fmla="*/ 27 w 180"/>
                    <a:gd name="T59" fmla="*/ 223 h 423"/>
                    <a:gd name="T60" fmla="*/ 41 w 180"/>
                    <a:gd name="T61" fmla="*/ 215 h 423"/>
                    <a:gd name="T62" fmla="*/ 48 w 180"/>
                    <a:gd name="T63" fmla="*/ 169 h 423"/>
                    <a:gd name="T64" fmla="*/ 59 w 180"/>
                    <a:gd name="T65" fmla="*/ 150 h 423"/>
                    <a:gd name="T66" fmla="*/ 48 w 180"/>
                    <a:gd name="T67" fmla="*/ 140 h 423"/>
                    <a:gd name="T68" fmla="*/ 39 w 180"/>
                    <a:gd name="T69" fmla="*/ 101 h 423"/>
                    <a:gd name="T70" fmla="*/ 79 w 180"/>
                    <a:gd name="T71" fmla="*/ 131 h 423"/>
                    <a:gd name="T72" fmla="*/ 112 w 180"/>
                    <a:gd name="T73" fmla="*/ 102 h 423"/>
                    <a:gd name="T74" fmla="*/ 117 w 180"/>
                    <a:gd name="T75" fmla="*/ 62 h 423"/>
                    <a:gd name="T76" fmla="*/ 134 w 180"/>
                    <a:gd name="T77" fmla="*/ 8 h 423"/>
                    <a:gd name="T78" fmla="*/ 156 w 180"/>
                    <a:gd name="T79" fmla="*/ 6 h 423"/>
                    <a:gd name="T80" fmla="*/ 160 w 180"/>
                    <a:gd name="T81" fmla="*/ 17 h 423"/>
                    <a:gd name="T82" fmla="*/ 163 w 180"/>
                    <a:gd name="T83" fmla="*/ 28 h 423"/>
                    <a:gd name="T84" fmla="*/ 175 w 180"/>
                    <a:gd name="T85" fmla="*/ 42 h 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0" h="423">
                      <a:moveTo>
                        <a:pt x="175" y="42"/>
                      </a:moveTo>
                      <a:cubicBezTo>
                        <a:pt x="172" y="54"/>
                        <a:pt x="164" y="54"/>
                        <a:pt x="155" y="60"/>
                      </a:cubicBezTo>
                      <a:cubicBezTo>
                        <a:pt x="145" y="67"/>
                        <a:pt x="143" y="71"/>
                        <a:pt x="139" y="82"/>
                      </a:cubicBezTo>
                      <a:cubicBezTo>
                        <a:pt x="132" y="100"/>
                        <a:pt x="116" y="110"/>
                        <a:pt x="110" y="129"/>
                      </a:cubicBezTo>
                      <a:cubicBezTo>
                        <a:pt x="104" y="149"/>
                        <a:pt x="109" y="170"/>
                        <a:pt x="106" y="190"/>
                      </a:cubicBezTo>
                      <a:cubicBezTo>
                        <a:pt x="104" y="198"/>
                        <a:pt x="100" y="206"/>
                        <a:pt x="95" y="211"/>
                      </a:cubicBezTo>
                      <a:cubicBezTo>
                        <a:pt x="96" y="211"/>
                        <a:pt x="81" y="226"/>
                        <a:pt x="84" y="225"/>
                      </a:cubicBezTo>
                      <a:cubicBezTo>
                        <a:pt x="77" y="227"/>
                        <a:pt x="70" y="215"/>
                        <a:pt x="64" y="218"/>
                      </a:cubicBezTo>
                      <a:cubicBezTo>
                        <a:pt x="53" y="222"/>
                        <a:pt x="62" y="236"/>
                        <a:pt x="64" y="242"/>
                      </a:cubicBezTo>
                      <a:cubicBezTo>
                        <a:pt x="65" y="243"/>
                        <a:pt x="69" y="241"/>
                        <a:pt x="70" y="245"/>
                      </a:cubicBezTo>
                      <a:cubicBezTo>
                        <a:pt x="71" y="246"/>
                        <a:pt x="68" y="251"/>
                        <a:pt x="69" y="252"/>
                      </a:cubicBezTo>
                      <a:cubicBezTo>
                        <a:pt x="69" y="259"/>
                        <a:pt x="70" y="267"/>
                        <a:pt x="69" y="274"/>
                      </a:cubicBezTo>
                      <a:cubicBezTo>
                        <a:pt x="68" y="294"/>
                        <a:pt x="56" y="312"/>
                        <a:pt x="54" y="333"/>
                      </a:cubicBezTo>
                      <a:cubicBezTo>
                        <a:pt x="54" y="343"/>
                        <a:pt x="59" y="352"/>
                        <a:pt x="54" y="360"/>
                      </a:cubicBezTo>
                      <a:cubicBezTo>
                        <a:pt x="48" y="372"/>
                        <a:pt x="41" y="367"/>
                        <a:pt x="38" y="382"/>
                      </a:cubicBezTo>
                      <a:cubicBezTo>
                        <a:pt x="37" y="391"/>
                        <a:pt x="43" y="408"/>
                        <a:pt x="40" y="415"/>
                      </a:cubicBezTo>
                      <a:cubicBezTo>
                        <a:pt x="38" y="419"/>
                        <a:pt x="27" y="423"/>
                        <a:pt x="22" y="419"/>
                      </a:cubicBezTo>
                      <a:cubicBezTo>
                        <a:pt x="15" y="413"/>
                        <a:pt x="22" y="401"/>
                        <a:pt x="21" y="395"/>
                      </a:cubicBezTo>
                      <a:cubicBezTo>
                        <a:pt x="19" y="386"/>
                        <a:pt x="11" y="383"/>
                        <a:pt x="9" y="373"/>
                      </a:cubicBezTo>
                      <a:cubicBezTo>
                        <a:pt x="15" y="375"/>
                        <a:pt x="37" y="388"/>
                        <a:pt x="25" y="368"/>
                      </a:cubicBezTo>
                      <a:cubicBezTo>
                        <a:pt x="22" y="364"/>
                        <a:pt x="8" y="363"/>
                        <a:pt x="15" y="356"/>
                      </a:cubicBezTo>
                      <a:cubicBezTo>
                        <a:pt x="22" y="350"/>
                        <a:pt x="27" y="362"/>
                        <a:pt x="33" y="350"/>
                      </a:cubicBezTo>
                      <a:cubicBezTo>
                        <a:pt x="35" y="346"/>
                        <a:pt x="34" y="331"/>
                        <a:pt x="33" y="328"/>
                      </a:cubicBezTo>
                      <a:cubicBezTo>
                        <a:pt x="27" y="315"/>
                        <a:pt x="25" y="324"/>
                        <a:pt x="16" y="322"/>
                      </a:cubicBezTo>
                      <a:cubicBezTo>
                        <a:pt x="9" y="321"/>
                        <a:pt x="0" y="315"/>
                        <a:pt x="9" y="308"/>
                      </a:cubicBezTo>
                      <a:cubicBezTo>
                        <a:pt x="16" y="302"/>
                        <a:pt x="21" y="315"/>
                        <a:pt x="26" y="303"/>
                      </a:cubicBezTo>
                      <a:cubicBezTo>
                        <a:pt x="27" y="300"/>
                        <a:pt x="21" y="293"/>
                        <a:pt x="22" y="287"/>
                      </a:cubicBezTo>
                      <a:cubicBezTo>
                        <a:pt x="24" y="279"/>
                        <a:pt x="30" y="269"/>
                        <a:pt x="32" y="261"/>
                      </a:cubicBezTo>
                      <a:cubicBezTo>
                        <a:pt x="34" y="254"/>
                        <a:pt x="37" y="250"/>
                        <a:pt x="36" y="243"/>
                      </a:cubicBezTo>
                      <a:cubicBezTo>
                        <a:pt x="36" y="235"/>
                        <a:pt x="28" y="229"/>
                        <a:pt x="27" y="223"/>
                      </a:cubicBezTo>
                      <a:cubicBezTo>
                        <a:pt x="26" y="207"/>
                        <a:pt x="32" y="220"/>
                        <a:pt x="41" y="215"/>
                      </a:cubicBezTo>
                      <a:cubicBezTo>
                        <a:pt x="54" y="207"/>
                        <a:pt x="43" y="182"/>
                        <a:pt x="48" y="169"/>
                      </a:cubicBezTo>
                      <a:cubicBezTo>
                        <a:pt x="50" y="162"/>
                        <a:pt x="61" y="158"/>
                        <a:pt x="59" y="150"/>
                      </a:cubicBezTo>
                      <a:cubicBezTo>
                        <a:pt x="59" y="150"/>
                        <a:pt x="49" y="141"/>
                        <a:pt x="48" y="140"/>
                      </a:cubicBezTo>
                      <a:cubicBezTo>
                        <a:pt x="35" y="127"/>
                        <a:pt x="35" y="118"/>
                        <a:pt x="39" y="101"/>
                      </a:cubicBezTo>
                      <a:cubicBezTo>
                        <a:pt x="50" y="108"/>
                        <a:pt x="65" y="133"/>
                        <a:pt x="79" y="131"/>
                      </a:cubicBezTo>
                      <a:cubicBezTo>
                        <a:pt x="87" y="129"/>
                        <a:pt x="108" y="109"/>
                        <a:pt x="112" y="102"/>
                      </a:cubicBezTo>
                      <a:cubicBezTo>
                        <a:pt x="119" y="91"/>
                        <a:pt x="115" y="74"/>
                        <a:pt x="117" y="62"/>
                      </a:cubicBezTo>
                      <a:cubicBezTo>
                        <a:pt x="119" y="46"/>
                        <a:pt x="121" y="20"/>
                        <a:pt x="134" y="8"/>
                      </a:cubicBezTo>
                      <a:cubicBezTo>
                        <a:pt x="140" y="4"/>
                        <a:pt x="149" y="0"/>
                        <a:pt x="156" y="6"/>
                      </a:cubicBezTo>
                      <a:cubicBezTo>
                        <a:pt x="163" y="11"/>
                        <a:pt x="158" y="11"/>
                        <a:pt x="160" y="17"/>
                      </a:cubicBezTo>
                      <a:cubicBezTo>
                        <a:pt x="162" y="22"/>
                        <a:pt x="159" y="21"/>
                        <a:pt x="163" y="28"/>
                      </a:cubicBezTo>
                      <a:cubicBezTo>
                        <a:pt x="168" y="34"/>
                        <a:pt x="180" y="29"/>
                        <a:pt x="175" y="4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3" name="Freeform 39">
                  <a:extLst>
                    <a:ext uri="{FF2B5EF4-FFF2-40B4-BE49-F238E27FC236}">
                      <a16:creationId xmlns:a16="http://schemas.microsoft.com/office/drawing/2014/main" id="{665D9762-AF35-A761-377D-3D226EF43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16888" y="4846638"/>
                  <a:ext cx="41275" cy="152400"/>
                </a:xfrm>
                <a:custGeom>
                  <a:avLst/>
                  <a:gdLst>
                    <a:gd name="T0" fmla="*/ 68 w 68"/>
                    <a:gd name="T1" fmla="*/ 0 h 247"/>
                    <a:gd name="T2" fmla="*/ 60 w 68"/>
                    <a:gd name="T3" fmla="*/ 57 h 247"/>
                    <a:gd name="T4" fmla="*/ 62 w 68"/>
                    <a:gd name="T5" fmla="*/ 101 h 247"/>
                    <a:gd name="T6" fmla="*/ 54 w 68"/>
                    <a:gd name="T7" fmla="*/ 132 h 247"/>
                    <a:gd name="T8" fmla="*/ 49 w 68"/>
                    <a:gd name="T9" fmla="*/ 145 h 247"/>
                    <a:gd name="T10" fmla="*/ 43 w 68"/>
                    <a:gd name="T11" fmla="*/ 150 h 247"/>
                    <a:gd name="T12" fmla="*/ 45 w 68"/>
                    <a:gd name="T13" fmla="*/ 156 h 247"/>
                    <a:gd name="T14" fmla="*/ 37 w 68"/>
                    <a:gd name="T15" fmla="*/ 198 h 247"/>
                    <a:gd name="T16" fmla="*/ 20 w 68"/>
                    <a:gd name="T17" fmla="*/ 223 h 247"/>
                    <a:gd name="T18" fmla="*/ 8 w 68"/>
                    <a:gd name="T19" fmla="*/ 247 h 247"/>
                    <a:gd name="T20" fmla="*/ 6 w 68"/>
                    <a:gd name="T21" fmla="*/ 235 h 247"/>
                    <a:gd name="T22" fmla="*/ 5 w 68"/>
                    <a:gd name="T23" fmla="*/ 215 h 247"/>
                    <a:gd name="T24" fmla="*/ 0 w 68"/>
                    <a:gd name="T25" fmla="*/ 188 h 247"/>
                    <a:gd name="T26" fmla="*/ 5 w 68"/>
                    <a:gd name="T27" fmla="*/ 162 h 247"/>
                    <a:gd name="T28" fmla="*/ 16 w 68"/>
                    <a:gd name="T29" fmla="*/ 142 h 247"/>
                    <a:gd name="T30" fmla="*/ 15 w 68"/>
                    <a:gd name="T31" fmla="*/ 123 h 247"/>
                    <a:gd name="T32" fmla="*/ 23 w 68"/>
                    <a:gd name="T33" fmla="*/ 76 h 247"/>
                    <a:gd name="T34" fmla="*/ 35 w 68"/>
                    <a:gd name="T35" fmla="*/ 57 h 247"/>
                    <a:gd name="T36" fmla="*/ 27 w 68"/>
                    <a:gd name="T37" fmla="*/ 45 h 247"/>
                    <a:gd name="T38" fmla="*/ 38 w 68"/>
                    <a:gd name="T39" fmla="*/ 28 h 247"/>
                    <a:gd name="T40" fmla="*/ 52 w 68"/>
                    <a:gd name="T41" fmla="*/ 15 h 247"/>
                    <a:gd name="T42" fmla="*/ 68 w 68"/>
                    <a:gd name="T43" fmla="*/ 0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8" h="247">
                      <a:moveTo>
                        <a:pt x="68" y="0"/>
                      </a:moveTo>
                      <a:cubicBezTo>
                        <a:pt x="67" y="19"/>
                        <a:pt x="66" y="39"/>
                        <a:pt x="60" y="57"/>
                      </a:cubicBezTo>
                      <a:cubicBezTo>
                        <a:pt x="56" y="67"/>
                        <a:pt x="45" y="95"/>
                        <a:pt x="62" y="101"/>
                      </a:cubicBezTo>
                      <a:cubicBezTo>
                        <a:pt x="56" y="106"/>
                        <a:pt x="57" y="123"/>
                        <a:pt x="54" y="132"/>
                      </a:cubicBezTo>
                      <a:cubicBezTo>
                        <a:pt x="52" y="137"/>
                        <a:pt x="50" y="141"/>
                        <a:pt x="49" y="145"/>
                      </a:cubicBezTo>
                      <a:cubicBezTo>
                        <a:pt x="48" y="147"/>
                        <a:pt x="44" y="148"/>
                        <a:pt x="43" y="150"/>
                      </a:cubicBezTo>
                      <a:cubicBezTo>
                        <a:pt x="41" y="153"/>
                        <a:pt x="45" y="155"/>
                        <a:pt x="45" y="156"/>
                      </a:cubicBezTo>
                      <a:cubicBezTo>
                        <a:pt x="39" y="171"/>
                        <a:pt x="39" y="182"/>
                        <a:pt x="37" y="198"/>
                      </a:cubicBezTo>
                      <a:cubicBezTo>
                        <a:pt x="36" y="207"/>
                        <a:pt x="34" y="237"/>
                        <a:pt x="20" y="223"/>
                      </a:cubicBezTo>
                      <a:cubicBezTo>
                        <a:pt x="30" y="235"/>
                        <a:pt x="17" y="242"/>
                        <a:pt x="8" y="247"/>
                      </a:cubicBezTo>
                      <a:cubicBezTo>
                        <a:pt x="8" y="243"/>
                        <a:pt x="6" y="239"/>
                        <a:pt x="6" y="235"/>
                      </a:cubicBezTo>
                      <a:cubicBezTo>
                        <a:pt x="4" y="225"/>
                        <a:pt x="5" y="225"/>
                        <a:pt x="5" y="215"/>
                      </a:cubicBezTo>
                      <a:cubicBezTo>
                        <a:pt x="5" y="206"/>
                        <a:pt x="1" y="196"/>
                        <a:pt x="0" y="188"/>
                      </a:cubicBezTo>
                      <a:cubicBezTo>
                        <a:pt x="0" y="181"/>
                        <a:pt x="2" y="168"/>
                        <a:pt x="5" y="162"/>
                      </a:cubicBezTo>
                      <a:cubicBezTo>
                        <a:pt x="9" y="154"/>
                        <a:pt x="15" y="153"/>
                        <a:pt x="16" y="142"/>
                      </a:cubicBezTo>
                      <a:cubicBezTo>
                        <a:pt x="17" y="136"/>
                        <a:pt x="15" y="129"/>
                        <a:pt x="15" y="123"/>
                      </a:cubicBezTo>
                      <a:cubicBezTo>
                        <a:pt x="14" y="107"/>
                        <a:pt x="13" y="89"/>
                        <a:pt x="23" y="76"/>
                      </a:cubicBezTo>
                      <a:cubicBezTo>
                        <a:pt x="27" y="70"/>
                        <a:pt x="36" y="68"/>
                        <a:pt x="35" y="57"/>
                      </a:cubicBezTo>
                      <a:cubicBezTo>
                        <a:pt x="33" y="49"/>
                        <a:pt x="25" y="56"/>
                        <a:pt x="27" y="45"/>
                      </a:cubicBezTo>
                      <a:cubicBezTo>
                        <a:pt x="28" y="39"/>
                        <a:pt x="35" y="33"/>
                        <a:pt x="38" y="28"/>
                      </a:cubicBezTo>
                      <a:cubicBezTo>
                        <a:pt x="44" y="19"/>
                        <a:pt x="45" y="20"/>
                        <a:pt x="52" y="15"/>
                      </a:cubicBezTo>
                      <a:cubicBezTo>
                        <a:pt x="59" y="9"/>
                        <a:pt x="62" y="9"/>
                        <a:pt x="68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4" name="Freeform 40">
                  <a:extLst>
                    <a:ext uri="{FF2B5EF4-FFF2-40B4-BE49-F238E27FC236}">
                      <a16:creationId xmlns:a16="http://schemas.microsoft.com/office/drawing/2014/main" id="{836A2A2C-40B1-9BB2-03C4-43CB45B84A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53400" y="4799013"/>
                  <a:ext cx="7938" cy="7938"/>
                </a:xfrm>
                <a:custGeom>
                  <a:avLst/>
                  <a:gdLst>
                    <a:gd name="T0" fmla="*/ 13 w 13"/>
                    <a:gd name="T1" fmla="*/ 6 h 11"/>
                    <a:gd name="T2" fmla="*/ 2 w 13"/>
                    <a:gd name="T3" fmla="*/ 0 h 11"/>
                    <a:gd name="T4" fmla="*/ 13 w 13"/>
                    <a:gd name="T5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" h="11">
                      <a:moveTo>
                        <a:pt x="13" y="6"/>
                      </a:moveTo>
                      <a:cubicBezTo>
                        <a:pt x="6" y="11"/>
                        <a:pt x="0" y="9"/>
                        <a:pt x="2" y="0"/>
                      </a:cubicBezTo>
                      <a:cubicBezTo>
                        <a:pt x="6" y="1"/>
                        <a:pt x="10" y="3"/>
                        <a:pt x="13" y="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5" name="Freeform 41">
                  <a:extLst>
                    <a:ext uri="{FF2B5EF4-FFF2-40B4-BE49-F238E27FC236}">
                      <a16:creationId xmlns:a16="http://schemas.microsoft.com/office/drawing/2014/main" id="{29F185DC-3A90-3D09-82DB-6F549CB0E1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3088" y="4624388"/>
                  <a:ext cx="25400" cy="84138"/>
                </a:xfrm>
                <a:custGeom>
                  <a:avLst/>
                  <a:gdLst>
                    <a:gd name="T0" fmla="*/ 24 w 41"/>
                    <a:gd name="T1" fmla="*/ 11 h 135"/>
                    <a:gd name="T2" fmla="*/ 26 w 41"/>
                    <a:gd name="T3" fmla="*/ 14 h 135"/>
                    <a:gd name="T4" fmla="*/ 32 w 41"/>
                    <a:gd name="T5" fmla="*/ 0 h 135"/>
                    <a:gd name="T6" fmla="*/ 33 w 41"/>
                    <a:gd name="T7" fmla="*/ 26 h 135"/>
                    <a:gd name="T8" fmla="*/ 35 w 41"/>
                    <a:gd name="T9" fmla="*/ 62 h 135"/>
                    <a:gd name="T10" fmla="*/ 36 w 41"/>
                    <a:gd name="T11" fmla="*/ 88 h 135"/>
                    <a:gd name="T12" fmla="*/ 32 w 41"/>
                    <a:gd name="T13" fmla="*/ 108 h 135"/>
                    <a:gd name="T14" fmla="*/ 27 w 41"/>
                    <a:gd name="T15" fmla="*/ 130 h 135"/>
                    <a:gd name="T16" fmla="*/ 7 w 41"/>
                    <a:gd name="T17" fmla="*/ 124 h 135"/>
                    <a:gd name="T18" fmla="*/ 22 w 41"/>
                    <a:gd name="T19" fmla="*/ 98 h 135"/>
                    <a:gd name="T20" fmla="*/ 20 w 41"/>
                    <a:gd name="T21" fmla="*/ 75 h 135"/>
                    <a:gd name="T22" fmla="*/ 23 w 41"/>
                    <a:gd name="T23" fmla="*/ 52 h 135"/>
                    <a:gd name="T24" fmla="*/ 22 w 41"/>
                    <a:gd name="T25" fmla="*/ 1 h 135"/>
                    <a:gd name="T26" fmla="*/ 24 w 41"/>
                    <a:gd name="T27" fmla="*/ 11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1" h="135">
                      <a:moveTo>
                        <a:pt x="24" y="11"/>
                      </a:moveTo>
                      <a:cubicBezTo>
                        <a:pt x="24" y="12"/>
                        <a:pt x="25" y="13"/>
                        <a:pt x="26" y="14"/>
                      </a:cubicBezTo>
                      <a:cubicBezTo>
                        <a:pt x="28" y="10"/>
                        <a:pt x="29" y="0"/>
                        <a:pt x="32" y="0"/>
                      </a:cubicBezTo>
                      <a:cubicBezTo>
                        <a:pt x="41" y="0"/>
                        <a:pt x="33" y="21"/>
                        <a:pt x="33" y="26"/>
                      </a:cubicBezTo>
                      <a:cubicBezTo>
                        <a:pt x="34" y="39"/>
                        <a:pt x="35" y="49"/>
                        <a:pt x="35" y="62"/>
                      </a:cubicBezTo>
                      <a:cubicBezTo>
                        <a:pt x="35" y="70"/>
                        <a:pt x="37" y="79"/>
                        <a:pt x="36" y="88"/>
                      </a:cubicBezTo>
                      <a:cubicBezTo>
                        <a:pt x="35" y="96"/>
                        <a:pt x="33" y="100"/>
                        <a:pt x="32" y="108"/>
                      </a:cubicBezTo>
                      <a:cubicBezTo>
                        <a:pt x="31" y="115"/>
                        <a:pt x="33" y="126"/>
                        <a:pt x="27" y="130"/>
                      </a:cubicBezTo>
                      <a:cubicBezTo>
                        <a:pt x="19" y="135"/>
                        <a:pt x="10" y="130"/>
                        <a:pt x="7" y="124"/>
                      </a:cubicBezTo>
                      <a:cubicBezTo>
                        <a:pt x="0" y="113"/>
                        <a:pt x="19" y="111"/>
                        <a:pt x="22" y="98"/>
                      </a:cubicBezTo>
                      <a:cubicBezTo>
                        <a:pt x="23" y="92"/>
                        <a:pt x="19" y="83"/>
                        <a:pt x="20" y="75"/>
                      </a:cubicBezTo>
                      <a:cubicBezTo>
                        <a:pt x="20" y="68"/>
                        <a:pt x="23" y="60"/>
                        <a:pt x="23" y="52"/>
                      </a:cubicBezTo>
                      <a:cubicBezTo>
                        <a:pt x="24" y="35"/>
                        <a:pt x="19" y="19"/>
                        <a:pt x="22" y="1"/>
                      </a:cubicBezTo>
                      <a:cubicBezTo>
                        <a:pt x="22" y="4"/>
                        <a:pt x="23" y="7"/>
                        <a:pt x="24" y="1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6" name="Freeform 42">
                  <a:extLst>
                    <a:ext uri="{FF2B5EF4-FFF2-40B4-BE49-F238E27FC236}">
                      <a16:creationId xmlns:a16="http://schemas.microsoft.com/office/drawing/2014/main" id="{68974837-0D67-B7D2-D315-BA414E5617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02613" y="4579938"/>
                  <a:ext cx="20638" cy="17463"/>
                </a:xfrm>
                <a:custGeom>
                  <a:avLst/>
                  <a:gdLst>
                    <a:gd name="T0" fmla="*/ 25 w 33"/>
                    <a:gd name="T1" fmla="*/ 13 h 29"/>
                    <a:gd name="T2" fmla="*/ 1 w 33"/>
                    <a:gd name="T3" fmla="*/ 15 h 29"/>
                    <a:gd name="T4" fmla="*/ 25 w 33"/>
                    <a:gd name="T5" fmla="*/ 13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3" h="29">
                      <a:moveTo>
                        <a:pt x="25" y="13"/>
                      </a:moveTo>
                      <a:cubicBezTo>
                        <a:pt x="33" y="27"/>
                        <a:pt x="2" y="29"/>
                        <a:pt x="1" y="15"/>
                      </a:cubicBezTo>
                      <a:cubicBezTo>
                        <a:pt x="0" y="0"/>
                        <a:pt x="19" y="4"/>
                        <a:pt x="25" y="1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7" name="Freeform 43">
                  <a:extLst>
                    <a:ext uri="{FF2B5EF4-FFF2-40B4-BE49-F238E27FC236}">
                      <a16:creationId xmlns:a16="http://schemas.microsoft.com/office/drawing/2014/main" id="{2696311E-1E63-B057-7127-B3F5853345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08963" y="4491038"/>
                  <a:ext cx="14288" cy="23813"/>
                </a:xfrm>
                <a:custGeom>
                  <a:avLst/>
                  <a:gdLst>
                    <a:gd name="T0" fmla="*/ 24 w 24"/>
                    <a:gd name="T1" fmla="*/ 27 h 38"/>
                    <a:gd name="T2" fmla="*/ 19 w 24"/>
                    <a:gd name="T3" fmla="*/ 38 h 38"/>
                    <a:gd name="T4" fmla="*/ 6 w 24"/>
                    <a:gd name="T5" fmla="*/ 9 h 38"/>
                    <a:gd name="T6" fmla="*/ 24 w 24"/>
                    <a:gd name="T7" fmla="*/ 2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38">
                      <a:moveTo>
                        <a:pt x="24" y="27"/>
                      </a:moveTo>
                      <a:cubicBezTo>
                        <a:pt x="21" y="30"/>
                        <a:pt x="20" y="34"/>
                        <a:pt x="19" y="38"/>
                      </a:cubicBezTo>
                      <a:cubicBezTo>
                        <a:pt x="12" y="35"/>
                        <a:pt x="0" y="17"/>
                        <a:pt x="6" y="9"/>
                      </a:cubicBezTo>
                      <a:cubicBezTo>
                        <a:pt x="13" y="0"/>
                        <a:pt x="24" y="19"/>
                        <a:pt x="24" y="2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8" name="Freeform 44">
                  <a:extLst>
                    <a:ext uri="{FF2B5EF4-FFF2-40B4-BE49-F238E27FC236}">
                      <a16:creationId xmlns:a16="http://schemas.microsoft.com/office/drawing/2014/main" id="{78213D72-824A-467C-5098-B6CD53F59D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1500" y="4438651"/>
                  <a:ext cx="19050" cy="17463"/>
                </a:xfrm>
                <a:custGeom>
                  <a:avLst/>
                  <a:gdLst>
                    <a:gd name="T0" fmla="*/ 32 w 32"/>
                    <a:gd name="T1" fmla="*/ 18 h 28"/>
                    <a:gd name="T2" fmla="*/ 3 w 32"/>
                    <a:gd name="T3" fmla="*/ 12 h 28"/>
                    <a:gd name="T4" fmla="*/ 32 w 32"/>
                    <a:gd name="T5" fmla="*/ 1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2" h="28">
                      <a:moveTo>
                        <a:pt x="32" y="18"/>
                      </a:moveTo>
                      <a:cubicBezTo>
                        <a:pt x="27" y="28"/>
                        <a:pt x="0" y="23"/>
                        <a:pt x="3" y="12"/>
                      </a:cubicBezTo>
                      <a:cubicBezTo>
                        <a:pt x="7" y="0"/>
                        <a:pt x="28" y="10"/>
                        <a:pt x="32" y="1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89" name="Freeform 45">
                  <a:extLst>
                    <a:ext uri="{FF2B5EF4-FFF2-40B4-BE49-F238E27FC236}">
                      <a16:creationId xmlns:a16="http://schemas.microsoft.com/office/drawing/2014/main" id="{73C965EA-1CBA-D3A7-3718-5895A14769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1500" y="4276726"/>
                  <a:ext cx="14288" cy="44450"/>
                </a:xfrm>
                <a:custGeom>
                  <a:avLst/>
                  <a:gdLst>
                    <a:gd name="T0" fmla="*/ 17 w 22"/>
                    <a:gd name="T1" fmla="*/ 60 h 75"/>
                    <a:gd name="T2" fmla="*/ 4 w 22"/>
                    <a:gd name="T3" fmla="*/ 60 h 75"/>
                    <a:gd name="T4" fmla="*/ 8 w 22"/>
                    <a:gd name="T5" fmla="*/ 41 h 75"/>
                    <a:gd name="T6" fmla="*/ 3 w 22"/>
                    <a:gd name="T7" fmla="*/ 29 h 75"/>
                    <a:gd name="T8" fmla="*/ 18 w 22"/>
                    <a:gd name="T9" fmla="*/ 20 h 75"/>
                    <a:gd name="T10" fmla="*/ 17 w 22"/>
                    <a:gd name="T11" fmla="*/ 6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75">
                      <a:moveTo>
                        <a:pt x="17" y="60"/>
                      </a:moveTo>
                      <a:cubicBezTo>
                        <a:pt x="19" y="69"/>
                        <a:pt x="4" y="75"/>
                        <a:pt x="4" y="60"/>
                      </a:cubicBezTo>
                      <a:cubicBezTo>
                        <a:pt x="3" y="54"/>
                        <a:pt x="9" y="48"/>
                        <a:pt x="8" y="41"/>
                      </a:cubicBezTo>
                      <a:cubicBezTo>
                        <a:pt x="7" y="36"/>
                        <a:pt x="4" y="33"/>
                        <a:pt x="3" y="29"/>
                      </a:cubicBezTo>
                      <a:cubicBezTo>
                        <a:pt x="0" y="17"/>
                        <a:pt x="11" y="0"/>
                        <a:pt x="18" y="20"/>
                      </a:cubicBezTo>
                      <a:cubicBezTo>
                        <a:pt x="22" y="33"/>
                        <a:pt x="6" y="49"/>
                        <a:pt x="17" y="6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0" name="Freeform 46">
                  <a:extLst>
                    <a:ext uri="{FF2B5EF4-FFF2-40B4-BE49-F238E27FC236}">
                      <a16:creationId xmlns:a16="http://schemas.microsoft.com/office/drawing/2014/main" id="{64358798-3A4F-0F64-94A0-AE5661A04C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67688" y="4286251"/>
                  <a:ext cx="12700" cy="14288"/>
                </a:xfrm>
                <a:custGeom>
                  <a:avLst/>
                  <a:gdLst>
                    <a:gd name="T0" fmla="*/ 19 w 19"/>
                    <a:gd name="T1" fmla="*/ 9 h 23"/>
                    <a:gd name="T2" fmla="*/ 1 w 19"/>
                    <a:gd name="T3" fmla="*/ 11 h 23"/>
                    <a:gd name="T4" fmla="*/ 19 w 19"/>
                    <a:gd name="T5" fmla="*/ 9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23">
                      <a:moveTo>
                        <a:pt x="19" y="9"/>
                      </a:moveTo>
                      <a:cubicBezTo>
                        <a:pt x="16" y="16"/>
                        <a:pt x="3" y="23"/>
                        <a:pt x="1" y="11"/>
                      </a:cubicBezTo>
                      <a:cubicBezTo>
                        <a:pt x="0" y="3"/>
                        <a:pt x="19" y="0"/>
                        <a:pt x="19" y="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1" name="Freeform 47">
                  <a:extLst>
                    <a:ext uri="{FF2B5EF4-FFF2-40B4-BE49-F238E27FC236}">
                      <a16:creationId xmlns:a16="http://schemas.microsoft.com/office/drawing/2014/main" id="{C8E96071-63F5-9FAF-E325-A36FE3C2DB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86738" y="4225926"/>
                  <a:ext cx="23813" cy="20638"/>
                </a:xfrm>
                <a:custGeom>
                  <a:avLst/>
                  <a:gdLst>
                    <a:gd name="T0" fmla="*/ 31 w 39"/>
                    <a:gd name="T1" fmla="*/ 25 h 32"/>
                    <a:gd name="T2" fmla="*/ 13 w 39"/>
                    <a:gd name="T3" fmla="*/ 11 h 32"/>
                    <a:gd name="T4" fmla="*/ 31 w 39"/>
                    <a:gd name="T5" fmla="*/ 2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9" h="32">
                      <a:moveTo>
                        <a:pt x="31" y="25"/>
                      </a:moveTo>
                      <a:cubicBezTo>
                        <a:pt x="27" y="32"/>
                        <a:pt x="0" y="22"/>
                        <a:pt x="13" y="11"/>
                      </a:cubicBezTo>
                      <a:cubicBezTo>
                        <a:pt x="25" y="0"/>
                        <a:pt x="39" y="10"/>
                        <a:pt x="31" y="2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2" name="Freeform 48">
                  <a:extLst>
                    <a:ext uri="{FF2B5EF4-FFF2-40B4-BE49-F238E27FC236}">
                      <a16:creationId xmlns:a16="http://schemas.microsoft.com/office/drawing/2014/main" id="{812E7EF6-A633-D7B9-F975-44237C050A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67688" y="4148138"/>
                  <a:ext cx="41275" cy="63500"/>
                </a:xfrm>
                <a:custGeom>
                  <a:avLst/>
                  <a:gdLst>
                    <a:gd name="T0" fmla="*/ 19 w 68"/>
                    <a:gd name="T1" fmla="*/ 7 h 104"/>
                    <a:gd name="T2" fmla="*/ 24 w 68"/>
                    <a:gd name="T3" fmla="*/ 3 h 104"/>
                    <a:gd name="T4" fmla="*/ 34 w 68"/>
                    <a:gd name="T5" fmla="*/ 40 h 104"/>
                    <a:gd name="T6" fmla="*/ 54 w 68"/>
                    <a:gd name="T7" fmla="*/ 65 h 104"/>
                    <a:gd name="T8" fmla="*/ 48 w 68"/>
                    <a:gd name="T9" fmla="*/ 102 h 104"/>
                    <a:gd name="T10" fmla="*/ 21 w 68"/>
                    <a:gd name="T11" fmla="*/ 51 h 104"/>
                    <a:gd name="T12" fmla="*/ 19 w 68"/>
                    <a:gd name="T13" fmla="*/ 7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8" h="104">
                      <a:moveTo>
                        <a:pt x="19" y="7"/>
                      </a:moveTo>
                      <a:cubicBezTo>
                        <a:pt x="21" y="5"/>
                        <a:pt x="23" y="8"/>
                        <a:pt x="24" y="3"/>
                      </a:cubicBezTo>
                      <a:cubicBezTo>
                        <a:pt x="32" y="17"/>
                        <a:pt x="32" y="27"/>
                        <a:pt x="34" y="40"/>
                      </a:cubicBezTo>
                      <a:cubicBezTo>
                        <a:pt x="37" y="52"/>
                        <a:pt x="47" y="56"/>
                        <a:pt x="54" y="65"/>
                      </a:cubicBezTo>
                      <a:cubicBezTo>
                        <a:pt x="64" y="76"/>
                        <a:pt x="68" y="101"/>
                        <a:pt x="48" y="102"/>
                      </a:cubicBezTo>
                      <a:cubicBezTo>
                        <a:pt x="25" y="104"/>
                        <a:pt x="24" y="67"/>
                        <a:pt x="21" y="51"/>
                      </a:cubicBezTo>
                      <a:cubicBezTo>
                        <a:pt x="20" y="44"/>
                        <a:pt x="0" y="0"/>
                        <a:pt x="19" y="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3" name="Freeform 49">
                  <a:extLst>
                    <a:ext uri="{FF2B5EF4-FFF2-40B4-BE49-F238E27FC236}">
                      <a16:creationId xmlns:a16="http://schemas.microsoft.com/office/drawing/2014/main" id="{2E698742-7E76-1703-2FA6-1FB258B99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24825" y="4146551"/>
                  <a:ext cx="12700" cy="22225"/>
                </a:xfrm>
                <a:custGeom>
                  <a:avLst/>
                  <a:gdLst>
                    <a:gd name="T0" fmla="*/ 18 w 19"/>
                    <a:gd name="T1" fmla="*/ 22 h 35"/>
                    <a:gd name="T2" fmla="*/ 0 w 19"/>
                    <a:gd name="T3" fmla="*/ 17 h 35"/>
                    <a:gd name="T4" fmla="*/ 18 w 19"/>
                    <a:gd name="T5" fmla="*/ 2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35">
                      <a:moveTo>
                        <a:pt x="18" y="22"/>
                      </a:moveTo>
                      <a:cubicBezTo>
                        <a:pt x="19" y="35"/>
                        <a:pt x="0" y="27"/>
                        <a:pt x="0" y="17"/>
                      </a:cubicBezTo>
                      <a:cubicBezTo>
                        <a:pt x="1" y="0"/>
                        <a:pt x="18" y="9"/>
                        <a:pt x="18" y="2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4" name="Freeform 50">
                  <a:extLst>
                    <a:ext uri="{FF2B5EF4-FFF2-40B4-BE49-F238E27FC236}">
                      <a16:creationId xmlns:a16="http://schemas.microsoft.com/office/drawing/2014/main" id="{10B875CB-06B8-7186-FC1D-3B0336A5CA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35938" y="3930651"/>
                  <a:ext cx="58738" cy="146050"/>
                </a:xfrm>
                <a:custGeom>
                  <a:avLst/>
                  <a:gdLst>
                    <a:gd name="T0" fmla="*/ 83 w 95"/>
                    <a:gd name="T1" fmla="*/ 59 h 237"/>
                    <a:gd name="T2" fmla="*/ 87 w 95"/>
                    <a:gd name="T3" fmla="*/ 82 h 237"/>
                    <a:gd name="T4" fmla="*/ 87 w 95"/>
                    <a:gd name="T5" fmla="*/ 99 h 237"/>
                    <a:gd name="T6" fmla="*/ 94 w 95"/>
                    <a:gd name="T7" fmla="*/ 130 h 237"/>
                    <a:gd name="T8" fmla="*/ 91 w 95"/>
                    <a:gd name="T9" fmla="*/ 148 h 237"/>
                    <a:gd name="T10" fmla="*/ 89 w 95"/>
                    <a:gd name="T11" fmla="*/ 160 h 237"/>
                    <a:gd name="T12" fmla="*/ 74 w 95"/>
                    <a:gd name="T13" fmla="*/ 174 h 237"/>
                    <a:gd name="T14" fmla="*/ 68 w 95"/>
                    <a:gd name="T15" fmla="*/ 204 h 237"/>
                    <a:gd name="T16" fmla="*/ 72 w 95"/>
                    <a:gd name="T17" fmla="*/ 235 h 237"/>
                    <a:gd name="T18" fmla="*/ 46 w 95"/>
                    <a:gd name="T19" fmla="*/ 237 h 237"/>
                    <a:gd name="T20" fmla="*/ 34 w 95"/>
                    <a:gd name="T21" fmla="*/ 213 h 237"/>
                    <a:gd name="T22" fmla="*/ 23 w 95"/>
                    <a:gd name="T23" fmla="*/ 201 h 237"/>
                    <a:gd name="T24" fmla="*/ 6 w 95"/>
                    <a:gd name="T25" fmla="*/ 194 h 237"/>
                    <a:gd name="T26" fmla="*/ 18 w 95"/>
                    <a:gd name="T27" fmla="*/ 179 h 237"/>
                    <a:gd name="T28" fmla="*/ 19 w 95"/>
                    <a:gd name="T29" fmla="*/ 158 h 237"/>
                    <a:gd name="T30" fmla="*/ 33 w 95"/>
                    <a:gd name="T31" fmla="*/ 140 h 237"/>
                    <a:gd name="T32" fmla="*/ 33 w 95"/>
                    <a:gd name="T33" fmla="*/ 134 h 237"/>
                    <a:gd name="T34" fmla="*/ 40 w 95"/>
                    <a:gd name="T35" fmla="*/ 130 h 237"/>
                    <a:gd name="T36" fmla="*/ 43 w 95"/>
                    <a:gd name="T37" fmla="*/ 92 h 237"/>
                    <a:gd name="T38" fmla="*/ 27 w 95"/>
                    <a:gd name="T39" fmla="*/ 49 h 237"/>
                    <a:gd name="T40" fmla="*/ 33 w 95"/>
                    <a:gd name="T41" fmla="*/ 5 h 237"/>
                    <a:gd name="T42" fmla="*/ 63 w 95"/>
                    <a:gd name="T43" fmla="*/ 31 h 237"/>
                    <a:gd name="T44" fmla="*/ 83 w 95"/>
                    <a:gd name="T45" fmla="*/ 59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5" h="237">
                      <a:moveTo>
                        <a:pt x="83" y="59"/>
                      </a:moveTo>
                      <a:cubicBezTo>
                        <a:pt x="73" y="69"/>
                        <a:pt x="83" y="73"/>
                        <a:pt x="87" y="82"/>
                      </a:cubicBezTo>
                      <a:cubicBezTo>
                        <a:pt x="88" y="88"/>
                        <a:pt x="87" y="93"/>
                        <a:pt x="87" y="99"/>
                      </a:cubicBezTo>
                      <a:cubicBezTo>
                        <a:pt x="89" y="108"/>
                        <a:pt x="95" y="121"/>
                        <a:pt x="94" y="130"/>
                      </a:cubicBezTo>
                      <a:cubicBezTo>
                        <a:pt x="94" y="136"/>
                        <a:pt x="92" y="143"/>
                        <a:pt x="91" y="148"/>
                      </a:cubicBezTo>
                      <a:cubicBezTo>
                        <a:pt x="89" y="155"/>
                        <a:pt x="92" y="154"/>
                        <a:pt x="89" y="160"/>
                      </a:cubicBezTo>
                      <a:cubicBezTo>
                        <a:pt x="85" y="166"/>
                        <a:pt x="78" y="169"/>
                        <a:pt x="74" y="174"/>
                      </a:cubicBezTo>
                      <a:cubicBezTo>
                        <a:pt x="67" y="184"/>
                        <a:pt x="67" y="193"/>
                        <a:pt x="68" y="204"/>
                      </a:cubicBezTo>
                      <a:cubicBezTo>
                        <a:pt x="70" y="212"/>
                        <a:pt x="81" y="231"/>
                        <a:pt x="72" y="235"/>
                      </a:cubicBezTo>
                      <a:cubicBezTo>
                        <a:pt x="71" y="210"/>
                        <a:pt x="51" y="237"/>
                        <a:pt x="46" y="237"/>
                      </a:cubicBezTo>
                      <a:cubicBezTo>
                        <a:pt x="36" y="237"/>
                        <a:pt x="37" y="219"/>
                        <a:pt x="34" y="213"/>
                      </a:cubicBezTo>
                      <a:cubicBezTo>
                        <a:pt x="33" y="211"/>
                        <a:pt x="25" y="202"/>
                        <a:pt x="23" y="201"/>
                      </a:cubicBezTo>
                      <a:cubicBezTo>
                        <a:pt x="18" y="198"/>
                        <a:pt x="9" y="201"/>
                        <a:pt x="6" y="194"/>
                      </a:cubicBezTo>
                      <a:cubicBezTo>
                        <a:pt x="0" y="182"/>
                        <a:pt x="14" y="184"/>
                        <a:pt x="18" y="179"/>
                      </a:cubicBezTo>
                      <a:cubicBezTo>
                        <a:pt x="22" y="172"/>
                        <a:pt x="18" y="167"/>
                        <a:pt x="19" y="158"/>
                      </a:cubicBezTo>
                      <a:cubicBezTo>
                        <a:pt x="21" y="148"/>
                        <a:pt x="26" y="147"/>
                        <a:pt x="33" y="140"/>
                      </a:cubicBezTo>
                      <a:cubicBezTo>
                        <a:pt x="34" y="138"/>
                        <a:pt x="32" y="135"/>
                        <a:pt x="33" y="134"/>
                      </a:cubicBezTo>
                      <a:cubicBezTo>
                        <a:pt x="34" y="133"/>
                        <a:pt x="40" y="130"/>
                        <a:pt x="40" y="130"/>
                      </a:cubicBezTo>
                      <a:cubicBezTo>
                        <a:pt x="48" y="118"/>
                        <a:pt x="48" y="107"/>
                        <a:pt x="43" y="92"/>
                      </a:cubicBezTo>
                      <a:cubicBezTo>
                        <a:pt x="38" y="77"/>
                        <a:pt x="32" y="63"/>
                        <a:pt x="27" y="49"/>
                      </a:cubicBezTo>
                      <a:cubicBezTo>
                        <a:pt x="24" y="40"/>
                        <a:pt x="22" y="9"/>
                        <a:pt x="33" y="5"/>
                      </a:cubicBezTo>
                      <a:cubicBezTo>
                        <a:pt x="43" y="0"/>
                        <a:pt x="57" y="24"/>
                        <a:pt x="63" y="31"/>
                      </a:cubicBezTo>
                      <a:cubicBezTo>
                        <a:pt x="70" y="38"/>
                        <a:pt x="87" y="46"/>
                        <a:pt x="83" y="5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5" name="Freeform 52">
                  <a:extLst>
                    <a:ext uri="{FF2B5EF4-FFF2-40B4-BE49-F238E27FC236}">
                      <a16:creationId xmlns:a16="http://schemas.microsoft.com/office/drawing/2014/main" id="{A8AC27EC-17B2-4C02-A5AA-05A07BF0D6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97838" y="3941763"/>
                  <a:ext cx="25400" cy="25400"/>
                </a:xfrm>
                <a:custGeom>
                  <a:avLst/>
                  <a:gdLst>
                    <a:gd name="T0" fmla="*/ 41 w 41"/>
                    <a:gd name="T1" fmla="*/ 18 h 40"/>
                    <a:gd name="T2" fmla="*/ 0 w 41"/>
                    <a:gd name="T3" fmla="*/ 16 h 40"/>
                    <a:gd name="T4" fmla="*/ 20 w 41"/>
                    <a:gd name="T5" fmla="*/ 1 h 40"/>
                    <a:gd name="T6" fmla="*/ 41 w 41"/>
                    <a:gd name="T7" fmla="*/ 18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" h="40">
                      <a:moveTo>
                        <a:pt x="41" y="18"/>
                      </a:moveTo>
                      <a:cubicBezTo>
                        <a:pt x="32" y="30"/>
                        <a:pt x="0" y="40"/>
                        <a:pt x="0" y="16"/>
                      </a:cubicBezTo>
                      <a:cubicBezTo>
                        <a:pt x="0" y="9"/>
                        <a:pt x="12" y="0"/>
                        <a:pt x="20" y="1"/>
                      </a:cubicBezTo>
                      <a:cubicBezTo>
                        <a:pt x="30" y="1"/>
                        <a:pt x="36" y="11"/>
                        <a:pt x="41" y="1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96" name="Freeform 53">
                  <a:extLst>
                    <a:ext uri="{FF2B5EF4-FFF2-40B4-BE49-F238E27FC236}">
                      <a16:creationId xmlns:a16="http://schemas.microsoft.com/office/drawing/2014/main" id="{9B88A8A2-3A23-DF14-D4D2-FD68A411BA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0850" y="4111626"/>
                  <a:ext cx="760413" cy="1241425"/>
                </a:xfrm>
                <a:custGeom>
                  <a:avLst/>
                  <a:gdLst>
                    <a:gd name="T0" fmla="*/ 126 w 1244"/>
                    <a:gd name="T1" fmla="*/ 116 h 2026"/>
                    <a:gd name="T2" fmla="*/ 142 w 1244"/>
                    <a:gd name="T3" fmla="*/ 134 h 2026"/>
                    <a:gd name="T4" fmla="*/ 180 w 1244"/>
                    <a:gd name="T5" fmla="*/ 176 h 2026"/>
                    <a:gd name="T6" fmla="*/ 214 w 1244"/>
                    <a:gd name="T7" fmla="*/ 200 h 2026"/>
                    <a:gd name="T8" fmla="*/ 231 w 1244"/>
                    <a:gd name="T9" fmla="*/ 215 h 2026"/>
                    <a:gd name="T10" fmla="*/ 326 w 1244"/>
                    <a:gd name="T11" fmla="*/ 328 h 2026"/>
                    <a:gd name="T12" fmla="*/ 374 w 1244"/>
                    <a:gd name="T13" fmla="*/ 457 h 2026"/>
                    <a:gd name="T14" fmla="*/ 351 w 1244"/>
                    <a:gd name="T15" fmla="*/ 391 h 2026"/>
                    <a:gd name="T16" fmla="*/ 369 w 1244"/>
                    <a:gd name="T17" fmla="*/ 458 h 2026"/>
                    <a:gd name="T18" fmla="*/ 404 w 1244"/>
                    <a:gd name="T19" fmla="*/ 526 h 2026"/>
                    <a:gd name="T20" fmla="*/ 473 w 1244"/>
                    <a:gd name="T21" fmla="*/ 592 h 2026"/>
                    <a:gd name="T22" fmla="*/ 488 w 1244"/>
                    <a:gd name="T23" fmla="*/ 603 h 2026"/>
                    <a:gd name="T24" fmla="*/ 543 w 1244"/>
                    <a:gd name="T25" fmla="*/ 675 h 2026"/>
                    <a:gd name="T26" fmla="*/ 601 w 1244"/>
                    <a:gd name="T27" fmla="*/ 731 h 2026"/>
                    <a:gd name="T28" fmla="*/ 759 w 1244"/>
                    <a:gd name="T29" fmla="*/ 902 h 2026"/>
                    <a:gd name="T30" fmla="*/ 864 w 1244"/>
                    <a:gd name="T31" fmla="*/ 1005 h 2026"/>
                    <a:gd name="T32" fmla="*/ 971 w 1244"/>
                    <a:gd name="T33" fmla="*/ 1112 h 2026"/>
                    <a:gd name="T34" fmla="*/ 1078 w 1244"/>
                    <a:gd name="T35" fmla="*/ 1178 h 2026"/>
                    <a:gd name="T36" fmla="*/ 990 w 1244"/>
                    <a:gd name="T37" fmla="*/ 1125 h 2026"/>
                    <a:gd name="T38" fmla="*/ 868 w 1244"/>
                    <a:gd name="T39" fmla="*/ 1104 h 2026"/>
                    <a:gd name="T40" fmla="*/ 798 w 1244"/>
                    <a:gd name="T41" fmla="*/ 1115 h 2026"/>
                    <a:gd name="T42" fmla="*/ 838 w 1244"/>
                    <a:gd name="T43" fmla="*/ 1113 h 2026"/>
                    <a:gd name="T44" fmla="*/ 794 w 1244"/>
                    <a:gd name="T45" fmla="*/ 1249 h 2026"/>
                    <a:gd name="T46" fmla="*/ 959 w 1244"/>
                    <a:gd name="T47" fmla="*/ 1615 h 2026"/>
                    <a:gd name="T48" fmla="*/ 1027 w 1244"/>
                    <a:gd name="T49" fmla="*/ 1643 h 2026"/>
                    <a:gd name="T50" fmla="*/ 1083 w 1244"/>
                    <a:gd name="T51" fmla="*/ 1717 h 2026"/>
                    <a:gd name="T52" fmla="*/ 1099 w 1244"/>
                    <a:gd name="T53" fmla="*/ 1736 h 2026"/>
                    <a:gd name="T54" fmla="*/ 1142 w 1244"/>
                    <a:gd name="T55" fmla="*/ 1741 h 2026"/>
                    <a:gd name="T56" fmla="*/ 1102 w 1244"/>
                    <a:gd name="T57" fmla="*/ 1718 h 2026"/>
                    <a:gd name="T58" fmla="*/ 1182 w 1244"/>
                    <a:gd name="T59" fmla="*/ 1742 h 2026"/>
                    <a:gd name="T60" fmla="*/ 1229 w 1244"/>
                    <a:gd name="T61" fmla="*/ 1831 h 2026"/>
                    <a:gd name="T62" fmla="*/ 1244 w 1244"/>
                    <a:gd name="T63" fmla="*/ 1884 h 2026"/>
                    <a:gd name="T64" fmla="*/ 1151 w 1244"/>
                    <a:gd name="T65" fmla="*/ 1775 h 2026"/>
                    <a:gd name="T66" fmla="*/ 1103 w 1244"/>
                    <a:gd name="T67" fmla="*/ 1790 h 2026"/>
                    <a:gd name="T68" fmla="*/ 1047 w 1244"/>
                    <a:gd name="T69" fmla="*/ 1779 h 2026"/>
                    <a:gd name="T70" fmla="*/ 1044 w 1244"/>
                    <a:gd name="T71" fmla="*/ 1927 h 2026"/>
                    <a:gd name="T72" fmla="*/ 1060 w 1244"/>
                    <a:gd name="T73" fmla="*/ 1994 h 2026"/>
                    <a:gd name="T74" fmla="*/ 1043 w 1244"/>
                    <a:gd name="T75" fmla="*/ 2013 h 2026"/>
                    <a:gd name="T76" fmla="*/ 936 w 1244"/>
                    <a:gd name="T77" fmla="*/ 1883 h 2026"/>
                    <a:gd name="T78" fmla="*/ 870 w 1244"/>
                    <a:gd name="T79" fmla="*/ 1712 h 2026"/>
                    <a:gd name="T80" fmla="*/ 820 w 1244"/>
                    <a:gd name="T81" fmla="*/ 1613 h 2026"/>
                    <a:gd name="T82" fmla="*/ 799 w 1244"/>
                    <a:gd name="T83" fmla="*/ 1521 h 2026"/>
                    <a:gd name="T84" fmla="*/ 664 w 1244"/>
                    <a:gd name="T85" fmla="*/ 1349 h 2026"/>
                    <a:gd name="T86" fmla="*/ 638 w 1244"/>
                    <a:gd name="T87" fmla="*/ 1274 h 2026"/>
                    <a:gd name="T88" fmla="*/ 549 w 1244"/>
                    <a:gd name="T89" fmla="*/ 1088 h 2026"/>
                    <a:gd name="T90" fmla="*/ 444 w 1244"/>
                    <a:gd name="T91" fmla="*/ 923 h 2026"/>
                    <a:gd name="T92" fmla="*/ 396 w 1244"/>
                    <a:gd name="T93" fmla="*/ 791 h 2026"/>
                    <a:gd name="T94" fmla="*/ 338 w 1244"/>
                    <a:gd name="T95" fmla="*/ 738 h 2026"/>
                    <a:gd name="T96" fmla="*/ 295 w 1244"/>
                    <a:gd name="T97" fmla="*/ 722 h 2026"/>
                    <a:gd name="T98" fmla="*/ 271 w 1244"/>
                    <a:gd name="T99" fmla="*/ 694 h 2026"/>
                    <a:gd name="T100" fmla="*/ 213 w 1244"/>
                    <a:gd name="T101" fmla="*/ 641 h 2026"/>
                    <a:gd name="T102" fmla="*/ 173 w 1244"/>
                    <a:gd name="T103" fmla="*/ 524 h 2026"/>
                    <a:gd name="T104" fmla="*/ 132 w 1244"/>
                    <a:gd name="T105" fmla="*/ 429 h 2026"/>
                    <a:gd name="T106" fmla="*/ 58 w 1244"/>
                    <a:gd name="T107" fmla="*/ 315 h 2026"/>
                    <a:gd name="T108" fmla="*/ 108 w 1244"/>
                    <a:gd name="T109" fmla="*/ 276 h 2026"/>
                    <a:gd name="T110" fmla="*/ 146 w 1244"/>
                    <a:gd name="T111" fmla="*/ 217 h 2026"/>
                    <a:gd name="T112" fmla="*/ 130 w 1244"/>
                    <a:gd name="T113" fmla="*/ 190 h 2026"/>
                    <a:gd name="T114" fmla="*/ 117 w 1244"/>
                    <a:gd name="T115" fmla="*/ 144 h 2026"/>
                    <a:gd name="T116" fmla="*/ 38 w 1244"/>
                    <a:gd name="T117" fmla="*/ 90 h 2026"/>
                    <a:gd name="T118" fmla="*/ 39 w 1244"/>
                    <a:gd name="T119" fmla="*/ 57 h 2026"/>
                    <a:gd name="T120" fmla="*/ 41 w 1244"/>
                    <a:gd name="T121" fmla="*/ 28 h 20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244" h="2026">
                      <a:moveTo>
                        <a:pt x="72" y="36"/>
                      </a:moveTo>
                      <a:cubicBezTo>
                        <a:pt x="94" y="44"/>
                        <a:pt x="118" y="59"/>
                        <a:pt x="122" y="82"/>
                      </a:cubicBezTo>
                      <a:cubicBezTo>
                        <a:pt x="123" y="93"/>
                        <a:pt x="125" y="106"/>
                        <a:pt x="126" y="116"/>
                      </a:cubicBezTo>
                      <a:cubicBezTo>
                        <a:pt x="127" y="123"/>
                        <a:pt x="127" y="123"/>
                        <a:pt x="127" y="130"/>
                      </a:cubicBezTo>
                      <a:cubicBezTo>
                        <a:pt x="137" y="116"/>
                        <a:pt x="162" y="150"/>
                        <a:pt x="169" y="158"/>
                      </a:cubicBezTo>
                      <a:cubicBezTo>
                        <a:pt x="160" y="150"/>
                        <a:pt x="151" y="142"/>
                        <a:pt x="142" y="134"/>
                      </a:cubicBezTo>
                      <a:cubicBezTo>
                        <a:pt x="134" y="143"/>
                        <a:pt x="161" y="161"/>
                        <a:pt x="168" y="161"/>
                      </a:cubicBezTo>
                      <a:cubicBezTo>
                        <a:pt x="168" y="163"/>
                        <a:pt x="169" y="166"/>
                        <a:pt x="169" y="169"/>
                      </a:cubicBezTo>
                      <a:cubicBezTo>
                        <a:pt x="180" y="161"/>
                        <a:pt x="176" y="173"/>
                        <a:pt x="180" y="176"/>
                      </a:cubicBezTo>
                      <a:cubicBezTo>
                        <a:pt x="183" y="179"/>
                        <a:pt x="199" y="177"/>
                        <a:pt x="185" y="182"/>
                      </a:cubicBezTo>
                      <a:cubicBezTo>
                        <a:pt x="182" y="194"/>
                        <a:pt x="199" y="198"/>
                        <a:pt x="198" y="184"/>
                      </a:cubicBezTo>
                      <a:cubicBezTo>
                        <a:pt x="203" y="187"/>
                        <a:pt x="213" y="194"/>
                        <a:pt x="214" y="200"/>
                      </a:cubicBezTo>
                      <a:cubicBezTo>
                        <a:pt x="216" y="206"/>
                        <a:pt x="208" y="203"/>
                        <a:pt x="213" y="212"/>
                      </a:cubicBezTo>
                      <a:cubicBezTo>
                        <a:pt x="213" y="212"/>
                        <a:pt x="226" y="225"/>
                        <a:pt x="224" y="225"/>
                      </a:cubicBezTo>
                      <a:cubicBezTo>
                        <a:pt x="227" y="225"/>
                        <a:pt x="227" y="216"/>
                        <a:pt x="231" y="215"/>
                      </a:cubicBezTo>
                      <a:cubicBezTo>
                        <a:pt x="236" y="214"/>
                        <a:pt x="241" y="222"/>
                        <a:pt x="244" y="226"/>
                      </a:cubicBezTo>
                      <a:cubicBezTo>
                        <a:pt x="264" y="248"/>
                        <a:pt x="284" y="271"/>
                        <a:pt x="301" y="295"/>
                      </a:cubicBezTo>
                      <a:cubicBezTo>
                        <a:pt x="309" y="306"/>
                        <a:pt x="320" y="316"/>
                        <a:pt x="326" y="328"/>
                      </a:cubicBezTo>
                      <a:cubicBezTo>
                        <a:pt x="329" y="334"/>
                        <a:pt x="329" y="339"/>
                        <a:pt x="333" y="346"/>
                      </a:cubicBezTo>
                      <a:cubicBezTo>
                        <a:pt x="337" y="352"/>
                        <a:pt x="341" y="359"/>
                        <a:pt x="345" y="366"/>
                      </a:cubicBezTo>
                      <a:cubicBezTo>
                        <a:pt x="360" y="394"/>
                        <a:pt x="378" y="424"/>
                        <a:pt x="374" y="457"/>
                      </a:cubicBezTo>
                      <a:cubicBezTo>
                        <a:pt x="371" y="451"/>
                        <a:pt x="362" y="440"/>
                        <a:pt x="362" y="434"/>
                      </a:cubicBezTo>
                      <a:cubicBezTo>
                        <a:pt x="362" y="428"/>
                        <a:pt x="375" y="420"/>
                        <a:pt x="360" y="421"/>
                      </a:cubicBezTo>
                      <a:cubicBezTo>
                        <a:pt x="360" y="417"/>
                        <a:pt x="357" y="392"/>
                        <a:pt x="351" y="391"/>
                      </a:cubicBezTo>
                      <a:cubicBezTo>
                        <a:pt x="344" y="390"/>
                        <a:pt x="351" y="403"/>
                        <a:pt x="351" y="406"/>
                      </a:cubicBezTo>
                      <a:cubicBezTo>
                        <a:pt x="355" y="417"/>
                        <a:pt x="358" y="430"/>
                        <a:pt x="360" y="442"/>
                      </a:cubicBezTo>
                      <a:cubicBezTo>
                        <a:pt x="362" y="447"/>
                        <a:pt x="368" y="476"/>
                        <a:pt x="369" y="458"/>
                      </a:cubicBezTo>
                      <a:cubicBezTo>
                        <a:pt x="381" y="468"/>
                        <a:pt x="392" y="497"/>
                        <a:pt x="396" y="511"/>
                      </a:cubicBezTo>
                      <a:cubicBezTo>
                        <a:pt x="394" y="508"/>
                        <a:pt x="390" y="507"/>
                        <a:pt x="388" y="505"/>
                      </a:cubicBezTo>
                      <a:cubicBezTo>
                        <a:pt x="391" y="517"/>
                        <a:pt x="396" y="519"/>
                        <a:pt x="404" y="526"/>
                      </a:cubicBezTo>
                      <a:cubicBezTo>
                        <a:pt x="409" y="531"/>
                        <a:pt x="420" y="542"/>
                        <a:pt x="414" y="547"/>
                      </a:cubicBezTo>
                      <a:cubicBezTo>
                        <a:pt x="418" y="554"/>
                        <a:pt x="449" y="579"/>
                        <a:pt x="438" y="556"/>
                      </a:cubicBezTo>
                      <a:cubicBezTo>
                        <a:pt x="449" y="569"/>
                        <a:pt x="464" y="578"/>
                        <a:pt x="473" y="592"/>
                      </a:cubicBezTo>
                      <a:cubicBezTo>
                        <a:pt x="465" y="594"/>
                        <a:pt x="478" y="638"/>
                        <a:pt x="487" y="643"/>
                      </a:cubicBezTo>
                      <a:cubicBezTo>
                        <a:pt x="489" y="644"/>
                        <a:pt x="501" y="636"/>
                        <a:pt x="501" y="632"/>
                      </a:cubicBezTo>
                      <a:cubicBezTo>
                        <a:pt x="501" y="620"/>
                        <a:pt x="482" y="620"/>
                        <a:pt x="488" y="603"/>
                      </a:cubicBezTo>
                      <a:cubicBezTo>
                        <a:pt x="510" y="619"/>
                        <a:pt x="527" y="641"/>
                        <a:pt x="542" y="664"/>
                      </a:cubicBezTo>
                      <a:cubicBezTo>
                        <a:pt x="535" y="658"/>
                        <a:pt x="527" y="663"/>
                        <a:pt x="531" y="670"/>
                      </a:cubicBezTo>
                      <a:cubicBezTo>
                        <a:pt x="531" y="671"/>
                        <a:pt x="542" y="674"/>
                        <a:pt x="543" y="675"/>
                      </a:cubicBezTo>
                      <a:cubicBezTo>
                        <a:pt x="552" y="679"/>
                        <a:pt x="557" y="685"/>
                        <a:pt x="561" y="693"/>
                      </a:cubicBezTo>
                      <a:cubicBezTo>
                        <a:pt x="568" y="685"/>
                        <a:pt x="555" y="675"/>
                        <a:pt x="549" y="670"/>
                      </a:cubicBezTo>
                      <a:cubicBezTo>
                        <a:pt x="571" y="678"/>
                        <a:pt x="587" y="714"/>
                        <a:pt x="601" y="731"/>
                      </a:cubicBezTo>
                      <a:cubicBezTo>
                        <a:pt x="617" y="750"/>
                        <a:pt x="635" y="768"/>
                        <a:pt x="651" y="788"/>
                      </a:cubicBezTo>
                      <a:cubicBezTo>
                        <a:pt x="668" y="810"/>
                        <a:pt x="685" y="832"/>
                        <a:pt x="703" y="854"/>
                      </a:cubicBezTo>
                      <a:cubicBezTo>
                        <a:pt x="721" y="874"/>
                        <a:pt x="737" y="886"/>
                        <a:pt x="759" y="902"/>
                      </a:cubicBezTo>
                      <a:cubicBezTo>
                        <a:pt x="781" y="918"/>
                        <a:pt x="797" y="936"/>
                        <a:pt x="816" y="954"/>
                      </a:cubicBezTo>
                      <a:cubicBezTo>
                        <a:pt x="824" y="962"/>
                        <a:pt x="835" y="969"/>
                        <a:pt x="843" y="978"/>
                      </a:cubicBezTo>
                      <a:cubicBezTo>
                        <a:pt x="851" y="987"/>
                        <a:pt x="854" y="997"/>
                        <a:pt x="864" y="1005"/>
                      </a:cubicBezTo>
                      <a:cubicBezTo>
                        <a:pt x="872" y="1011"/>
                        <a:pt x="882" y="1015"/>
                        <a:pt x="888" y="1024"/>
                      </a:cubicBezTo>
                      <a:cubicBezTo>
                        <a:pt x="897" y="1036"/>
                        <a:pt x="904" y="1047"/>
                        <a:pt x="914" y="1059"/>
                      </a:cubicBezTo>
                      <a:cubicBezTo>
                        <a:pt x="931" y="1078"/>
                        <a:pt x="950" y="1097"/>
                        <a:pt x="971" y="1112"/>
                      </a:cubicBezTo>
                      <a:cubicBezTo>
                        <a:pt x="992" y="1126"/>
                        <a:pt x="1021" y="1119"/>
                        <a:pt x="1040" y="1135"/>
                      </a:cubicBezTo>
                      <a:cubicBezTo>
                        <a:pt x="1047" y="1140"/>
                        <a:pt x="1048" y="1148"/>
                        <a:pt x="1052" y="1155"/>
                      </a:cubicBezTo>
                      <a:cubicBezTo>
                        <a:pt x="1059" y="1167"/>
                        <a:pt x="1066" y="1171"/>
                        <a:pt x="1078" y="1178"/>
                      </a:cubicBezTo>
                      <a:cubicBezTo>
                        <a:pt x="1069" y="1190"/>
                        <a:pt x="1058" y="1171"/>
                        <a:pt x="1051" y="1165"/>
                      </a:cubicBezTo>
                      <a:cubicBezTo>
                        <a:pt x="1042" y="1154"/>
                        <a:pt x="1035" y="1148"/>
                        <a:pt x="1022" y="1141"/>
                      </a:cubicBezTo>
                      <a:cubicBezTo>
                        <a:pt x="1012" y="1135"/>
                        <a:pt x="1001" y="1127"/>
                        <a:pt x="990" y="1125"/>
                      </a:cubicBezTo>
                      <a:cubicBezTo>
                        <a:pt x="980" y="1123"/>
                        <a:pt x="972" y="1123"/>
                        <a:pt x="962" y="1119"/>
                      </a:cubicBezTo>
                      <a:cubicBezTo>
                        <a:pt x="945" y="1113"/>
                        <a:pt x="929" y="1101"/>
                        <a:pt x="909" y="1097"/>
                      </a:cubicBezTo>
                      <a:cubicBezTo>
                        <a:pt x="893" y="1094"/>
                        <a:pt x="882" y="1099"/>
                        <a:pt x="868" y="1104"/>
                      </a:cubicBezTo>
                      <a:cubicBezTo>
                        <a:pt x="862" y="1106"/>
                        <a:pt x="832" y="1120"/>
                        <a:pt x="844" y="1103"/>
                      </a:cubicBezTo>
                      <a:cubicBezTo>
                        <a:pt x="835" y="1107"/>
                        <a:pt x="824" y="1115"/>
                        <a:pt x="815" y="1117"/>
                      </a:cubicBezTo>
                      <a:cubicBezTo>
                        <a:pt x="807" y="1118"/>
                        <a:pt x="806" y="1115"/>
                        <a:pt x="798" y="1115"/>
                      </a:cubicBezTo>
                      <a:cubicBezTo>
                        <a:pt x="789" y="1115"/>
                        <a:pt x="762" y="1123"/>
                        <a:pt x="778" y="1134"/>
                      </a:cubicBezTo>
                      <a:cubicBezTo>
                        <a:pt x="779" y="1135"/>
                        <a:pt x="796" y="1138"/>
                        <a:pt x="794" y="1138"/>
                      </a:cubicBezTo>
                      <a:cubicBezTo>
                        <a:pt x="809" y="1134"/>
                        <a:pt x="821" y="1115"/>
                        <a:pt x="838" y="1113"/>
                      </a:cubicBezTo>
                      <a:cubicBezTo>
                        <a:pt x="830" y="1128"/>
                        <a:pt x="806" y="1134"/>
                        <a:pt x="795" y="1148"/>
                      </a:cubicBezTo>
                      <a:cubicBezTo>
                        <a:pt x="781" y="1164"/>
                        <a:pt x="774" y="1180"/>
                        <a:pt x="774" y="1201"/>
                      </a:cubicBezTo>
                      <a:cubicBezTo>
                        <a:pt x="774" y="1222"/>
                        <a:pt x="784" y="1233"/>
                        <a:pt x="794" y="1249"/>
                      </a:cubicBezTo>
                      <a:cubicBezTo>
                        <a:pt x="804" y="1266"/>
                        <a:pt x="804" y="1288"/>
                        <a:pt x="808" y="1306"/>
                      </a:cubicBezTo>
                      <a:cubicBezTo>
                        <a:pt x="825" y="1378"/>
                        <a:pt x="836" y="1458"/>
                        <a:pt x="867" y="1522"/>
                      </a:cubicBezTo>
                      <a:cubicBezTo>
                        <a:pt x="888" y="1565"/>
                        <a:pt x="920" y="1590"/>
                        <a:pt x="959" y="1615"/>
                      </a:cubicBezTo>
                      <a:cubicBezTo>
                        <a:pt x="958" y="1616"/>
                        <a:pt x="955" y="1617"/>
                        <a:pt x="954" y="1618"/>
                      </a:cubicBezTo>
                      <a:cubicBezTo>
                        <a:pt x="958" y="1622"/>
                        <a:pt x="975" y="1614"/>
                        <a:pt x="985" y="1617"/>
                      </a:cubicBezTo>
                      <a:cubicBezTo>
                        <a:pt x="1000" y="1621"/>
                        <a:pt x="1016" y="1632"/>
                        <a:pt x="1027" y="1643"/>
                      </a:cubicBezTo>
                      <a:cubicBezTo>
                        <a:pt x="1039" y="1655"/>
                        <a:pt x="1043" y="1671"/>
                        <a:pt x="1054" y="1682"/>
                      </a:cubicBezTo>
                      <a:cubicBezTo>
                        <a:pt x="1065" y="1693"/>
                        <a:pt x="1078" y="1703"/>
                        <a:pt x="1087" y="1715"/>
                      </a:cubicBezTo>
                      <a:cubicBezTo>
                        <a:pt x="1086" y="1716"/>
                        <a:pt x="1085" y="1717"/>
                        <a:pt x="1083" y="1717"/>
                      </a:cubicBezTo>
                      <a:cubicBezTo>
                        <a:pt x="1088" y="1720"/>
                        <a:pt x="1093" y="1716"/>
                        <a:pt x="1092" y="1716"/>
                      </a:cubicBezTo>
                      <a:cubicBezTo>
                        <a:pt x="1086" y="1715"/>
                        <a:pt x="1102" y="1710"/>
                        <a:pt x="1098" y="1717"/>
                      </a:cubicBezTo>
                      <a:cubicBezTo>
                        <a:pt x="1090" y="1730"/>
                        <a:pt x="1084" y="1726"/>
                        <a:pt x="1099" y="1736"/>
                      </a:cubicBezTo>
                      <a:cubicBezTo>
                        <a:pt x="1107" y="1741"/>
                        <a:pt x="1113" y="1748"/>
                        <a:pt x="1121" y="1747"/>
                      </a:cubicBezTo>
                      <a:cubicBezTo>
                        <a:pt x="1120" y="1747"/>
                        <a:pt x="1128" y="1741"/>
                        <a:pt x="1130" y="1741"/>
                      </a:cubicBezTo>
                      <a:cubicBezTo>
                        <a:pt x="1132" y="1740"/>
                        <a:pt x="1141" y="1742"/>
                        <a:pt x="1142" y="1741"/>
                      </a:cubicBezTo>
                      <a:cubicBezTo>
                        <a:pt x="1154" y="1734"/>
                        <a:pt x="1144" y="1727"/>
                        <a:pt x="1135" y="1725"/>
                      </a:cubicBezTo>
                      <a:cubicBezTo>
                        <a:pt x="1128" y="1724"/>
                        <a:pt x="1113" y="1732"/>
                        <a:pt x="1109" y="1731"/>
                      </a:cubicBezTo>
                      <a:cubicBezTo>
                        <a:pt x="1104" y="1729"/>
                        <a:pt x="1099" y="1723"/>
                        <a:pt x="1102" y="1718"/>
                      </a:cubicBezTo>
                      <a:cubicBezTo>
                        <a:pt x="1105" y="1713"/>
                        <a:pt x="1117" y="1718"/>
                        <a:pt x="1121" y="1718"/>
                      </a:cubicBezTo>
                      <a:cubicBezTo>
                        <a:pt x="1140" y="1715"/>
                        <a:pt x="1137" y="1708"/>
                        <a:pt x="1138" y="1694"/>
                      </a:cubicBezTo>
                      <a:cubicBezTo>
                        <a:pt x="1158" y="1701"/>
                        <a:pt x="1169" y="1726"/>
                        <a:pt x="1182" y="1742"/>
                      </a:cubicBezTo>
                      <a:cubicBezTo>
                        <a:pt x="1189" y="1752"/>
                        <a:pt x="1215" y="1776"/>
                        <a:pt x="1213" y="1789"/>
                      </a:cubicBezTo>
                      <a:cubicBezTo>
                        <a:pt x="1217" y="1788"/>
                        <a:pt x="1222" y="1789"/>
                        <a:pt x="1226" y="1788"/>
                      </a:cubicBezTo>
                      <a:cubicBezTo>
                        <a:pt x="1220" y="1800"/>
                        <a:pt x="1228" y="1818"/>
                        <a:pt x="1229" y="1831"/>
                      </a:cubicBezTo>
                      <a:cubicBezTo>
                        <a:pt x="1230" y="1837"/>
                        <a:pt x="1228" y="1842"/>
                        <a:pt x="1230" y="1848"/>
                      </a:cubicBezTo>
                      <a:cubicBezTo>
                        <a:pt x="1233" y="1854"/>
                        <a:pt x="1239" y="1859"/>
                        <a:pt x="1242" y="1865"/>
                      </a:cubicBezTo>
                      <a:cubicBezTo>
                        <a:pt x="1243" y="1869"/>
                        <a:pt x="1244" y="1879"/>
                        <a:pt x="1244" y="1884"/>
                      </a:cubicBezTo>
                      <a:cubicBezTo>
                        <a:pt x="1230" y="1875"/>
                        <a:pt x="1227" y="1853"/>
                        <a:pt x="1216" y="1839"/>
                      </a:cubicBezTo>
                      <a:cubicBezTo>
                        <a:pt x="1201" y="1821"/>
                        <a:pt x="1176" y="1806"/>
                        <a:pt x="1168" y="1784"/>
                      </a:cubicBezTo>
                      <a:cubicBezTo>
                        <a:pt x="1180" y="1783"/>
                        <a:pt x="1167" y="1759"/>
                        <a:pt x="1151" y="1775"/>
                      </a:cubicBezTo>
                      <a:cubicBezTo>
                        <a:pt x="1156" y="1776"/>
                        <a:pt x="1160" y="1779"/>
                        <a:pt x="1161" y="1783"/>
                      </a:cubicBezTo>
                      <a:cubicBezTo>
                        <a:pt x="1148" y="1783"/>
                        <a:pt x="1140" y="1772"/>
                        <a:pt x="1126" y="1778"/>
                      </a:cubicBezTo>
                      <a:cubicBezTo>
                        <a:pt x="1118" y="1782"/>
                        <a:pt x="1112" y="1787"/>
                        <a:pt x="1103" y="1790"/>
                      </a:cubicBezTo>
                      <a:cubicBezTo>
                        <a:pt x="1099" y="1792"/>
                        <a:pt x="1097" y="1791"/>
                        <a:pt x="1093" y="1793"/>
                      </a:cubicBezTo>
                      <a:cubicBezTo>
                        <a:pt x="1089" y="1795"/>
                        <a:pt x="1087" y="1802"/>
                        <a:pt x="1082" y="1804"/>
                      </a:cubicBezTo>
                      <a:cubicBezTo>
                        <a:pt x="1062" y="1811"/>
                        <a:pt x="1061" y="1780"/>
                        <a:pt x="1047" y="1779"/>
                      </a:cubicBezTo>
                      <a:cubicBezTo>
                        <a:pt x="1042" y="1778"/>
                        <a:pt x="1028" y="1807"/>
                        <a:pt x="1026" y="1814"/>
                      </a:cubicBezTo>
                      <a:cubicBezTo>
                        <a:pt x="1021" y="1835"/>
                        <a:pt x="1029" y="1859"/>
                        <a:pt x="1034" y="1880"/>
                      </a:cubicBezTo>
                      <a:cubicBezTo>
                        <a:pt x="1037" y="1896"/>
                        <a:pt x="1038" y="1912"/>
                        <a:pt x="1044" y="1927"/>
                      </a:cubicBezTo>
                      <a:cubicBezTo>
                        <a:pt x="1049" y="1941"/>
                        <a:pt x="1054" y="1954"/>
                        <a:pt x="1058" y="1968"/>
                      </a:cubicBezTo>
                      <a:cubicBezTo>
                        <a:pt x="1060" y="1973"/>
                        <a:pt x="1065" y="1981"/>
                        <a:pt x="1065" y="1986"/>
                      </a:cubicBezTo>
                      <a:cubicBezTo>
                        <a:pt x="1065" y="1990"/>
                        <a:pt x="1061" y="1990"/>
                        <a:pt x="1060" y="1994"/>
                      </a:cubicBezTo>
                      <a:cubicBezTo>
                        <a:pt x="1059" y="2001"/>
                        <a:pt x="1059" y="2000"/>
                        <a:pt x="1061" y="2008"/>
                      </a:cubicBezTo>
                      <a:cubicBezTo>
                        <a:pt x="1063" y="2016"/>
                        <a:pt x="1069" y="2021"/>
                        <a:pt x="1062" y="2023"/>
                      </a:cubicBezTo>
                      <a:cubicBezTo>
                        <a:pt x="1055" y="2026"/>
                        <a:pt x="1048" y="2017"/>
                        <a:pt x="1043" y="2013"/>
                      </a:cubicBezTo>
                      <a:cubicBezTo>
                        <a:pt x="1035" y="2009"/>
                        <a:pt x="1029" y="2009"/>
                        <a:pt x="1024" y="2002"/>
                      </a:cubicBezTo>
                      <a:cubicBezTo>
                        <a:pt x="1017" y="1995"/>
                        <a:pt x="1013" y="1984"/>
                        <a:pt x="1007" y="1976"/>
                      </a:cubicBezTo>
                      <a:cubicBezTo>
                        <a:pt x="985" y="1947"/>
                        <a:pt x="946" y="1920"/>
                        <a:pt x="936" y="1883"/>
                      </a:cubicBezTo>
                      <a:cubicBezTo>
                        <a:pt x="925" y="1845"/>
                        <a:pt x="923" y="1803"/>
                        <a:pt x="912" y="1764"/>
                      </a:cubicBezTo>
                      <a:cubicBezTo>
                        <a:pt x="908" y="1750"/>
                        <a:pt x="900" y="1736"/>
                        <a:pt x="889" y="1726"/>
                      </a:cubicBezTo>
                      <a:cubicBezTo>
                        <a:pt x="883" y="1721"/>
                        <a:pt x="875" y="1718"/>
                        <a:pt x="870" y="1712"/>
                      </a:cubicBezTo>
                      <a:cubicBezTo>
                        <a:pt x="866" y="1707"/>
                        <a:pt x="866" y="1700"/>
                        <a:pt x="862" y="1695"/>
                      </a:cubicBezTo>
                      <a:cubicBezTo>
                        <a:pt x="852" y="1680"/>
                        <a:pt x="840" y="1670"/>
                        <a:pt x="832" y="1653"/>
                      </a:cubicBezTo>
                      <a:cubicBezTo>
                        <a:pt x="826" y="1640"/>
                        <a:pt x="823" y="1627"/>
                        <a:pt x="820" y="1613"/>
                      </a:cubicBezTo>
                      <a:cubicBezTo>
                        <a:pt x="818" y="1601"/>
                        <a:pt x="813" y="1584"/>
                        <a:pt x="813" y="1571"/>
                      </a:cubicBezTo>
                      <a:cubicBezTo>
                        <a:pt x="812" y="1563"/>
                        <a:pt x="817" y="1555"/>
                        <a:pt x="815" y="1547"/>
                      </a:cubicBezTo>
                      <a:cubicBezTo>
                        <a:pt x="813" y="1537"/>
                        <a:pt x="805" y="1529"/>
                        <a:pt x="799" y="1521"/>
                      </a:cubicBezTo>
                      <a:cubicBezTo>
                        <a:pt x="776" y="1488"/>
                        <a:pt x="758" y="1458"/>
                        <a:pt x="724" y="1435"/>
                      </a:cubicBezTo>
                      <a:cubicBezTo>
                        <a:pt x="706" y="1423"/>
                        <a:pt x="687" y="1412"/>
                        <a:pt x="673" y="1396"/>
                      </a:cubicBezTo>
                      <a:cubicBezTo>
                        <a:pt x="656" y="1378"/>
                        <a:pt x="668" y="1368"/>
                        <a:pt x="664" y="1349"/>
                      </a:cubicBezTo>
                      <a:cubicBezTo>
                        <a:pt x="663" y="1345"/>
                        <a:pt x="659" y="1343"/>
                        <a:pt x="658" y="1340"/>
                      </a:cubicBezTo>
                      <a:cubicBezTo>
                        <a:pt x="657" y="1335"/>
                        <a:pt x="657" y="1329"/>
                        <a:pt x="656" y="1324"/>
                      </a:cubicBezTo>
                      <a:cubicBezTo>
                        <a:pt x="651" y="1306"/>
                        <a:pt x="642" y="1292"/>
                        <a:pt x="638" y="1274"/>
                      </a:cubicBezTo>
                      <a:cubicBezTo>
                        <a:pt x="634" y="1255"/>
                        <a:pt x="621" y="1242"/>
                        <a:pt x="615" y="1224"/>
                      </a:cubicBezTo>
                      <a:cubicBezTo>
                        <a:pt x="610" y="1206"/>
                        <a:pt x="605" y="1190"/>
                        <a:pt x="597" y="1173"/>
                      </a:cubicBezTo>
                      <a:cubicBezTo>
                        <a:pt x="583" y="1143"/>
                        <a:pt x="559" y="1115"/>
                        <a:pt x="549" y="1088"/>
                      </a:cubicBezTo>
                      <a:cubicBezTo>
                        <a:pt x="537" y="1057"/>
                        <a:pt x="518" y="1029"/>
                        <a:pt x="501" y="1000"/>
                      </a:cubicBezTo>
                      <a:cubicBezTo>
                        <a:pt x="491" y="984"/>
                        <a:pt x="475" y="977"/>
                        <a:pt x="463" y="962"/>
                      </a:cubicBezTo>
                      <a:cubicBezTo>
                        <a:pt x="454" y="952"/>
                        <a:pt x="448" y="936"/>
                        <a:pt x="444" y="923"/>
                      </a:cubicBezTo>
                      <a:cubicBezTo>
                        <a:pt x="440" y="910"/>
                        <a:pt x="433" y="898"/>
                        <a:pt x="428" y="886"/>
                      </a:cubicBezTo>
                      <a:cubicBezTo>
                        <a:pt x="422" y="871"/>
                        <a:pt x="425" y="855"/>
                        <a:pt x="424" y="839"/>
                      </a:cubicBezTo>
                      <a:cubicBezTo>
                        <a:pt x="421" y="818"/>
                        <a:pt x="413" y="804"/>
                        <a:pt x="396" y="791"/>
                      </a:cubicBezTo>
                      <a:cubicBezTo>
                        <a:pt x="385" y="783"/>
                        <a:pt x="381" y="775"/>
                        <a:pt x="373" y="767"/>
                      </a:cubicBezTo>
                      <a:cubicBezTo>
                        <a:pt x="367" y="762"/>
                        <a:pt x="359" y="761"/>
                        <a:pt x="354" y="755"/>
                      </a:cubicBezTo>
                      <a:cubicBezTo>
                        <a:pt x="347" y="748"/>
                        <a:pt x="347" y="743"/>
                        <a:pt x="338" y="738"/>
                      </a:cubicBezTo>
                      <a:cubicBezTo>
                        <a:pt x="330" y="733"/>
                        <a:pt x="317" y="734"/>
                        <a:pt x="310" y="727"/>
                      </a:cubicBezTo>
                      <a:cubicBezTo>
                        <a:pt x="306" y="725"/>
                        <a:pt x="307" y="719"/>
                        <a:pt x="303" y="717"/>
                      </a:cubicBezTo>
                      <a:cubicBezTo>
                        <a:pt x="302" y="717"/>
                        <a:pt x="298" y="723"/>
                        <a:pt x="295" y="722"/>
                      </a:cubicBezTo>
                      <a:cubicBezTo>
                        <a:pt x="292" y="721"/>
                        <a:pt x="288" y="715"/>
                        <a:pt x="284" y="714"/>
                      </a:cubicBezTo>
                      <a:cubicBezTo>
                        <a:pt x="274" y="709"/>
                        <a:pt x="262" y="712"/>
                        <a:pt x="254" y="704"/>
                      </a:cubicBezTo>
                      <a:cubicBezTo>
                        <a:pt x="269" y="705"/>
                        <a:pt x="274" y="704"/>
                        <a:pt x="271" y="694"/>
                      </a:cubicBezTo>
                      <a:cubicBezTo>
                        <a:pt x="268" y="676"/>
                        <a:pt x="250" y="682"/>
                        <a:pt x="238" y="678"/>
                      </a:cubicBezTo>
                      <a:cubicBezTo>
                        <a:pt x="228" y="674"/>
                        <a:pt x="232" y="670"/>
                        <a:pt x="228" y="660"/>
                      </a:cubicBezTo>
                      <a:cubicBezTo>
                        <a:pt x="225" y="653"/>
                        <a:pt x="218" y="647"/>
                        <a:pt x="213" y="641"/>
                      </a:cubicBezTo>
                      <a:cubicBezTo>
                        <a:pt x="206" y="631"/>
                        <a:pt x="207" y="625"/>
                        <a:pt x="205" y="615"/>
                      </a:cubicBezTo>
                      <a:cubicBezTo>
                        <a:pt x="199" y="596"/>
                        <a:pt x="172" y="582"/>
                        <a:pt x="170" y="562"/>
                      </a:cubicBezTo>
                      <a:cubicBezTo>
                        <a:pt x="168" y="549"/>
                        <a:pt x="175" y="537"/>
                        <a:pt x="173" y="524"/>
                      </a:cubicBezTo>
                      <a:cubicBezTo>
                        <a:pt x="171" y="515"/>
                        <a:pt x="167" y="507"/>
                        <a:pt x="166" y="498"/>
                      </a:cubicBezTo>
                      <a:cubicBezTo>
                        <a:pt x="161" y="500"/>
                        <a:pt x="150" y="471"/>
                        <a:pt x="147" y="463"/>
                      </a:cubicBezTo>
                      <a:cubicBezTo>
                        <a:pt x="142" y="451"/>
                        <a:pt x="137" y="441"/>
                        <a:pt x="132" y="429"/>
                      </a:cubicBezTo>
                      <a:cubicBezTo>
                        <a:pt x="123" y="407"/>
                        <a:pt x="123" y="388"/>
                        <a:pt x="101" y="372"/>
                      </a:cubicBezTo>
                      <a:cubicBezTo>
                        <a:pt x="85" y="360"/>
                        <a:pt x="77" y="343"/>
                        <a:pt x="65" y="327"/>
                      </a:cubicBezTo>
                      <a:cubicBezTo>
                        <a:pt x="59" y="319"/>
                        <a:pt x="56" y="327"/>
                        <a:pt x="58" y="315"/>
                      </a:cubicBezTo>
                      <a:cubicBezTo>
                        <a:pt x="59" y="310"/>
                        <a:pt x="66" y="295"/>
                        <a:pt x="68" y="291"/>
                      </a:cubicBezTo>
                      <a:cubicBezTo>
                        <a:pt x="74" y="278"/>
                        <a:pt x="87" y="264"/>
                        <a:pt x="95" y="252"/>
                      </a:cubicBezTo>
                      <a:cubicBezTo>
                        <a:pt x="97" y="258"/>
                        <a:pt x="105" y="271"/>
                        <a:pt x="108" y="276"/>
                      </a:cubicBezTo>
                      <a:cubicBezTo>
                        <a:pt x="117" y="289"/>
                        <a:pt x="129" y="287"/>
                        <a:pt x="138" y="274"/>
                      </a:cubicBezTo>
                      <a:cubicBezTo>
                        <a:pt x="149" y="259"/>
                        <a:pt x="139" y="242"/>
                        <a:pt x="145" y="225"/>
                      </a:cubicBezTo>
                      <a:cubicBezTo>
                        <a:pt x="146" y="222"/>
                        <a:pt x="159" y="222"/>
                        <a:pt x="146" y="217"/>
                      </a:cubicBezTo>
                      <a:cubicBezTo>
                        <a:pt x="136" y="212"/>
                        <a:pt x="128" y="219"/>
                        <a:pt x="128" y="229"/>
                      </a:cubicBezTo>
                      <a:cubicBezTo>
                        <a:pt x="121" y="220"/>
                        <a:pt x="107" y="208"/>
                        <a:pt x="113" y="198"/>
                      </a:cubicBezTo>
                      <a:cubicBezTo>
                        <a:pt x="114" y="196"/>
                        <a:pt x="129" y="190"/>
                        <a:pt x="130" y="190"/>
                      </a:cubicBezTo>
                      <a:cubicBezTo>
                        <a:pt x="140" y="188"/>
                        <a:pt x="135" y="199"/>
                        <a:pt x="142" y="188"/>
                      </a:cubicBezTo>
                      <a:cubicBezTo>
                        <a:pt x="144" y="183"/>
                        <a:pt x="144" y="174"/>
                        <a:pt x="142" y="170"/>
                      </a:cubicBezTo>
                      <a:cubicBezTo>
                        <a:pt x="139" y="161"/>
                        <a:pt x="126" y="145"/>
                        <a:pt x="117" y="144"/>
                      </a:cubicBezTo>
                      <a:cubicBezTo>
                        <a:pt x="118" y="156"/>
                        <a:pt x="133" y="179"/>
                        <a:pt x="119" y="188"/>
                      </a:cubicBezTo>
                      <a:cubicBezTo>
                        <a:pt x="111" y="154"/>
                        <a:pt x="113" y="129"/>
                        <a:pt x="80" y="112"/>
                      </a:cubicBezTo>
                      <a:cubicBezTo>
                        <a:pt x="66" y="105"/>
                        <a:pt x="50" y="99"/>
                        <a:pt x="38" y="90"/>
                      </a:cubicBezTo>
                      <a:cubicBezTo>
                        <a:pt x="24" y="79"/>
                        <a:pt x="14" y="77"/>
                        <a:pt x="0" y="71"/>
                      </a:cubicBezTo>
                      <a:cubicBezTo>
                        <a:pt x="17" y="68"/>
                        <a:pt x="21" y="71"/>
                        <a:pt x="32" y="54"/>
                      </a:cubicBezTo>
                      <a:cubicBezTo>
                        <a:pt x="30" y="71"/>
                        <a:pt x="56" y="67"/>
                        <a:pt x="39" y="57"/>
                      </a:cubicBezTo>
                      <a:cubicBezTo>
                        <a:pt x="42" y="56"/>
                        <a:pt x="44" y="54"/>
                        <a:pt x="48" y="55"/>
                      </a:cubicBezTo>
                      <a:cubicBezTo>
                        <a:pt x="47" y="48"/>
                        <a:pt x="42" y="44"/>
                        <a:pt x="40" y="38"/>
                      </a:cubicBezTo>
                      <a:cubicBezTo>
                        <a:pt x="40" y="36"/>
                        <a:pt x="42" y="31"/>
                        <a:pt x="41" y="28"/>
                      </a:cubicBezTo>
                      <a:cubicBezTo>
                        <a:pt x="41" y="24"/>
                        <a:pt x="35" y="24"/>
                        <a:pt x="35" y="20"/>
                      </a:cubicBezTo>
                      <a:cubicBezTo>
                        <a:pt x="36" y="0"/>
                        <a:pt x="64" y="33"/>
                        <a:pt x="72" y="36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grpSp>
            <p:nvGrpSpPr>
              <p:cNvPr id="40" name="Группа 39">
                <a:extLst>
                  <a:ext uri="{FF2B5EF4-FFF2-40B4-BE49-F238E27FC236}">
                    <a16:creationId xmlns:a16="http://schemas.microsoft.com/office/drawing/2014/main" id="{CF0F23A0-998A-24D7-F3EA-7E8145FE687E}"/>
                  </a:ext>
                </a:extLst>
              </p:cNvPr>
              <p:cNvGrpSpPr/>
              <p:nvPr/>
            </p:nvGrpSpPr>
            <p:grpSpPr>
              <a:xfrm>
                <a:off x="3715959" y="5437196"/>
                <a:ext cx="482973" cy="1031925"/>
                <a:chOff x="6486525" y="5160963"/>
                <a:chExt cx="581025" cy="1241425"/>
              </a:xfrm>
              <a:grpFill/>
            </p:grpSpPr>
            <p:sp>
              <p:nvSpPr>
                <p:cNvPr id="72" name="Freeform 55">
                  <a:extLst>
                    <a:ext uri="{FF2B5EF4-FFF2-40B4-BE49-F238E27FC236}">
                      <a16:creationId xmlns:a16="http://schemas.microsoft.com/office/drawing/2014/main" id="{9EDC504E-8727-F3FD-72BD-94BA7341E2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57988" y="6237288"/>
                  <a:ext cx="12700" cy="15875"/>
                </a:xfrm>
                <a:custGeom>
                  <a:avLst/>
                  <a:gdLst>
                    <a:gd name="T0" fmla="*/ 10 w 22"/>
                    <a:gd name="T1" fmla="*/ 11 h 25"/>
                    <a:gd name="T2" fmla="*/ 8 w 22"/>
                    <a:gd name="T3" fmla="*/ 17 h 25"/>
                    <a:gd name="T4" fmla="*/ 1 w 22"/>
                    <a:gd name="T5" fmla="*/ 0 h 25"/>
                    <a:gd name="T6" fmla="*/ 10 w 22"/>
                    <a:gd name="T7" fmla="*/ 11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25">
                      <a:moveTo>
                        <a:pt x="10" y="11"/>
                      </a:moveTo>
                      <a:cubicBezTo>
                        <a:pt x="15" y="20"/>
                        <a:pt x="22" y="25"/>
                        <a:pt x="8" y="17"/>
                      </a:cubicBezTo>
                      <a:cubicBezTo>
                        <a:pt x="0" y="12"/>
                        <a:pt x="2" y="12"/>
                        <a:pt x="1" y="0"/>
                      </a:cubicBezTo>
                      <a:cubicBezTo>
                        <a:pt x="6" y="1"/>
                        <a:pt x="9" y="5"/>
                        <a:pt x="10" y="1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3" name="Freeform 56">
                  <a:extLst>
                    <a:ext uri="{FF2B5EF4-FFF2-40B4-BE49-F238E27FC236}">
                      <a16:creationId xmlns:a16="http://schemas.microsoft.com/office/drawing/2014/main" id="{D49A5D15-4C9A-6D4D-AE9A-30D1025A1A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963" y="6237288"/>
                  <a:ext cx="23813" cy="19050"/>
                </a:xfrm>
                <a:custGeom>
                  <a:avLst/>
                  <a:gdLst>
                    <a:gd name="T0" fmla="*/ 15 w 39"/>
                    <a:gd name="T1" fmla="*/ 1 h 31"/>
                    <a:gd name="T2" fmla="*/ 3 w 39"/>
                    <a:gd name="T3" fmla="*/ 24 h 31"/>
                    <a:gd name="T4" fmla="*/ 7 w 39"/>
                    <a:gd name="T5" fmla="*/ 20 h 31"/>
                    <a:gd name="T6" fmla="*/ 2 w 39"/>
                    <a:gd name="T7" fmla="*/ 16 h 31"/>
                    <a:gd name="T8" fmla="*/ 5 w 39"/>
                    <a:gd name="T9" fmla="*/ 15 h 31"/>
                    <a:gd name="T10" fmla="*/ 0 w 39"/>
                    <a:gd name="T11" fmla="*/ 10 h 31"/>
                    <a:gd name="T12" fmla="*/ 14 w 39"/>
                    <a:gd name="T13" fmla="*/ 6 h 31"/>
                    <a:gd name="T14" fmla="*/ 6 w 39"/>
                    <a:gd name="T15" fmla="*/ 1 h 31"/>
                    <a:gd name="T16" fmla="*/ 15 w 39"/>
                    <a:gd name="T17" fmla="*/ 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31">
                      <a:moveTo>
                        <a:pt x="15" y="1"/>
                      </a:moveTo>
                      <a:cubicBezTo>
                        <a:pt x="39" y="9"/>
                        <a:pt x="25" y="31"/>
                        <a:pt x="3" y="24"/>
                      </a:cubicBezTo>
                      <a:cubicBezTo>
                        <a:pt x="4" y="23"/>
                        <a:pt x="6" y="22"/>
                        <a:pt x="7" y="20"/>
                      </a:cubicBezTo>
                      <a:cubicBezTo>
                        <a:pt x="3" y="19"/>
                        <a:pt x="4" y="18"/>
                        <a:pt x="2" y="16"/>
                      </a:cubicBezTo>
                      <a:cubicBezTo>
                        <a:pt x="2" y="15"/>
                        <a:pt x="5" y="16"/>
                        <a:pt x="5" y="15"/>
                      </a:cubicBezTo>
                      <a:cubicBezTo>
                        <a:pt x="3" y="14"/>
                        <a:pt x="2" y="11"/>
                        <a:pt x="0" y="10"/>
                      </a:cubicBezTo>
                      <a:cubicBezTo>
                        <a:pt x="4" y="5"/>
                        <a:pt x="9" y="5"/>
                        <a:pt x="14" y="6"/>
                      </a:cubicBezTo>
                      <a:cubicBezTo>
                        <a:pt x="12" y="4"/>
                        <a:pt x="10" y="2"/>
                        <a:pt x="6" y="1"/>
                      </a:cubicBezTo>
                      <a:cubicBezTo>
                        <a:pt x="10" y="0"/>
                        <a:pt x="12" y="1"/>
                        <a:pt x="15" y="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4" name="Freeform 57">
                  <a:extLst>
                    <a:ext uri="{FF2B5EF4-FFF2-40B4-BE49-F238E27FC236}">
                      <a16:creationId xmlns:a16="http://schemas.microsoft.com/office/drawing/2014/main" id="{758BDA73-394C-F1B4-3479-E7B1E76BF0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6525" y="5160963"/>
                  <a:ext cx="581025" cy="1241425"/>
                </a:xfrm>
                <a:custGeom>
                  <a:avLst/>
                  <a:gdLst>
                    <a:gd name="T0" fmla="*/ 775 w 950"/>
                    <a:gd name="T1" fmla="*/ 48 h 2029"/>
                    <a:gd name="T2" fmla="*/ 817 w 950"/>
                    <a:gd name="T3" fmla="*/ 93 h 2029"/>
                    <a:gd name="T4" fmla="*/ 855 w 950"/>
                    <a:gd name="T5" fmla="*/ 151 h 2029"/>
                    <a:gd name="T6" fmla="*/ 867 w 950"/>
                    <a:gd name="T7" fmla="*/ 220 h 2029"/>
                    <a:gd name="T8" fmla="*/ 937 w 950"/>
                    <a:gd name="T9" fmla="*/ 237 h 2029"/>
                    <a:gd name="T10" fmla="*/ 948 w 950"/>
                    <a:gd name="T11" fmla="*/ 455 h 2029"/>
                    <a:gd name="T12" fmla="*/ 943 w 950"/>
                    <a:gd name="T13" fmla="*/ 607 h 2029"/>
                    <a:gd name="T14" fmla="*/ 909 w 950"/>
                    <a:gd name="T15" fmla="*/ 815 h 2029"/>
                    <a:gd name="T16" fmla="*/ 870 w 950"/>
                    <a:gd name="T17" fmla="*/ 990 h 2029"/>
                    <a:gd name="T18" fmla="*/ 859 w 950"/>
                    <a:gd name="T19" fmla="*/ 1046 h 2029"/>
                    <a:gd name="T20" fmla="*/ 828 w 950"/>
                    <a:gd name="T21" fmla="*/ 1153 h 2029"/>
                    <a:gd name="T22" fmla="*/ 824 w 950"/>
                    <a:gd name="T23" fmla="*/ 1231 h 2029"/>
                    <a:gd name="T24" fmla="*/ 824 w 950"/>
                    <a:gd name="T25" fmla="*/ 1303 h 2029"/>
                    <a:gd name="T26" fmla="*/ 802 w 950"/>
                    <a:gd name="T27" fmla="*/ 1356 h 2029"/>
                    <a:gd name="T28" fmla="*/ 776 w 950"/>
                    <a:gd name="T29" fmla="*/ 1480 h 2029"/>
                    <a:gd name="T30" fmla="*/ 671 w 950"/>
                    <a:gd name="T31" fmla="*/ 1661 h 2029"/>
                    <a:gd name="T32" fmla="*/ 592 w 950"/>
                    <a:gd name="T33" fmla="*/ 1739 h 2029"/>
                    <a:gd name="T34" fmla="*/ 524 w 950"/>
                    <a:gd name="T35" fmla="*/ 1766 h 2029"/>
                    <a:gd name="T36" fmla="*/ 461 w 950"/>
                    <a:gd name="T37" fmla="*/ 1759 h 2029"/>
                    <a:gd name="T38" fmla="*/ 403 w 950"/>
                    <a:gd name="T39" fmla="*/ 1722 h 2029"/>
                    <a:gd name="T40" fmla="*/ 382 w 950"/>
                    <a:gd name="T41" fmla="*/ 1665 h 2029"/>
                    <a:gd name="T42" fmla="*/ 331 w 950"/>
                    <a:gd name="T43" fmla="*/ 1736 h 2029"/>
                    <a:gd name="T44" fmla="*/ 299 w 950"/>
                    <a:gd name="T45" fmla="*/ 1733 h 2029"/>
                    <a:gd name="T46" fmla="*/ 290 w 950"/>
                    <a:gd name="T47" fmla="*/ 1784 h 2029"/>
                    <a:gd name="T48" fmla="*/ 281 w 950"/>
                    <a:gd name="T49" fmla="*/ 1835 h 2029"/>
                    <a:gd name="T50" fmla="*/ 273 w 950"/>
                    <a:gd name="T51" fmla="*/ 1861 h 2029"/>
                    <a:gd name="T52" fmla="*/ 280 w 950"/>
                    <a:gd name="T53" fmla="*/ 1918 h 2029"/>
                    <a:gd name="T54" fmla="*/ 237 w 950"/>
                    <a:gd name="T55" fmla="*/ 1921 h 2029"/>
                    <a:gd name="T56" fmla="*/ 203 w 950"/>
                    <a:gd name="T57" fmla="*/ 1930 h 2029"/>
                    <a:gd name="T58" fmla="*/ 230 w 950"/>
                    <a:gd name="T59" fmla="*/ 1958 h 2029"/>
                    <a:gd name="T60" fmla="*/ 201 w 950"/>
                    <a:gd name="T61" fmla="*/ 1999 h 2029"/>
                    <a:gd name="T62" fmla="*/ 141 w 950"/>
                    <a:gd name="T63" fmla="*/ 1949 h 2029"/>
                    <a:gd name="T64" fmla="*/ 216 w 950"/>
                    <a:gd name="T65" fmla="*/ 1862 h 2029"/>
                    <a:gd name="T66" fmla="*/ 220 w 950"/>
                    <a:gd name="T67" fmla="*/ 1784 h 2029"/>
                    <a:gd name="T68" fmla="*/ 174 w 950"/>
                    <a:gd name="T69" fmla="*/ 1684 h 2029"/>
                    <a:gd name="T70" fmla="*/ 109 w 950"/>
                    <a:gd name="T71" fmla="*/ 1512 h 2029"/>
                    <a:gd name="T72" fmla="*/ 19 w 950"/>
                    <a:gd name="T73" fmla="*/ 1360 h 2029"/>
                    <a:gd name="T74" fmla="*/ 87 w 950"/>
                    <a:gd name="T75" fmla="*/ 1275 h 2029"/>
                    <a:gd name="T76" fmla="*/ 126 w 950"/>
                    <a:gd name="T77" fmla="*/ 1221 h 2029"/>
                    <a:gd name="T78" fmla="*/ 289 w 950"/>
                    <a:gd name="T79" fmla="*/ 1077 h 2029"/>
                    <a:gd name="T80" fmla="*/ 314 w 950"/>
                    <a:gd name="T81" fmla="*/ 1009 h 2029"/>
                    <a:gd name="T82" fmla="*/ 310 w 950"/>
                    <a:gd name="T83" fmla="*/ 951 h 2029"/>
                    <a:gd name="T84" fmla="*/ 305 w 950"/>
                    <a:gd name="T85" fmla="*/ 862 h 2029"/>
                    <a:gd name="T86" fmla="*/ 286 w 950"/>
                    <a:gd name="T87" fmla="*/ 797 h 2029"/>
                    <a:gd name="T88" fmla="*/ 328 w 950"/>
                    <a:gd name="T89" fmla="*/ 720 h 2029"/>
                    <a:gd name="T90" fmla="*/ 340 w 950"/>
                    <a:gd name="T91" fmla="*/ 598 h 2029"/>
                    <a:gd name="T92" fmla="*/ 389 w 950"/>
                    <a:gd name="T93" fmla="*/ 543 h 2029"/>
                    <a:gd name="T94" fmla="*/ 463 w 950"/>
                    <a:gd name="T95" fmla="*/ 554 h 2029"/>
                    <a:gd name="T96" fmla="*/ 517 w 950"/>
                    <a:gd name="T97" fmla="*/ 559 h 2029"/>
                    <a:gd name="T98" fmla="*/ 576 w 950"/>
                    <a:gd name="T99" fmla="*/ 550 h 2029"/>
                    <a:gd name="T100" fmla="*/ 666 w 950"/>
                    <a:gd name="T101" fmla="*/ 522 h 2029"/>
                    <a:gd name="T102" fmla="*/ 692 w 950"/>
                    <a:gd name="T103" fmla="*/ 445 h 2029"/>
                    <a:gd name="T104" fmla="*/ 705 w 950"/>
                    <a:gd name="T105" fmla="*/ 363 h 2029"/>
                    <a:gd name="T106" fmla="*/ 768 w 950"/>
                    <a:gd name="T107" fmla="*/ 315 h 2029"/>
                    <a:gd name="T108" fmla="*/ 790 w 950"/>
                    <a:gd name="T109" fmla="*/ 256 h 2029"/>
                    <a:gd name="T110" fmla="*/ 733 w 950"/>
                    <a:gd name="T111" fmla="*/ 220 h 2029"/>
                    <a:gd name="T112" fmla="*/ 628 w 950"/>
                    <a:gd name="T113" fmla="*/ 175 h 2029"/>
                    <a:gd name="T114" fmla="*/ 666 w 950"/>
                    <a:gd name="T115" fmla="*/ 104 h 2029"/>
                    <a:gd name="T116" fmla="*/ 724 w 950"/>
                    <a:gd name="T117" fmla="*/ 10 h 20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50" h="2029">
                      <a:moveTo>
                        <a:pt x="724" y="10"/>
                      </a:moveTo>
                      <a:cubicBezTo>
                        <a:pt x="733" y="0"/>
                        <a:pt x="751" y="11"/>
                        <a:pt x="755" y="20"/>
                      </a:cubicBezTo>
                      <a:cubicBezTo>
                        <a:pt x="758" y="28"/>
                        <a:pt x="757" y="31"/>
                        <a:pt x="764" y="37"/>
                      </a:cubicBezTo>
                      <a:cubicBezTo>
                        <a:pt x="765" y="38"/>
                        <a:pt x="769" y="36"/>
                        <a:pt x="772" y="39"/>
                      </a:cubicBezTo>
                      <a:cubicBezTo>
                        <a:pt x="774" y="41"/>
                        <a:pt x="773" y="46"/>
                        <a:pt x="775" y="48"/>
                      </a:cubicBezTo>
                      <a:cubicBezTo>
                        <a:pt x="791" y="66"/>
                        <a:pt x="794" y="34"/>
                        <a:pt x="806" y="47"/>
                      </a:cubicBezTo>
                      <a:cubicBezTo>
                        <a:pt x="813" y="54"/>
                        <a:pt x="810" y="54"/>
                        <a:pt x="807" y="62"/>
                      </a:cubicBezTo>
                      <a:cubicBezTo>
                        <a:pt x="807" y="64"/>
                        <a:pt x="801" y="61"/>
                        <a:pt x="800" y="65"/>
                      </a:cubicBezTo>
                      <a:cubicBezTo>
                        <a:pt x="800" y="66"/>
                        <a:pt x="804" y="72"/>
                        <a:pt x="804" y="74"/>
                      </a:cubicBezTo>
                      <a:cubicBezTo>
                        <a:pt x="806" y="91"/>
                        <a:pt x="803" y="89"/>
                        <a:pt x="817" y="93"/>
                      </a:cubicBezTo>
                      <a:cubicBezTo>
                        <a:pt x="825" y="96"/>
                        <a:pt x="832" y="98"/>
                        <a:pt x="841" y="103"/>
                      </a:cubicBezTo>
                      <a:cubicBezTo>
                        <a:pt x="849" y="107"/>
                        <a:pt x="858" y="109"/>
                        <a:pt x="863" y="115"/>
                      </a:cubicBezTo>
                      <a:cubicBezTo>
                        <a:pt x="862" y="114"/>
                        <a:pt x="869" y="133"/>
                        <a:pt x="870" y="131"/>
                      </a:cubicBezTo>
                      <a:cubicBezTo>
                        <a:pt x="869" y="135"/>
                        <a:pt x="863" y="134"/>
                        <a:pt x="861" y="138"/>
                      </a:cubicBezTo>
                      <a:cubicBezTo>
                        <a:pt x="858" y="142"/>
                        <a:pt x="859" y="147"/>
                        <a:pt x="855" y="151"/>
                      </a:cubicBezTo>
                      <a:cubicBezTo>
                        <a:pt x="850" y="157"/>
                        <a:pt x="841" y="160"/>
                        <a:pt x="839" y="170"/>
                      </a:cubicBezTo>
                      <a:cubicBezTo>
                        <a:pt x="836" y="186"/>
                        <a:pt x="842" y="182"/>
                        <a:pt x="852" y="183"/>
                      </a:cubicBezTo>
                      <a:cubicBezTo>
                        <a:pt x="868" y="183"/>
                        <a:pt x="860" y="181"/>
                        <a:pt x="865" y="197"/>
                      </a:cubicBezTo>
                      <a:cubicBezTo>
                        <a:pt x="865" y="197"/>
                        <a:pt x="873" y="209"/>
                        <a:pt x="872" y="206"/>
                      </a:cubicBezTo>
                      <a:cubicBezTo>
                        <a:pt x="873" y="211"/>
                        <a:pt x="864" y="215"/>
                        <a:pt x="867" y="220"/>
                      </a:cubicBezTo>
                      <a:cubicBezTo>
                        <a:pt x="867" y="221"/>
                        <a:pt x="891" y="219"/>
                        <a:pt x="894" y="217"/>
                      </a:cubicBezTo>
                      <a:cubicBezTo>
                        <a:pt x="901" y="214"/>
                        <a:pt x="905" y="203"/>
                        <a:pt x="913" y="201"/>
                      </a:cubicBezTo>
                      <a:cubicBezTo>
                        <a:pt x="925" y="197"/>
                        <a:pt x="937" y="215"/>
                        <a:pt x="946" y="206"/>
                      </a:cubicBezTo>
                      <a:cubicBezTo>
                        <a:pt x="943" y="214"/>
                        <a:pt x="948" y="221"/>
                        <a:pt x="946" y="229"/>
                      </a:cubicBezTo>
                      <a:cubicBezTo>
                        <a:pt x="946" y="230"/>
                        <a:pt x="938" y="234"/>
                        <a:pt x="937" y="237"/>
                      </a:cubicBezTo>
                      <a:cubicBezTo>
                        <a:pt x="932" y="245"/>
                        <a:pt x="933" y="264"/>
                        <a:pt x="932" y="274"/>
                      </a:cubicBezTo>
                      <a:cubicBezTo>
                        <a:pt x="929" y="290"/>
                        <a:pt x="922" y="307"/>
                        <a:pt x="922" y="324"/>
                      </a:cubicBezTo>
                      <a:cubicBezTo>
                        <a:pt x="922" y="340"/>
                        <a:pt x="931" y="353"/>
                        <a:pt x="933" y="367"/>
                      </a:cubicBezTo>
                      <a:cubicBezTo>
                        <a:pt x="935" y="381"/>
                        <a:pt x="931" y="398"/>
                        <a:pt x="933" y="414"/>
                      </a:cubicBezTo>
                      <a:cubicBezTo>
                        <a:pt x="936" y="428"/>
                        <a:pt x="948" y="441"/>
                        <a:pt x="948" y="455"/>
                      </a:cubicBezTo>
                      <a:cubicBezTo>
                        <a:pt x="949" y="464"/>
                        <a:pt x="942" y="470"/>
                        <a:pt x="940" y="478"/>
                      </a:cubicBezTo>
                      <a:cubicBezTo>
                        <a:pt x="938" y="486"/>
                        <a:pt x="940" y="495"/>
                        <a:pt x="941" y="503"/>
                      </a:cubicBezTo>
                      <a:cubicBezTo>
                        <a:pt x="943" y="521"/>
                        <a:pt x="950" y="540"/>
                        <a:pt x="950" y="558"/>
                      </a:cubicBezTo>
                      <a:cubicBezTo>
                        <a:pt x="950" y="571"/>
                        <a:pt x="944" y="579"/>
                        <a:pt x="942" y="591"/>
                      </a:cubicBezTo>
                      <a:cubicBezTo>
                        <a:pt x="942" y="594"/>
                        <a:pt x="943" y="603"/>
                        <a:pt x="943" y="607"/>
                      </a:cubicBezTo>
                      <a:cubicBezTo>
                        <a:pt x="942" y="617"/>
                        <a:pt x="938" y="627"/>
                        <a:pt x="937" y="638"/>
                      </a:cubicBezTo>
                      <a:cubicBezTo>
                        <a:pt x="936" y="654"/>
                        <a:pt x="939" y="671"/>
                        <a:pt x="937" y="687"/>
                      </a:cubicBezTo>
                      <a:cubicBezTo>
                        <a:pt x="934" y="707"/>
                        <a:pt x="924" y="723"/>
                        <a:pt x="919" y="741"/>
                      </a:cubicBezTo>
                      <a:cubicBezTo>
                        <a:pt x="914" y="758"/>
                        <a:pt x="915" y="775"/>
                        <a:pt x="912" y="791"/>
                      </a:cubicBezTo>
                      <a:cubicBezTo>
                        <a:pt x="911" y="799"/>
                        <a:pt x="910" y="808"/>
                        <a:pt x="909" y="815"/>
                      </a:cubicBezTo>
                      <a:cubicBezTo>
                        <a:pt x="907" y="824"/>
                        <a:pt x="904" y="825"/>
                        <a:pt x="901" y="832"/>
                      </a:cubicBezTo>
                      <a:cubicBezTo>
                        <a:pt x="895" y="848"/>
                        <a:pt x="884" y="869"/>
                        <a:pt x="880" y="886"/>
                      </a:cubicBezTo>
                      <a:cubicBezTo>
                        <a:pt x="877" y="901"/>
                        <a:pt x="886" y="912"/>
                        <a:pt x="879" y="929"/>
                      </a:cubicBezTo>
                      <a:cubicBezTo>
                        <a:pt x="875" y="939"/>
                        <a:pt x="871" y="951"/>
                        <a:pt x="871" y="965"/>
                      </a:cubicBezTo>
                      <a:cubicBezTo>
                        <a:pt x="871" y="973"/>
                        <a:pt x="873" y="979"/>
                        <a:pt x="870" y="990"/>
                      </a:cubicBezTo>
                      <a:cubicBezTo>
                        <a:pt x="870" y="992"/>
                        <a:pt x="867" y="1001"/>
                        <a:pt x="867" y="1003"/>
                      </a:cubicBezTo>
                      <a:cubicBezTo>
                        <a:pt x="866" y="1008"/>
                        <a:pt x="872" y="1015"/>
                        <a:pt x="869" y="1019"/>
                      </a:cubicBezTo>
                      <a:cubicBezTo>
                        <a:pt x="867" y="1022"/>
                        <a:pt x="859" y="1020"/>
                        <a:pt x="856" y="1023"/>
                      </a:cubicBezTo>
                      <a:cubicBezTo>
                        <a:pt x="854" y="1025"/>
                        <a:pt x="858" y="1031"/>
                        <a:pt x="854" y="1035"/>
                      </a:cubicBezTo>
                      <a:cubicBezTo>
                        <a:pt x="862" y="1039"/>
                        <a:pt x="859" y="1041"/>
                        <a:pt x="859" y="1046"/>
                      </a:cubicBezTo>
                      <a:cubicBezTo>
                        <a:pt x="858" y="1051"/>
                        <a:pt x="853" y="1054"/>
                        <a:pt x="853" y="1061"/>
                      </a:cubicBezTo>
                      <a:cubicBezTo>
                        <a:pt x="854" y="1069"/>
                        <a:pt x="859" y="1073"/>
                        <a:pt x="861" y="1079"/>
                      </a:cubicBezTo>
                      <a:cubicBezTo>
                        <a:pt x="862" y="1085"/>
                        <a:pt x="862" y="1099"/>
                        <a:pt x="860" y="1106"/>
                      </a:cubicBezTo>
                      <a:cubicBezTo>
                        <a:pt x="856" y="1118"/>
                        <a:pt x="844" y="1122"/>
                        <a:pt x="839" y="1129"/>
                      </a:cubicBezTo>
                      <a:cubicBezTo>
                        <a:pt x="835" y="1133"/>
                        <a:pt x="830" y="1146"/>
                        <a:pt x="828" y="1153"/>
                      </a:cubicBezTo>
                      <a:cubicBezTo>
                        <a:pt x="825" y="1164"/>
                        <a:pt x="832" y="1170"/>
                        <a:pt x="830" y="1182"/>
                      </a:cubicBezTo>
                      <a:cubicBezTo>
                        <a:pt x="829" y="1189"/>
                        <a:pt x="825" y="1191"/>
                        <a:pt x="823" y="1196"/>
                      </a:cubicBezTo>
                      <a:cubicBezTo>
                        <a:pt x="822" y="1202"/>
                        <a:pt x="823" y="1206"/>
                        <a:pt x="822" y="1212"/>
                      </a:cubicBezTo>
                      <a:cubicBezTo>
                        <a:pt x="822" y="1216"/>
                        <a:pt x="818" y="1218"/>
                        <a:pt x="819" y="1222"/>
                      </a:cubicBezTo>
                      <a:cubicBezTo>
                        <a:pt x="819" y="1226"/>
                        <a:pt x="823" y="1228"/>
                        <a:pt x="824" y="1231"/>
                      </a:cubicBezTo>
                      <a:cubicBezTo>
                        <a:pt x="827" y="1241"/>
                        <a:pt x="827" y="1251"/>
                        <a:pt x="825" y="1260"/>
                      </a:cubicBezTo>
                      <a:cubicBezTo>
                        <a:pt x="822" y="1271"/>
                        <a:pt x="818" y="1279"/>
                        <a:pt x="824" y="1290"/>
                      </a:cubicBezTo>
                      <a:cubicBezTo>
                        <a:pt x="810" y="1275"/>
                        <a:pt x="819" y="1295"/>
                        <a:pt x="819" y="1300"/>
                      </a:cubicBezTo>
                      <a:cubicBezTo>
                        <a:pt x="820" y="1301"/>
                        <a:pt x="822" y="1299"/>
                        <a:pt x="823" y="1299"/>
                      </a:cubicBezTo>
                      <a:cubicBezTo>
                        <a:pt x="824" y="1300"/>
                        <a:pt x="823" y="1302"/>
                        <a:pt x="824" y="1303"/>
                      </a:cubicBezTo>
                      <a:cubicBezTo>
                        <a:pt x="825" y="1301"/>
                        <a:pt x="827" y="1300"/>
                        <a:pt x="829" y="1298"/>
                      </a:cubicBezTo>
                      <a:cubicBezTo>
                        <a:pt x="833" y="1316"/>
                        <a:pt x="828" y="1337"/>
                        <a:pt x="821" y="1352"/>
                      </a:cubicBezTo>
                      <a:cubicBezTo>
                        <a:pt x="821" y="1351"/>
                        <a:pt x="812" y="1363"/>
                        <a:pt x="814" y="1362"/>
                      </a:cubicBezTo>
                      <a:cubicBezTo>
                        <a:pt x="811" y="1363"/>
                        <a:pt x="808" y="1360"/>
                        <a:pt x="808" y="1360"/>
                      </a:cubicBezTo>
                      <a:cubicBezTo>
                        <a:pt x="808" y="1360"/>
                        <a:pt x="805" y="1355"/>
                        <a:pt x="802" y="1356"/>
                      </a:cubicBezTo>
                      <a:cubicBezTo>
                        <a:pt x="802" y="1356"/>
                        <a:pt x="797" y="1364"/>
                        <a:pt x="796" y="1365"/>
                      </a:cubicBezTo>
                      <a:cubicBezTo>
                        <a:pt x="815" y="1369"/>
                        <a:pt x="809" y="1393"/>
                        <a:pt x="808" y="1410"/>
                      </a:cubicBezTo>
                      <a:cubicBezTo>
                        <a:pt x="808" y="1414"/>
                        <a:pt x="813" y="1414"/>
                        <a:pt x="811" y="1419"/>
                      </a:cubicBezTo>
                      <a:cubicBezTo>
                        <a:pt x="809" y="1425"/>
                        <a:pt x="796" y="1432"/>
                        <a:pt x="792" y="1439"/>
                      </a:cubicBezTo>
                      <a:cubicBezTo>
                        <a:pt x="786" y="1451"/>
                        <a:pt x="780" y="1466"/>
                        <a:pt x="776" y="1480"/>
                      </a:cubicBezTo>
                      <a:cubicBezTo>
                        <a:pt x="773" y="1494"/>
                        <a:pt x="766" y="1501"/>
                        <a:pt x="758" y="1514"/>
                      </a:cubicBezTo>
                      <a:cubicBezTo>
                        <a:pt x="751" y="1527"/>
                        <a:pt x="746" y="1539"/>
                        <a:pt x="737" y="1554"/>
                      </a:cubicBezTo>
                      <a:cubicBezTo>
                        <a:pt x="727" y="1573"/>
                        <a:pt x="710" y="1583"/>
                        <a:pt x="705" y="1605"/>
                      </a:cubicBezTo>
                      <a:cubicBezTo>
                        <a:pt x="702" y="1615"/>
                        <a:pt x="694" y="1652"/>
                        <a:pt x="685" y="1658"/>
                      </a:cubicBezTo>
                      <a:cubicBezTo>
                        <a:pt x="681" y="1661"/>
                        <a:pt x="677" y="1656"/>
                        <a:pt x="671" y="1661"/>
                      </a:cubicBezTo>
                      <a:cubicBezTo>
                        <a:pt x="665" y="1666"/>
                        <a:pt x="659" y="1679"/>
                        <a:pt x="661" y="1687"/>
                      </a:cubicBezTo>
                      <a:cubicBezTo>
                        <a:pt x="650" y="1679"/>
                        <a:pt x="647" y="1685"/>
                        <a:pt x="637" y="1687"/>
                      </a:cubicBezTo>
                      <a:cubicBezTo>
                        <a:pt x="640" y="1696"/>
                        <a:pt x="631" y="1699"/>
                        <a:pt x="628" y="1703"/>
                      </a:cubicBezTo>
                      <a:cubicBezTo>
                        <a:pt x="621" y="1713"/>
                        <a:pt x="617" y="1719"/>
                        <a:pt x="607" y="1726"/>
                      </a:cubicBezTo>
                      <a:cubicBezTo>
                        <a:pt x="601" y="1730"/>
                        <a:pt x="596" y="1731"/>
                        <a:pt x="592" y="1739"/>
                      </a:cubicBezTo>
                      <a:cubicBezTo>
                        <a:pt x="589" y="1744"/>
                        <a:pt x="591" y="1751"/>
                        <a:pt x="587" y="1755"/>
                      </a:cubicBezTo>
                      <a:cubicBezTo>
                        <a:pt x="581" y="1764"/>
                        <a:pt x="564" y="1768"/>
                        <a:pt x="555" y="1761"/>
                      </a:cubicBezTo>
                      <a:cubicBezTo>
                        <a:pt x="556" y="1755"/>
                        <a:pt x="561" y="1752"/>
                        <a:pt x="566" y="1752"/>
                      </a:cubicBezTo>
                      <a:cubicBezTo>
                        <a:pt x="563" y="1743"/>
                        <a:pt x="545" y="1745"/>
                        <a:pt x="547" y="1737"/>
                      </a:cubicBezTo>
                      <a:cubicBezTo>
                        <a:pt x="517" y="1732"/>
                        <a:pt x="543" y="1767"/>
                        <a:pt x="524" y="1766"/>
                      </a:cubicBezTo>
                      <a:cubicBezTo>
                        <a:pt x="521" y="1766"/>
                        <a:pt x="505" y="1750"/>
                        <a:pt x="504" y="1749"/>
                      </a:cubicBezTo>
                      <a:cubicBezTo>
                        <a:pt x="502" y="1745"/>
                        <a:pt x="504" y="1733"/>
                        <a:pt x="498" y="1732"/>
                      </a:cubicBezTo>
                      <a:cubicBezTo>
                        <a:pt x="492" y="1732"/>
                        <a:pt x="492" y="1743"/>
                        <a:pt x="488" y="1747"/>
                      </a:cubicBezTo>
                      <a:cubicBezTo>
                        <a:pt x="489" y="1747"/>
                        <a:pt x="491" y="1748"/>
                        <a:pt x="492" y="1749"/>
                      </a:cubicBezTo>
                      <a:cubicBezTo>
                        <a:pt x="484" y="1754"/>
                        <a:pt x="471" y="1767"/>
                        <a:pt x="461" y="1759"/>
                      </a:cubicBezTo>
                      <a:cubicBezTo>
                        <a:pt x="452" y="1752"/>
                        <a:pt x="459" y="1744"/>
                        <a:pt x="443" y="1749"/>
                      </a:cubicBezTo>
                      <a:cubicBezTo>
                        <a:pt x="438" y="1750"/>
                        <a:pt x="432" y="1753"/>
                        <a:pt x="432" y="1760"/>
                      </a:cubicBezTo>
                      <a:cubicBezTo>
                        <a:pt x="432" y="1764"/>
                        <a:pt x="438" y="1769"/>
                        <a:pt x="438" y="1772"/>
                      </a:cubicBezTo>
                      <a:cubicBezTo>
                        <a:pt x="436" y="1784"/>
                        <a:pt x="426" y="1775"/>
                        <a:pt x="423" y="1770"/>
                      </a:cubicBezTo>
                      <a:cubicBezTo>
                        <a:pt x="414" y="1757"/>
                        <a:pt x="416" y="1731"/>
                        <a:pt x="403" y="1722"/>
                      </a:cubicBezTo>
                      <a:cubicBezTo>
                        <a:pt x="411" y="1716"/>
                        <a:pt x="402" y="1706"/>
                        <a:pt x="400" y="1698"/>
                      </a:cubicBezTo>
                      <a:cubicBezTo>
                        <a:pt x="411" y="1697"/>
                        <a:pt x="405" y="1690"/>
                        <a:pt x="400" y="1686"/>
                      </a:cubicBezTo>
                      <a:cubicBezTo>
                        <a:pt x="398" y="1684"/>
                        <a:pt x="392" y="1687"/>
                        <a:pt x="390" y="1684"/>
                      </a:cubicBezTo>
                      <a:cubicBezTo>
                        <a:pt x="388" y="1682"/>
                        <a:pt x="392" y="1679"/>
                        <a:pt x="391" y="1678"/>
                      </a:cubicBezTo>
                      <a:cubicBezTo>
                        <a:pt x="390" y="1677"/>
                        <a:pt x="395" y="1659"/>
                        <a:pt x="382" y="1665"/>
                      </a:cubicBezTo>
                      <a:cubicBezTo>
                        <a:pt x="378" y="1666"/>
                        <a:pt x="380" y="1680"/>
                        <a:pt x="378" y="1685"/>
                      </a:cubicBezTo>
                      <a:cubicBezTo>
                        <a:pt x="376" y="1694"/>
                        <a:pt x="372" y="1699"/>
                        <a:pt x="367" y="1707"/>
                      </a:cubicBezTo>
                      <a:cubicBezTo>
                        <a:pt x="361" y="1716"/>
                        <a:pt x="361" y="1722"/>
                        <a:pt x="358" y="1732"/>
                      </a:cubicBezTo>
                      <a:cubicBezTo>
                        <a:pt x="354" y="1746"/>
                        <a:pt x="335" y="1761"/>
                        <a:pt x="340" y="1739"/>
                      </a:cubicBezTo>
                      <a:cubicBezTo>
                        <a:pt x="333" y="1758"/>
                        <a:pt x="331" y="1751"/>
                        <a:pt x="331" y="1736"/>
                      </a:cubicBezTo>
                      <a:cubicBezTo>
                        <a:pt x="331" y="1721"/>
                        <a:pt x="333" y="1719"/>
                        <a:pt x="338" y="1706"/>
                      </a:cubicBezTo>
                      <a:cubicBezTo>
                        <a:pt x="340" y="1702"/>
                        <a:pt x="345" y="1687"/>
                        <a:pt x="341" y="1683"/>
                      </a:cubicBezTo>
                      <a:cubicBezTo>
                        <a:pt x="334" y="1676"/>
                        <a:pt x="335" y="1697"/>
                        <a:pt x="332" y="1700"/>
                      </a:cubicBezTo>
                      <a:cubicBezTo>
                        <a:pt x="331" y="1677"/>
                        <a:pt x="303" y="1710"/>
                        <a:pt x="304" y="1693"/>
                      </a:cubicBezTo>
                      <a:cubicBezTo>
                        <a:pt x="291" y="1695"/>
                        <a:pt x="302" y="1725"/>
                        <a:pt x="299" y="1733"/>
                      </a:cubicBezTo>
                      <a:cubicBezTo>
                        <a:pt x="301" y="1732"/>
                        <a:pt x="313" y="1733"/>
                        <a:pt x="306" y="1738"/>
                      </a:cubicBezTo>
                      <a:cubicBezTo>
                        <a:pt x="302" y="1741"/>
                        <a:pt x="297" y="1733"/>
                        <a:pt x="295" y="1735"/>
                      </a:cubicBezTo>
                      <a:cubicBezTo>
                        <a:pt x="288" y="1740"/>
                        <a:pt x="293" y="1758"/>
                        <a:pt x="297" y="1741"/>
                      </a:cubicBezTo>
                      <a:cubicBezTo>
                        <a:pt x="299" y="1752"/>
                        <a:pt x="297" y="1762"/>
                        <a:pt x="294" y="1772"/>
                      </a:cubicBezTo>
                      <a:cubicBezTo>
                        <a:pt x="294" y="1775"/>
                        <a:pt x="290" y="1781"/>
                        <a:pt x="290" y="1784"/>
                      </a:cubicBezTo>
                      <a:cubicBezTo>
                        <a:pt x="290" y="1786"/>
                        <a:pt x="295" y="1790"/>
                        <a:pt x="294" y="1792"/>
                      </a:cubicBezTo>
                      <a:cubicBezTo>
                        <a:pt x="292" y="1797"/>
                        <a:pt x="286" y="1792"/>
                        <a:pt x="285" y="1796"/>
                      </a:cubicBezTo>
                      <a:cubicBezTo>
                        <a:pt x="283" y="1801"/>
                        <a:pt x="287" y="1807"/>
                        <a:pt x="289" y="1812"/>
                      </a:cubicBezTo>
                      <a:cubicBezTo>
                        <a:pt x="287" y="1814"/>
                        <a:pt x="272" y="1819"/>
                        <a:pt x="273" y="1817"/>
                      </a:cubicBezTo>
                      <a:cubicBezTo>
                        <a:pt x="269" y="1826"/>
                        <a:pt x="282" y="1825"/>
                        <a:pt x="281" y="1835"/>
                      </a:cubicBezTo>
                      <a:cubicBezTo>
                        <a:pt x="283" y="1832"/>
                        <a:pt x="288" y="1830"/>
                        <a:pt x="291" y="1828"/>
                      </a:cubicBezTo>
                      <a:cubicBezTo>
                        <a:pt x="292" y="1833"/>
                        <a:pt x="288" y="1837"/>
                        <a:pt x="286" y="1843"/>
                      </a:cubicBezTo>
                      <a:cubicBezTo>
                        <a:pt x="284" y="1847"/>
                        <a:pt x="283" y="1855"/>
                        <a:pt x="282" y="1857"/>
                      </a:cubicBezTo>
                      <a:cubicBezTo>
                        <a:pt x="282" y="1858"/>
                        <a:pt x="285" y="1860"/>
                        <a:pt x="283" y="1863"/>
                      </a:cubicBezTo>
                      <a:cubicBezTo>
                        <a:pt x="282" y="1864"/>
                        <a:pt x="274" y="1860"/>
                        <a:pt x="273" y="1861"/>
                      </a:cubicBezTo>
                      <a:cubicBezTo>
                        <a:pt x="268" y="1867"/>
                        <a:pt x="269" y="1880"/>
                        <a:pt x="271" y="1887"/>
                      </a:cubicBezTo>
                      <a:cubicBezTo>
                        <a:pt x="272" y="1891"/>
                        <a:pt x="277" y="1888"/>
                        <a:pt x="278" y="1894"/>
                      </a:cubicBezTo>
                      <a:cubicBezTo>
                        <a:pt x="278" y="1896"/>
                        <a:pt x="274" y="1897"/>
                        <a:pt x="274" y="1901"/>
                      </a:cubicBezTo>
                      <a:cubicBezTo>
                        <a:pt x="274" y="1910"/>
                        <a:pt x="275" y="1913"/>
                        <a:pt x="283" y="1916"/>
                      </a:cubicBezTo>
                      <a:cubicBezTo>
                        <a:pt x="282" y="1917"/>
                        <a:pt x="280" y="1918"/>
                        <a:pt x="280" y="1918"/>
                      </a:cubicBezTo>
                      <a:cubicBezTo>
                        <a:pt x="284" y="1922"/>
                        <a:pt x="282" y="1922"/>
                        <a:pt x="283" y="1926"/>
                      </a:cubicBezTo>
                      <a:cubicBezTo>
                        <a:pt x="275" y="1927"/>
                        <a:pt x="271" y="1923"/>
                        <a:pt x="272" y="1915"/>
                      </a:cubicBezTo>
                      <a:cubicBezTo>
                        <a:pt x="261" y="1922"/>
                        <a:pt x="264" y="1908"/>
                        <a:pt x="258" y="1907"/>
                      </a:cubicBezTo>
                      <a:cubicBezTo>
                        <a:pt x="251" y="1905"/>
                        <a:pt x="255" y="1910"/>
                        <a:pt x="249" y="1915"/>
                      </a:cubicBezTo>
                      <a:cubicBezTo>
                        <a:pt x="247" y="1917"/>
                        <a:pt x="240" y="1917"/>
                        <a:pt x="237" y="1921"/>
                      </a:cubicBezTo>
                      <a:cubicBezTo>
                        <a:pt x="234" y="1924"/>
                        <a:pt x="233" y="1931"/>
                        <a:pt x="230" y="1933"/>
                      </a:cubicBezTo>
                      <a:cubicBezTo>
                        <a:pt x="223" y="1938"/>
                        <a:pt x="218" y="1936"/>
                        <a:pt x="210" y="1933"/>
                      </a:cubicBezTo>
                      <a:cubicBezTo>
                        <a:pt x="215" y="1926"/>
                        <a:pt x="219" y="1931"/>
                        <a:pt x="224" y="1929"/>
                      </a:cubicBezTo>
                      <a:cubicBezTo>
                        <a:pt x="223" y="1929"/>
                        <a:pt x="240" y="1928"/>
                        <a:pt x="230" y="1921"/>
                      </a:cubicBezTo>
                      <a:cubicBezTo>
                        <a:pt x="224" y="1917"/>
                        <a:pt x="209" y="1927"/>
                        <a:pt x="203" y="1930"/>
                      </a:cubicBezTo>
                      <a:cubicBezTo>
                        <a:pt x="208" y="1923"/>
                        <a:pt x="211" y="1918"/>
                        <a:pt x="202" y="1918"/>
                      </a:cubicBezTo>
                      <a:cubicBezTo>
                        <a:pt x="205" y="1918"/>
                        <a:pt x="185" y="1927"/>
                        <a:pt x="189" y="1924"/>
                      </a:cubicBezTo>
                      <a:cubicBezTo>
                        <a:pt x="183" y="1929"/>
                        <a:pt x="179" y="1936"/>
                        <a:pt x="185" y="1940"/>
                      </a:cubicBezTo>
                      <a:cubicBezTo>
                        <a:pt x="191" y="1945"/>
                        <a:pt x="202" y="1939"/>
                        <a:pt x="201" y="1952"/>
                      </a:cubicBezTo>
                      <a:cubicBezTo>
                        <a:pt x="203" y="1940"/>
                        <a:pt x="226" y="1950"/>
                        <a:pt x="230" y="1958"/>
                      </a:cubicBezTo>
                      <a:cubicBezTo>
                        <a:pt x="220" y="1957"/>
                        <a:pt x="231" y="1965"/>
                        <a:pt x="230" y="1971"/>
                      </a:cubicBezTo>
                      <a:cubicBezTo>
                        <a:pt x="229" y="1975"/>
                        <a:pt x="223" y="1975"/>
                        <a:pt x="222" y="1978"/>
                      </a:cubicBezTo>
                      <a:cubicBezTo>
                        <a:pt x="221" y="1985"/>
                        <a:pt x="225" y="1995"/>
                        <a:pt x="225" y="2003"/>
                      </a:cubicBezTo>
                      <a:cubicBezTo>
                        <a:pt x="226" y="2020"/>
                        <a:pt x="226" y="2029"/>
                        <a:pt x="213" y="2014"/>
                      </a:cubicBezTo>
                      <a:cubicBezTo>
                        <a:pt x="208" y="2008"/>
                        <a:pt x="207" y="2004"/>
                        <a:pt x="201" y="1999"/>
                      </a:cubicBezTo>
                      <a:cubicBezTo>
                        <a:pt x="195" y="1995"/>
                        <a:pt x="190" y="1995"/>
                        <a:pt x="184" y="1989"/>
                      </a:cubicBezTo>
                      <a:cubicBezTo>
                        <a:pt x="182" y="1987"/>
                        <a:pt x="179" y="1985"/>
                        <a:pt x="177" y="1981"/>
                      </a:cubicBezTo>
                      <a:cubicBezTo>
                        <a:pt x="174" y="1974"/>
                        <a:pt x="179" y="1971"/>
                        <a:pt x="177" y="1963"/>
                      </a:cubicBezTo>
                      <a:cubicBezTo>
                        <a:pt x="176" y="1956"/>
                        <a:pt x="168" y="1949"/>
                        <a:pt x="162" y="1946"/>
                      </a:cubicBezTo>
                      <a:cubicBezTo>
                        <a:pt x="151" y="1942"/>
                        <a:pt x="150" y="1950"/>
                        <a:pt x="141" y="1949"/>
                      </a:cubicBezTo>
                      <a:cubicBezTo>
                        <a:pt x="122" y="1948"/>
                        <a:pt x="139" y="1924"/>
                        <a:pt x="145" y="1915"/>
                      </a:cubicBezTo>
                      <a:cubicBezTo>
                        <a:pt x="154" y="1901"/>
                        <a:pt x="170" y="1897"/>
                        <a:pt x="178" y="1888"/>
                      </a:cubicBezTo>
                      <a:cubicBezTo>
                        <a:pt x="183" y="1883"/>
                        <a:pt x="177" y="1881"/>
                        <a:pt x="185" y="1877"/>
                      </a:cubicBezTo>
                      <a:cubicBezTo>
                        <a:pt x="191" y="1873"/>
                        <a:pt x="200" y="1877"/>
                        <a:pt x="208" y="1872"/>
                      </a:cubicBezTo>
                      <a:cubicBezTo>
                        <a:pt x="218" y="1866"/>
                        <a:pt x="212" y="1868"/>
                        <a:pt x="216" y="1862"/>
                      </a:cubicBezTo>
                      <a:cubicBezTo>
                        <a:pt x="217" y="1861"/>
                        <a:pt x="216" y="1858"/>
                        <a:pt x="217" y="1856"/>
                      </a:cubicBezTo>
                      <a:cubicBezTo>
                        <a:pt x="218" y="1853"/>
                        <a:pt x="225" y="1853"/>
                        <a:pt x="225" y="1851"/>
                      </a:cubicBezTo>
                      <a:cubicBezTo>
                        <a:pt x="231" y="1839"/>
                        <a:pt x="213" y="1831"/>
                        <a:pt x="212" y="1817"/>
                      </a:cubicBezTo>
                      <a:cubicBezTo>
                        <a:pt x="212" y="1814"/>
                        <a:pt x="215" y="1804"/>
                        <a:pt x="216" y="1800"/>
                      </a:cubicBezTo>
                      <a:cubicBezTo>
                        <a:pt x="217" y="1794"/>
                        <a:pt x="221" y="1792"/>
                        <a:pt x="220" y="1784"/>
                      </a:cubicBezTo>
                      <a:cubicBezTo>
                        <a:pt x="218" y="1779"/>
                        <a:pt x="211" y="1777"/>
                        <a:pt x="210" y="1770"/>
                      </a:cubicBezTo>
                      <a:cubicBezTo>
                        <a:pt x="209" y="1764"/>
                        <a:pt x="213" y="1760"/>
                        <a:pt x="214" y="1754"/>
                      </a:cubicBezTo>
                      <a:cubicBezTo>
                        <a:pt x="214" y="1746"/>
                        <a:pt x="210" y="1741"/>
                        <a:pt x="209" y="1733"/>
                      </a:cubicBezTo>
                      <a:cubicBezTo>
                        <a:pt x="207" y="1723"/>
                        <a:pt x="211" y="1712"/>
                        <a:pt x="201" y="1702"/>
                      </a:cubicBezTo>
                      <a:cubicBezTo>
                        <a:pt x="191" y="1693"/>
                        <a:pt x="180" y="1697"/>
                        <a:pt x="174" y="1684"/>
                      </a:cubicBezTo>
                      <a:cubicBezTo>
                        <a:pt x="171" y="1676"/>
                        <a:pt x="171" y="1667"/>
                        <a:pt x="167" y="1659"/>
                      </a:cubicBezTo>
                      <a:cubicBezTo>
                        <a:pt x="162" y="1648"/>
                        <a:pt x="155" y="1639"/>
                        <a:pt x="151" y="1628"/>
                      </a:cubicBezTo>
                      <a:cubicBezTo>
                        <a:pt x="146" y="1613"/>
                        <a:pt x="146" y="1598"/>
                        <a:pt x="140" y="1584"/>
                      </a:cubicBezTo>
                      <a:cubicBezTo>
                        <a:pt x="135" y="1572"/>
                        <a:pt x="140" y="1567"/>
                        <a:pt x="139" y="1558"/>
                      </a:cubicBezTo>
                      <a:cubicBezTo>
                        <a:pt x="137" y="1543"/>
                        <a:pt x="116" y="1523"/>
                        <a:pt x="109" y="1512"/>
                      </a:cubicBezTo>
                      <a:cubicBezTo>
                        <a:pt x="100" y="1500"/>
                        <a:pt x="92" y="1488"/>
                        <a:pt x="84" y="1476"/>
                      </a:cubicBezTo>
                      <a:cubicBezTo>
                        <a:pt x="71" y="1457"/>
                        <a:pt x="59" y="1436"/>
                        <a:pt x="45" y="1418"/>
                      </a:cubicBezTo>
                      <a:cubicBezTo>
                        <a:pt x="36" y="1407"/>
                        <a:pt x="26" y="1404"/>
                        <a:pt x="15" y="1396"/>
                      </a:cubicBezTo>
                      <a:cubicBezTo>
                        <a:pt x="0" y="1384"/>
                        <a:pt x="14" y="1381"/>
                        <a:pt x="20" y="1370"/>
                      </a:cubicBezTo>
                      <a:cubicBezTo>
                        <a:pt x="21" y="1367"/>
                        <a:pt x="17" y="1364"/>
                        <a:pt x="19" y="1360"/>
                      </a:cubicBezTo>
                      <a:cubicBezTo>
                        <a:pt x="24" y="1353"/>
                        <a:pt x="26" y="1358"/>
                        <a:pt x="32" y="1355"/>
                      </a:cubicBezTo>
                      <a:cubicBezTo>
                        <a:pt x="45" y="1350"/>
                        <a:pt x="44" y="1341"/>
                        <a:pt x="53" y="1331"/>
                      </a:cubicBezTo>
                      <a:cubicBezTo>
                        <a:pt x="58" y="1327"/>
                        <a:pt x="63" y="1329"/>
                        <a:pt x="67" y="1326"/>
                      </a:cubicBezTo>
                      <a:cubicBezTo>
                        <a:pt x="74" y="1321"/>
                        <a:pt x="70" y="1323"/>
                        <a:pt x="74" y="1316"/>
                      </a:cubicBezTo>
                      <a:cubicBezTo>
                        <a:pt x="79" y="1305"/>
                        <a:pt x="89" y="1287"/>
                        <a:pt x="87" y="1275"/>
                      </a:cubicBezTo>
                      <a:cubicBezTo>
                        <a:pt x="86" y="1268"/>
                        <a:pt x="78" y="1266"/>
                        <a:pt x="79" y="1258"/>
                      </a:cubicBezTo>
                      <a:cubicBezTo>
                        <a:pt x="79" y="1249"/>
                        <a:pt x="84" y="1252"/>
                        <a:pt x="88" y="1246"/>
                      </a:cubicBezTo>
                      <a:cubicBezTo>
                        <a:pt x="91" y="1240"/>
                        <a:pt x="92" y="1240"/>
                        <a:pt x="92" y="1229"/>
                      </a:cubicBezTo>
                      <a:cubicBezTo>
                        <a:pt x="93" y="1223"/>
                        <a:pt x="91" y="1207"/>
                        <a:pt x="99" y="1205"/>
                      </a:cubicBezTo>
                      <a:cubicBezTo>
                        <a:pt x="105" y="1203"/>
                        <a:pt x="117" y="1220"/>
                        <a:pt x="126" y="1221"/>
                      </a:cubicBezTo>
                      <a:cubicBezTo>
                        <a:pt x="155" y="1226"/>
                        <a:pt x="191" y="1215"/>
                        <a:pt x="221" y="1212"/>
                      </a:cubicBezTo>
                      <a:cubicBezTo>
                        <a:pt x="241" y="1210"/>
                        <a:pt x="262" y="1205"/>
                        <a:pt x="282" y="1206"/>
                      </a:cubicBezTo>
                      <a:cubicBezTo>
                        <a:pt x="304" y="1206"/>
                        <a:pt x="304" y="1208"/>
                        <a:pt x="312" y="1188"/>
                      </a:cubicBezTo>
                      <a:cubicBezTo>
                        <a:pt x="324" y="1161"/>
                        <a:pt x="303" y="1146"/>
                        <a:pt x="296" y="1120"/>
                      </a:cubicBezTo>
                      <a:cubicBezTo>
                        <a:pt x="292" y="1107"/>
                        <a:pt x="285" y="1090"/>
                        <a:pt x="289" y="1077"/>
                      </a:cubicBezTo>
                      <a:cubicBezTo>
                        <a:pt x="292" y="1066"/>
                        <a:pt x="304" y="1056"/>
                        <a:pt x="310" y="1046"/>
                      </a:cubicBezTo>
                      <a:cubicBezTo>
                        <a:pt x="311" y="1043"/>
                        <a:pt x="316" y="1044"/>
                        <a:pt x="317" y="1041"/>
                      </a:cubicBezTo>
                      <a:cubicBezTo>
                        <a:pt x="318" y="1038"/>
                        <a:pt x="313" y="1037"/>
                        <a:pt x="314" y="1034"/>
                      </a:cubicBezTo>
                      <a:cubicBezTo>
                        <a:pt x="315" y="1030"/>
                        <a:pt x="316" y="1027"/>
                        <a:pt x="320" y="1024"/>
                      </a:cubicBezTo>
                      <a:cubicBezTo>
                        <a:pt x="316" y="1022"/>
                        <a:pt x="315" y="1013"/>
                        <a:pt x="314" y="1009"/>
                      </a:cubicBezTo>
                      <a:cubicBezTo>
                        <a:pt x="315" y="1011"/>
                        <a:pt x="307" y="1004"/>
                        <a:pt x="307" y="1004"/>
                      </a:cubicBezTo>
                      <a:cubicBezTo>
                        <a:pt x="306" y="1000"/>
                        <a:pt x="306" y="989"/>
                        <a:pt x="309" y="986"/>
                      </a:cubicBezTo>
                      <a:cubicBezTo>
                        <a:pt x="296" y="983"/>
                        <a:pt x="298" y="965"/>
                        <a:pt x="303" y="957"/>
                      </a:cubicBezTo>
                      <a:cubicBezTo>
                        <a:pt x="304" y="955"/>
                        <a:pt x="308" y="960"/>
                        <a:pt x="310" y="957"/>
                      </a:cubicBezTo>
                      <a:cubicBezTo>
                        <a:pt x="311" y="956"/>
                        <a:pt x="309" y="954"/>
                        <a:pt x="310" y="951"/>
                      </a:cubicBezTo>
                      <a:cubicBezTo>
                        <a:pt x="313" y="946"/>
                        <a:pt x="302" y="938"/>
                        <a:pt x="315" y="940"/>
                      </a:cubicBezTo>
                      <a:cubicBezTo>
                        <a:pt x="315" y="932"/>
                        <a:pt x="312" y="923"/>
                        <a:pt x="311" y="915"/>
                      </a:cubicBezTo>
                      <a:cubicBezTo>
                        <a:pt x="309" y="902"/>
                        <a:pt x="307" y="903"/>
                        <a:pt x="302" y="893"/>
                      </a:cubicBezTo>
                      <a:cubicBezTo>
                        <a:pt x="296" y="880"/>
                        <a:pt x="301" y="888"/>
                        <a:pt x="303" y="878"/>
                      </a:cubicBezTo>
                      <a:cubicBezTo>
                        <a:pt x="304" y="875"/>
                        <a:pt x="304" y="865"/>
                        <a:pt x="305" y="862"/>
                      </a:cubicBezTo>
                      <a:cubicBezTo>
                        <a:pt x="309" y="856"/>
                        <a:pt x="310" y="866"/>
                        <a:pt x="314" y="860"/>
                      </a:cubicBezTo>
                      <a:cubicBezTo>
                        <a:pt x="315" y="858"/>
                        <a:pt x="315" y="849"/>
                        <a:pt x="315" y="847"/>
                      </a:cubicBezTo>
                      <a:cubicBezTo>
                        <a:pt x="314" y="841"/>
                        <a:pt x="315" y="823"/>
                        <a:pt x="306" y="830"/>
                      </a:cubicBezTo>
                      <a:cubicBezTo>
                        <a:pt x="297" y="822"/>
                        <a:pt x="314" y="815"/>
                        <a:pt x="304" y="805"/>
                      </a:cubicBezTo>
                      <a:cubicBezTo>
                        <a:pt x="298" y="800"/>
                        <a:pt x="291" y="804"/>
                        <a:pt x="286" y="797"/>
                      </a:cubicBezTo>
                      <a:cubicBezTo>
                        <a:pt x="284" y="794"/>
                        <a:pt x="283" y="775"/>
                        <a:pt x="283" y="770"/>
                      </a:cubicBezTo>
                      <a:cubicBezTo>
                        <a:pt x="284" y="761"/>
                        <a:pt x="290" y="754"/>
                        <a:pt x="290" y="745"/>
                      </a:cubicBezTo>
                      <a:cubicBezTo>
                        <a:pt x="299" y="749"/>
                        <a:pt x="298" y="739"/>
                        <a:pt x="303" y="734"/>
                      </a:cubicBezTo>
                      <a:cubicBezTo>
                        <a:pt x="308" y="731"/>
                        <a:pt x="316" y="732"/>
                        <a:pt x="321" y="729"/>
                      </a:cubicBezTo>
                      <a:cubicBezTo>
                        <a:pt x="324" y="727"/>
                        <a:pt x="325" y="722"/>
                        <a:pt x="328" y="720"/>
                      </a:cubicBezTo>
                      <a:cubicBezTo>
                        <a:pt x="341" y="709"/>
                        <a:pt x="356" y="707"/>
                        <a:pt x="346" y="684"/>
                      </a:cubicBezTo>
                      <a:cubicBezTo>
                        <a:pt x="340" y="670"/>
                        <a:pt x="322" y="663"/>
                        <a:pt x="325" y="644"/>
                      </a:cubicBezTo>
                      <a:cubicBezTo>
                        <a:pt x="327" y="634"/>
                        <a:pt x="332" y="639"/>
                        <a:pt x="336" y="632"/>
                      </a:cubicBezTo>
                      <a:cubicBezTo>
                        <a:pt x="340" y="625"/>
                        <a:pt x="333" y="616"/>
                        <a:pt x="334" y="608"/>
                      </a:cubicBezTo>
                      <a:cubicBezTo>
                        <a:pt x="335" y="603"/>
                        <a:pt x="339" y="603"/>
                        <a:pt x="340" y="598"/>
                      </a:cubicBezTo>
                      <a:cubicBezTo>
                        <a:pt x="341" y="595"/>
                        <a:pt x="338" y="591"/>
                        <a:pt x="340" y="588"/>
                      </a:cubicBezTo>
                      <a:cubicBezTo>
                        <a:pt x="344" y="575"/>
                        <a:pt x="358" y="576"/>
                        <a:pt x="361" y="562"/>
                      </a:cubicBezTo>
                      <a:cubicBezTo>
                        <a:pt x="369" y="568"/>
                        <a:pt x="369" y="560"/>
                        <a:pt x="374" y="560"/>
                      </a:cubicBezTo>
                      <a:cubicBezTo>
                        <a:pt x="375" y="559"/>
                        <a:pt x="387" y="561"/>
                        <a:pt x="387" y="561"/>
                      </a:cubicBezTo>
                      <a:cubicBezTo>
                        <a:pt x="391" y="558"/>
                        <a:pt x="386" y="549"/>
                        <a:pt x="389" y="543"/>
                      </a:cubicBezTo>
                      <a:cubicBezTo>
                        <a:pt x="393" y="534"/>
                        <a:pt x="394" y="537"/>
                        <a:pt x="404" y="536"/>
                      </a:cubicBezTo>
                      <a:cubicBezTo>
                        <a:pt x="409" y="536"/>
                        <a:pt x="413" y="537"/>
                        <a:pt x="417" y="537"/>
                      </a:cubicBezTo>
                      <a:cubicBezTo>
                        <a:pt x="420" y="536"/>
                        <a:pt x="421" y="531"/>
                        <a:pt x="427" y="533"/>
                      </a:cubicBezTo>
                      <a:cubicBezTo>
                        <a:pt x="433" y="535"/>
                        <a:pt x="431" y="540"/>
                        <a:pt x="435" y="545"/>
                      </a:cubicBezTo>
                      <a:cubicBezTo>
                        <a:pt x="442" y="551"/>
                        <a:pt x="458" y="546"/>
                        <a:pt x="463" y="554"/>
                      </a:cubicBezTo>
                      <a:cubicBezTo>
                        <a:pt x="465" y="558"/>
                        <a:pt x="457" y="577"/>
                        <a:pt x="461" y="581"/>
                      </a:cubicBezTo>
                      <a:cubicBezTo>
                        <a:pt x="474" y="594"/>
                        <a:pt x="480" y="564"/>
                        <a:pt x="487" y="560"/>
                      </a:cubicBezTo>
                      <a:cubicBezTo>
                        <a:pt x="494" y="557"/>
                        <a:pt x="496" y="563"/>
                        <a:pt x="500" y="561"/>
                      </a:cubicBezTo>
                      <a:cubicBezTo>
                        <a:pt x="510" y="557"/>
                        <a:pt x="509" y="545"/>
                        <a:pt x="520" y="553"/>
                      </a:cubicBezTo>
                      <a:cubicBezTo>
                        <a:pt x="521" y="554"/>
                        <a:pt x="516" y="558"/>
                        <a:pt x="517" y="559"/>
                      </a:cubicBezTo>
                      <a:cubicBezTo>
                        <a:pt x="519" y="560"/>
                        <a:pt x="520" y="560"/>
                        <a:pt x="522" y="562"/>
                      </a:cubicBezTo>
                      <a:cubicBezTo>
                        <a:pt x="523" y="563"/>
                        <a:pt x="529" y="561"/>
                        <a:pt x="531" y="562"/>
                      </a:cubicBezTo>
                      <a:cubicBezTo>
                        <a:pt x="535" y="564"/>
                        <a:pt x="536" y="569"/>
                        <a:pt x="540" y="571"/>
                      </a:cubicBezTo>
                      <a:cubicBezTo>
                        <a:pt x="550" y="577"/>
                        <a:pt x="564" y="576"/>
                        <a:pt x="571" y="567"/>
                      </a:cubicBezTo>
                      <a:cubicBezTo>
                        <a:pt x="574" y="563"/>
                        <a:pt x="573" y="551"/>
                        <a:pt x="576" y="550"/>
                      </a:cubicBezTo>
                      <a:cubicBezTo>
                        <a:pt x="583" y="547"/>
                        <a:pt x="589" y="555"/>
                        <a:pt x="594" y="557"/>
                      </a:cubicBezTo>
                      <a:cubicBezTo>
                        <a:pt x="609" y="560"/>
                        <a:pt x="625" y="555"/>
                        <a:pt x="633" y="544"/>
                      </a:cubicBezTo>
                      <a:cubicBezTo>
                        <a:pt x="636" y="540"/>
                        <a:pt x="634" y="536"/>
                        <a:pt x="639" y="532"/>
                      </a:cubicBezTo>
                      <a:cubicBezTo>
                        <a:pt x="638" y="532"/>
                        <a:pt x="652" y="529"/>
                        <a:pt x="653" y="529"/>
                      </a:cubicBezTo>
                      <a:cubicBezTo>
                        <a:pt x="662" y="527"/>
                        <a:pt x="659" y="531"/>
                        <a:pt x="666" y="522"/>
                      </a:cubicBezTo>
                      <a:cubicBezTo>
                        <a:pt x="671" y="513"/>
                        <a:pt x="672" y="506"/>
                        <a:pt x="675" y="498"/>
                      </a:cubicBezTo>
                      <a:cubicBezTo>
                        <a:pt x="676" y="492"/>
                        <a:pt x="676" y="481"/>
                        <a:pt x="678" y="476"/>
                      </a:cubicBezTo>
                      <a:cubicBezTo>
                        <a:pt x="679" y="474"/>
                        <a:pt x="684" y="472"/>
                        <a:pt x="684" y="472"/>
                      </a:cubicBezTo>
                      <a:cubicBezTo>
                        <a:pt x="684" y="471"/>
                        <a:pt x="686" y="465"/>
                        <a:pt x="687" y="463"/>
                      </a:cubicBezTo>
                      <a:cubicBezTo>
                        <a:pt x="688" y="460"/>
                        <a:pt x="693" y="448"/>
                        <a:pt x="692" y="445"/>
                      </a:cubicBezTo>
                      <a:cubicBezTo>
                        <a:pt x="690" y="441"/>
                        <a:pt x="682" y="441"/>
                        <a:pt x="679" y="437"/>
                      </a:cubicBezTo>
                      <a:cubicBezTo>
                        <a:pt x="672" y="427"/>
                        <a:pt x="673" y="410"/>
                        <a:pt x="673" y="400"/>
                      </a:cubicBezTo>
                      <a:cubicBezTo>
                        <a:pt x="673" y="392"/>
                        <a:pt x="666" y="378"/>
                        <a:pt x="673" y="372"/>
                      </a:cubicBezTo>
                      <a:cubicBezTo>
                        <a:pt x="679" y="367"/>
                        <a:pt x="689" y="374"/>
                        <a:pt x="694" y="373"/>
                      </a:cubicBezTo>
                      <a:cubicBezTo>
                        <a:pt x="700" y="371"/>
                        <a:pt x="698" y="363"/>
                        <a:pt x="705" y="363"/>
                      </a:cubicBezTo>
                      <a:cubicBezTo>
                        <a:pt x="709" y="362"/>
                        <a:pt x="715" y="371"/>
                        <a:pt x="719" y="373"/>
                      </a:cubicBezTo>
                      <a:cubicBezTo>
                        <a:pt x="736" y="377"/>
                        <a:pt x="746" y="361"/>
                        <a:pt x="750" y="346"/>
                      </a:cubicBezTo>
                      <a:cubicBezTo>
                        <a:pt x="751" y="343"/>
                        <a:pt x="748" y="337"/>
                        <a:pt x="749" y="334"/>
                      </a:cubicBezTo>
                      <a:cubicBezTo>
                        <a:pt x="751" y="330"/>
                        <a:pt x="754" y="330"/>
                        <a:pt x="756" y="326"/>
                      </a:cubicBezTo>
                      <a:cubicBezTo>
                        <a:pt x="759" y="320"/>
                        <a:pt x="761" y="310"/>
                        <a:pt x="768" y="315"/>
                      </a:cubicBezTo>
                      <a:cubicBezTo>
                        <a:pt x="768" y="309"/>
                        <a:pt x="774" y="304"/>
                        <a:pt x="777" y="298"/>
                      </a:cubicBezTo>
                      <a:cubicBezTo>
                        <a:pt x="780" y="291"/>
                        <a:pt x="778" y="287"/>
                        <a:pt x="780" y="280"/>
                      </a:cubicBezTo>
                      <a:cubicBezTo>
                        <a:pt x="781" y="275"/>
                        <a:pt x="785" y="271"/>
                        <a:pt x="786" y="268"/>
                      </a:cubicBezTo>
                      <a:cubicBezTo>
                        <a:pt x="786" y="268"/>
                        <a:pt x="789" y="269"/>
                        <a:pt x="790" y="267"/>
                      </a:cubicBezTo>
                      <a:cubicBezTo>
                        <a:pt x="791" y="264"/>
                        <a:pt x="790" y="259"/>
                        <a:pt x="790" y="256"/>
                      </a:cubicBezTo>
                      <a:cubicBezTo>
                        <a:pt x="792" y="247"/>
                        <a:pt x="797" y="234"/>
                        <a:pt x="782" y="232"/>
                      </a:cubicBezTo>
                      <a:cubicBezTo>
                        <a:pt x="777" y="231"/>
                        <a:pt x="773" y="239"/>
                        <a:pt x="769" y="236"/>
                      </a:cubicBezTo>
                      <a:cubicBezTo>
                        <a:pt x="764" y="233"/>
                        <a:pt x="771" y="216"/>
                        <a:pt x="770" y="211"/>
                      </a:cubicBezTo>
                      <a:cubicBezTo>
                        <a:pt x="762" y="219"/>
                        <a:pt x="760" y="209"/>
                        <a:pt x="751" y="210"/>
                      </a:cubicBezTo>
                      <a:cubicBezTo>
                        <a:pt x="741" y="210"/>
                        <a:pt x="740" y="216"/>
                        <a:pt x="733" y="220"/>
                      </a:cubicBezTo>
                      <a:cubicBezTo>
                        <a:pt x="720" y="229"/>
                        <a:pt x="709" y="216"/>
                        <a:pt x="694" y="218"/>
                      </a:cubicBezTo>
                      <a:cubicBezTo>
                        <a:pt x="681" y="219"/>
                        <a:pt x="662" y="243"/>
                        <a:pt x="670" y="216"/>
                      </a:cubicBezTo>
                      <a:cubicBezTo>
                        <a:pt x="673" y="205"/>
                        <a:pt x="686" y="200"/>
                        <a:pt x="678" y="189"/>
                      </a:cubicBezTo>
                      <a:cubicBezTo>
                        <a:pt x="670" y="179"/>
                        <a:pt x="648" y="184"/>
                        <a:pt x="640" y="182"/>
                      </a:cubicBezTo>
                      <a:cubicBezTo>
                        <a:pt x="638" y="181"/>
                        <a:pt x="630" y="176"/>
                        <a:pt x="628" y="175"/>
                      </a:cubicBezTo>
                      <a:cubicBezTo>
                        <a:pt x="619" y="171"/>
                        <a:pt x="617" y="173"/>
                        <a:pt x="615" y="162"/>
                      </a:cubicBezTo>
                      <a:cubicBezTo>
                        <a:pt x="611" y="145"/>
                        <a:pt x="621" y="129"/>
                        <a:pt x="634" y="119"/>
                      </a:cubicBezTo>
                      <a:cubicBezTo>
                        <a:pt x="640" y="114"/>
                        <a:pt x="646" y="110"/>
                        <a:pt x="654" y="107"/>
                      </a:cubicBezTo>
                      <a:cubicBezTo>
                        <a:pt x="656" y="106"/>
                        <a:pt x="658" y="110"/>
                        <a:pt x="660" y="109"/>
                      </a:cubicBezTo>
                      <a:cubicBezTo>
                        <a:pt x="662" y="108"/>
                        <a:pt x="663" y="105"/>
                        <a:pt x="666" y="104"/>
                      </a:cubicBezTo>
                      <a:cubicBezTo>
                        <a:pt x="669" y="103"/>
                        <a:pt x="675" y="102"/>
                        <a:pt x="677" y="100"/>
                      </a:cubicBezTo>
                      <a:cubicBezTo>
                        <a:pt x="689" y="90"/>
                        <a:pt x="680" y="79"/>
                        <a:pt x="688" y="68"/>
                      </a:cubicBezTo>
                      <a:cubicBezTo>
                        <a:pt x="694" y="61"/>
                        <a:pt x="710" y="59"/>
                        <a:pt x="711" y="45"/>
                      </a:cubicBezTo>
                      <a:cubicBezTo>
                        <a:pt x="711" y="36"/>
                        <a:pt x="705" y="37"/>
                        <a:pt x="708" y="26"/>
                      </a:cubicBezTo>
                      <a:cubicBezTo>
                        <a:pt x="710" y="17"/>
                        <a:pt x="713" y="8"/>
                        <a:pt x="724" y="10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grpSp>
            <p:nvGrpSpPr>
              <p:cNvPr id="41" name="Группа 40">
                <a:extLst>
                  <a:ext uri="{FF2B5EF4-FFF2-40B4-BE49-F238E27FC236}">
                    <a16:creationId xmlns:a16="http://schemas.microsoft.com/office/drawing/2014/main" id="{C38F6358-4D0D-F596-59DB-5C34C343A393}"/>
                  </a:ext>
                </a:extLst>
              </p:cNvPr>
              <p:cNvGrpSpPr/>
              <p:nvPr/>
            </p:nvGrpSpPr>
            <p:grpSpPr>
              <a:xfrm>
                <a:off x="3510102" y="2664723"/>
                <a:ext cx="997615" cy="1187637"/>
                <a:chOff x="6238875" y="1825626"/>
                <a:chExt cx="1200150" cy="1428750"/>
              </a:xfrm>
              <a:grpFill/>
            </p:grpSpPr>
            <p:sp>
              <p:nvSpPr>
                <p:cNvPr id="68" name="Freeform 58">
                  <a:extLst>
                    <a:ext uri="{FF2B5EF4-FFF2-40B4-BE49-F238E27FC236}">
                      <a16:creationId xmlns:a16="http://schemas.microsoft.com/office/drawing/2014/main" id="{A68CE523-34A7-FC01-C464-9495F5C05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7538" y="3117851"/>
                  <a:ext cx="19050" cy="42863"/>
                </a:xfrm>
                <a:custGeom>
                  <a:avLst/>
                  <a:gdLst>
                    <a:gd name="T0" fmla="*/ 27 w 32"/>
                    <a:gd name="T1" fmla="*/ 36 h 69"/>
                    <a:gd name="T2" fmla="*/ 16 w 32"/>
                    <a:gd name="T3" fmla="*/ 0 h 69"/>
                    <a:gd name="T4" fmla="*/ 31 w 32"/>
                    <a:gd name="T5" fmla="*/ 9 h 69"/>
                    <a:gd name="T6" fmla="*/ 27 w 32"/>
                    <a:gd name="T7" fmla="*/ 36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2" h="69">
                      <a:moveTo>
                        <a:pt x="27" y="36"/>
                      </a:moveTo>
                      <a:cubicBezTo>
                        <a:pt x="0" y="69"/>
                        <a:pt x="21" y="8"/>
                        <a:pt x="16" y="0"/>
                      </a:cubicBezTo>
                      <a:cubicBezTo>
                        <a:pt x="27" y="1"/>
                        <a:pt x="29" y="0"/>
                        <a:pt x="31" y="9"/>
                      </a:cubicBezTo>
                      <a:cubicBezTo>
                        <a:pt x="32" y="16"/>
                        <a:pt x="28" y="28"/>
                        <a:pt x="27" y="3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9" name="Freeform 59">
                  <a:extLst>
                    <a:ext uri="{FF2B5EF4-FFF2-40B4-BE49-F238E27FC236}">
                      <a16:creationId xmlns:a16="http://schemas.microsoft.com/office/drawing/2014/main" id="{D279EF64-526F-B8D2-9232-B556BC7083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1175" y="3175001"/>
                  <a:ext cx="11113" cy="19050"/>
                </a:xfrm>
                <a:custGeom>
                  <a:avLst/>
                  <a:gdLst>
                    <a:gd name="T0" fmla="*/ 15 w 17"/>
                    <a:gd name="T1" fmla="*/ 8 h 32"/>
                    <a:gd name="T2" fmla="*/ 17 w 17"/>
                    <a:gd name="T3" fmla="*/ 18 h 32"/>
                    <a:gd name="T4" fmla="*/ 15 w 17"/>
                    <a:gd name="T5" fmla="*/ 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7" h="32">
                      <a:moveTo>
                        <a:pt x="15" y="8"/>
                      </a:moveTo>
                      <a:cubicBezTo>
                        <a:pt x="14" y="12"/>
                        <a:pt x="13" y="15"/>
                        <a:pt x="17" y="18"/>
                      </a:cubicBezTo>
                      <a:cubicBezTo>
                        <a:pt x="0" y="32"/>
                        <a:pt x="5" y="0"/>
                        <a:pt x="15" y="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0" name="Freeform 60">
                  <a:extLst>
                    <a:ext uri="{FF2B5EF4-FFF2-40B4-BE49-F238E27FC236}">
                      <a16:creationId xmlns:a16="http://schemas.microsoft.com/office/drawing/2014/main" id="{5EC46045-7FA3-E7C9-1F33-C7F41F381E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62813" y="2863851"/>
                  <a:ext cx="9525" cy="9525"/>
                </a:xfrm>
                <a:custGeom>
                  <a:avLst/>
                  <a:gdLst>
                    <a:gd name="T0" fmla="*/ 12 w 15"/>
                    <a:gd name="T1" fmla="*/ 0 h 16"/>
                    <a:gd name="T2" fmla="*/ 15 w 15"/>
                    <a:gd name="T3" fmla="*/ 3 h 16"/>
                    <a:gd name="T4" fmla="*/ 12 w 15"/>
                    <a:gd name="T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6">
                      <a:moveTo>
                        <a:pt x="12" y="0"/>
                      </a:moveTo>
                      <a:cubicBezTo>
                        <a:pt x="13" y="1"/>
                        <a:pt x="14" y="2"/>
                        <a:pt x="15" y="3"/>
                      </a:cubicBezTo>
                      <a:cubicBezTo>
                        <a:pt x="4" y="16"/>
                        <a:pt x="0" y="3"/>
                        <a:pt x="12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71" name="Freeform 61">
                  <a:extLst>
                    <a:ext uri="{FF2B5EF4-FFF2-40B4-BE49-F238E27FC236}">
                      <a16:creationId xmlns:a16="http://schemas.microsoft.com/office/drawing/2014/main" id="{AB606464-7B6A-572F-B534-685485742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8875" y="1825626"/>
                  <a:ext cx="1200150" cy="1428750"/>
                </a:xfrm>
                <a:custGeom>
                  <a:avLst/>
                  <a:gdLst>
                    <a:gd name="T0" fmla="*/ 1032 w 1962"/>
                    <a:gd name="T1" fmla="*/ 101 h 2333"/>
                    <a:gd name="T2" fmla="*/ 1324 w 1962"/>
                    <a:gd name="T3" fmla="*/ 92 h 2333"/>
                    <a:gd name="T4" fmla="*/ 1505 w 1962"/>
                    <a:gd name="T5" fmla="*/ 51 h 2333"/>
                    <a:gd name="T6" fmla="*/ 1546 w 1962"/>
                    <a:gd name="T7" fmla="*/ 129 h 2333"/>
                    <a:gd name="T8" fmla="*/ 1627 w 1962"/>
                    <a:gd name="T9" fmla="*/ 244 h 2333"/>
                    <a:gd name="T10" fmla="*/ 1693 w 1962"/>
                    <a:gd name="T11" fmla="*/ 380 h 2333"/>
                    <a:gd name="T12" fmla="*/ 1789 w 1962"/>
                    <a:gd name="T13" fmla="*/ 442 h 2333"/>
                    <a:gd name="T14" fmla="*/ 1841 w 1962"/>
                    <a:gd name="T15" fmla="*/ 577 h 2333"/>
                    <a:gd name="T16" fmla="*/ 1935 w 1962"/>
                    <a:gd name="T17" fmla="*/ 652 h 2333"/>
                    <a:gd name="T18" fmla="*/ 1953 w 1962"/>
                    <a:gd name="T19" fmla="*/ 784 h 2333"/>
                    <a:gd name="T20" fmla="*/ 1946 w 1962"/>
                    <a:gd name="T21" fmla="*/ 938 h 2333"/>
                    <a:gd name="T22" fmla="*/ 1928 w 1962"/>
                    <a:gd name="T23" fmla="*/ 1029 h 2333"/>
                    <a:gd name="T24" fmla="*/ 1886 w 1962"/>
                    <a:gd name="T25" fmla="*/ 1016 h 2333"/>
                    <a:gd name="T26" fmla="*/ 1845 w 1962"/>
                    <a:gd name="T27" fmla="*/ 997 h 2333"/>
                    <a:gd name="T28" fmla="*/ 1776 w 1962"/>
                    <a:gd name="T29" fmla="*/ 972 h 2333"/>
                    <a:gd name="T30" fmla="*/ 1739 w 1962"/>
                    <a:gd name="T31" fmla="*/ 812 h 2333"/>
                    <a:gd name="T32" fmla="*/ 1693 w 1962"/>
                    <a:gd name="T33" fmla="*/ 888 h 2333"/>
                    <a:gd name="T34" fmla="*/ 1563 w 1962"/>
                    <a:gd name="T35" fmla="*/ 946 h 2333"/>
                    <a:gd name="T36" fmla="*/ 1472 w 1962"/>
                    <a:gd name="T37" fmla="*/ 1067 h 2333"/>
                    <a:gd name="T38" fmla="*/ 1467 w 1962"/>
                    <a:gd name="T39" fmla="*/ 1261 h 2333"/>
                    <a:gd name="T40" fmla="*/ 1478 w 1962"/>
                    <a:gd name="T41" fmla="*/ 1461 h 2333"/>
                    <a:gd name="T42" fmla="*/ 1449 w 1962"/>
                    <a:gd name="T43" fmla="*/ 1631 h 2333"/>
                    <a:gd name="T44" fmla="*/ 1511 w 1962"/>
                    <a:gd name="T45" fmla="*/ 1781 h 2333"/>
                    <a:gd name="T46" fmla="*/ 1587 w 1962"/>
                    <a:gd name="T47" fmla="*/ 1726 h 2333"/>
                    <a:gd name="T48" fmla="*/ 1654 w 1962"/>
                    <a:gd name="T49" fmla="*/ 1775 h 2333"/>
                    <a:gd name="T50" fmla="*/ 1523 w 1962"/>
                    <a:gd name="T51" fmla="*/ 1871 h 2333"/>
                    <a:gd name="T52" fmla="*/ 1480 w 1962"/>
                    <a:gd name="T53" fmla="*/ 1932 h 2333"/>
                    <a:gd name="T54" fmla="*/ 1392 w 1962"/>
                    <a:gd name="T55" fmla="*/ 2062 h 2333"/>
                    <a:gd name="T56" fmla="*/ 1276 w 1962"/>
                    <a:gd name="T57" fmla="*/ 2071 h 2333"/>
                    <a:gd name="T58" fmla="*/ 1328 w 1962"/>
                    <a:gd name="T59" fmla="*/ 1984 h 2333"/>
                    <a:gd name="T60" fmla="*/ 1210 w 1962"/>
                    <a:gd name="T61" fmla="*/ 1968 h 2333"/>
                    <a:gd name="T62" fmla="*/ 1123 w 1962"/>
                    <a:gd name="T63" fmla="*/ 2030 h 2333"/>
                    <a:gd name="T64" fmla="*/ 967 w 1962"/>
                    <a:gd name="T65" fmla="*/ 2112 h 2333"/>
                    <a:gd name="T66" fmla="*/ 972 w 1962"/>
                    <a:gd name="T67" fmla="*/ 2185 h 2333"/>
                    <a:gd name="T68" fmla="*/ 953 w 1962"/>
                    <a:gd name="T69" fmla="*/ 2246 h 2333"/>
                    <a:gd name="T70" fmla="*/ 772 w 1962"/>
                    <a:gd name="T71" fmla="*/ 2317 h 2333"/>
                    <a:gd name="T72" fmla="*/ 718 w 1962"/>
                    <a:gd name="T73" fmla="*/ 2203 h 2333"/>
                    <a:gd name="T74" fmla="*/ 621 w 1962"/>
                    <a:gd name="T75" fmla="*/ 2189 h 2333"/>
                    <a:gd name="T76" fmla="*/ 482 w 1962"/>
                    <a:gd name="T77" fmla="*/ 2185 h 2333"/>
                    <a:gd name="T78" fmla="*/ 528 w 1962"/>
                    <a:gd name="T79" fmla="*/ 2055 h 2333"/>
                    <a:gd name="T80" fmla="*/ 502 w 1962"/>
                    <a:gd name="T81" fmla="*/ 1950 h 2333"/>
                    <a:gd name="T82" fmla="*/ 386 w 1962"/>
                    <a:gd name="T83" fmla="*/ 1835 h 2333"/>
                    <a:gd name="T84" fmla="*/ 268 w 1962"/>
                    <a:gd name="T85" fmla="*/ 1803 h 2333"/>
                    <a:gd name="T86" fmla="*/ 168 w 1962"/>
                    <a:gd name="T87" fmla="*/ 1831 h 2333"/>
                    <a:gd name="T88" fmla="*/ 147 w 1962"/>
                    <a:gd name="T89" fmla="*/ 1740 h 2333"/>
                    <a:gd name="T90" fmla="*/ 82 w 1962"/>
                    <a:gd name="T91" fmla="*/ 1608 h 2333"/>
                    <a:gd name="T92" fmla="*/ 41 w 1962"/>
                    <a:gd name="T93" fmla="*/ 1347 h 2333"/>
                    <a:gd name="T94" fmla="*/ 134 w 1962"/>
                    <a:gd name="T95" fmla="*/ 1232 h 2333"/>
                    <a:gd name="T96" fmla="*/ 220 w 1962"/>
                    <a:gd name="T97" fmla="*/ 1232 h 2333"/>
                    <a:gd name="T98" fmla="*/ 201 w 1962"/>
                    <a:gd name="T99" fmla="*/ 1090 h 2333"/>
                    <a:gd name="T100" fmla="*/ 427 w 1962"/>
                    <a:gd name="T101" fmla="*/ 1026 h 2333"/>
                    <a:gd name="T102" fmla="*/ 524 w 1962"/>
                    <a:gd name="T103" fmla="*/ 853 h 2333"/>
                    <a:gd name="T104" fmla="*/ 474 w 1962"/>
                    <a:gd name="T105" fmla="*/ 677 h 2333"/>
                    <a:gd name="T106" fmla="*/ 471 w 1962"/>
                    <a:gd name="T107" fmla="*/ 500 h 2333"/>
                    <a:gd name="T108" fmla="*/ 470 w 1962"/>
                    <a:gd name="T109" fmla="*/ 322 h 2333"/>
                    <a:gd name="T110" fmla="*/ 598 w 1962"/>
                    <a:gd name="T111" fmla="*/ 251 h 2333"/>
                    <a:gd name="T112" fmla="*/ 766 w 1962"/>
                    <a:gd name="T113" fmla="*/ 195 h 2333"/>
                    <a:gd name="T114" fmla="*/ 801 w 1962"/>
                    <a:gd name="T115" fmla="*/ 58 h 2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962" h="2333">
                      <a:moveTo>
                        <a:pt x="793" y="24"/>
                      </a:moveTo>
                      <a:cubicBezTo>
                        <a:pt x="805" y="12"/>
                        <a:pt x="823" y="25"/>
                        <a:pt x="839" y="18"/>
                      </a:cubicBezTo>
                      <a:cubicBezTo>
                        <a:pt x="852" y="13"/>
                        <a:pt x="862" y="0"/>
                        <a:pt x="876" y="9"/>
                      </a:cubicBezTo>
                      <a:cubicBezTo>
                        <a:pt x="892" y="20"/>
                        <a:pt x="889" y="52"/>
                        <a:pt x="898" y="69"/>
                      </a:cubicBezTo>
                      <a:cubicBezTo>
                        <a:pt x="902" y="79"/>
                        <a:pt x="904" y="88"/>
                        <a:pt x="910" y="97"/>
                      </a:cubicBezTo>
                      <a:cubicBezTo>
                        <a:pt x="912" y="100"/>
                        <a:pt x="917" y="102"/>
                        <a:pt x="919" y="106"/>
                      </a:cubicBezTo>
                      <a:cubicBezTo>
                        <a:pt x="922" y="110"/>
                        <a:pt x="919" y="114"/>
                        <a:pt x="924" y="118"/>
                      </a:cubicBezTo>
                      <a:cubicBezTo>
                        <a:pt x="934" y="127"/>
                        <a:pt x="960" y="118"/>
                        <a:pt x="971" y="114"/>
                      </a:cubicBezTo>
                      <a:cubicBezTo>
                        <a:pt x="991" y="107"/>
                        <a:pt x="1010" y="103"/>
                        <a:pt x="1032" y="101"/>
                      </a:cubicBezTo>
                      <a:cubicBezTo>
                        <a:pt x="1051" y="99"/>
                        <a:pt x="1059" y="87"/>
                        <a:pt x="1079" y="91"/>
                      </a:cubicBezTo>
                      <a:cubicBezTo>
                        <a:pt x="1091" y="94"/>
                        <a:pt x="1089" y="100"/>
                        <a:pt x="1099" y="107"/>
                      </a:cubicBezTo>
                      <a:cubicBezTo>
                        <a:pt x="1109" y="114"/>
                        <a:pt x="1133" y="113"/>
                        <a:pt x="1145" y="117"/>
                      </a:cubicBezTo>
                      <a:cubicBezTo>
                        <a:pt x="1153" y="119"/>
                        <a:pt x="1161" y="124"/>
                        <a:pt x="1169" y="123"/>
                      </a:cubicBezTo>
                      <a:cubicBezTo>
                        <a:pt x="1189" y="120"/>
                        <a:pt x="1199" y="91"/>
                        <a:pt x="1217" y="82"/>
                      </a:cubicBezTo>
                      <a:cubicBezTo>
                        <a:pt x="1225" y="78"/>
                        <a:pt x="1234" y="71"/>
                        <a:pt x="1244" y="72"/>
                      </a:cubicBezTo>
                      <a:cubicBezTo>
                        <a:pt x="1248" y="73"/>
                        <a:pt x="1250" y="76"/>
                        <a:pt x="1254" y="77"/>
                      </a:cubicBezTo>
                      <a:cubicBezTo>
                        <a:pt x="1269" y="79"/>
                        <a:pt x="1285" y="67"/>
                        <a:pt x="1300" y="75"/>
                      </a:cubicBezTo>
                      <a:cubicBezTo>
                        <a:pt x="1309" y="80"/>
                        <a:pt x="1313" y="88"/>
                        <a:pt x="1324" y="92"/>
                      </a:cubicBezTo>
                      <a:cubicBezTo>
                        <a:pt x="1343" y="99"/>
                        <a:pt x="1351" y="86"/>
                        <a:pt x="1372" y="80"/>
                      </a:cubicBezTo>
                      <a:cubicBezTo>
                        <a:pt x="1378" y="78"/>
                        <a:pt x="1386" y="78"/>
                        <a:pt x="1391" y="75"/>
                      </a:cubicBezTo>
                      <a:cubicBezTo>
                        <a:pt x="1401" y="70"/>
                        <a:pt x="1402" y="56"/>
                        <a:pt x="1415" y="55"/>
                      </a:cubicBezTo>
                      <a:cubicBezTo>
                        <a:pt x="1431" y="53"/>
                        <a:pt x="1433" y="64"/>
                        <a:pt x="1450" y="52"/>
                      </a:cubicBezTo>
                      <a:cubicBezTo>
                        <a:pt x="1473" y="37"/>
                        <a:pt x="1470" y="28"/>
                        <a:pt x="1454" y="7"/>
                      </a:cubicBezTo>
                      <a:cubicBezTo>
                        <a:pt x="1465" y="9"/>
                        <a:pt x="1473" y="5"/>
                        <a:pt x="1479" y="16"/>
                      </a:cubicBezTo>
                      <a:cubicBezTo>
                        <a:pt x="1481" y="21"/>
                        <a:pt x="1478" y="28"/>
                        <a:pt x="1480" y="31"/>
                      </a:cubicBezTo>
                      <a:cubicBezTo>
                        <a:pt x="1483" y="35"/>
                        <a:pt x="1490" y="39"/>
                        <a:pt x="1493" y="41"/>
                      </a:cubicBezTo>
                      <a:cubicBezTo>
                        <a:pt x="1499" y="46"/>
                        <a:pt x="1495" y="48"/>
                        <a:pt x="1505" y="51"/>
                      </a:cubicBezTo>
                      <a:cubicBezTo>
                        <a:pt x="1513" y="52"/>
                        <a:pt x="1516" y="47"/>
                        <a:pt x="1523" y="47"/>
                      </a:cubicBezTo>
                      <a:cubicBezTo>
                        <a:pt x="1527" y="47"/>
                        <a:pt x="1531" y="50"/>
                        <a:pt x="1534" y="52"/>
                      </a:cubicBezTo>
                      <a:cubicBezTo>
                        <a:pt x="1534" y="52"/>
                        <a:pt x="1550" y="60"/>
                        <a:pt x="1548" y="56"/>
                      </a:cubicBezTo>
                      <a:cubicBezTo>
                        <a:pt x="1553" y="63"/>
                        <a:pt x="1547" y="60"/>
                        <a:pt x="1547" y="68"/>
                      </a:cubicBezTo>
                      <a:cubicBezTo>
                        <a:pt x="1547" y="72"/>
                        <a:pt x="1549" y="77"/>
                        <a:pt x="1549" y="81"/>
                      </a:cubicBezTo>
                      <a:cubicBezTo>
                        <a:pt x="1549" y="83"/>
                        <a:pt x="1545" y="84"/>
                        <a:pt x="1545" y="88"/>
                      </a:cubicBezTo>
                      <a:cubicBezTo>
                        <a:pt x="1546" y="90"/>
                        <a:pt x="1548" y="93"/>
                        <a:pt x="1549" y="96"/>
                      </a:cubicBezTo>
                      <a:cubicBezTo>
                        <a:pt x="1551" y="102"/>
                        <a:pt x="1555" y="106"/>
                        <a:pt x="1558" y="111"/>
                      </a:cubicBezTo>
                      <a:cubicBezTo>
                        <a:pt x="1563" y="126"/>
                        <a:pt x="1557" y="120"/>
                        <a:pt x="1546" y="129"/>
                      </a:cubicBezTo>
                      <a:cubicBezTo>
                        <a:pt x="1538" y="135"/>
                        <a:pt x="1534" y="144"/>
                        <a:pt x="1537" y="153"/>
                      </a:cubicBezTo>
                      <a:cubicBezTo>
                        <a:pt x="1540" y="163"/>
                        <a:pt x="1544" y="160"/>
                        <a:pt x="1552" y="166"/>
                      </a:cubicBezTo>
                      <a:cubicBezTo>
                        <a:pt x="1555" y="169"/>
                        <a:pt x="1558" y="175"/>
                        <a:pt x="1562" y="177"/>
                      </a:cubicBezTo>
                      <a:cubicBezTo>
                        <a:pt x="1566" y="179"/>
                        <a:pt x="1567" y="174"/>
                        <a:pt x="1572" y="175"/>
                      </a:cubicBezTo>
                      <a:cubicBezTo>
                        <a:pt x="1587" y="180"/>
                        <a:pt x="1580" y="199"/>
                        <a:pt x="1593" y="201"/>
                      </a:cubicBezTo>
                      <a:cubicBezTo>
                        <a:pt x="1585" y="204"/>
                        <a:pt x="1585" y="220"/>
                        <a:pt x="1591" y="228"/>
                      </a:cubicBezTo>
                      <a:cubicBezTo>
                        <a:pt x="1594" y="232"/>
                        <a:pt x="1602" y="238"/>
                        <a:pt x="1607" y="239"/>
                      </a:cubicBezTo>
                      <a:cubicBezTo>
                        <a:pt x="1610" y="240"/>
                        <a:pt x="1614" y="235"/>
                        <a:pt x="1617" y="236"/>
                      </a:cubicBezTo>
                      <a:cubicBezTo>
                        <a:pt x="1621" y="237"/>
                        <a:pt x="1623" y="243"/>
                        <a:pt x="1627" y="244"/>
                      </a:cubicBezTo>
                      <a:cubicBezTo>
                        <a:pt x="1633" y="246"/>
                        <a:pt x="1640" y="241"/>
                        <a:pt x="1646" y="244"/>
                      </a:cubicBezTo>
                      <a:cubicBezTo>
                        <a:pt x="1649" y="245"/>
                        <a:pt x="1660" y="262"/>
                        <a:pt x="1662" y="265"/>
                      </a:cubicBezTo>
                      <a:cubicBezTo>
                        <a:pt x="1671" y="278"/>
                        <a:pt x="1672" y="289"/>
                        <a:pt x="1667" y="301"/>
                      </a:cubicBezTo>
                      <a:cubicBezTo>
                        <a:pt x="1661" y="318"/>
                        <a:pt x="1667" y="316"/>
                        <a:pt x="1681" y="324"/>
                      </a:cubicBezTo>
                      <a:cubicBezTo>
                        <a:pt x="1684" y="325"/>
                        <a:pt x="1683" y="328"/>
                        <a:pt x="1686" y="330"/>
                      </a:cubicBezTo>
                      <a:cubicBezTo>
                        <a:pt x="1689" y="331"/>
                        <a:pt x="1695" y="329"/>
                        <a:pt x="1698" y="331"/>
                      </a:cubicBezTo>
                      <a:cubicBezTo>
                        <a:pt x="1700" y="334"/>
                        <a:pt x="1706" y="347"/>
                        <a:pt x="1705" y="350"/>
                      </a:cubicBezTo>
                      <a:cubicBezTo>
                        <a:pt x="1703" y="359"/>
                        <a:pt x="1695" y="356"/>
                        <a:pt x="1695" y="367"/>
                      </a:cubicBezTo>
                      <a:cubicBezTo>
                        <a:pt x="1695" y="376"/>
                        <a:pt x="1703" y="367"/>
                        <a:pt x="1693" y="380"/>
                      </a:cubicBezTo>
                      <a:cubicBezTo>
                        <a:pt x="1692" y="382"/>
                        <a:pt x="1693" y="385"/>
                        <a:pt x="1692" y="388"/>
                      </a:cubicBezTo>
                      <a:cubicBezTo>
                        <a:pt x="1691" y="390"/>
                        <a:pt x="1686" y="386"/>
                        <a:pt x="1684" y="391"/>
                      </a:cubicBezTo>
                      <a:cubicBezTo>
                        <a:pt x="1682" y="397"/>
                        <a:pt x="1687" y="405"/>
                        <a:pt x="1689" y="410"/>
                      </a:cubicBezTo>
                      <a:cubicBezTo>
                        <a:pt x="1691" y="414"/>
                        <a:pt x="1697" y="419"/>
                        <a:pt x="1699" y="424"/>
                      </a:cubicBezTo>
                      <a:cubicBezTo>
                        <a:pt x="1704" y="432"/>
                        <a:pt x="1707" y="438"/>
                        <a:pt x="1716" y="438"/>
                      </a:cubicBezTo>
                      <a:cubicBezTo>
                        <a:pt x="1726" y="439"/>
                        <a:pt x="1738" y="430"/>
                        <a:pt x="1748" y="431"/>
                      </a:cubicBezTo>
                      <a:cubicBezTo>
                        <a:pt x="1759" y="433"/>
                        <a:pt x="1759" y="439"/>
                        <a:pt x="1767" y="443"/>
                      </a:cubicBezTo>
                      <a:cubicBezTo>
                        <a:pt x="1770" y="445"/>
                        <a:pt x="1779" y="449"/>
                        <a:pt x="1783" y="448"/>
                      </a:cubicBezTo>
                      <a:cubicBezTo>
                        <a:pt x="1786" y="447"/>
                        <a:pt x="1787" y="443"/>
                        <a:pt x="1789" y="442"/>
                      </a:cubicBezTo>
                      <a:cubicBezTo>
                        <a:pt x="1796" y="440"/>
                        <a:pt x="1793" y="430"/>
                        <a:pt x="1802" y="445"/>
                      </a:cubicBezTo>
                      <a:cubicBezTo>
                        <a:pt x="1806" y="452"/>
                        <a:pt x="1802" y="463"/>
                        <a:pt x="1806" y="470"/>
                      </a:cubicBezTo>
                      <a:cubicBezTo>
                        <a:pt x="1812" y="478"/>
                        <a:pt x="1821" y="475"/>
                        <a:pt x="1828" y="481"/>
                      </a:cubicBezTo>
                      <a:cubicBezTo>
                        <a:pt x="1837" y="488"/>
                        <a:pt x="1846" y="503"/>
                        <a:pt x="1853" y="511"/>
                      </a:cubicBezTo>
                      <a:cubicBezTo>
                        <a:pt x="1861" y="522"/>
                        <a:pt x="1866" y="527"/>
                        <a:pt x="1859" y="539"/>
                      </a:cubicBezTo>
                      <a:cubicBezTo>
                        <a:pt x="1859" y="539"/>
                        <a:pt x="1853" y="537"/>
                        <a:pt x="1851" y="539"/>
                      </a:cubicBezTo>
                      <a:cubicBezTo>
                        <a:pt x="1849" y="542"/>
                        <a:pt x="1855" y="544"/>
                        <a:pt x="1854" y="546"/>
                      </a:cubicBezTo>
                      <a:cubicBezTo>
                        <a:pt x="1848" y="553"/>
                        <a:pt x="1842" y="552"/>
                        <a:pt x="1840" y="564"/>
                      </a:cubicBezTo>
                      <a:cubicBezTo>
                        <a:pt x="1839" y="568"/>
                        <a:pt x="1842" y="572"/>
                        <a:pt x="1841" y="577"/>
                      </a:cubicBezTo>
                      <a:cubicBezTo>
                        <a:pt x="1840" y="580"/>
                        <a:pt x="1835" y="577"/>
                        <a:pt x="1833" y="580"/>
                      </a:cubicBezTo>
                      <a:cubicBezTo>
                        <a:pt x="1828" y="591"/>
                        <a:pt x="1829" y="592"/>
                        <a:pt x="1838" y="595"/>
                      </a:cubicBezTo>
                      <a:cubicBezTo>
                        <a:pt x="1861" y="602"/>
                        <a:pt x="1871" y="567"/>
                        <a:pt x="1890" y="590"/>
                      </a:cubicBezTo>
                      <a:cubicBezTo>
                        <a:pt x="1892" y="593"/>
                        <a:pt x="1899" y="601"/>
                        <a:pt x="1899" y="605"/>
                      </a:cubicBezTo>
                      <a:cubicBezTo>
                        <a:pt x="1899" y="615"/>
                        <a:pt x="1884" y="616"/>
                        <a:pt x="1886" y="625"/>
                      </a:cubicBezTo>
                      <a:cubicBezTo>
                        <a:pt x="1889" y="638"/>
                        <a:pt x="1917" y="635"/>
                        <a:pt x="1924" y="641"/>
                      </a:cubicBezTo>
                      <a:cubicBezTo>
                        <a:pt x="1926" y="643"/>
                        <a:pt x="1925" y="647"/>
                        <a:pt x="1927" y="649"/>
                      </a:cubicBezTo>
                      <a:cubicBezTo>
                        <a:pt x="1927" y="649"/>
                        <a:pt x="1927" y="653"/>
                        <a:pt x="1928" y="654"/>
                      </a:cubicBezTo>
                      <a:cubicBezTo>
                        <a:pt x="1929" y="655"/>
                        <a:pt x="1933" y="650"/>
                        <a:pt x="1935" y="652"/>
                      </a:cubicBezTo>
                      <a:cubicBezTo>
                        <a:pt x="1942" y="659"/>
                        <a:pt x="1945" y="664"/>
                        <a:pt x="1955" y="668"/>
                      </a:cubicBezTo>
                      <a:cubicBezTo>
                        <a:pt x="1931" y="673"/>
                        <a:pt x="1959" y="686"/>
                        <a:pt x="1943" y="694"/>
                      </a:cubicBezTo>
                      <a:cubicBezTo>
                        <a:pt x="1945" y="694"/>
                        <a:pt x="1948" y="696"/>
                        <a:pt x="1951" y="696"/>
                      </a:cubicBezTo>
                      <a:cubicBezTo>
                        <a:pt x="1950" y="704"/>
                        <a:pt x="1948" y="710"/>
                        <a:pt x="1948" y="715"/>
                      </a:cubicBezTo>
                      <a:cubicBezTo>
                        <a:pt x="1949" y="720"/>
                        <a:pt x="1959" y="723"/>
                        <a:pt x="1950" y="730"/>
                      </a:cubicBezTo>
                      <a:cubicBezTo>
                        <a:pt x="1952" y="738"/>
                        <a:pt x="1960" y="745"/>
                        <a:pt x="1952" y="750"/>
                      </a:cubicBezTo>
                      <a:cubicBezTo>
                        <a:pt x="1957" y="752"/>
                        <a:pt x="1961" y="764"/>
                        <a:pt x="1957" y="768"/>
                      </a:cubicBezTo>
                      <a:cubicBezTo>
                        <a:pt x="1952" y="773"/>
                        <a:pt x="1944" y="765"/>
                        <a:pt x="1939" y="764"/>
                      </a:cubicBezTo>
                      <a:cubicBezTo>
                        <a:pt x="1943" y="772"/>
                        <a:pt x="1960" y="776"/>
                        <a:pt x="1953" y="784"/>
                      </a:cubicBezTo>
                      <a:cubicBezTo>
                        <a:pt x="1951" y="786"/>
                        <a:pt x="1944" y="776"/>
                        <a:pt x="1942" y="783"/>
                      </a:cubicBezTo>
                      <a:cubicBezTo>
                        <a:pt x="1942" y="784"/>
                        <a:pt x="1949" y="790"/>
                        <a:pt x="1949" y="792"/>
                      </a:cubicBezTo>
                      <a:cubicBezTo>
                        <a:pt x="1952" y="801"/>
                        <a:pt x="1942" y="812"/>
                        <a:pt x="1944" y="822"/>
                      </a:cubicBezTo>
                      <a:cubicBezTo>
                        <a:pt x="1945" y="827"/>
                        <a:pt x="1952" y="832"/>
                        <a:pt x="1953" y="839"/>
                      </a:cubicBezTo>
                      <a:cubicBezTo>
                        <a:pt x="1936" y="838"/>
                        <a:pt x="1947" y="849"/>
                        <a:pt x="1944" y="858"/>
                      </a:cubicBezTo>
                      <a:cubicBezTo>
                        <a:pt x="1958" y="855"/>
                        <a:pt x="1949" y="881"/>
                        <a:pt x="1948" y="889"/>
                      </a:cubicBezTo>
                      <a:cubicBezTo>
                        <a:pt x="1948" y="895"/>
                        <a:pt x="1945" y="892"/>
                        <a:pt x="1946" y="897"/>
                      </a:cubicBezTo>
                      <a:cubicBezTo>
                        <a:pt x="1946" y="903"/>
                        <a:pt x="1950" y="907"/>
                        <a:pt x="1950" y="915"/>
                      </a:cubicBezTo>
                      <a:cubicBezTo>
                        <a:pt x="1950" y="922"/>
                        <a:pt x="1947" y="931"/>
                        <a:pt x="1946" y="938"/>
                      </a:cubicBezTo>
                      <a:cubicBezTo>
                        <a:pt x="1944" y="948"/>
                        <a:pt x="1945" y="947"/>
                        <a:pt x="1946" y="955"/>
                      </a:cubicBezTo>
                      <a:cubicBezTo>
                        <a:pt x="1947" y="964"/>
                        <a:pt x="1951" y="970"/>
                        <a:pt x="1955" y="979"/>
                      </a:cubicBezTo>
                      <a:cubicBezTo>
                        <a:pt x="1957" y="984"/>
                        <a:pt x="1957" y="991"/>
                        <a:pt x="1962" y="995"/>
                      </a:cubicBezTo>
                      <a:cubicBezTo>
                        <a:pt x="1955" y="998"/>
                        <a:pt x="1948" y="992"/>
                        <a:pt x="1944" y="998"/>
                      </a:cubicBezTo>
                      <a:cubicBezTo>
                        <a:pt x="1942" y="1001"/>
                        <a:pt x="1949" y="1007"/>
                        <a:pt x="1948" y="1009"/>
                      </a:cubicBezTo>
                      <a:cubicBezTo>
                        <a:pt x="1946" y="1011"/>
                        <a:pt x="1943" y="1010"/>
                        <a:pt x="1942" y="1011"/>
                      </a:cubicBezTo>
                      <a:cubicBezTo>
                        <a:pt x="1941" y="1013"/>
                        <a:pt x="1939" y="1007"/>
                        <a:pt x="1937" y="1009"/>
                      </a:cubicBezTo>
                      <a:cubicBezTo>
                        <a:pt x="1934" y="1012"/>
                        <a:pt x="1938" y="1014"/>
                        <a:pt x="1936" y="1016"/>
                      </a:cubicBezTo>
                      <a:cubicBezTo>
                        <a:pt x="1933" y="1021"/>
                        <a:pt x="1938" y="1027"/>
                        <a:pt x="1928" y="1029"/>
                      </a:cubicBezTo>
                      <a:cubicBezTo>
                        <a:pt x="1927" y="1024"/>
                        <a:pt x="1924" y="1021"/>
                        <a:pt x="1923" y="1018"/>
                      </a:cubicBezTo>
                      <a:cubicBezTo>
                        <a:pt x="1920" y="1026"/>
                        <a:pt x="1925" y="1027"/>
                        <a:pt x="1927" y="1033"/>
                      </a:cubicBezTo>
                      <a:cubicBezTo>
                        <a:pt x="1930" y="1042"/>
                        <a:pt x="1929" y="1045"/>
                        <a:pt x="1929" y="1053"/>
                      </a:cubicBezTo>
                      <a:cubicBezTo>
                        <a:pt x="1929" y="1058"/>
                        <a:pt x="1935" y="1066"/>
                        <a:pt x="1930" y="1071"/>
                      </a:cubicBezTo>
                      <a:cubicBezTo>
                        <a:pt x="1923" y="1077"/>
                        <a:pt x="1915" y="1070"/>
                        <a:pt x="1914" y="1061"/>
                      </a:cubicBezTo>
                      <a:cubicBezTo>
                        <a:pt x="1913" y="1057"/>
                        <a:pt x="1918" y="1056"/>
                        <a:pt x="1917" y="1053"/>
                      </a:cubicBezTo>
                      <a:cubicBezTo>
                        <a:pt x="1917" y="1052"/>
                        <a:pt x="1910" y="1043"/>
                        <a:pt x="1910" y="1043"/>
                      </a:cubicBezTo>
                      <a:cubicBezTo>
                        <a:pt x="1904" y="1034"/>
                        <a:pt x="1902" y="1025"/>
                        <a:pt x="1885" y="1024"/>
                      </a:cubicBezTo>
                      <a:cubicBezTo>
                        <a:pt x="1885" y="1023"/>
                        <a:pt x="1885" y="1018"/>
                        <a:pt x="1886" y="1016"/>
                      </a:cubicBezTo>
                      <a:cubicBezTo>
                        <a:pt x="1888" y="1017"/>
                        <a:pt x="1891" y="1017"/>
                        <a:pt x="1893" y="1018"/>
                      </a:cubicBezTo>
                      <a:cubicBezTo>
                        <a:pt x="1887" y="1013"/>
                        <a:pt x="1883" y="1009"/>
                        <a:pt x="1882" y="1002"/>
                      </a:cubicBezTo>
                      <a:cubicBezTo>
                        <a:pt x="1882" y="998"/>
                        <a:pt x="1887" y="996"/>
                        <a:pt x="1887" y="993"/>
                      </a:cubicBezTo>
                      <a:cubicBezTo>
                        <a:pt x="1887" y="990"/>
                        <a:pt x="1882" y="982"/>
                        <a:pt x="1880" y="979"/>
                      </a:cubicBezTo>
                      <a:cubicBezTo>
                        <a:pt x="1879" y="976"/>
                        <a:pt x="1878" y="972"/>
                        <a:pt x="1877" y="970"/>
                      </a:cubicBezTo>
                      <a:cubicBezTo>
                        <a:pt x="1876" y="967"/>
                        <a:pt x="1874" y="964"/>
                        <a:pt x="1874" y="960"/>
                      </a:cubicBezTo>
                      <a:cubicBezTo>
                        <a:pt x="1865" y="964"/>
                        <a:pt x="1867" y="969"/>
                        <a:pt x="1862" y="975"/>
                      </a:cubicBezTo>
                      <a:cubicBezTo>
                        <a:pt x="1858" y="979"/>
                        <a:pt x="1853" y="978"/>
                        <a:pt x="1850" y="983"/>
                      </a:cubicBezTo>
                      <a:cubicBezTo>
                        <a:pt x="1847" y="986"/>
                        <a:pt x="1846" y="993"/>
                        <a:pt x="1845" y="997"/>
                      </a:cubicBezTo>
                      <a:cubicBezTo>
                        <a:pt x="1843" y="1007"/>
                        <a:pt x="1845" y="1019"/>
                        <a:pt x="1838" y="1024"/>
                      </a:cubicBezTo>
                      <a:cubicBezTo>
                        <a:pt x="1849" y="1029"/>
                        <a:pt x="1837" y="1029"/>
                        <a:pt x="1831" y="1033"/>
                      </a:cubicBezTo>
                      <a:cubicBezTo>
                        <a:pt x="1833" y="1028"/>
                        <a:pt x="1830" y="1027"/>
                        <a:pt x="1829" y="1022"/>
                      </a:cubicBezTo>
                      <a:cubicBezTo>
                        <a:pt x="1828" y="1019"/>
                        <a:pt x="1827" y="1014"/>
                        <a:pt x="1827" y="1009"/>
                      </a:cubicBezTo>
                      <a:cubicBezTo>
                        <a:pt x="1826" y="999"/>
                        <a:pt x="1823" y="987"/>
                        <a:pt x="1818" y="980"/>
                      </a:cubicBezTo>
                      <a:cubicBezTo>
                        <a:pt x="1813" y="972"/>
                        <a:pt x="1801" y="971"/>
                        <a:pt x="1794" y="966"/>
                      </a:cubicBezTo>
                      <a:cubicBezTo>
                        <a:pt x="1791" y="964"/>
                        <a:pt x="1799" y="958"/>
                        <a:pt x="1788" y="958"/>
                      </a:cubicBezTo>
                      <a:cubicBezTo>
                        <a:pt x="1782" y="958"/>
                        <a:pt x="1780" y="964"/>
                        <a:pt x="1782" y="970"/>
                      </a:cubicBezTo>
                      <a:cubicBezTo>
                        <a:pt x="1781" y="970"/>
                        <a:pt x="1777" y="972"/>
                        <a:pt x="1776" y="972"/>
                      </a:cubicBezTo>
                      <a:cubicBezTo>
                        <a:pt x="1767" y="950"/>
                        <a:pt x="1792" y="956"/>
                        <a:pt x="1789" y="944"/>
                      </a:cubicBezTo>
                      <a:cubicBezTo>
                        <a:pt x="1776" y="954"/>
                        <a:pt x="1779" y="942"/>
                        <a:pt x="1777" y="936"/>
                      </a:cubicBezTo>
                      <a:cubicBezTo>
                        <a:pt x="1775" y="929"/>
                        <a:pt x="1766" y="927"/>
                        <a:pt x="1778" y="922"/>
                      </a:cubicBezTo>
                      <a:cubicBezTo>
                        <a:pt x="1774" y="917"/>
                        <a:pt x="1774" y="896"/>
                        <a:pt x="1764" y="909"/>
                      </a:cubicBezTo>
                      <a:cubicBezTo>
                        <a:pt x="1764" y="905"/>
                        <a:pt x="1764" y="902"/>
                        <a:pt x="1765" y="897"/>
                      </a:cubicBezTo>
                      <a:cubicBezTo>
                        <a:pt x="1766" y="892"/>
                        <a:pt x="1769" y="890"/>
                        <a:pt x="1770" y="884"/>
                      </a:cubicBezTo>
                      <a:cubicBezTo>
                        <a:pt x="1771" y="875"/>
                        <a:pt x="1763" y="858"/>
                        <a:pt x="1755" y="856"/>
                      </a:cubicBezTo>
                      <a:cubicBezTo>
                        <a:pt x="1760" y="848"/>
                        <a:pt x="1752" y="838"/>
                        <a:pt x="1744" y="843"/>
                      </a:cubicBezTo>
                      <a:cubicBezTo>
                        <a:pt x="1748" y="830"/>
                        <a:pt x="1746" y="821"/>
                        <a:pt x="1739" y="812"/>
                      </a:cubicBezTo>
                      <a:cubicBezTo>
                        <a:pt x="1737" y="809"/>
                        <a:pt x="1735" y="813"/>
                        <a:pt x="1733" y="811"/>
                      </a:cubicBezTo>
                      <a:cubicBezTo>
                        <a:pt x="1731" y="809"/>
                        <a:pt x="1734" y="805"/>
                        <a:pt x="1731" y="803"/>
                      </a:cubicBezTo>
                      <a:cubicBezTo>
                        <a:pt x="1725" y="796"/>
                        <a:pt x="1713" y="793"/>
                        <a:pt x="1708" y="785"/>
                      </a:cubicBezTo>
                      <a:cubicBezTo>
                        <a:pt x="1703" y="792"/>
                        <a:pt x="1705" y="797"/>
                        <a:pt x="1704" y="804"/>
                      </a:cubicBezTo>
                      <a:cubicBezTo>
                        <a:pt x="1702" y="816"/>
                        <a:pt x="1696" y="823"/>
                        <a:pt x="1699" y="836"/>
                      </a:cubicBezTo>
                      <a:cubicBezTo>
                        <a:pt x="1700" y="844"/>
                        <a:pt x="1715" y="877"/>
                        <a:pt x="1696" y="873"/>
                      </a:cubicBezTo>
                      <a:cubicBezTo>
                        <a:pt x="1699" y="878"/>
                        <a:pt x="1697" y="881"/>
                        <a:pt x="1692" y="883"/>
                      </a:cubicBezTo>
                      <a:cubicBezTo>
                        <a:pt x="1691" y="882"/>
                        <a:pt x="1689" y="881"/>
                        <a:pt x="1687" y="880"/>
                      </a:cubicBezTo>
                      <a:cubicBezTo>
                        <a:pt x="1690" y="882"/>
                        <a:pt x="1691" y="886"/>
                        <a:pt x="1693" y="888"/>
                      </a:cubicBezTo>
                      <a:cubicBezTo>
                        <a:pt x="1688" y="892"/>
                        <a:pt x="1686" y="898"/>
                        <a:pt x="1687" y="905"/>
                      </a:cubicBezTo>
                      <a:cubicBezTo>
                        <a:pt x="1674" y="908"/>
                        <a:pt x="1659" y="883"/>
                        <a:pt x="1658" y="872"/>
                      </a:cubicBezTo>
                      <a:cubicBezTo>
                        <a:pt x="1654" y="877"/>
                        <a:pt x="1654" y="883"/>
                        <a:pt x="1659" y="890"/>
                      </a:cubicBezTo>
                      <a:cubicBezTo>
                        <a:pt x="1651" y="889"/>
                        <a:pt x="1643" y="889"/>
                        <a:pt x="1636" y="887"/>
                      </a:cubicBezTo>
                      <a:cubicBezTo>
                        <a:pt x="1645" y="875"/>
                        <a:pt x="1626" y="874"/>
                        <a:pt x="1620" y="876"/>
                      </a:cubicBezTo>
                      <a:cubicBezTo>
                        <a:pt x="1610" y="878"/>
                        <a:pt x="1599" y="886"/>
                        <a:pt x="1592" y="893"/>
                      </a:cubicBezTo>
                      <a:cubicBezTo>
                        <a:pt x="1589" y="896"/>
                        <a:pt x="1583" y="906"/>
                        <a:pt x="1582" y="910"/>
                      </a:cubicBezTo>
                      <a:cubicBezTo>
                        <a:pt x="1580" y="924"/>
                        <a:pt x="1593" y="921"/>
                        <a:pt x="1584" y="932"/>
                      </a:cubicBezTo>
                      <a:cubicBezTo>
                        <a:pt x="1580" y="938"/>
                        <a:pt x="1568" y="937"/>
                        <a:pt x="1563" y="946"/>
                      </a:cubicBezTo>
                      <a:cubicBezTo>
                        <a:pt x="1562" y="949"/>
                        <a:pt x="1564" y="957"/>
                        <a:pt x="1563" y="959"/>
                      </a:cubicBezTo>
                      <a:cubicBezTo>
                        <a:pt x="1559" y="964"/>
                        <a:pt x="1559" y="958"/>
                        <a:pt x="1553" y="961"/>
                      </a:cubicBezTo>
                      <a:cubicBezTo>
                        <a:pt x="1541" y="965"/>
                        <a:pt x="1537" y="968"/>
                        <a:pt x="1535" y="978"/>
                      </a:cubicBezTo>
                      <a:cubicBezTo>
                        <a:pt x="1533" y="986"/>
                        <a:pt x="1532" y="996"/>
                        <a:pt x="1533" y="1005"/>
                      </a:cubicBezTo>
                      <a:cubicBezTo>
                        <a:pt x="1527" y="1006"/>
                        <a:pt x="1529" y="1008"/>
                        <a:pt x="1522" y="1011"/>
                      </a:cubicBezTo>
                      <a:cubicBezTo>
                        <a:pt x="1516" y="1014"/>
                        <a:pt x="1506" y="1012"/>
                        <a:pt x="1498" y="1017"/>
                      </a:cubicBezTo>
                      <a:cubicBezTo>
                        <a:pt x="1490" y="1022"/>
                        <a:pt x="1474" y="1031"/>
                        <a:pt x="1469" y="1038"/>
                      </a:cubicBezTo>
                      <a:cubicBezTo>
                        <a:pt x="1466" y="1043"/>
                        <a:pt x="1465" y="1048"/>
                        <a:pt x="1466" y="1054"/>
                      </a:cubicBezTo>
                      <a:cubicBezTo>
                        <a:pt x="1466" y="1057"/>
                        <a:pt x="1472" y="1067"/>
                        <a:pt x="1472" y="1067"/>
                      </a:cubicBezTo>
                      <a:cubicBezTo>
                        <a:pt x="1471" y="1072"/>
                        <a:pt x="1464" y="1076"/>
                        <a:pt x="1459" y="1083"/>
                      </a:cubicBezTo>
                      <a:cubicBezTo>
                        <a:pt x="1453" y="1091"/>
                        <a:pt x="1448" y="1099"/>
                        <a:pt x="1448" y="1108"/>
                      </a:cubicBezTo>
                      <a:cubicBezTo>
                        <a:pt x="1449" y="1119"/>
                        <a:pt x="1457" y="1128"/>
                        <a:pt x="1451" y="1140"/>
                      </a:cubicBezTo>
                      <a:cubicBezTo>
                        <a:pt x="1447" y="1148"/>
                        <a:pt x="1436" y="1149"/>
                        <a:pt x="1435" y="1158"/>
                      </a:cubicBezTo>
                      <a:cubicBezTo>
                        <a:pt x="1436" y="1157"/>
                        <a:pt x="1437" y="1157"/>
                        <a:pt x="1438" y="1157"/>
                      </a:cubicBezTo>
                      <a:cubicBezTo>
                        <a:pt x="1437" y="1174"/>
                        <a:pt x="1455" y="1187"/>
                        <a:pt x="1464" y="1198"/>
                      </a:cubicBezTo>
                      <a:cubicBezTo>
                        <a:pt x="1468" y="1204"/>
                        <a:pt x="1469" y="1209"/>
                        <a:pt x="1474" y="1214"/>
                      </a:cubicBezTo>
                      <a:cubicBezTo>
                        <a:pt x="1478" y="1218"/>
                        <a:pt x="1487" y="1220"/>
                        <a:pt x="1485" y="1228"/>
                      </a:cubicBezTo>
                      <a:cubicBezTo>
                        <a:pt x="1472" y="1218"/>
                        <a:pt x="1468" y="1253"/>
                        <a:pt x="1467" y="1261"/>
                      </a:cubicBezTo>
                      <a:cubicBezTo>
                        <a:pt x="1466" y="1278"/>
                        <a:pt x="1458" y="1311"/>
                        <a:pt x="1467" y="1326"/>
                      </a:cubicBezTo>
                      <a:cubicBezTo>
                        <a:pt x="1466" y="1329"/>
                        <a:pt x="1465" y="1327"/>
                        <a:pt x="1466" y="1334"/>
                      </a:cubicBezTo>
                      <a:cubicBezTo>
                        <a:pt x="1460" y="1335"/>
                        <a:pt x="1465" y="1340"/>
                        <a:pt x="1469" y="1345"/>
                      </a:cubicBezTo>
                      <a:cubicBezTo>
                        <a:pt x="1471" y="1348"/>
                        <a:pt x="1473" y="1353"/>
                        <a:pt x="1475" y="1357"/>
                      </a:cubicBezTo>
                      <a:cubicBezTo>
                        <a:pt x="1481" y="1367"/>
                        <a:pt x="1487" y="1375"/>
                        <a:pt x="1495" y="1385"/>
                      </a:cubicBezTo>
                      <a:cubicBezTo>
                        <a:pt x="1480" y="1380"/>
                        <a:pt x="1485" y="1389"/>
                        <a:pt x="1483" y="1399"/>
                      </a:cubicBezTo>
                      <a:cubicBezTo>
                        <a:pt x="1482" y="1407"/>
                        <a:pt x="1481" y="1408"/>
                        <a:pt x="1479" y="1414"/>
                      </a:cubicBezTo>
                      <a:cubicBezTo>
                        <a:pt x="1478" y="1418"/>
                        <a:pt x="1475" y="1423"/>
                        <a:pt x="1475" y="1426"/>
                      </a:cubicBezTo>
                      <a:cubicBezTo>
                        <a:pt x="1472" y="1439"/>
                        <a:pt x="1482" y="1451"/>
                        <a:pt x="1478" y="1461"/>
                      </a:cubicBezTo>
                      <a:cubicBezTo>
                        <a:pt x="1459" y="1456"/>
                        <a:pt x="1467" y="1496"/>
                        <a:pt x="1466" y="1504"/>
                      </a:cubicBezTo>
                      <a:cubicBezTo>
                        <a:pt x="1464" y="1514"/>
                        <a:pt x="1456" y="1522"/>
                        <a:pt x="1454" y="1531"/>
                      </a:cubicBezTo>
                      <a:cubicBezTo>
                        <a:pt x="1453" y="1538"/>
                        <a:pt x="1454" y="1552"/>
                        <a:pt x="1456" y="1560"/>
                      </a:cubicBezTo>
                      <a:cubicBezTo>
                        <a:pt x="1455" y="1557"/>
                        <a:pt x="1453" y="1555"/>
                        <a:pt x="1453" y="1552"/>
                      </a:cubicBezTo>
                      <a:cubicBezTo>
                        <a:pt x="1451" y="1558"/>
                        <a:pt x="1456" y="1562"/>
                        <a:pt x="1457" y="1568"/>
                      </a:cubicBezTo>
                      <a:cubicBezTo>
                        <a:pt x="1458" y="1578"/>
                        <a:pt x="1455" y="1586"/>
                        <a:pt x="1457" y="1596"/>
                      </a:cubicBezTo>
                      <a:cubicBezTo>
                        <a:pt x="1460" y="1616"/>
                        <a:pt x="1463" y="1637"/>
                        <a:pt x="1475" y="1653"/>
                      </a:cubicBezTo>
                      <a:cubicBezTo>
                        <a:pt x="1464" y="1645"/>
                        <a:pt x="1461" y="1629"/>
                        <a:pt x="1459" y="1616"/>
                      </a:cubicBezTo>
                      <a:cubicBezTo>
                        <a:pt x="1455" y="1618"/>
                        <a:pt x="1448" y="1626"/>
                        <a:pt x="1449" y="1631"/>
                      </a:cubicBezTo>
                      <a:cubicBezTo>
                        <a:pt x="1449" y="1642"/>
                        <a:pt x="1459" y="1642"/>
                        <a:pt x="1466" y="1648"/>
                      </a:cubicBezTo>
                      <a:cubicBezTo>
                        <a:pt x="1470" y="1651"/>
                        <a:pt x="1478" y="1658"/>
                        <a:pt x="1480" y="1662"/>
                      </a:cubicBezTo>
                      <a:cubicBezTo>
                        <a:pt x="1485" y="1670"/>
                        <a:pt x="1481" y="1671"/>
                        <a:pt x="1482" y="1681"/>
                      </a:cubicBezTo>
                      <a:cubicBezTo>
                        <a:pt x="1479" y="1677"/>
                        <a:pt x="1478" y="1673"/>
                        <a:pt x="1477" y="1668"/>
                      </a:cubicBezTo>
                      <a:cubicBezTo>
                        <a:pt x="1452" y="1676"/>
                        <a:pt x="1463" y="1696"/>
                        <a:pt x="1474" y="1710"/>
                      </a:cubicBezTo>
                      <a:cubicBezTo>
                        <a:pt x="1487" y="1725"/>
                        <a:pt x="1506" y="1731"/>
                        <a:pt x="1522" y="1741"/>
                      </a:cubicBezTo>
                      <a:cubicBezTo>
                        <a:pt x="1514" y="1740"/>
                        <a:pt x="1495" y="1728"/>
                        <a:pt x="1493" y="1736"/>
                      </a:cubicBezTo>
                      <a:cubicBezTo>
                        <a:pt x="1492" y="1742"/>
                        <a:pt x="1502" y="1752"/>
                        <a:pt x="1503" y="1759"/>
                      </a:cubicBezTo>
                      <a:cubicBezTo>
                        <a:pt x="1504" y="1769"/>
                        <a:pt x="1497" y="1775"/>
                        <a:pt x="1511" y="1781"/>
                      </a:cubicBezTo>
                      <a:cubicBezTo>
                        <a:pt x="1523" y="1786"/>
                        <a:pt x="1538" y="1781"/>
                        <a:pt x="1536" y="1766"/>
                      </a:cubicBezTo>
                      <a:cubicBezTo>
                        <a:pt x="1535" y="1762"/>
                        <a:pt x="1525" y="1752"/>
                        <a:pt x="1531" y="1748"/>
                      </a:cubicBezTo>
                      <a:cubicBezTo>
                        <a:pt x="1536" y="1745"/>
                        <a:pt x="1540" y="1761"/>
                        <a:pt x="1544" y="1764"/>
                      </a:cubicBezTo>
                      <a:cubicBezTo>
                        <a:pt x="1549" y="1769"/>
                        <a:pt x="1570" y="1770"/>
                        <a:pt x="1562" y="1759"/>
                      </a:cubicBezTo>
                      <a:cubicBezTo>
                        <a:pt x="1561" y="1757"/>
                        <a:pt x="1549" y="1758"/>
                        <a:pt x="1546" y="1756"/>
                      </a:cubicBezTo>
                      <a:cubicBezTo>
                        <a:pt x="1540" y="1754"/>
                        <a:pt x="1537" y="1747"/>
                        <a:pt x="1532" y="1743"/>
                      </a:cubicBezTo>
                      <a:cubicBezTo>
                        <a:pt x="1539" y="1741"/>
                        <a:pt x="1546" y="1742"/>
                        <a:pt x="1552" y="1737"/>
                      </a:cubicBezTo>
                      <a:cubicBezTo>
                        <a:pt x="1564" y="1729"/>
                        <a:pt x="1548" y="1727"/>
                        <a:pt x="1569" y="1730"/>
                      </a:cubicBezTo>
                      <a:cubicBezTo>
                        <a:pt x="1579" y="1731"/>
                        <a:pt x="1580" y="1731"/>
                        <a:pt x="1587" y="1726"/>
                      </a:cubicBezTo>
                      <a:cubicBezTo>
                        <a:pt x="1590" y="1724"/>
                        <a:pt x="1591" y="1727"/>
                        <a:pt x="1593" y="1724"/>
                      </a:cubicBezTo>
                      <a:cubicBezTo>
                        <a:pt x="1594" y="1723"/>
                        <a:pt x="1594" y="1717"/>
                        <a:pt x="1593" y="1718"/>
                      </a:cubicBezTo>
                      <a:cubicBezTo>
                        <a:pt x="1596" y="1715"/>
                        <a:pt x="1592" y="1712"/>
                        <a:pt x="1600" y="1712"/>
                      </a:cubicBezTo>
                      <a:cubicBezTo>
                        <a:pt x="1605" y="1712"/>
                        <a:pt x="1610" y="1718"/>
                        <a:pt x="1615" y="1720"/>
                      </a:cubicBezTo>
                      <a:cubicBezTo>
                        <a:pt x="1624" y="1723"/>
                        <a:pt x="1631" y="1719"/>
                        <a:pt x="1638" y="1722"/>
                      </a:cubicBezTo>
                      <a:cubicBezTo>
                        <a:pt x="1645" y="1723"/>
                        <a:pt x="1646" y="1729"/>
                        <a:pt x="1652" y="1732"/>
                      </a:cubicBezTo>
                      <a:cubicBezTo>
                        <a:pt x="1637" y="1737"/>
                        <a:pt x="1666" y="1746"/>
                        <a:pt x="1659" y="1755"/>
                      </a:cubicBezTo>
                      <a:cubicBezTo>
                        <a:pt x="1663" y="1757"/>
                        <a:pt x="1667" y="1760"/>
                        <a:pt x="1671" y="1761"/>
                      </a:cubicBezTo>
                      <a:cubicBezTo>
                        <a:pt x="1664" y="1765"/>
                        <a:pt x="1652" y="1765"/>
                        <a:pt x="1654" y="1775"/>
                      </a:cubicBezTo>
                      <a:cubicBezTo>
                        <a:pt x="1642" y="1775"/>
                        <a:pt x="1615" y="1792"/>
                        <a:pt x="1638" y="1801"/>
                      </a:cubicBezTo>
                      <a:cubicBezTo>
                        <a:pt x="1626" y="1806"/>
                        <a:pt x="1620" y="1807"/>
                        <a:pt x="1607" y="1807"/>
                      </a:cubicBezTo>
                      <a:cubicBezTo>
                        <a:pt x="1600" y="1806"/>
                        <a:pt x="1595" y="1804"/>
                        <a:pt x="1588" y="1811"/>
                      </a:cubicBezTo>
                      <a:cubicBezTo>
                        <a:pt x="1584" y="1815"/>
                        <a:pt x="1586" y="1821"/>
                        <a:pt x="1580" y="1825"/>
                      </a:cubicBezTo>
                      <a:cubicBezTo>
                        <a:pt x="1585" y="1829"/>
                        <a:pt x="1590" y="1835"/>
                        <a:pt x="1595" y="1840"/>
                      </a:cubicBezTo>
                      <a:cubicBezTo>
                        <a:pt x="1588" y="1842"/>
                        <a:pt x="1596" y="1846"/>
                        <a:pt x="1591" y="1851"/>
                      </a:cubicBezTo>
                      <a:cubicBezTo>
                        <a:pt x="1587" y="1855"/>
                        <a:pt x="1582" y="1855"/>
                        <a:pt x="1578" y="1860"/>
                      </a:cubicBezTo>
                      <a:cubicBezTo>
                        <a:pt x="1569" y="1872"/>
                        <a:pt x="1577" y="1878"/>
                        <a:pt x="1559" y="1879"/>
                      </a:cubicBezTo>
                      <a:cubicBezTo>
                        <a:pt x="1546" y="1879"/>
                        <a:pt x="1536" y="1872"/>
                        <a:pt x="1523" y="1871"/>
                      </a:cubicBezTo>
                      <a:cubicBezTo>
                        <a:pt x="1514" y="1871"/>
                        <a:pt x="1517" y="1879"/>
                        <a:pt x="1513" y="1871"/>
                      </a:cubicBezTo>
                      <a:cubicBezTo>
                        <a:pt x="1510" y="1866"/>
                        <a:pt x="1517" y="1864"/>
                        <a:pt x="1513" y="1857"/>
                      </a:cubicBezTo>
                      <a:cubicBezTo>
                        <a:pt x="1507" y="1868"/>
                        <a:pt x="1514" y="1875"/>
                        <a:pt x="1503" y="1880"/>
                      </a:cubicBezTo>
                      <a:cubicBezTo>
                        <a:pt x="1500" y="1881"/>
                        <a:pt x="1491" y="1879"/>
                        <a:pt x="1486" y="1881"/>
                      </a:cubicBezTo>
                      <a:cubicBezTo>
                        <a:pt x="1481" y="1883"/>
                        <a:pt x="1478" y="1887"/>
                        <a:pt x="1472" y="1889"/>
                      </a:cubicBezTo>
                      <a:cubicBezTo>
                        <a:pt x="1476" y="1894"/>
                        <a:pt x="1482" y="1901"/>
                        <a:pt x="1483" y="1908"/>
                      </a:cubicBezTo>
                      <a:cubicBezTo>
                        <a:pt x="1484" y="1913"/>
                        <a:pt x="1474" y="1912"/>
                        <a:pt x="1480" y="1919"/>
                      </a:cubicBezTo>
                      <a:cubicBezTo>
                        <a:pt x="1481" y="1920"/>
                        <a:pt x="1486" y="1907"/>
                        <a:pt x="1491" y="1917"/>
                      </a:cubicBezTo>
                      <a:cubicBezTo>
                        <a:pt x="1495" y="1927"/>
                        <a:pt x="1486" y="1928"/>
                        <a:pt x="1480" y="1932"/>
                      </a:cubicBezTo>
                      <a:cubicBezTo>
                        <a:pt x="1454" y="1954"/>
                        <a:pt x="1468" y="1972"/>
                        <a:pt x="1476" y="1997"/>
                      </a:cubicBezTo>
                      <a:cubicBezTo>
                        <a:pt x="1468" y="1993"/>
                        <a:pt x="1458" y="2001"/>
                        <a:pt x="1457" y="2009"/>
                      </a:cubicBezTo>
                      <a:cubicBezTo>
                        <a:pt x="1447" y="2007"/>
                        <a:pt x="1440" y="2012"/>
                        <a:pt x="1430" y="2012"/>
                      </a:cubicBezTo>
                      <a:cubicBezTo>
                        <a:pt x="1427" y="2012"/>
                        <a:pt x="1419" y="2009"/>
                        <a:pt x="1415" y="2008"/>
                      </a:cubicBezTo>
                      <a:cubicBezTo>
                        <a:pt x="1414" y="2008"/>
                        <a:pt x="1402" y="2005"/>
                        <a:pt x="1403" y="2005"/>
                      </a:cubicBezTo>
                      <a:cubicBezTo>
                        <a:pt x="1390" y="2006"/>
                        <a:pt x="1399" y="2006"/>
                        <a:pt x="1398" y="2010"/>
                      </a:cubicBezTo>
                      <a:cubicBezTo>
                        <a:pt x="1398" y="2010"/>
                        <a:pt x="1397" y="2017"/>
                        <a:pt x="1397" y="2018"/>
                      </a:cubicBezTo>
                      <a:cubicBezTo>
                        <a:pt x="1396" y="2023"/>
                        <a:pt x="1388" y="2029"/>
                        <a:pt x="1387" y="2034"/>
                      </a:cubicBezTo>
                      <a:cubicBezTo>
                        <a:pt x="1387" y="2045"/>
                        <a:pt x="1398" y="2049"/>
                        <a:pt x="1392" y="2062"/>
                      </a:cubicBezTo>
                      <a:cubicBezTo>
                        <a:pt x="1387" y="2074"/>
                        <a:pt x="1374" y="2077"/>
                        <a:pt x="1366" y="2087"/>
                      </a:cubicBezTo>
                      <a:cubicBezTo>
                        <a:pt x="1356" y="2099"/>
                        <a:pt x="1353" y="2100"/>
                        <a:pt x="1340" y="2108"/>
                      </a:cubicBezTo>
                      <a:cubicBezTo>
                        <a:pt x="1330" y="2113"/>
                        <a:pt x="1329" y="2127"/>
                        <a:pt x="1321" y="2129"/>
                      </a:cubicBezTo>
                      <a:cubicBezTo>
                        <a:pt x="1321" y="2120"/>
                        <a:pt x="1309" y="2119"/>
                        <a:pt x="1302" y="2115"/>
                      </a:cubicBezTo>
                      <a:cubicBezTo>
                        <a:pt x="1297" y="2113"/>
                        <a:pt x="1292" y="2109"/>
                        <a:pt x="1288" y="2106"/>
                      </a:cubicBezTo>
                      <a:cubicBezTo>
                        <a:pt x="1284" y="2104"/>
                        <a:pt x="1280" y="2104"/>
                        <a:pt x="1276" y="2101"/>
                      </a:cubicBezTo>
                      <a:cubicBezTo>
                        <a:pt x="1271" y="2099"/>
                        <a:pt x="1252" y="2092"/>
                        <a:pt x="1254" y="2087"/>
                      </a:cubicBezTo>
                      <a:cubicBezTo>
                        <a:pt x="1254" y="2085"/>
                        <a:pt x="1263" y="2087"/>
                        <a:pt x="1265" y="2085"/>
                      </a:cubicBezTo>
                      <a:cubicBezTo>
                        <a:pt x="1270" y="2082"/>
                        <a:pt x="1273" y="2077"/>
                        <a:pt x="1276" y="2071"/>
                      </a:cubicBezTo>
                      <a:cubicBezTo>
                        <a:pt x="1278" y="2066"/>
                        <a:pt x="1278" y="2058"/>
                        <a:pt x="1280" y="2053"/>
                      </a:cubicBezTo>
                      <a:cubicBezTo>
                        <a:pt x="1283" y="2047"/>
                        <a:pt x="1291" y="2046"/>
                        <a:pt x="1297" y="2043"/>
                      </a:cubicBezTo>
                      <a:cubicBezTo>
                        <a:pt x="1302" y="2040"/>
                        <a:pt x="1306" y="2038"/>
                        <a:pt x="1311" y="2036"/>
                      </a:cubicBezTo>
                      <a:cubicBezTo>
                        <a:pt x="1313" y="2035"/>
                        <a:pt x="1317" y="2035"/>
                        <a:pt x="1319" y="2034"/>
                      </a:cubicBezTo>
                      <a:cubicBezTo>
                        <a:pt x="1323" y="2032"/>
                        <a:pt x="1321" y="2028"/>
                        <a:pt x="1324" y="2026"/>
                      </a:cubicBezTo>
                      <a:cubicBezTo>
                        <a:pt x="1332" y="2020"/>
                        <a:pt x="1343" y="2017"/>
                        <a:pt x="1349" y="2009"/>
                      </a:cubicBezTo>
                      <a:cubicBezTo>
                        <a:pt x="1358" y="1997"/>
                        <a:pt x="1356" y="1986"/>
                        <a:pt x="1368" y="1976"/>
                      </a:cubicBezTo>
                      <a:cubicBezTo>
                        <a:pt x="1364" y="1972"/>
                        <a:pt x="1345" y="1968"/>
                        <a:pt x="1339" y="1970"/>
                      </a:cubicBezTo>
                      <a:cubicBezTo>
                        <a:pt x="1332" y="1973"/>
                        <a:pt x="1335" y="1978"/>
                        <a:pt x="1328" y="1984"/>
                      </a:cubicBezTo>
                      <a:cubicBezTo>
                        <a:pt x="1320" y="1991"/>
                        <a:pt x="1316" y="1985"/>
                        <a:pt x="1307" y="1988"/>
                      </a:cubicBezTo>
                      <a:cubicBezTo>
                        <a:pt x="1296" y="1992"/>
                        <a:pt x="1298" y="2001"/>
                        <a:pt x="1288" y="1994"/>
                      </a:cubicBezTo>
                      <a:cubicBezTo>
                        <a:pt x="1286" y="1993"/>
                        <a:pt x="1288" y="1987"/>
                        <a:pt x="1287" y="1986"/>
                      </a:cubicBezTo>
                      <a:cubicBezTo>
                        <a:pt x="1284" y="1983"/>
                        <a:pt x="1278" y="1984"/>
                        <a:pt x="1275" y="1982"/>
                      </a:cubicBezTo>
                      <a:cubicBezTo>
                        <a:pt x="1268" y="1979"/>
                        <a:pt x="1265" y="1970"/>
                        <a:pt x="1256" y="1968"/>
                      </a:cubicBezTo>
                      <a:cubicBezTo>
                        <a:pt x="1247" y="1966"/>
                        <a:pt x="1241" y="1970"/>
                        <a:pt x="1234" y="1969"/>
                      </a:cubicBezTo>
                      <a:cubicBezTo>
                        <a:pt x="1230" y="1969"/>
                        <a:pt x="1223" y="1964"/>
                        <a:pt x="1219" y="1964"/>
                      </a:cubicBezTo>
                      <a:cubicBezTo>
                        <a:pt x="1220" y="1963"/>
                        <a:pt x="1221" y="1962"/>
                        <a:pt x="1222" y="1962"/>
                      </a:cubicBezTo>
                      <a:cubicBezTo>
                        <a:pt x="1209" y="1952"/>
                        <a:pt x="1212" y="1963"/>
                        <a:pt x="1210" y="1968"/>
                      </a:cubicBezTo>
                      <a:cubicBezTo>
                        <a:pt x="1207" y="1972"/>
                        <a:pt x="1210" y="1973"/>
                        <a:pt x="1205" y="1977"/>
                      </a:cubicBezTo>
                      <a:cubicBezTo>
                        <a:pt x="1203" y="1979"/>
                        <a:pt x="1194" y="1980"/>
                        <a:pt x="1191" y="1981"/>
                      </a:cubicBezTo>
                      <a:cubicBezTo>
                        <a:pt x="1183" y="1984"/>
                        <a:pt x="1172" y="1994"/>
                        <a:pt x="1169" y="2003"/>
                      </a:cubicBezTo>
                      <a:cubicBezTo>
                        <a:pt x="1168" y="2007"/>
                        <a:pt x="1167" y="2003"/>
                        <a:pt x="1168" y="2009"/>
                      </a:cubicBezTo>
                      <a:cubicBezTo>
                        <a:pt x="1169" y="2014"/>
                        <a:pt x="1178" y="2008"/>
                        <a:pt x="1176" y="2019"/>
                      </a:cubicBezTo>
                      <a:cubicBezTo>
                        <a:pt x="1193" y="2016"/>
                        <a:pt x="1174" y="2042"/>
                        <a:pt x="1166" y="2043"/>
                      </a:cubicBezTo>
                      <a:cubicBezTo>
                        <a:pt x="1170" y="2016"/>
                        <a:pt x="1139" y="2049"/>
                        <a:pt x="1134" y="2049"/>
                      </a:cubicBezTo>
                      <a:cubicBezTo>
                        <a:pt x="1138" y="2040"/>
                        <a:pt x="1160" y="2023"/>
                        <a:pt x="1151" y="2014"/>
                      </a:cubicBezTo>
                      <a:cubicBezTo>
                        <a:pt x="1146" y="2019"/>
                        <a:pt x="1131" y="2042"/>
                        <a:pt x="1123" y="2030"/>
                      </a:cubicBezTo>
                      <a:cubicBezTo>
                        <a:pt x="1116" y="2034"/>
                        <a:pt x="1118" y="2028"/>
                        <a:pt x="1113" y="2028"/>
                      </a:cubicBezTo>
                      <a:cubicBezTo>
                        <a:pt x="1107" y="2027"/>
                        <a:pt x="1099" y="2027"/>
                        <a:pt x="1092" y="2029"/>
                      </a:cubicBezTo>
                      <a:cubicBezTo>
                        <a:pt x="1086" y="2031"/>
                        <a:pt x="1080" y="2035"/>
                        <a:pt x="1074" y="2038"/>
                      </a:cubicBezTo>
                      <a:cubicBezTo>
                        <a:pt x="1066" y="2040"/>
                        <a:pt x="1057" y="2038"/>
                        <a:pt x="1050" y="2039"/>
                      </a:cubicBezTo>
                      <a:cubicBezTo>
                        <a:pt x="1035" y="2041"/>
                        <a:pt x="1012" y="2047"/>
                        <a:pt x="999" y="2055"/>
                      </a:cubicBezTo>
                      <a:cubicBezTo>
                        <a:pt x="992" y="2060"/>
                        <a:pt x="981" y="2081"/>
                        <a:pt x="972" y="2068"/>
                      </a:cubicBezTo>
                      <a:cubicBezTo>
                        <a:pt x="967" y="2075"/>
                        <a:pt x="972" y="2078"/>
                        <a:pt x="980" y="2078"/>
                      </a:cubicBezTo>
                      <a:cubicBezTo>
                        <a:pt x="976" y="2085"/>
                        <a:pt x="973" y="2093"/>
                        <a:pt x="971" y="2100"/>
                      </a:cubicBezTo>
                      <a:cubicBezTo>
                        <a:pt x="970" y="2103"/>
                        <a:pt x="968" y="2110"/>
                        <a:pt x="967" y="2112"/>
                      </a:cubicBezTo>
                      <a:cubicBezTo>
                        <a:pt x="966" y="2114"/>
                        <a:pt x="959" y="2115"/>
                        <a:pt x="959" y="2115"/>
                      </a:cubicBezTo>
                      <a:cubicBezTo>
                        <a:pt x="957" y="2120"/>
                        <a:pt x="956" y="2120"/>
                        <a:pt x="959" y="2126"/>
                      </a:cubicBezTo>
                      <a:cubicBezTo>
                        <a:pt x="961" y="2128"/>
                        <a:pt x="965" y="2124"/>
                        <a:pt x="968" y="2126"/>
                      </a:cubicBezTo>
                      <a:cubicBezTo>
                        <a:pt x="970" y="2127"/>
                        <a:pt x="971" y="2133"/>
                        <a:pt x="972" y="2134"/>
                      </a:cubicBezTo>
                      <a:cubicBezTo>
                        <a:pt x="976" y="2135"/>
                        <a:pt x="1006" y="2135"/>
                        <a:pt x="997" y="2147"/>
                      </a:cubicBezTo>
                      <a:cubicBezTo>
                        <a:pt x="998" y="2147"/>
                        <a:pt x="986" y="2150"/>
                        <a:pt x="984" y="2152"/>
                      </a:cubicBezTo>
                      <a:cubicBezTo>
                        <a:pt x="980" y="2156"/>
                        <a:pt x="980" y="2163"/>
                        <a:pt x="976" y="2168"/>
                      </a:cubicBezTo>
                      <a:cubicBezTo>
                        <a:pt x="973" y="2165"/>
                        <a:pt x="945" y="2176"/>
                        <a:pt x="954" y="2153"/>
                      </a:cubicBezTo>
                      <a:cubicBezTo>
                        <a:pt x="926" y="2156"/>
                        <a:pt x="978" y="2236"/>
                        <a:pt x="972" y="2185"/>
                      </a:cubicBezTo>
                      <a:cubicBezTo>
                        <a:pt x="976" y="2188"/>
                        <a:pt x="978" y="2192"/>
                        <a:pt x="979" y="2197"/>
                      </a:cubicBezTo>
                      <a:cubicBezTo>
                        <a:pt x="981" y="2193"/>
                        <a:pt x="977" y="2172"/>
                        <a:pt x="991" y="2184"/>
                      </a:cubicBezTo>
                      <a:cubicBezTo>
                        <a:pt x="996" y="2189"/>
                        <a:pt x="992" y="2197"/>
                        <a:pt x="994" y="2203"/>
                      </a:cubicBezTo>
                      <a:cubicBezTo>
                        <a:pt x="997" y="2210"/>
                        <a:pt x="1006" y="2207"/>
                        <a:pt x="1005" y="2218"/>
                      </a:cubicBezTo>
                      <a:cubicBezTo>
                        <a:pt x="1001" y="2218"/>
                        <a:pt x="989" y="2215"/>
                        <a:pt x="988" y="2216"/>
                      </a:cubicBezTo>
                      <a:cubicBezTo>
                        <a:pt x="981" y="2223"/>
                        <a:pt x="992" y="2225"/>
                        <a:pt x="983" y="2231"/>
                      </a:cubicBezTo>
                      <a:cubicBezTo>
                        <a:pt x="983" y="2232"/>
                        <a:pt x="979" y="2226"/>
                        <a:pt x="976" y="2228"/>
                      </a:cubicBezTo>
                      <a:cubicBezTo>
                        <a:pt x="973" y="2230"/>
                        <a:pt x="973" y="2233"/>
                        <a:pt x="970" y="2235"/>
                      </a:cubicBezTo>
                      <a:cubicBezTo>
                        <a:pt x="964" y="2239"/>
                        <a:pt x="963" y="2245"/>
                        <a:pt x="953" y="2246"/>
                      </a:cubicBezTo>
                      <a:cubicBezTo>
                        <a:pt x="932" y="2246"/>
                        <a:pt x="930" y="2212"/>
                        <a:pt x="902" y="2231"/>
                      </a:cubicBezTo>
                      <a:cubicBezTo>
                        <a:pt x="895" y="2236"/>
                        <a:pt x="891" y="2244"/>
                        <a:pt x="884" y="2249"/>
                      </a:cubicBezTo>
                      <a:cubicBezTo>
                        <a:pt x="880" y="2252"/>
                        <a:pt x="874" y="2254"/>
                        <a:pt x="871" y="2258"/>
                      </a:cubicBezTo>
                      <a:cubicBezTo>
                        <a:pt x="855" y="2277"/>
                        <a:pt x="880" y="2272"/>
                        <a:pt x="880" y="2287"/>
                      </a:cubicBezTo>
                      <a:cubicBezTo>
                        <a:pt x="880" y="2308"/>
                        <a:pt x="833" y="2280"/>
                        <a:pt x="854" y="2315"/>
                      </a:cubicBezTo>
                      <a:cubicBezTo>
                        <a:pt x="841" y="2318"/>
                        <a:pt x="824" y="2308"/>
                        <a:pt x="812" y="2313"/>
                      </a:cubicBezTo>
                      <a:cubicBezTo>
                        <a:pt x="803" y="2317"/>
                        <a:pt x="807" y="2322"/>
                        <a:pt x="796" y="2324"/>
                      </a:cubicBezTo>
                      <a:cubicBezTo>
                        <a:pt x="782" y="2326"/>
                        <a:pt x="777" y="2321"/>
                        <a:pt x="765" y="2333"/>
                      </a:cubicBezTo>
                      <a:cubicBezTo>
                        <a:pt x="760" y="2322"/>
                        <a:pt x="768" y="2323"/>
                        <a:pt x="772" y="2317"/>
                      </a:cubicBezTo>
                      <a:cubicBezTo>
                        <a:pt x="781" y="2305"/>
                        <a:pt x="777" y="2310"/>
                        <a:pt x="776" y="2300"/>
                      </a:cubicBezTo>
                      <a:cubicBezTo>
                        <a:pt x="774" y="2290"/>
                        <a:pt x="768" y="2280"/>
                        <a:pt x="763" y="2272"/>
                      </a:cubicBezTo>
                      <a:cubicBezTo>
                        <a:pt x="760" y="2268"/>
                        <a:pt x="758" y="2264"/>
                        <a:pt x="756" y="2260"/>
                      </a:cubicBezTo>
                      <a:cubicBezTo>
                        <a:pt x="755" y="2258"/>
                        <a:pt x="757" y="2254"/>
                        <a:pt x="755" y="2252"/>
                      </a:cubicBezTo>
                      <a:cubicBezTo>
                        <a:pt x="752" y="2249"/>
                        <a:pt x="744" y="2250"/>
                        <a:pt x="742" y="2247"/>
                      </a:cubicBezTo>
                      <a:cubicBezTo>
                        <a:pt x="737" y="2242"/>
                        <a:pt x="737" y="2229"/>
                        <a:pt x="732" y="2222"/>
                      </a:cubicBezTo>
                      <a:cubicBezTo>
                        <a:pt x="731" y="2220"/>
                        <a:pt x="727" y="2221"/>
                        <a:pt x="726" y="2219"/>
                      </a:cubicBezTo>
                      <a:cubicBezTo>
                        <a:pt x="725" y="2218"/>
                        <a:pt x="726" y="2214"/>
                        <a:pt x="725" y="2213"/>
                      </a:cubicBezTo>
                      <a:cubicBezTo>
                        <a:pt x="722" y="2209"/>
                        <a:pt x="723" y="2206"/>
                        <a:pt x="718" y="2203"/>
                      </a:cubicBezTo>
                      <a:cubicBezTo>
                        <a:pt x="715" y="2201"/>
                        <a:pt x="712" y="2202"/>
                        <a:pt x="710" y="2201"/>
                      </a:cubicBezTo>
                      <a:cubicBezTo>
                        <a:pt x="710" y="2201"/>
                        <a:pt x="699" y="2197"/>
                        <a:pt x="701" y="2197"/>
                      </a:cubicBezTo>
                      <a:cubicBezTo>
                        <a:pt x="693" y="2196"/>
                        <a:pt x="695" y="2192"/>
                        <a:pt x="686" y="2202"/>
                      </a:cubicBezTo>
                      <a:cubicBezTo>
                        <a:pt x="683" y="2206"/>
                        <a:pt x="681" y="2218"/>
                        <a:pt x="677" y="2219"/>
                      </a:cubicBezTo>
                      <a:cubicBezTo>
                        <a:pt x="677" y="2219"/>
                        <a:pt x="659" y="2210"/>
                        <a:pt x="658" y="2210"/>
                      </a:cubicBezTo>
                      <a:cubicBezTo>
                        <a:pt x="647" y="2204"/>
                        <a:pt x="656" y="2209"/>
                        <a:pt x="649" y="2201"/>
                      </a:cubicBezTo>
                      <a:cubicBezTo>
                        <a:pt x="645" y="2195"/>
                        <a:pt x="644" y="2184"/>
                        <a:pt x="636" y="2181"/>
                      </a:cubicBezTo>
                      <a:cubicBezTo>
                        <a:pt x="628" y="2177"/>
                        <a:pt x="627" y="2183"/>
                        <a:pt x="623" y="2184"/>
                      </a:cubicBezTo>
                      <a:cubicBezTo>
                        <a:pt x="623" y="2184"/>
                        <a:pt x="622" y="2188"/>
                        <a:pt x="621" y="2189"/>
                      </a:cubicBezTo>
                      <a:cubicBezTo>
                        <a:pt x="618" y="2190"/>
                        <a:pt x="617" y="2185"/>
                        <a:pt x="615" y="2186"/>
                      </a:cubicBezTo>
                      <a:cubicBezTo>
                        <a:pt x="609" y="2187"/>
                        <a:pt x="614" y="2190"/>
                        <a:pt x="608" y="2187"/>
                      </a:cubicBezTo>
                      <a:cubicBezTo>
                        <a:pt x="606" y="2186"/>
                        <a:pt x="600" y="2177"/>
                        <a:pt x="598" y="2175"/>
                      </a:cubicBezTo>
                      <a:cubicBezTo>
                        <a:pt x="584" y="2164"/>
                        <a:pt x="578" y="2162"/>
                        <a:pt x="567" y="2177"/>
                      </a:cubicBezTo>
                      <a:cubicBezTo>
                        <a:pt x="561" y="2185"/>
                        <a:pt x="559" y="2191"/>
                        <a:pt x="551" y="2198"/>
                      </a:cubicBezTo>
                      <a:cubicBezTo>
                        <a:pt x="546" y="2202"/>
                        <a:pt x="538" y="2204"/>
                        <a:pt x="534" y="2209"/>
                      </a:cubicBezTo>
                      <a:cubicBezTo>
                        <a:pt x="532" y="2210"/>
                        <a:pt x="533" y="2215"/>
                        <a:pt x="532" y="2215"/>
                      </a:cubicBezTo>
                      <a:cubicBezTo>
                        <a:pt x="525" y="2220"/>
                        <a:pt x="505" y="2215"/>
                        <a:pt x="495" y="2209"/>
                      </a:cubicBezTo>
                      <a:cubicBezTo>
                        <a:pt x="479" y="2199"/>
                        <a:pt x="495" y="2192"/>
                        <a:pt x="482" y="2185"/>
                      </a:cubicBezTo>
                      <a:cubicBezTo>
                        <a:pt x="477" y="2183"/>
                        <a:pt x="474" y="2188"/>
                        <a:pt x="468" y="2184"/>
                      </a:cubicBezTo>
                      <a:cubicBezTo>
                        <a:pt x="461" y="2179"/>
                        <a:pt x="462" y="2174"/>
                        <a:pt x="461" y="2167"/>
                      </a:cubicBezTo>
                      <a:cubicBezTo>
                        <a:pt x="461" y="2165"/>
                        <a:pt x="463" y="2156"/>
                        <a:pt x="463" y="2154"/>
                      </a:cubicBezTo>
                      <a:cubicBezTo>
                        <a:pt x="464" y="2149"/>
                        <a:pt x="463" y="2145"/>
                        <a:pt x="466" y="2138"/>
                      </a:cubicBezTo>
                      <a:cubicBezTo>
                        <a:pt x="470" y="2127"/>
                        <a:pt x="477" y="2128"/>
                        <a:pt x="480" y="2116"/>
                      </a:cubicBezTo>
                      <a:cubicBezTo>
                        <a:pt x="480" y="2114"/>
                        <a:pt x="476" y="2111"/>
                        <a:pt x="476" y="2108"/>
                      </a:cubicBezTo>
                      <a:cubicBezTo>
                        <a:pt x="477" y="2105"/>
                        <a:pt x="482" y="2099"/>
                        <a:pt x="483" y="2095"/>
                      </a:cubicBezTo>
                      <a:cubicBezTo>
                        <a:pt x="484" y="2091"/>
                        <a:pt x="482" y="2081"/>
                        <a:pt x="483" y="2079"/>
                      </a:cubicBezTo>
                      <a:cubicBezTo>
                        <a:pt x="492" y="2066"/>
                        <a:pt x="547" y="2096"/>
                        <a:pt x="528" y="2055"/>
                      </a:cubicBezTo>
                      <a:cubicBezTo>
                        <a:pt x="526" y="2050"/>
                        <a:pt x="522" y="2051"/>
                        <a:pt x="519" y="2047"/>
                      </a:cubicBezTo>
                      <a:cubicBezTo>
                        <a:pt x="519" y="2046"/>
                        <a:pt x="517" y="2038"/>
                        <a:pt x="516" y="2036"/>
                      </a:cubicBezTo>
                      <a:cubicBezTo>
                        <a:pt x="515" y="2031"/>
                        <a:pt x="515" y="2028"/>
                        <a:pt x="512" y="2023"/>
                      </a:cubicBezTo>
                      <a:cubicBezTo>
                        <a:pt x="509" y="2019"/>
                        <a:pt x="502" y="2016"/>
                        <a:pt x="501" y="2011"/>
                      </a:cubicBezTo>
                      <a:cubicBezTo>
                        <a:pt x="496" y="1993"/>
                        <a:pt x="515" y="2000"/>
                        <a:pt x="519" y="1988"/>
                      </a:cubicBezTo>
                      <a:cubicBezTo>
                        <a:pt x="522" y="1978"/>
                        <a:pt x="510" y="1973"/>
                        <a:pt x="505" y="1968"/>
                      </a:cubicBezTo>
                      <a:cubicBezTo>
                        <a:pt x="504" y="1966"/>
                        <a:pt x="501" y="1968"/>
                        <a:pt x="500" y="1966"/>
                      </a:cubicBezTo>
                      <a:cubicBezTo>
                        <a:pt x="499" y="1963"/>
                        <a:pt x="502" y="1959"/>
                        <a:pt x="502" y="1959"/>
                      </a:cubicBezTo>
                      <a:cubicBezTo>
                        <a:pt x="502" y="1958"/>
                        <a:pt x="502" y="1952"/>
                        <a:pt x="502" y="1950"/>
                      </a:cubicBezTo>
                      <a:cubicBezTo>
                        <a:pt x="501" y="1946"/>
                        <a:pt x="495" y="1942"/>
                        <a:pt x="493" y="1939"/>
                      </a:cubicBezTo>
                      <a:cubicBezTo>
                        <a:pt x="490" y="1933"/>
                        <a:pt x="489" y="1929"/>
                        <a:pt x="484" y="1924"/>
                      </a:cubicBezTo>
                      <a:cubicBezTo>
                        <a:pt x="480" y="1919"/>
                        <a:pt x="473" y="1919"/>
                        <a:pt x="469" y="1913"/>
                      </a:cubicBezTo>
                      <a:cubicBezTo>
                        <a:pt x="466" y="1906"/>
                        <a:pt x="469" y="1885"/>
                        <a:pt x="461" y="1882"/>
                      </a:cubicBezTo>
                      <a:cubicBezTo>
                        <a:pt x="458" y="1881"/>
                        <a:pt x="452" y="1891"/>
                        <a:pt x="445" y="1888"/>
                      </a:cubicBezTo>
                      <a:cubicBezTo>
                        <a:pt x="440" y="1886"/>
                        <a:pt x="442" y="1880"/>
                        <a:pt x="438" y="1876"/>
                      </a:cubicBezTo>
                      <a:cubicBezTo>
                        <a:pt x="434" y="1872"/>
                        <a:pt x="429" y="1870"/>
                        <a:pt x="425" y="1866"/>
                      </a:cubicBezTo>
                      <a:cubicBezTo>
                        <a:pt x="420" y="1862"/>
                        <a:pt x="418" y="1853"/>
                        <a:pt x="413" y="1848"/>
                      </a:cubicBezTo>
                      <a:cubicBezTo>
                        <a:pt x="405" y="1841"/>
                        <a:pt x="397" y="1842"/>
                        <a:pt x="386" y="1835"/>
                      </a:cubicBezTo>
                      <a:cubicBezTo>
                        <a:pt x="369" y="1825"/>
                        <a:pt x="356" y="1813"/>
                        <a:pt x="337" y="1807"/>
                      </a:cubicBezTo>
                      <a:cubicBezTo>
                        <a:pt x="333" y="1806"/>
                        <a:pt x="329" y="1807"/>
                        <a:pt x="326" y="1807"/>
                      </a:cubicBezTo>
                      <a:cubicBezTo>
                        <a:pt x="324" y="1806"/>
                        <a:pt x="320" y="1804"/>
                        <a:pt x="317" y="1804"/>
                      </a:cubicBezTo>
                      <a:cubicBezTo>
                        <a:pt x="314" y="1803"/>
                        <a:pt x="312" y="1809"/>
                        <a:pt x="310" y="1808"/>
                      </a:cubicBezTo>
                      <a:cubicBezTo>
                        <a:pt x="305" y="1808"/>
                        <a:pt x="303" y="1803"/>
                        <a:pt x="299" y="1801"/>
                      </a:cubicBezTo>
                      <a:cubicBezTo>
                        <a:pt x="296" y="1800"/>
                        <a:pt x="290" y="1799"/>
                        <a:pt x="286" y="1800"/>
                      </a:cubicBezTo>
                      <a:cubicBezTo>
                        <a:pt x="285" y="1801"/>
                        <a:pt x="281" y="1806"/>
                        <a:pt x="281" y="1806"/>
                      </a:cubicBezTo>
                      <a:cubicBezTo>
                        <a:pt x="279" y="1806"/>
                        <a:pt x="278" y="1809"/>
                        <a:pt x="276" y="1809"/>
                      </a:cubicBezTo>
                      <a:cubicBezTo>
                        <a:pt x="273" y="1809"/>
                        <a:pt x="270" y="1803"/>
                        <a:pt x="268" y="1803"/>
                      </a:cubicBezTo>
                      <a:cubicBezTo>
                        <a:pt x="257" y="1804"/>
                        <a:pt x="262" y="1807"/>
                        <a:pt x="260" y="1815"/>
                      </a:cubicBezTo>
                      <a:cubicBezTo>
                        <a:pt x="259" y="1822"/>
                        <a:pt x="260" y="1837"/>
                        <a:pt x="252" y="1842"/>
                      </a:cubicBezTo>
                      <a:cubicBezTo>
                        <a:pt x="248" y="1845"/>
                        <a:pt x="243" y="1841"/>
                        <a:pt x="238" y="1842"/>
                      </a:cubicBezTo>
                      <a:cubicBezTo>
                        <a:pt x="225" y="1845"/>
                        <a:pt x="231" y="1850"/>
                        <a:pt x="223" y="1855"/>
                      </a:cubicBezTo>
                      <a:cubicBezTo>
                        <a:pt x="209" y="1865"/>
                        <a:pt x="198" y="1851"/>
                        <a:pt x="184" y="1851"/>
                      </a:cubicBezTo>
                      <a:cubicBezTo>
                        <a:pt x="174" y="1851"/>
                        <a:pt x="174" y="1858"/>
                        <a:pt x="169" y="1861"/>
                      </a:cubicBezTo>
                      <a:cubicBezTo>
                        <a:pt x="163" y="1864"/>
                        <a:pt x="165" y="1869"/>
                        <a:pt x="158" y="1863"/>
                      </a:cubicBezTo>
                      <a:cubicBezTo>
                        <a:pt x="155" y="1860"/>
                        <a:pt x="155" y="1859"/>
                        <a:pt x="155" y="1855"/>
                      </a:cubicBezTo>
                      <a:cubicBezTo>
                        <a:pt x="155" y="1849"/>
                        <a:pt x="166" y="1836"/>
                        <a:pt x="168" y="1831"/>
                      </a:cubicBezTo>
                      <a:cubicBezTo>
                        <a:pt x="171" y="1821"/>
                        <a:pt x="172" y="1815"/>
                        <a:pt x="161" y="1808"/>
                      </a:cubicBezTo>
                      <a:cubicBezTo>
                        <a:pt x="170" y="1808"/>
                        <a:pt x="172" y="1803"/>
                        <a:pt x="174" y="1796"/>
                      </a:cubicBezTo>
                      <a:cubicBezTo>
                        <a:pt x="177" y="1787"/>
                        <a:pt x="172" y="1789"/>
                        <a:pt x="171" y="1785"/>
                      </a:cubicBezTo>
                      <a:cubicBezTo>
                        <a:pt x="172" y="1789"/>
                        <a:pt x="167" y="1779"/>
                        <a:pt x="168" y="1782"/>
                      </a:cubicBezTo>
                      <a:cubicBezTo>
                        <a:pt x="168" y="1781"/>
                        <a:pt x="170" y="1776"/>
                        <a:pt x="169" y="1774"/>
                      </a:cubicBezTo>
                      <a:cubicBezTo>
                        <a:pt x="166" y="1770"/>
                        <a:pt x="162" y="1768"/>
                        <a:pt x="159" y="1764"/>
                      </a:cubicBezTo>
                      <a:cubicBezTo>
                        <a:pt x="156" y="1759"/>
                        <a:pt x="156" y="1754"/>
                        <a:pt x="152" y="1749"/>
                      </a:cubicBezTo>
                      <a:cubicBezTo>
                        <a:pt x="150" y="1746"/>
                        <a:pt x="144" y="1747"/>
                        <a:pt x="143" y="1744"/>
                      </a:cubicBezTo>
                      <a:cubicBezTo>
                        <a:pt x="141" y="1739"/>
                        <a:pt x="147" y="1741"/>
                        <a:pt x="147" y="1740"/>
                      </a:cubicBezTo>
                      <a:cubicBezTo>
                        <a:pt x="149" y="1719"/>
                        <a:pt x="158" y="1731"/>
                        <a:pt x="167" y="1720"/>
                      </a:cubicBezTo>
                      <a:cubicBezTo>
                        <a:pt x="175" y="1710"/>
                        <a:pt x="167" y="1706"/>
                        <a:pt x="161" y="1701"/>
                      </a:cubicBezTo>
                      <a:cubicBezTo>
                        <a:pt x="159" y="1700"/>
                        <a:pt x="155" y="1702"/>
                        <a:pt x="154" y="1700"/>
                      </a:cubicBezTo>
                      <a:cubicBezTo>
                        <a:pt x="151" y="1697"/>
                        <a:pt x="152" y="1692"/>
                        <a:pt x="151" y="1691"/>
                      </a:cubicBezTo>
                      <a:cubicBezTo>
                        <a:pt x="149" y="1688"/>
                        <a:pt x="146" y="1685"/>
                        <a:pt x="142" y="1681"/>
                      </a:cubicBezTo>
                      <a:cubicBezTo>
                        <a:pt x="138" y="1678"/>
                        <a:pt x="131" y="1675"/>
                        <a:pt x="127" y="1671"/>
                      </a:cubicBezTo>
                      <a:cubicBezTo>
                        <a:pt x="118" y="1662"/>
                        <a:pt x="117" y="1643"/>
                        <a:pt x="108" y="1632"/>
                      </a:cubicBezTo>
                      <a:cubicBezTo>
                        <a:pt x="104" y="1626"/>
                        <a:pt x="96" y="1621"/>
                        <a:pt x="91" y="1615"/>
                      </a:cubicBezTo>
                      <a:cubicBezTo>
                        <a:pt x="88" y="1612"/>
                        <a:pt x="85" y="1612"/>
                        <a:pt x="82" y="1608"/>
                      </a:cubicBezTo>
                      <a:cubicBezTo>
                        <a:pt x="81" y="1608"/>
                        <a:pt x="78" y="1600"/>
                        <a:pt x="77" y="1598"/>
                      </a:cubicBezTo>
                      <a:cubicBezTo>
                        <a:pt x="70" y="1585"/>
                        <a:pt x="57" y="1578"/>
                        <a:pt x="52" y="1563"/>
                      </a:cubicBezTo>
                      <a:cubicBezTo>
                        <a:pt x="49" y="1550"/>
                        <a:pt x="50" y="1537"/>
                        <a:pt x="46" y="1524"/>
                      </a:cubicBezTo>
                      <a:cubicBezTo>
                        <a:pt x="40" y="1505"/>
                        <a:pt x="34" y="1490"/>
                        <a:pt x="31" y="1471"/>
                      </a:cubicBezTo>
                      <a:cubicBezTo>
                        <a:pt x="30" y="1457"/>
                        <a:pt x="33" y="1447"/>
                        <a:pt x="26" y="1436"/>
                      </a:cubicBezTo>
                      <a:cubicBezTo>
                        <a:pt x="23" y="1432"/>
                        <a:pt x="18" y="1425"/>
                        <a:pt x="15" y="1421"/>
                      </a:cubicBezTo>
                      <a:cubicBezTo>
                        <a:pt x="12" y="1418"/>
                        <a:pt x="2" y="1418"/>
                        <a:pt x="1" y="1413"/>
                      </a:cubicBezTo>
                      <a:cubicBezTo>
                        <a:pt x="0" y="1410"/>
                        <a:pt x="23" y="1379"/>
                        <a:pt x="27" y="1374"/>
                      </a:cubicBezTo>
                      <a:cubicBezTo>
                        <a:pt x="32" y="1366"/>
                        <a:pt x="40" y="1357"/>
                        <a:pt x="41" y="1347"/>
                      </a:cubicBezTo>
                      <a:cubicBezTo>
                        <a:pt x="41" y="1339"/>
                        <a:pt x="36" y="1333"/>
                        <a:pt x="36" y="1326"/>
                      </a:cubicBezTo>
                      <a:cubicBezTo>
                        <a:pt x="36" y="1317"/>
                        <a:pt x="41" y="1315"/>
                        <a:pt x="39" y="1307"/>
                      </a:cubicBezTo>
                      <a:cubicBezTo>
                        <a:pt x="39" y="1303"/>
                        <a:pt x="35" y="1295"/>
                        <a:pt x="33" y="1292"/>
                      </a:cubicBezTo>
                      <a:cubicBezTo>
                        <a:pt x="27" y="1273"/>
                        <a:pt x="34" y="1272"/>
                        <a:pt x="53" y="1266"/>
                      </a:cubicBezTo>
                      <a:cubicBezTo>
                        <a:pt x="66" y="1263"/>
                        <a:pt x="82" y="1255"/>
                        <a:pt x="96" y="1254"/>
                      </a:cubicBezTo>
                      <a:cubicBezTo>
                        <a:pt x="105" y="1253"/>
                        <a:pt x="114" y="1258"/>
                        <a:pt x="123" y="1259"/>
                      </a:cubicBezTo>
                      <a:cubicBezTo>
                        <a:pt x="130" y="1259"/>
                        <a:pt x="134" y="1261"/>
                        <a:pt x="138" y="1254"/>
                      </a:cubicBezTo>
                      <a:cubicBezTo>
                        <a:pt x="142" y="1245"/>
                        <a:pt x="133" y="1248"/>
                        <a:pt x="132" y="1245"/>
                      </a:cubicBezTo>
                      <a:cubicBezTo>
                        <a:pt x="130" y="1236"/>
                        <a:pt x="128" y="1243"/>
                        <a:pt x="134" y="1232"/>
                      </a:cubicBezTo>
                      <a:cubicBezTo>
                        <a:pt x="139" y="1224"/>
                        <a:pt x="149" y="1210"/>
                        <a:pt x="158" y="1212"/>
                      </a:cubicBezTo>
                      <a:cubicBezTo>
                        <a:pt x="171" y="1216"/>
                        <a:pt x="161" y="1233"/>
                        <a:pt x="171" y="1240"/>
                      </a:cubicBezTo>
                      <a:cubicBezTo>
                        <a:pt x="177" y="1244"/>
                        <a:pt x="181" y="1238"/>
                        <a:pt x="185" y="1239"/>
                      </a:cubicBezTo>
                      <a:cubicBezTo>
                        <a:pt x="186" y="1239"/>
                        <a:pt x="187" y="1235"/>
                        <a:pt x="190" y="1236"/>
                      </a:cubicBezTo>
                      <a:cubicBezTo>
                        <a:pt x="193" y="1236"/>
                        <a:pt x="192" y="1241"/>
                        <a:pt x="193" y="1241"/>
                      </a:cubicBezTo>
                      <a:cubicBezTo>
                        <a:pt x="197" y="1243"/>
                        <a:pt x="197" y="1251"/>
                        <a:pt x="204" y="1249"/>
                      </a:cubicBezTo>
                      <a:cubicBezTo>
                        <a:pt x="208" y="1247"/>
                        <a:pt x="204" y="1241"/>
                        <a:pt x="206" y="1240"/>
                      </a:cubicBezTo>
                      <a:cubicBezTo>
                        <a:pt x="204" y="1240"/>
                        <a:pt x="214" y="1237"/>
                        <a:pt x="212" y="1239"/>
                      </a:cubicBezTo>
                      <a:cubicBezTo>
                        <a:pt x="216" y="1235"/>
                        <a:pt x="217" y="1244"/>
                        <a:pt x="220" y="1232"/>
                      </a:cubicBezTo>
                      <a:cubicBezTo>
                        <a:pt x="221" y="1228"/>
                        <a:pt x="218" y="1217"/>
                        <a:pt x="218" y="1213"/>
                      </a:cubicBezTo>
                      <a:cubicBezTo>
                        <a:pt x="217" y="1202"/>
                        <a:pt x="214" y="1202"/>
                        <a:pt x="211" y="1191"/>
                      </a:cubicBezTo>
                      <a:cubicBezTo>
                        <a:pt x="209" y="1185"/>
                        <a:pt x="212" y="1179"/>
                        <a:pt x="211" y="1173"/>
                      </a:cubicBezTo>
                      <a:cubicBezTo>
                        <a:pt x="210" y="1160"/>
                        <a:pt x="205" y="1154"/>
                        <a:pt x="194" y="1150"/>
                      </a:cubicBezTo>
                      <a:cubicBezTo>
                        <a:pt x="187" y="1147"/>
                        <a:pt x="171" y="1148"/>
                        <a:pt x="166" y="1144"/>
                      </a:cubicBezTo>
                      <a:cubicBezTo>
                        <a:pt x="164" y="1142"/>
                        <a:pt x="155" y="1126"/>
                        <a:pt x="156" y="1123"/>
                      </a:cubicBezTo>
                      <a:cubicBezTo>
                        <a:pt x="156" y="1120"/>
                        <a:pt x="162" y="1112"/>
                        <a:pt x="163" y="1108"/>
                      </a:cubicBezTo>
                      <a:cubicBezTo>
                        <a:pt x="164" y="1102"/>
                        <a:pt x="159" y="1087"/>
                        <a:pt x="164" y="1082"/>
                      </a:cubicBezTo>
                      <a:cubicBezTo>
                        <a:pt x="173" y="1071"/>
                        <a:pt x="192" y="1087"/>
                        <a:pt x="201" y="1090"/>
                      </a:cubicBezTo>
                      <a:cubicBezTo>
                        <a:pt x="221" y="1097"/>
                        <a:pt x="233" y="1070"/>
                        <a:pt x="249" y="1062"/>
                      </a:cubicBezTo>
                      <a:cubicBezTo>
                        <a:pt x="254" y="1059"/>
                        <a:pt x="269" y="1060"/>
                        <a:pt x="272" y="1056"/>
                      </a:cubicBezTo>
                      <a:cubicBezTo>
                        <a:pt x="276" y="1052"/>
                        <a:pt x="269" y="1048"/>
                        <a:pt x="273" y="1043"/>
                      </a:cubicBezTo>
                      <a:cubicBezTo>
                        <a:pt x="276" y="1038"/>
                        <a:pt x="285" y="1041"/>
                        <a:pt x="288" y="1035"/>
                      </a:cubicBezTo>
                      <a:cubicBezTo>
                        <a:pt x="293" y="1027"/>
                        <a:pt x="288" y="1010"/>
                        <a:pt x="292" y="1000"/>
                      </a:cubicBezTo>
                      <a:cubicBezTo>
                        <a:pt x="299" y="983"/>
                        <a:pt x="327" y="973"/>
                        <a:pt x="343" y="985"/>
                      </a:cubicBezTo>
                      <a:cubicBezTo>
                        <a:pt x="355" y="993"/>
                        <a:pt x="349" y="1011"/>
                        <a:pt x="362" y="1021"/>
                      </a:cubicBezTo>
                      <a:cubicBezTo>
                        <a:pt x="371" y="1028"/>
                        <a:pt x="387" y="1036"/>
                        <a:pt x="398" y="1034"/>
                      </a:cubicBezTo>
                      <a:cubicBezTo>
                        <a:pt x="406" y="1033"/>
                        <a:pt x="419" y="1028"/>
                        <a:pt x="427" y="1026"/>
                      </a:cubicBezTo>
                      <a:cubicBezTo>
                        <a:pt x="440" y="1022"/>
                        <a:pt x="439" y="1022"/>
                        <a:pt x="438" y="1014"/>
                      </a:cubicBezTo>
                      <a:cubicBezTo>
                        <a:pt x="436" y="1007"/>
                        <a:pt x="416" y="988"/>
                        <a:pt x="417" y="983"/>
                      </a:cubicBezTo>
                      <a:cubicBezTo>
                        <a:pt x="418" y="975"/>
                        <a:pt x="442" y="967"/>
                        <a:pt x="447" y="962"/>
                      </a:cubicBezTo>
                      <a:cubicBezTo>
                        <a:pt x="453" y="955"/>
                        <a:pt x="453" y="943"/>
                        <a:pt x="461" y="938"/>
                      </a:cubicBezTo>
                      <a:cubicBezTo>
                        <a:pt x="462" y="937"/>
                        <a:pt x="478" y="933"/>
                        <a:pt x="479" y="934"/>
                      </a:cubicBezTo>
                      <a:cubicBezTo>
                        <a:pt x="481" y="934"/>
                        <a:pt x="490" y="940"/>
                        <a:pt x="493" y="941"/>
                      </a:cubicBezTo>
                      <a:cubicBezTo>
                        <a:pt x="489" y="925"/>
                        <a:pt x="476" y="915"/>
                        <a:pt x="485" y="900"/>
                      </a:cubicBezTo>
                      <a:cubicBezTo>
                        <a:pt x="491" y="890"/>
                        <a:pt x="502" y="882"/>
                        <a:pt x="509" y="873"/>
                      </a:cubicBezTo>
                      <a:cubicBezTo>
                        <a:pt x="513" y="867"/>
                        <a:pt x="516" y="855"/>
                        <a:pt x="524" y="853"/>
                      </a:cubicBezTo>
                      <a:cubicBezTo>
                        <a:pt x="540" y="848"/>
                        <a:pt x="539" y="869"/>
                        <a:pt x="546" y="875"/>
                      </a:cubicBezTo>
                      <a:cubicBezTo>
                        <a:pt x="555" y="883"/>
                        <a:pt x="570" y="866"/>
                        <a:pt x="570" y="855"/>
                      </a:cubicBezTo>
                      <a:cubicBezTo>
                        <a:pt x="571" y="842"/>
                        <a:pt x="551" y="842"/>
                        <a:pt x="547" y="832"/>
                      </a:cubicBezTo>
                      <a:cubicBezTo>
                        <a:pt x="544" y="822"/>
                        <a:pt x="554" y="794"/>
                        <a:pt x="557" y="783"/>
                      </a:cubicBezTo>
                      <a:cubicBezTo>
                        <a:pt x="561" y="767"/>
                        <a:pt x="557" y="763"/>
                        <a:pt x="541" y="756"/>
                      </a:cubicBezTo>
                      <a:cubicBezTo>
                        <a:pt x="532" y="752"/>
                        <a:pt x="525" y="753"/>
                        <a:pt x="517" y="747"/>
                      </a:cubicBezTo>
                      <a:cubicBezTo>
                        <a:pt x="513" y="743"/>
                        <a:pt x="501" y="734"/>
                        <a:pt x="498" y="730"/>
                      </a:cubicBezTo>
                      <a:cubicBezTo>
                        <a:pt x="490" y="720"/>
                        <a:pt x="500" y="710"/>
                        <a:pt x="496" y="699"/>
                      </a:cubicBezTo>
                      <a:cubicBezTo>
                        <a:pt x="492" y="687"/>
                        <a:pt x="480" y="689"/>
                        <a:pt x="474" y="677"/>
                      </a:cubicBezTo>
                      <a:cubicBezTo>
                        <a:pt x="472" y="673"/>
                        <a:pt x="474" y="669"/>
                        <a:pt x="473" y="665"/>
                      </a:cubicBezTo>
                      <a:cubicBezTo>
                        <a:pt x="472" y="662"/>
                        <a:pt x="467" y="655"/>
                        <a:pt x="468" y="652"/>
                      </a:cubicBezTo>
                      <a:cubicBezTo>
                        <a:pt x="468" y="651"/>
                        <a:pt x="476" y="645"/>
                        <a:pt x="477" y="644"/>
                      </a:cubicBezTo>
                      <a:cubicBezTo>
                        <a:pt x="482" y="638"/>
                        <a:pt x="485" y="631"/>
                        <a:pt x="491" y="625"/>
                      </a:cubicBezTo>
                      <a:cubicBezTo>
                        <a:pt x="495" y="621"/>
                        <a:pt x="499" y="618"/>
                        <a:pt x="501" y="613"/>
                      </a:cubicBezTo>
                      <a:cubicBezTo>
                        <a:pt x="504" y="606"/>
                        <a:pt x="505" y="593"/>
                        <a:pt x="509" y="585"/>
                      </a:cubicBezTo>
                      <a:cubicBezTo>
                        <a:pt x="518" y="569"/>
                        <a:pt x="521" y="562"/>
                        <a:pt x="502" y="554"/>
                      </a:cubicBezTo>
                      <a:cubicBezTo>
                        <a:pt x="491" y="550"/>
                        <a:pt x="488" y="547"/>
                        <a:pt x="484" y="533"/>
                      </a:cubicBezTo>
                      <a:cubicBezTo>
                        <a:pt x="482" y="523"/>
                        <a:pt x="478" y="508"/>
                        <a:pt x="471" y="500"/>
                      </a:cubicBezTo>
                      <a:cubicBezTo>
                        <a:pt x="464" y="492"/>
                        <a:pt x="453" y="493"/>
                        <a:pt x="448" y="481"/>
                      </a:cubicBezTo>
                      <a:cubicBezTo>
                        <a:pt x="439" y="460"/>
                        <a:pt x="473" y="421"/>
                        <a:pt x="494" y="432"/>
                      </a:cubicBezTo>
                      <a:cubicBezTo>
                        <a:pt x="501" y="435"/>
                        <a:pt x="499" y="445"/>
                        <a:pt x="508" y="439"/>
                      </a:cubicBezTo>
                      <a:cubicBezTo>
                        <a:pt x="509" y="439"/>
                        <a:pt x="513" y="423"/>
                        <a:pt x="513" y="421"/>
                      </a:cubicBezTo>
                      <a:cubicBezTo>
                        <a:pt x="514" y="411"/>
                        <a:pt x="510" y="397"/>
                        <a:pt x="505" y="388"/>
                      </a:cubicBezTo>
                      <a:cubicBezTo>
                        <a:pt x="500" y="382"/>
                        <a:pt x="492" y="373"/>
                        <a:pt x="485" y="372"/>
                      </a:cubicBezTo>
                      <a:cubicBezTo>
                        <a:pt x="470" y="370"/>
                        <a:pt x="476" y="383"/>
                        <a:pt x="472" y="365"/>
                      </a:cubicBezTo>
                      <a:cubicBezTo>
                        <a:pt x="471" y="358"/>
                        <a:pt x="470" y="350"/>
                        <a:pt x="469" y="342"/>
                      </a:cubicBezTo>
                      <a:cubicBezTo>
                        <a:pt x="468" y="335"/>
                        <a:pt x="463" y="330"/>
                        <a:pt x="470" y="322"/>
                      </a:cubicBezTo>
                      <a:cubicBezTo>
                        <a:pt x="476" y="316"/>
                        <a:pt x="475" y="321"/>
                        <a:pt x="482" y="319"/>
                      </a:cubicBezTo>
                      <a:cubicBezTo>
                        <a:pt x="488" y="317"/>
                        <a:pt x="499" y="311"/>
                        <a:pt x="506" y="312"/>
                      </a:cubicBezTo>
                      <a:cubicBezTo>
                        <a:pt x="510" y="312"/>
                        <a:pt x="515" y="319"/>
                        <a:pt x="519" y="318"/>
                      </a:cubicBezTo>
                      <a:cubicBezTo>
                        <a:pt x="536" y="314"/>
                        <a:pt x="521" y="293"/>
                        <a:pt x="531" y="284"/>
                      </a:cubicBezTo>
                      <a:cubicBezTo>
                        <a:pt x="542" y="274"/>
                        <a:pt x="550" y="288"/>
                        <a:pt x="557" y="285"/>
                      </a:cubicBezTo>
                      <a:cubicBezTo>
                        <a:pt x="561" y="283"/>
                        <a:pt x="563" y="273"/>
                        <a:pt x="567" y="271"/>
                      </a:cubicBezTo>
                      <a:cubicBezTo>
                        <a:pt x="569" y="269"/>
                        <a:pt x="577" y="268"/>
                        <a:pt x="578" y="267"/>
                      </a:cubicBezTo>
                      <a:cubicBezTo>
                        <a:pt x="582" y="264"/>
                        <a:pt x="583" y="254"/>
                        <a:pt x="588" y="250"/>
                      </a:cubicBezTo>
                      <a:cubicBezTo>
                        <a:pt x="593" y="247"/>
                        <a:pt x="594" y="251"/>
                        <a:pt x="598" y="251"/>
                      </a:cubicBezTo>
                      <a:cubicBezTo>
                        <a:pt x="601" y="250"/>
                        <a:pt x="608" y="250"/>
                        <a:pt x="612" y="250"/>
                      </a:cubicBezTo>
                      <a:cubicBezTo>
                        <a:pt x="618" y="249"/>
                        <a:pt x="616" y="252"/>
                        <a:pt x="625" y="249"/>
                      </a:cubicBezTo>
                      <a:cubicBezTo>
                        <a:pt x="631" y="247"/>
                        <a:pt x="648" y="238"/>
                        <a:pt x="652" y="235"/>
                      </a:cubicBezTo>
                      <a:cubicBezTo>
                        <a:pt x="662" y="227"/>
                        <a:pt x="657" y="223"/>
                        <a:pt x="656" y="210"/>
                      </a:cubicBezTo>
                      <a:cubicBezTo>
                        <a:pt x="656" y="205"/>
                        <a:pt x="655" y="188"/>
                        <a:pt x="660" y="185"/>
                      </a:cubicBezTo>
                      <a:cubicBezTo>
                        <a:pt x="665" y="183"/>
                        <a:pt x="678" y="195"/>
                        <a:pt x="684" y="196"/>
                      </a:cubicBezTo>
                      <a:cubicBezTo>
                        <a:pt x="692" y="199"/>
                        <a:pt x="707" y="194"/>
                        <a:pt x="714" y="198"/>
                      </a:cubicBezTo>
                      <a:cubicBezTo>
                        <a:pt x="726" y="204"/>
                        <a:pt x="716" y="223"/>
                        <a:pt x="741" y="215"/>
                      </a:cubicBezTo>
                      <a:cubicBezTo>
                        <a:pt x="749" y="213"/>
                        <a:pt x="763" y="202"/>
                        <a:pt x="766" y="195"/>
                      </a:cubicBezTo>
                      <a:cubicBezTo>
                        <a:pt x="769" y="186"/>
                        <a:pt x="765" y="191"/>
                        <a:pt x="763" y="185"/>
                      </a:cubicBezTo>
                      <a:cubicBezTo>
                        <a:pt x="762" y="181"/>
                        <a:pt x="758" y="182"/>
                        <a:pt x="757" y="175"/>
                      </a:cubicBezTo>
                      <a:cubicBezTo>
                        <a:pt x="757" y="170"/>
                        <a:pt x="764" y="163"/>
                        <a:pt x="764" y="158"/>
                      </a:cubicBezTo>
                      <a:cubicBezTo>
                        <a:pt x="765" y="153"/>
                        <a:pt x="763" y="149"/>
                        <a:pt x="764" y="144"/>
                      </a:cubicBezTo>
                      <a:cubicBezTo>
                        <a:pt x="764" y="136"/>
                        <a:pt x="765" y="133"/>
                        <a:pt x="770" y="127"/>
                      </a:cubicBezTo>
                      <a:cubicBezTo>
                        <a:pt x="773" y="122"/>
                        <a:pt x="779" y="119"/>
                        <a:pt x="783" y="114"/>
                      </a:cubicBezTo>
                      <a:cubicBezTo>
                        <a:pt x="786" y="110"/>
                        <a:pt x="787" y="103"/>
                        <a:pt x="791" y="99"/>
                      </a:cubicBezTo>
                      <a:cubicBezTo>
                        <a:pt x="797" y="92"/>
                        <a:pt x="828" y="89"/>
                        <a:pt x="829" y="78"/>
                      </a:cubicBezTo>
                      <a:cubicBezTo>
                        <a:pt x="830" y="71"/>
                        <a:pt x="807" y="65"/>
                        <a:pt x="801" y="58"/>
                      </a:cubicBezTo>
                      <a:cubicBezTo>
                        <a:pt x="796" y="50"/>
                        <a:pt x="793" y="33"/>
                        <a:pt x="793" y="24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grpSp>
            <p:nvGrpSpPr>
              <p:cNvPr id="42" name="Группа 41">
                <a:extLst>
                  <a:ext uri="{FF2B5EF4-FFF2-40B4-BE49-F238E27FC236}">
                    <a16:creationId xmlns:a16="http://schemas.microsoft.com/office/drawing/2014/main" id="{D116C039-1FD3-6D10-9E24-FF88E05D3E62}"/>
                  </a:ext>
                </a:extLst>
              </p:cNvPr>
              <p:cNvGrpSpPr/>
              <p:nvPr/>
            </p:nvGrpSpPr>
            <p:grpSpPr>
              <a:xfrm>
                <a:off x="4246437" y="2421917"/>
                <a:ext cx="1198194" cy="1958282"/>
                <a:chOff x="7124700" y="1533526"/>
                <a:chExt cx="1441450" cy="2355850"/>
              </a:xfrm>
              <a:grpFill/>
            </p:grpSpPr>
            <p:sp>
              <p:nvSpPr>
                <p:cNvPr id="64" name="Freeform 62">
                  <a:extLst>
                    <a:ext uri="{FF2B5EF4-FFF2-40B4-BE49-F238E27FC236}">
                      <a16:creationId xmlns:a16="http://schemas.microsoft.com/office/drawing/2014/main" id="{BB1906C5-734C-18DD-5A4E-A38271136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83600" y="2751138"/>
                  <a:ext cx="82550" cy="15875"/>
                </a:xfrm>
                <a:custGeom>
                  <a:avLst/>
                  <a:gdLst>
                    <a:gd name="T0" fmla="*/ 135 w 135"/>
                    <a:gd name="T1" fmla="*/ 12 h 27"/>
                    <a:gd name="T2" fmla="*/ 102 w 135"/>
                    <a:gd name="T3" fmla="*/ 13 h 27"/>
                    <a:gd name="T4" fmla="*/ 70 w 135"/>
                    <a:gd name="T5" fmla="*/ 20 h 27"/>
                    <a:gd name="T6" fmla="*/ 0 w 135"/>
                    <a:gd name="T7" fmla="*/ 12 h 27"/>
                    <a:gd name="T8" fmla="*/ 21 w 135"/>
                    <a:gd name="T9" fmla="*/ 8 h 27"/>
                    <a:gd name="T10" fmla="*/ 35 w 135"/>
                    <a:gd name="T11" fmla="*/ 7 h 27"/>
                    <a:gd name="T12" fmla="*/ 69 w 135"/>
                    <a:gd name="T13" fmla="*/ 7 h 27"/>
                    <a:gd name="T14" fmla="*/ 135 w 135"/>
                    <a:gd name="T15" fmla="*/ 1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5" h="27">
                      <a:moveTo>
                        <a:pt x="135" y="12"/>
                      </a:moveTo>
                      <a:cubicBezTo>
                        <a:pt x="127" y="20"/>
                        <a:pt x="112" y="13"/>
                        <a:pt x="102" y="13"/>
                      </a:cubicBezTo>
                      <a:cubicBezTo>
                        <a:pt x="89" y="13"/>
                        <a:pt x="81" y="18"/>
                        <a:pt x="70" y="20"/>
                      </a:cubicBezTo>
                      <a:cubicBezTo>
                        <a:pt x="52" y="23"/>
                        <a:pt x="14" y="27"/>
                        <a:pt x="0" y="12"/>
                      </a:cubicBezTo>
                      <a:cubicBezTo>
                        <a:pt x="7" y="4"/>
                        <a:pt x="13" y="8"/>
                        <a:pt x="21" y="8"/>
                      </a:cubicBezTo>
                      <a:cubicBezTo>
                        <a:pt x="28" y="8"/>
                        <a:pt x="26" y="9"/>
                        <a:pt x="35" y="7"/>
                      </a:cubicBezTo>
                      <a:cubicBezTo>
                        <a:pt x="49" y="2"/>
                        <a:pt x="55" y="6"/>
                        <a:pt x="69" y="7"/>
                      </a:cubicBezTo>
                      <a:cubicBezTo>
                        <a:pt x="85" y="8"/>
                        <a:pt x="122" y="0"/>
                        <a:pt x="135" y="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5" name="Freeform 63">
                  <a:extLst>
                    <a:ext uri="{FF2B5EF4-FFF2-40B4-BE49-F238E27FC236}">
                      <a16:creationId xmlns:a16="http://schemas.microsoft.com/office/drawing/2014/main" id="{B80A3F0A-C1F3-67F0-EB40-CB7053AEFE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29613" y="2776538"/>
                  <a:ext cx="127000" cy="52388"/>
                </a:xfrm>
                <a:custGeom>
                  <a:avLst/>
                  <a:gdLst>
                    <a:gd name="T0" fmla="*/ 9 w 207"/>
                    <a:gd name="T1" fmla="*/ 23 h 84"/>
                    <a:gd name="T2" fmla="*/ 41 w 207"/>
                    <a:gd name="T3" fmla="*/ 6 h 84"/>
                    <a:gd name="T4" fmla="*/ 53 w 207"/>
                    <a:gd name="T5" fmla="*/ 2 h 84"/>
                    <a:gd name="T6" fmla="*/ 123 w 207"/>
                    <a:gd name="T7" fmla="*/ 48 h 84"/>
                    <a:gd name="T8" fmla="*/ 175 w 207"/>
                    <a:gd name="T9" fmla="*/ 54 h 84"/>
                    <a:gd name="T10" fmla="*/ 207 w 207"/>
                    <a:gd name="T11" fmla="*/ 83 h 84"/>
                    <a:gd name="T12" fmla="*/ 190 w 207"/>
                    <a:gd name="T13" fmla="*/ 83 h 84"/>
                    <a:gd name="T14" fmla="*/ 172 w 207"/>
                    <a:gd name="T15" fmla="*/ 80 h 84"/>
                    <a:gd name="T16" fmla="*/ 161 w 207"/>
                    <a:gd name="T17" fmla="*/ 72 h 84"/>
                    <a:gd name="T18" fmla="*/ 145 w 207"/>
                    <a:gd name="T19" fmla="*/ 83 h 84"/>
                    <a:gd name="T20" fmla="*/ 122 w 207"/>
                    <a:gd name="T21" fmla="*/ 78 h 84"/>
                    <a:gd name="T22" fmla="*/ 79 w 207"/>
                    <a:gd name="T23" fmla="*/ 69 h 84"/>
                    <a:gd name="T24" fmla="*/ 65 w 207"/>
                    <a:gd name="T25" fmla="*/ 57 h 84"/>
                    <a:gd name="T26" fmla="*/ 39 w 207"/>
                    <a:gd name="T27" fmla="*/ 47 h 84"/>
                    <a:gd name="T28" fmla="*/ 0 w 207"/>
                    <a:gd name="T29" fmla="*/ 56 h 84"/>
                    <a:gd name="T30" fmla="*/ 10 w 207"/>
                    <a:gd name="T31" fmla="*/ 36 h 84"/>
                    <a:gd name="T32" fmla="*/ 9 w 207"/>
                    <a:gd name="T33" fmla="*/ 23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7" h="84">
                      <a:moveTo>
                        <a:pt x="9" y="23"/>
                      </a:moveTo>
                      <a:cubicBezTo>
                        <a:pt x="20" y="18"/>
                        <a:pt x="32" y="11"/>
                        <a:pt x="41" y="6"/>
                      </a:cubicBezTo>
                      <a:cubicBezTo>
                        <a:pt x="46" y="3"/>
                        <a:pt x="45" y="0"/>
                        <a:pt x="53" y="2"/>
                      </a:cubicBezTo>
                      <a:cubicBezTo>
                        <a:pt x="55" y="35"/>
                        <a:pt x="99" y="41"/>
                        <a:pt x="123" y="48"/>
                      </a:cubicBezTo>
                      <a:cubicBezTo>
                        <a:pt x="141" y="54"/>
                        <a:pt x="158" y="45"/>
                        <a:pt x="175" y="54"/>
                      </a:cubicBezTo>
                      <a:cubicBezTo>
                        <a:pt x="187" y="60"/>
                        <a:pt x="195" y="77"/>
                        <a:pt x="207" y="83"/>
                      </a:cubicBezTo>
                      <a:cubicBezTo>
                        <a:pt x="200" y="80"/>
                        <a:pt x="196" y="83"/>
                        <a:pt x="190" y="83"/>
                      </a:cubicBezTo>
                      <a:cubicBezTo>
                        <a:pt x="186" y="82"/>
                        <a:pt x="176" y="81"/>
                        <a:pt x="172" y="80"/>
                      </a:cubicBezTo>
                      <a:cubicBezTo>
                        <a:pt x="167" y="78"/>
                        <a:pt x="165" y="72"/>
                        <a:pt x="161" y="72"/>
                      </a:cubicBezTo>
                      <a:cubicBezTo>
                        <a:pt x="155" y="73"/>
                        <a:pt x="152" y="82"/>
                        <a:pt x="145" y="83"/>
                      </a:cubicBezTo>
                      <a:cubicBezTo>
                        <a:pt x="138" y="84"/>
                        <a:pt x="129" y="79"/>
                        <a:pt x="122" y="78"/>
                      </a:cubicBezTo>
                      <a:cubicBezTo>
                        <a:pt x="110" y="77"/>
                        <a:pt x="92" y="75"/>
                        <a:pt x="79" y="69"/>
                      </a:cubicBezTo>
                      <a:cubicBezTo>
                        <a:pt x="73" y="66"/>
                        <a:pt x="70" y="60"/>
                        <a:pt x="65" y="57"/>
                      </a:cubicBezTo>
                      <a:cubicBezTo>
                        <a:pt x="57" y="52"/>
                        <a:pt x="39" y="56"/>
                        <a:pt x="39" y="47"/>
                      </a:cubicBezTo>
                      <a:cubicBezTo>
                        <a:pt x="29" y="50"/>
                        <a:pt x="9" y="59"/>
                        <a:pt x="0" y="56"/>
                      </a:cubicBezTo>
                      <a:cubicBezTo>
                        <a:pt x="7" y="50"/>
                        <a:pt x="9" y="44"/>
                        <a:pt x="10" y="36"/>
                      </a:cubicBezTo>
                      <a:cubicBezTo>
                        <a:pt x="10" y="30"/>
                        <a:pt x="5" y="29"/>
                        <a:pt x="9" y="2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6" name="Freeform 64">
                  <a:extLst>
                    <a:ext uri="{FF2B5EF4-FFF2-40B4-BE49-F238E27FC236}">
                      <a16:creationId xmlns:a16="http://schemas.microsoft.com/office/drawing/2014/main" id="{2895DA24-3973-FF0B-5C7B-94D2539214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3038" y="2414588"/>
                  <a:ext cx="71438" cy="153988"/>
                </a:xfrm>
                <a:custGeom>
                  <a:avLst/>
                  <a:gdLst>
                    <a:gd name="T0" fmla="*/ 53 w 117"/>
                    <a:gd name="T1" fmla="*/ 12 h 252"/>
                    <a:gd name="T2" fmla="*/ 76 w 117"/>
                    <a:gd name="T3" fmla="*/ 23 h 252"/>
                    <a:gd name="T4" fmla="*/ 102 w 117"/>
                    <a:gd name="T5" fmla="*/ 41 h 252"/>
                    <a:gd name="T6" fmla="*/ 114 w 117"/>
                    <a:gd name="T7" fmla="*/ 71 h 252"/>
                    <a:gd name="T8" fmla="*/ 96 w 117"/>
                    <a:gd name="T9" fmla="*/ 86 h 252"/>
                    <a:gd name="T10" fmla="*/ 91 w 117"/>
                    <a:gd name="T11" fmla="*/ 106 h 252"/>
                    <a:gd name="T12" fmla="*/ 92 w 117"/>
                    <a:gd name="T13" fmla="*/ 114 h 252"/>
                    <a:gd name="T14" fmla="*/ 86 w 117"/>
                    <a:gd name="T15" fmla="*/ 116 h 252"/>
                    <a:gd name="T16" fmla="*/ 79 w 117"/>
                    <a:gd name="T17" fmla="*/ 122 h 252"/>
                    <a:gd name="T18" fmla="*/ 80 w 117"/>
                    <a:gd name="T19" fmla="*/ 143 h 252"/>
                    <a:gd name="T20" fmla="*/ 77 w 117"/>
                    <a:gd name="T21" fmla="*/ 165 h 252"/>
                    <a:gd name="T22" fmla="*/ 82 w 117"/>
                    <a:gd name="T23" fmla="*/ 252 h 252"/>
                    <a:gd name="T24" fmla="*/ 60 w 117"/>
                    <a:gd name="T25" fmla="*/ 242 h 252"/>
                    <a:gd name="T26" fmla="*/ 65 w 117"/>
                    <a:gd name="T27" fmla="*/ 221 h 252"/>
                    <a:gd name="T28" fmla="*/ 55 w 117"/>
                    <a:gd name="T29" fmla="*/ 192 h 252"/>
                    <a:gd name="T30" fmla="*/ 47 w 117"/>
                    <a:gd name="T31" fmla="*/ 166 h 252"/>
                    <a:gd name="T32" fmla="*/ 31 w 117"/>
                    <a:gd name="T33" fmla="*/ 143 h 252"/>
                    <a:gd name="T34" fmla="*/ 24 w 117"/>
                    <a:gd name="T35" fmla="*/ 111 h 252"/>
                    <a:gd name="T36" fmla="*/ 4 w 117"/>
                    <a:gd name="T37" fmla="*/ 127 h 252"/>
                    <a:gd name="T38" fmla="*/ 21 w 117"/>
                    <a:gd name="T39" fmla="*/ 97 h 252"/>
                    <a:gd name="T40" fmla="*/ 36 w 117"/>
                    <a:gd name="T41" fmla="*/ 55 h 252"/>
                    <a:gd name="T42" fmla="*/ 36 w 117"/>
                    <a:gd name="T43" fmla="*/ 19 h 252"/>
                    <a:gd name="T44" fmla="*/ 53 w 117"/>
                    <a:gd name="T45" fmla="*/ 12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7" h="252">
                      <a:moveTo>
                        <a:pt x="53" y="12"/>
                      </a:moveTo>
                      <a:cubicBezTo>
                        <a:pt x="58" y="8"/>
                        <a:pt x="69" y="20"/>
                        <a:pt x="76" y="23"/>
                      </a:cubicBezTo>
                      <a:cubicBezTo>
                        <a:pt x="89" y="28"/>
                        <a:pt x="94" y="28"/>
                        <a:pt x="102" y="41"/>
                      </a:cubicBezTo>
                      <a:cubicBezTo>
                        <a:pt x="107" y="49"/>
                        <a:pt x="117" y="61"/>
                        <a:pt x="114" y="71"/>
                      </a:cubicBezTo>
                      <a:cubicBezTo>
                        <a:pt x="111" y="78"/>
                        <a:pt x="100" y="80"/>
                        <a:pt x="96" y="86"/>
                      </a:cubicBezTo>
                      <a:cubicBezTo>
                        <a:pt x="92" y="93"/>
                        <a:pt x="93" y="99"/>
                        <a:pt x="91" y="106"/>
                      </a:cubicBezTo>
                      <a:cubicBezTo>
                        <a:pt x="90" y="108"/>
                        <a:pt x="95" y="110"/>
                        <a:pt x="92" y="114"/>
                      </a:cubicBezTo>
                      <a:cubicBezTo>
                        <a:pt x="90" y="116"/>
                        <a:pt x="87" y="113"/>
                        <a:pt x="86" y="116"/>
                      </a:cubicBezTo>
                      <a:cubicBezTo>
                        <a:pt x="82" y="121"/>
                        <a:pt x="81" y="115"/>
                        <a:pt x="79" y="122"/>
                      </a:cubicBezTo>
                      <a:cubicBezTo>
                        <a:pt x="78" y="126"/>
                        <a:pt x="81" y="139"/>
                        <a:pt x="80" y="143"/>
                      </a:cubicBezTo>
                      <a:cubicBezTo>
                        <a:pt x="80" y="151"/>
                        <a:pt x="78" y="158"/>
                        <a:pt x="77" y="165"/>
                      </a:cubicBezTo>
                      <a:cubicBezTo>
                        <a:pt x="72" y="191"/>
                        <a:pt x="67" y="226"/>
                        <a:pt x="82" y="252"/>
                      </a:cubicBezTo>
                      <a:cubicBezTo>
                        <a:pt x="77" y="252"/>
                        <a:pt x="62" y="246"/>
                        <a:pt x="60" y="242"/>
                      </a:cubicBezTo>
                      <a:cubicBezTo>
                        <a:pt x="53" y="232"/>
                        <a:pt x="63" y="231"/>
                        <a:pt x="65" y="221"/>
                      </a:cubicBezTo>
                      <a:cubicBezTo>
                        <a:pt x="68" y="210"/>
                        <a:pt x="59" y="201"/>
                        <a:pt x="55" y="192"/>
                      </a:cubicBezTo>
                      <a:cubicBezTo>
                        <a:pt x="51" y="183"/>
                        <a:pt x="51" y="175"/>
                        <a:pt x="47" y="166"/>
                      </a:cubicBezTo>
                      <a:cubicBezTo>
                        <a:pt x="44" y="155"/>
                        <a:pt x="37" y="152"/>
                        <a:pt x="31" y="143"/>
                      </a:cubicBezTo>
                      <a:cubicBezTo>
                        <a:pt x="26" y="135"/>
                        <a:pt x="29" y="117"/>
                        <a:pt x="24" y="111"/>
                      </a:cubicBezTo>
                      <a:cubicBezTo>
                        <a:pt x="16" y="100"/>
                        <a:pt x="8" y="120"/>
                        <a:pt x="4" y="127"/>
                      </a:cubicBezTo>
                      <a:cubicBezTo>
                        <a:pt x="0" y="111"/>
                        <a:pt x="14" y="108"/>
                        <a:pt x="21" y="97"/>
                      </a:cubicBezTo>
                      <a:cubicBezTo>
                        <a:pt x="28" y="88"/>
                        <a:pt x="35" y="67"/>
                        <a:pt x="36" y="55"/>
                      </a:cubicBezTo>
                      <a:cubicBezTo>
                        <a:pt x="38" y="43"/>
                        <a:pt x="34" y="31"/>
                        <a:pt x="36" y="19"/>
                      </a:cubicBezTo>
                      <a:cubicBezTo>
                        <a:pt x="39" y="0"/>
                        <a:pt x="41" y="2"/>
                        <a:pt x="53" y="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7" name="Freeform 65">
                  <a:extLst>
                    <a:ext uri="{FF2B5EF4-FFF2-40B4-BE49-F238E27FC236}">
                      <a16:creationId xmlns:a16="http://schemas.microsoft.com/office/drawing/2014/main" id="{8BC576BB-6C05-1156-8170-3E7FB2CC12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24700" y="1533526"/>
                  <a:ext cx="1077913" cy="2355850"/>
                </a:xfrm>
                <a:custGeom>
                  <a:avLst/>
                  <a:gdLst>
                    <a:gd name="T0" fmla="*/ 203 w 1763"/>
                    <a:gd name="T1" fmla="*/ 300 h 3847"/>
                    <a:gd name="T2" fmla="*/ 364 w 1763"/>
                    <a:gd name="T3" fmla="*/ 211 h 3847"/>
                    <a:gd name="T4" fmla="*/ 507 w 1763"/>
                    <a:gd name="T5" fmla="*/ 160 h 3847"/>
                    <a:gd name="T6" fmla="*/ 732 w 1763"/>
                    <a:gd name="T7" fmla="*/ 173 h 3847"/>
                    <a:gd name="T8" fmla="*/ 756 w 1763"/>
                    <a:gd name="T9" fmla="*/ 323 h 3847"/>
                    <a:gd name="T10" fmla="*/ 851 w 1763"/>
                    <a:gd name="T11" fmla="*/ 344 h 3847"/>
                    <a:gd name="T12" fmla="*/ 1025 w 1763"/>
                    <a:gd name="T13" fmla="*/ 358 h 3847"/>
                    <a:gd name="T14" fmla="*/ 1125 w 1763"/>
                    <a:gd name="T15" fmla="*/ 295 h 3847"/>
                    <a:gd name="T16" fmla="*/ 1169 w 1763"/>
                    <a:gd name="T17" fmla="*/ 209 h 3847"/>
                    <a:gd name="T18" fmla="*/ 1268 w 1763"/>
                    <a:gd name="T19" fmla="*/ 96 h 3847"/>
                    <a:gd name="T20" fmla="*/ 1348 w 1763"/>
                    <a:gd name="T21" fmla="*/ 9 h 3847"/>
                    <a:gd name="T22" fmla="*/ 1492 w 1763"/>
                    <a:gd name="T23" fmla="*/ 75 h 3847"/>
                    <a:gd name="T24" fmla="*/ 1438 w 1763"/>
                    <a:gd name="T25" fmla="*/ 164 h 3847"/>
                    <a:gd name="T26" fmla="*/ 1465 w 1763"/>
                    <a:gd name="T27" fmla="*/ 333 h 3847"/>
                    <a:gd name="T28" fmla="*/ 1481 w 1763"/>
                    <a:gd name="T29" fmla="*/ 436 h 3847"/>
                    <a:gd name="T30" fmla="*/ 1467 w 1763"/>
                    <a:gd name="T31" fmla="*/ 539 h 3847"/>
                    <a:gd name="T32" fmla="*/ 1458 w 1763"/>
                    <a:gd name="T33" fmla="*/ 666 h 3847"/>
                    <a:gd name="T34" fmla="*/ 1486 w 1763"/>
                    <a:gd name="T35" fmla="*/ 794 h 3847"/>
                    <a:gd name="T36" fmla="*/ 1293 w 1763"/>
                    <a:gd name="T37" fmla="*/ 777 h 3847"/>
                    <a:gd name="T38" fmla="*/ 1188 w 1763"/>
                    <a:gd name="T39" fmla="*/ 927 h 3847"/>
                    <a:gd name="T40" fmla="*/ 1145 w 1763"/>
                    <a:gd name="T41" fmla="*/ 1164 h 3847"/>
                    <a:gd name="T42" fmla="*/ 1049 w 1763"/>
                    <a:gd name="T43" fmla="*/ 1123 h 3847"/>
                    <a:gd name="T44" fmla="*/ 1041 w 1763"/>
                    <a:gd name="T45" fmla="*/ 1305 h 3847"/>
                    <a:gd name="T46" fmla="*/ 900 w 1763"/>
                    <a:gd name="T47" fmla="*/ 1366 h 3847"/>
                    <a:gd name="T48" fmla="*/ 980 w 1763"/>
                    <a:gd name="T49" fmla="*/ 1515 h 3847"/>
                    <a:gd name="T50" fmla="*/ 1025 w 1763"/>
                    <a:gd name="T51" fmla="*/ 1593 h 3847"/>
                    <a:gd name="T52" fmla="*/ 1020 w 1763"/>
                    <a:gd name="T53" fmla="*/ 1678 h 3847"/>
                    <a:gd name="T54" fmla="*/ 1187 w 1763"/>
                    <a:gd name="T55" fmla="*/ 1854 h 3847"/>
                    <a:gd name="T56" fmla="*/ 1303 w 1763"/>
                    <a:gd name="T57" fmla="*/ 1936 h 3847"/>
                    <a:gd name="T58" fmla="*/ 1482 w 1763"/>
                    <a:gd name="T59" fmla="*/ 2075 h 3847"/>
                    <a:gd name="T60" fmla="*/ 1523 w 1763"/>
                    <a:gd name="T61" fmla="*/ 2216 h 3847"/>
                    <a:gd name="T62" fmla="*/ 1447 w 1763"/>
                    <a:gd name="T63" fmla="*/ 2162 h 3847"/>
                    <a:gd name="T64" fmla="*/ 1455 w 1763"/>
                    <a:gd name="T65" fmla="*/ 2289 h 3847"/>
                    <a:gd name="T66" fmla="*/ 1679 w 1763"/>
                    <a:gd name="T67" fmla="*/ 2518 h 3847"/>
                    <a:gd name="T68" fmla="*/ 1579 w 1763"/>
                    <a:gd name="T69" fmla="*/ 2796 h 3847"/>
                    <a:gd name="T70" fmla="*/ 1657 w 1763"/>
                    <a:gd name="T71" fmla="*/ 3001 h 3847"/>
                    <a:gd name="T72" fmla="*/ 1746 w 1763"/>
                    <a:gd name="T73" fmla="*/ 3073 h 3847"/>
                    <a:gd name="T74" fmla="*/ 1608 w 1763"/>
                    <a:gd name="T75" fmla="*/ 3215 h 3847"/>
                    <a:gd name="T76" fmla="*/ 1649 w 1763"/>
                    <a:gd name="T77" fmla="*/ 3311 h 3847"/>
                    <a:gd name="T78" fmla="*/ 1715 w 1763"/>
                    <a:gd name="T79" fmla="*/ 3391 h 3847"/>
                    <a:gd name="T80" fmla="*/ 1763 w 1763"/>
                    <a:gd name="T81" fmla="*/ 3568 h 3847"/>
                    <a:gd name="T82" fmla="*/ 1743 w 1763"/>
                    <a:gd name="T83" fmla="*/ 3847 h 3847"/>
                    <a:gd name="T84" fmla="*/ 1448 w 1763"/>
                    <a:gd name="T85" fmla="*/ 3546 h 3847"/>
                    <a:gd name="T86" fmla="*/ 772 w 1763"/>
                    <a:gd name="T87" fmla="*/ 2828 h 3847"/>
                    <a:gd name="T88" fmla="*/ 700 w 1763"/>
                    <a:gd name="T89" fmla="*/ 2466 h 3847"/>
                    <a:gd name="T90" fmla="*/ 712 w 1763"/>
                    <a:gd name="T91" fmla="*/ 2253 h 3847"/>
                    <a:gd name="T92" fmla="*/ 732 w 1763"/>
                    <a:gd name="T93" fmla="*/ 2003 h 3847"/>
                    <a:gd name="T94" fmla="*/ 710 w 1763"/>
                    <a:gd name="T95" fmla="*/ 1694 h 3847"/>
                    <a:gd name="T96" fmla="*/ 682 w 1763"/>
                    <a:gd name="T97" fmla="*/ 1388 h 3847"/>
                    <a:gd name="T98" fmla="*/ 748 w 1763"/>
                    <a:gd name="T99" fmla="*/ 1257 h 3847"/>
                    <a:gd name="T100" fmla="*/ 641 w 1763"/>
                    <a:gd name="T101" fmla="*/ 1049 h 3847"/>
                    <a:gd name="T102" fmla="*/ 547 w 1763"/>
                    <a:gd name="T103" fmla="*/ 863 h 3847"/>
                    <a:gd name="T104" fmla="*/ 587 w 1763"/>
                    <a:gd name="T105" fmla="*/ 771 h 3847"/>
                    <a:gd name="T106" fmla="*/ 422 w 1763"/>
                    <a:gd name="T107" fmla="*/ 913 h 3847"/>
                    <a:gd name="T108" fmla="*/ 485 w 1763"/>
                    <a:gd name="T109" fmla="*/ 1005 h 3847"/>
                    <a:gd name="T110" fmla="*/ 582 w 1763"/>
                    <a:gd name="T111" fmla="*/ 1128 h 3847"/>
                    <a:gd name="T112" fmla="*/ 460 w 1763"/>
                    <a:gd name="T113" fmla="*/ 1115 h 3847"/>
                    <a:gd name="T114" fmla="*/ 415 w 1763"/>
                    <a:gd name="T115" fmla="*/ 1013 h 3847"/>
                    <a:gd name="T116" fmla="*/ 239 w 1763"/>
                    <a:gd name="T117" fmla="*/ 875 h 3847"/>
                    <a:gd name="T118" fmla="*/ 170 w 1763"/>
                    <a:gd name="T119" fmla="*/ 713 h 3847"/>
                    <a:gd name="T120" fmla="*/ 102 w 1763"/>
                    <a:gd name="T121" fmla="*/ 556 h 3847"/>
                    <a:gd name="T122" fmla="*/ 10 w 1763"/>
                    <a:gd name="T123" fmla="*/ 429 h 3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763" h="3847">
                      <a:moveTo>
                        <a:pt x="69" y="372"/>
                      </a:moveTo>
                      <a:cubicBezTo>
                        <a:pt x="89" y="365"/>
                        <a:pt x="103" y="365"/>
                        <a:pt x="122" y="362"/>
                      </a:cubicBezTo>
                      <a:cubicBezTo>
                        <a:pt x="129" y="360"/>
                        <a:pt x="139" y="356"/>
                        <a:pt x="146" y="356"/>
                      </a:cubicBezTo>
                      <a:cubicBezTo>
                        <a:pt x="152" y="356"/>
                        <a:pt x="158" y="366"/>
                        <a:pt x="161" y="366"/>
                      </a:cubicBezTo>
                      <a:cubicBezTo>
                        <a:pt x="169" y="367"/>
                        <a:pt x="177" y="360"/>
                        <a:pt x="176" y="352"/>
                      </a:cubicBezTo>
                      <a:cubicBezTo>
                        <a:pt x="175" y="346"/>
                        <a:pt x="165" y="344"/>
                        <a:pt x="162" y="340"/>
                      </a:cubicBezTo>
                      <a:cubicBezTo>
                        <a:pt x="158" y="337"/>
                        <a:pt x="150" y="329"/>
                        <a:pt x="151" y="324"/>
                      </a:cubicBezTo>
                      <a:cubicBezTo>
                        <a:pt x="151" y="313"/>
                        <a:pt x="167" y="303"/>
                        <a:pt x="176" y="306"/>
                      </a:cubicBezTo>
                      <a:cubicBezTo>
                        <a:pt x="186" y="308"/>
                        <a:pt x="184" y="313"/>
                        <a:pt x="193" y="314"/>
                      </a:cubicBezTo>
                      <a:cubicBezTo>
                        <a:pt x="200" y="314"/>
                        <a:pt x="209" y="308"/>
                        <a:pt x="203" y="300"/>
                      </a:cubicBezTo>
                      <a:cubicBezTo>
                        <a:pt x="216" y="302"/>
                        <a:pt x="214" y="287"/>
                        <a:pt x="229" y="291"/>
                      </a:cubicBezTo>
                      <a:cubicBezTo>
                        <a:pt x="233" y="293"/>
                        <a:pt x="233" y="297"/>
                        <a:pt x="236" y="298"/>
                      </a:cubicBezTo>
                      <a:cubicBezTo>
                        <a:pt x="242" y="301"/>
                        <a:pt x="248" y="300"/>
                        <a:pt x="254" y="301"/>
                      </a:cubicBezTo>
                      <a:cubicBezTo>
                        <a:pt x="256" y="302"/>
                        <a:pt x="261" y="299"/>
                        <a:pt x="263" y="301"/>
                      </a:cubicBezTo>
                      <a:cubicBezTo>
                        <a:pt x="265" y="302"/>
                        <a:pt x="261" y="308"/>
                        <a:pt x="262" y="309"/>
                      </a:cubicBezTo>
                      <a:cubicBezTo>
                        <a:pt x="264" y="311"/>
                        <a:pt x="264" y="315"/>
                        <a:pt x="272" y="314"/>
                      </a:cubicBezTo>
                      <a:cubicBezTo>
                        <a:pt x="279" y="312"/>
                        <a:pt x="284" y="298"/>
                        <a:pt x="286" y="292"/>
                      </a:cubicBezTo>
                      <a:cubicBezTo>
                        <a:pt x="289" y="281"/>
                        <a:pt x="287" y="283"/>
                        <a:pt x="294" y="275"/>
                      </a:cubicBezTo>
                      <a:cubicBezTo>
                        <a:pt x="303" y="264"/>
                        <a:pt x="313" y="263"/>
                        <a:pt x="327" y="257"/>
                      </a:cubicBezTo>
                      <a:cubicBezTo>
                        <a:pt x="348" y="247"/>
                        <a:pt x="363" y="235"/>
                        <a:pt x="364" y="211"/>
                      </a:cubicBezTo>
                      <a:cubicBezTo>
                        <a:pt x="364" y="201"/>
                        <a:pt x="364" y="194"/>
                        <a:pt x="374" y="193"/>
                      </a:cubicBezTo>
                      <a:cubicBezTo>
                        <a:pt x="378" y="193"/>
                        <a:pt x="390" y="197"/>
                        <a:pt x="393" y="198"/>
                      </a:cubicBezTo>
                      <a:cubicBezTo>
                        <a:pt x="397" y="200"/>
                        <a:pt x="401" y="205"/>
                        <a:pt x="405" y="205"/>
                      </a:cubicBezTo>
                      <a:cubicBezTo>
                        <a:pt x="411" y="205"/>
                        <a:pt x="412" y="199"/>
                        <a:pt x="417" y="197"/>
                      </a:cubicBezTo>
                      <a:cubicBezTo>
                        <a:pt x="422" y="196"/>
                        <a:pt x="435" y="202"/>
                        <a:pt x="441" y="203"/>
                      </a:cubicBezTo>
                      <a:cubicBezTo>
                        <a:pt x="446" y="204"/>
                        <a:pt x="454" y="209"/>
                        <a:pt x="460" y="206"/>
                      </a:cubicBezTo>
                      <a:cubicBezTo>
                        <a:pt x="465" y="204"/>
                        <a:pt x="463" y="198"/>
                        <a:pt x="467" y="196"/>
                      </a:cubicBezTo>
                      <a:cubicBezTo>
                        <a:pt x="469" y="195"/>
                        <a:pt x="476" y="197"/>
                        <a:pt x="479" y="197"/>
                      </a:cubicBezTo>
                      <a:cubicBezTo>
                        <a:pt x="490" y="195"/>
                        <a:pt x="504" y="189"/>
                        <a:pt x="505" y="177"/>
                      </a:cubicBezTo>
                      <a:cubicBezTo>
                        <a:pt x="506" y="166"/>
                        <a:pt x="497" y="170"/>
                        <a:pt x="507" y="160"/>
                      </a:cubicBezTo>
                      <a:cubicBezTo>
                        <a:pt x="506" y="161"/>
                        <a:pt x="521" y="151"/>
                        <a:pt x="521" y="151"/>
                      </a:cubicBezTo>
                      <a:cubicBezTo>
                        <a:pt x="526" y="148"/>
                        <a:pt x="527" y="147"/>
                        <a:pt x="534" y="147"/>
                      </a:cubicBezTo>
                      <a:cubicBezTo>
                        <a:pt x="541" y="147"/>
                        <a:pt x="546" y="154"/>
                        <a:pt x="553" y="154"/>
                      </a:cubicBezTo>
                      <a:cubicBezTo>
                        <a:pt x="560" y="155"/>
                        <a:pt x="563" y="150"/>
                        <a:pt x="569" y="149"/>
                      </a:cubicBezTo>
                      <a:cubicBezTo>
                        <a:pt x="579" y="149"/>
                        <a:pt x="594" y="160"/>
                        <a:pt x="605" y="165"/>
                      </a:cubicBezTo>
                      <a:cubicBezTo>
                        <a:pt x="617" y="170"/>
                        <a:pt x="623" y="171"/>
                        <a:pt x="639" y="166"/>
                      </a:cubicBezTo>
                      <a:cubicBezTo>
                        <a:pt x="650" y="162"/>
                        <a:pt x="652" y="153"/>
                        <a:pt x="662" y="148"/>
                      </a:cubicBezTo>
                      <a:cubicBezTo>
                        <a:pt x="670" y="145"/>
                        <a:pt x="668" y="147"/>
                        <a:pt x="676" y="151"/>
                      </a:cubicBezTo>
                      <a:cubicBezTo>
                        <a:pt x="687" y="157"/>
                        <a:pt x="683" y="153"/>
                        <a:pt x="695" y="151"/>
                      </a:cubicBezTo>
                      <a:cubicBezTo>
                        <a:pt x="712" y="149"/>
                        <a:pt x="720" y="165"/>
                        <a:pt x="732" y="173"/>
                      </a:cubicBezTo>
                      <a:cubicBezTo>
                        <a:pt x="735" y="176"/>
                        <a:pt x="741" y="174"/>
                        <a:pt x="744" y="178"/>
                      </a:cubicBezTo>
                      <a:cubicBezTo>
                        <a:pt x="746" y="182"/>
                        <a:pt x="740" y="184"/>
                        <a:pt x="741" y="188"/>
                      </a:cubicBezTo>
                      <a:cubicBezTo>
                        <a:pt x="744" y="196"/>
                        <a:pt x="749" y="196"/>
                        <a:pt x="750" y="204"/>
                      </a:cubicBezTo>
                      <a:cubicBezTo>
                        <a:pt x="751" y="212"/>
                        <a:pt x="741" y="221"/>
                        <a:pt x="739" y="227"/>
                      </a:cubicBezTo>
                      <a:cubicBezTo>
                        <a:pt x="736" y="238"/>
                        <a:pt x="741" y="247"/>
                        <a:pt x="744" y="257"/>
                      </a:cubicBezTo>
                      <a:cubicBezTo>
                        <a:pt x="746" y="268"/>
                        <a:pt x="746" y="281"/>
                        <a:pt x="746" y="292"/>
                      </a:cubicBezTo>
                      <a:cubicBezTo>
                        <a:pt x="747" y="295"/>
                        <a:pt x="746" y="303"/>
                        <a:pt x="747" y="305"/>
                      </a:cubicBezTo>
                      <a:cubicBezTo>
                        <a:pt x="747" y="307"/>
                        <a:pt x="745" y="309"/>
                        <a:pt x="746" y="312"/>
                      </a:cubicBezTo>
                      <a:cubicBezTo>
                        <a:pt x="747" y="314"/>
                        <a:pt x="751" y="314"/>
                        <a:pt x="751" y="315"/>
                      </a:cubicBezTo>
                      <a:cubicBezTo>
                        <a:pt x="752" y="318"/>
                        <a:pt x="755" y="320"/>
                        <a:pt x="756" y="323"/>
                      </a:cubicBezTo>
                      <a:cubicBezTo>
                        <a:pt x="756" y="325"/>
                        <a:pt x="747" y="325"/>
                        <a:pt x="749" y="330"/>
                      </a:cubicBezTo>
                      <a:cubicBezTo>
                        <a:pt x="752" y="340"/>
                        <a:pt x="758" y="329"/>
                        <a:pt x="758" y="341"/>
                      </a:cubicBezTo>
                      <a:cubicBezTo>
                        <a:pt x="758" y="343"/>
                        <a:pt x="752" y="344"/>
                        <a:pt x="752" y="347"/>
                      </a:cubicBezTo>
                      <a:cubicBezTo>
                        <a:pt x="752" y="349"/>
                        <a:pt x="754" y="350"/>
                        <a:pt x="755" y="352"/>
                      </a:cubicBezTo>
                      <a:cubicBezTo>
                        <a:pt x="755" y="355"/>
                        <a:pt x="758" y="361"/>
                        <a:pt x="759" y="364"/>
                      </a:cubicBezTo>
                      <a:cubicBezTo>
                        <a:pt x="760" y="370"/>
                        <a:pt x="756" y="375"/>
                        <a:pt x="761" y="379"/>
                      </a:cubicBezTo>
                      <a:cubicBezTo>
                        <a:pt x="766" y="382"/>
                        <a:pt x="780" y="377"/>
                        <a:pt x="784" y="375"/>
                      </a:cubicBezTo>
                      <a:cubicBezTo>
                        <a:pt x="794" y="372"/>
                        <a:pt x="807" y="371"/>
                        <a:pt x="817" y="366"/>
                      </a:cubicBezTo>
                      <a:cubicBezTo>
                        <a:pt x="827" y="361"/>
                        <a:pt x="824" y="363"/>
                        <a:pt x="829" y="353"/>
                      </a:cubicBezTo>
                      <a:cubicBezTo>
                        <a:pt x="836" y="339"/>
                        <a:pt x="836" y="345"/>
                        <a:pt x="851" y="344"/>
                      </a:cubicBezTo>
                      <a:cubicBezTo>
                        <a:pt x="856" y="343"/>
                        <a:pt x="859" y="341"/>
                        <a:pt x="863" y="340"/>
                      </a:cubicBezTo>
                      <a:cubicBezTo>
                        <a:pt x="870" y="339"/>
                        <a:pt x="876" y="342"/>
                        <a:pt x="881" y="342"/>
                      </a:cubicBezTo>
                      <a:cubicBezTo>
                        <a:pt x="890" y="341"/>
                        <a:pt x="899" y="336"/>
                        <a:pt x="911" y="339"/>
                      </a:cubicBezTo>
                      <a:cubicBezTo>
                        <a:pt x="920" y="341"/>
                        <a:pt x="924" y="344"/>
                        <a:pt x="934" y="343"/>
                      </a:cubicBezTo>
                      <a:cubicBezTo>
                        <a:pt x="946" y="341"/>
                        <a:pt x="952" y="339"/>
                        <a:pt x="958" y="332"/>
                      </a:cubicBezTo>
                      <a:cubicBezTo>
                        <a:pt x="961" y="328"/>
                        <a:pt x="965" y="318"/>
                        <a:pt x="971" y="317"/>
                      </a:cubicBezTo>
                      <a:cubicBezTo>
                        <a:pt x="972" y="317"/>
                        <a:pt x="979" y="326"/>
                        <a:pt x="980" y="330"/>
                      </a:cubicBezTo>
                      <a:cubicBezTo>
                        <a:pt x="989" y="347"/>
                        <a:pt x="986" y="342"/>
                        <a:pt x="999" y="346"/>
                      </a:cubicBezTo>
                      <a:cubicBezTo>
                        <a:pt x="1015" y="350"/>
                        <a:pt x="1004" y="354"/>
                        <a:pt x="1012" y="359"/>
                      </a:cubicBezTo>
                      <a:cubicBezTo>
                        <a:pt x="1016" y="362"/>
                        <a:pt x="1021" y="357"/>
                        <a:pt x="1025" y="358"/>
                      </a:cubicBezTo>
                      <a:cubicBezTo>
                        <a:pt x="1028" y="359"/>
                        <a:pt x="1030" y="364"/>
                        <a:pt x="1034" y="365"/>
                      </a:cubicBezTo>
                      <a:cubicBezTo>
                        <a:pt x="1037" y="366"/>
                        <a:pt x="1040" y="367"/>
                        <a:pt x="1043" y="368"/>
                      </a:cubicBezTo>
                      <a:cubicBezTo>
                        <a:pt x="1044" y="368"/>
                        <a:pt x="1046" y="365"/>
                        <a:pt x="1047" y="365"/>
                      </a:cubicBezTo>
                      <a:cubicBezTo>
                        <a:pt x="1050" y="366"/>
                        <a:pt x="1055" y="369"/>
                        <a:pt x="1058" y="369"/>
                      </a:cubicBezTo>
                      <a:cubicBezTo>
                        <a:pt x="1072" y="366"/>
                        <a:pt x="1061" y="364"/>
                        <a:pt x="1066" y="355"/>
                      </a:cubicBezTo>
                      <a:cubicBezTo>
                        <a:pt x="1070" y="347"/>
                        <a:pt x="1084" y="338"/>
                        <a:pt x="1092" y="333"/>
                      </a:cubicBezTo>
                      <a:cubicBezTo>
                        <a:pt x="1098" y="330"/>
                        <a:pt x="1105" y="329"/>
                        <a:pt x="1110" y="326"/>
                      </a:cubicBezTo>
                      <a:cubicBezTo>
                        <a:pt x="1116" y="321"/>
                        <a:pt x="1112" y="325"/>
                        <a:pt x="1116" y="320"/>
                      </a:cubicBezTo>
                      <a:cubicBezTo>
                        <a:pt x="1116" y="319"/>
                        <a:pt x="1117" y="311"/>
                        <a:pt x="1118" y="309"/>
                      </a:cubicBezTo>
                      <a:cubicBezTo>
                        <a:pt x="1122" y="300"/>
                        <a:pt x="1128" y="301"/>
                        <a:pt x="1125" y="295"/>
                      </a:cubicBezTo>
                      <a:cubicBezTo>
                        <a:pt x="1123" y="291"/>
                        <a:pt x="1115" y="298"/>
                        <a:pt x="1114" y="290"/>
                      </a:cubicBezTo>
                      <a:cubicBezTo>
                        <a:pt x="1113" y="286"/>
                        <a:pt x="1121" y="284"/>
                        <a:pt x="1123" y="280"/>
                      </a:cubicBezTo>
                      <a:cubicBezTo>
                        <a:pt x="1124" y="279"/>
                        <a:pt x="1120" y="272"/>
                        <a:pt x="1123" y="270"/>
                      </a:cubicBezTo>
                      <a:cubicBezTo>
                        <a:pt x="1126" y="268"/>
                        <a:pt x="1131" y="272"/>
                        <a:pt x="1130" y="272"/>
                      </a:cubicBezTo>
                      <a:cubicBezTo>
                        <a:pt x="1131" y="272"/>
                        <a:pt x="1134" y="273"/>
                        <a:pt x="1137" y="270"/>
                      </a:cubicBezTo>
                      <a:cubicBezTo>
                        <a:pt x="1139" y="269"/>
                        <a:pt x="1135" y="263"/>
                        <a:pt x="1136" y="261"/>
                      </a:cubicBezTo>
                      <a:cubicBezTo>
                        <a:pt x="1139" y="258"/>
                        <a:pt x="1149" y="266"/>
                        <a:pt x="1156" y="256"/>
                      </a:cubicBezTo>
                      <a:cubicBezTo>
                        <a:pt x="1159" y="252"/>
                        <a:pt x="1158" y="239"/>
                        <a:pt x="1159" y="235"/>
                      </a:cubicBezTo>
                      <a:cubicBezTo>
                        <a:pt x="1161" y="229"/>
                        <a:pt x="1166" y="224"/>
                        <a:pt x="1168" y="219"/>
                      </a:cubicBezTo>
                      <a:cubicBezTo>
                        <a:pt x="1170" y="211"/>
                        <a:pt x="1168" y="212"/>
                        <a:pt x="1169" y="209"/>
                      </a:cubicBezTo>
                      <a:cubicBezTo>
                        <a:pt x="1169" y="203"/>
                        <a:pt x="1169" y="196"/>
                        <a:pt x="1171" y="191"/>
                      </a:cubicBezTo>
                      <a:cubicBezTo>
                        <a:pt x="1172" y="182"/>
                        <a:pt x="1168" y="179"/>
                        <a:pt x="1180" y="172"/>
                      </a:cubicBezTo>
                      <a:cubicBezTo>
                        <a:pt x="1188" y="168"/>
                        <a:pt x="1198" y="172"/>
                        <a:pt x="1204" y="167"/>
                      </a:cubicBezTo>
                      <a:cubicBezTo>
                        <a:pt x="1208" y="163"/>
                        <a:pt x="1205" y="153"/>
                        <a:pt x="1209" y="148"/>
                      </a:cubicBezTo>
                      <a:cubicBezTo>
                        <a:pt x="1213" y="143"/>
                        <a:pt x="1218" y="143"/>
                        <a:pt x="1223" y="140"/>
                      </a:cubicBezTo>
                      <a:cubicBezTo>
                        <a:pt x="1230" y="137"/>
                        <a:pt x="1233" y="133"/>
                        <a:pt x="1239" y="132"/>
                      </a:cubicBezTo>
                      <a:cubicBezTo>
                        <a:pt x="1244" y="131"/>
                        <a:pt x="1252" y="137"/>
                        <a:pt x="1257" y="134"/>
                      </a:cubicBezTo>
                      <a:cubicBezTo>
                        <a:pt x="1270" y="126"/>
                        <a:pt x="1254" y="126"/>
                        <a:pt x="1254" y="120"/>
                      </a:cubicBezTo>
                      <a:cubicBezTo>
                        <a:pt x="1254" y="111"/>
                        <a:pt x="1262" y="113"/>
                        <a:pt x="1267" y="106"/>
                      </a:cubicBezTo>
                      <a:cubicBezTo>
                        <a:pt x="1266" y="108"/>
                        <a:pt x="1269" y="95"/>
                        <a:pt x="1268" y="96"/>
                      </a:cubicBezTo>
                      <a:cubicBezTo>
                        <a:pt x="1269" y="93"/>
                        <a:pt x="1274" y="93"/>
                        <a:pt x="1274" y="90"/>
                      </a:cubicBezTo>
                      <a:cubicBezTo>
                        <a:pt x="1275" y="89"/>
                        <a:pt x="1272" y="87"/>
                        <a:pt x="1272" y="86"/>
                      </a:cubicBezTo>
                      <a:cubicBezTo>
                        <a:pt x="1272" y="85"/>
                        <a:pt x="1270" y="79"/>
                        <a:pt x="1270" y="77"/>
                      </a:cubicBezTo>
                      <a:cubicBezTo>
                        <a:pt x="1269" y="69"/>
                        <a:pt x="1274" y="60"/>
                        <a:pt x="1275" y="51"/>
                      </a:cubicBezTo>
                      <a:cubicBezTo>
                        <a:pt x="1275" y="49"/>
                        <a:pt x="1271" y="42"/>
                        <a:pt x="1272" y="40"/>
                      </a:cubicBezTo>
                      <a:cubicBezTo>
                        <a:pt x="1274" y="36"/>
                        <a:pt x="1277" y="37"/>
                        <a:pt x="1279" y="35"/>
                      </a:cubicBezTo>
                      <a:cubicBezTo>
                        <a:pt x="1282" y="30"/>
                        <a:pt x="1286" y="22"/>
                        <a:pt x="1291" y="18"/>
                      </a:cubicBezTo>
                      <a:cubicBezTo>
                        <a:pt x="1302" y="10"/>
                        <a:pt x="1304" y="20"/>
                        <a:pt x="1316" y="18"/>
                      </a:cubicBezTo>
                      <a:cubicBezTo>
                        <a:pt x="1325" y="17"/>
                        <a:pt x="1322" y="8"/>
                        <a:pt x="1331" y="3"/>
                      </a:cubicBezTo>
                      <a:cubicBezTo>
                        <a:pt x="1338" y="0"/>
                        <a:pt x="1341" y="3"/>
                        <a:pt x="1348" y="9"/>
                      </a:cubicBezTo>
                      <a:cubicBezTo>
                        <a:pt x="1358" y="17"/>
                        <a:pt x="1353" y="18"/>
                        <a:pt x="1358" y="27"/>
                      </a:cubicBezTo>
                      <a:cubicBezTo>
                        <a:pt x="1363" y="37"/>
                        <a:pt x="1369" y="37"/>
                        <a:pt x="1379" y="40"/>
                      </a:cubicBezTo>
                      <a:cubicBezTo>
                        <a:pt x="1389" y="43"/>
                        <a:pt x="1391" y="45"/>
                        <a:pt x="1399" y="51"/>
                      </a:cubicBezTo>
                      <a:cubicBezTo>
                        <a:pt x="1403" y="54"/>
                        <a:pt x="1412" y="60"/>
                        <a:pt x="1415" y="60"/>
                      </a:cubicBezTo>
                      <a:cubicBezTo>
                        <a:pt x="1430" y="57"/>
                        <a:pt x="1417" y="42"/>
                        <a:pt x="1428" y="39"/>
                      </a:cubicBezTo>
                      <a:cubicBezTo>
                        <a:pt x="1430" y="39"/>
                        <a:pt x="1435" y="44"/>
                        <a:pt x="1437" y="45"/>
                      </a:cubicBezTo>
                      <a:cubicBezTo>
                        <a:pt x="1442" y="46"/>
                        <a:pt x="1447" y="44"/>
                        <a:pt x="1452" y="45"/>
                      </a:cubicBezTo>
                      <a:cubicBezTo>
                        <a:pt x="1463" y="47"/>
                        <a:pt x="1461" y="54"/>
                        <a:pt x="1472" y="59"/>
                      </a:cubicBezTo>
                      <a:cubicBezTo>
                        <a:pt x="1478" y="61"/>
                        <a:pt x="1480" y="56"/>
                        <a:pt x="1486" y="63"/>
                      </a:cubicBezTo>
                      <a:cubicBezTo>
                        <a:pt x="1488" y="65"/>
                        <a:pt x="1482" y="71"/>
                        <a:pt x="1492" y="75"/>
                      </a:cubicBezTo>
                      <a:cubicBezTo>
                        <a:pt x="1488" y="78"/>
                        <a:pt x="1486" y="80"/>
                        <a:pt x="1483" y="83"/>
                      </a:cubicBezTo>
                      <a:cubicBezTo>
                        <a:pt x="1478" y="72"/>
                        <a:pt x="1480" y="80"/>
                        <a:pt x="1478" y="84"/>
                      </a:cubicBezTo>
                      <a:cubicBezTo>
                        <a:pt x="1478" y="84"/>
                        <a:pt x="1478" y="92"/>
                        <a:pt x="1478" y="93"/>
                      </a:cubicBezTo>
                      <a:cubicBezTo>
                        <a:pt x="1476" y="99"/>
                        <a:pt x="1470" y="97"/>
                        <a:pt x="1471" y="105"/>
                      </a:cubicBezTo>
                      <a:cubicBezTo>
                        <a:pt x="1473" y="92"/>
                        <a:pt x="1450" y="100"/>
                        <a:pt x="1460" y="107"/>
                      </a:cubicBezTo>
                      <a:cubicBezTo>
                        <a:pt x="1450" y="116"/>
                        <a:pt x="1467" y="124"/>
                        <a:pt x="1471" y="113"/>
                      </a:cubicBezTo>
                      <a:cubicBezTo>
                        <a:pt x="1467" y="123"/>
                        <a:pt x="1474" y="126"/>
                        <a:pt x="1475" y="134"/>
                      </a:cubicBezTo>
                      <a:cubicBezTo>
                        <a:pt x="1476" y="142"/>
                        <a:pt x="1472" y="154"/>
                        <a:pt x="1473" y="163"/>
                      </a:cubicBezTo>
                      <a:cubicBezTo>
                        <a:pt x="1470" y="156"/>
                        <a:pt x="1466" y="157"/>
                        <a:pt x="1460" y="158"/>
                      </a:cubicBezTo>
                      <a:cubicBezTo>
                        <a:pt x="1462" y="158"/>
                        <a:pt x="1437" y="165"/>
                        <a:pt x="1438" y="164"/>
                      </a:cubicBezTo>
                      <a:cubicBezTo>
                        <a:pt x="1430" y="171"/>
                        <a:pt x="1435" y="173"/>
                        <a:pt x="1441" y="183"/>
                      </a:cubicBezTo>
                      <a:cubicBezTo>
                        <a:pt x="1447" y="191"/>
                        <a:pt x="1452" y="194"/>
                        <a:pt x="1458" y="201"/>
                      </a:cubicBezTo>
                      <a:cubicBezTo>
                        <a:pt x="1471" y="214"/>
                        <a:pt x="1460" y="208"/>
                        <a:pt x="1456" y="221"/>
                      </a:cubicBezTo>
                      <a:cubicBezTo>
                        <a:pt x="1453" y="232"/>
                        <a:pt x="1465" y="235"/>
                        <a:pt x="1469" y="243"/>
                      </a:cubicBezTo>
                      <a:cubicBezTo>
                        <a:pt x="1475" y="257"/>
                        <a:pt x="1471" y="274"/>
                        <a:pt x="1457" y="278"/>
                      </a:cubicBezTo>
                      <a:cubicBezTo>
                        <a:pt x="1437" y="283"/>
                        <a:pt x="1432" y="272"/>
                        <a:pt x="1429" y="302"/>
                      </a:cubicBezTo>
                      <a:cubicBezTo>
                        <a:pt x="1444" y="302"/>
                        <a:pt x="1456" y="290"/>
                        <a:pt x="1468" y="300"/>
                      </a:cubicBezTo>
                      <a:cubicBezTo>
                        <a:pt x="1488" y="315"/>
                        <a:pt x="1455" y="316"/>
                        <a:pt x="1445" y="323"/>
                      </a:cubicBezTo>
                      <a:cubicBezTo>
                        <a:pt x="1450" y="322"/>
                        <a:pt x="1461" y="320"/>
                        <a:pt x="1465" y="325"/>
                      </a:cubicBezTo>
                      <a:cubicBezTo>
                        <a:pt x="1469" y="329"/>
                        <a:pt x="1464" y="331"/>
                        <a:pt x="1465" y="333"/>
                      </a:cubicBezTo>
                      <a:cubicBezTo>
                        <a:pt x="1468" y="341"/>
                        <a:pt x="1473" y="350"/>
                        <a:pt x="1466" y="358"/>
                      </a:cubicBezTo>
                      <a:cubicBezTo>
                        <a:pt x="1462" y="363"/>
                        <a:pt x="1448" y="362"/>
                        <a:pt x="1444" y="367"/>
                      </a:cubicBezTo>
                      <a:cubicBezTo>
                        <a:pt x="1437" y="378"/>
                        <a:pt x="1447" y="374"/>
                        <a:pt x="1453" y="378"/>
                      </a:cubicBezTo>
                      <a:cubicBezTo>
                        <a:pt x="1458" y="381"/>
                        <a:pt x="1461" y="374"/>
                        <a:pt x="1463" y="380"/>
                      </a:cubicBezTo>
                      <a:cubicBezTo>
                        <a:pt x="1465" y="389"/>
                        <a:pt x="1454" y="397"/>
                        <a:pt x="1448" y="396"/>
                      </a:cubicBezTo>
                      <a:cubicBezTo>
                        <a:pt x="1458" y="403"/>
                        <a:pt x="1462" y="394"/>
                        <a:pt x="1470" y="389"/>
                      </a:cubicBezTo>
                      <a:cubicBezTo>
                        <a:pt x="1475" y="386"/>
                        <a:pt x="1479" y="398"/>
                        <a:pt x="1480" y="384"/>
                      </a:cubicBezTo>
                      <a:cubicBezTo>
                        <a:pt x="1489" y="393"/>
                        <a:pt x="1484" y="406"/>
                        <a:pt x="1477" y="412"/>
                      </a:cubicBezTo>
                      <a:cubicBezTo>
                        <a:pt x="1468" y="421"/>
                        <a:pt x="1450" y="421"/>
                        <a:pt x="1437" y="425"/>
                      </a:cubicBezTo>
                      <a:cubicBezTo>
                        <a:pt x="1450" y="427"/>
                        <a:pt x="1475" y="418"/>
                        <a:pt x="1481" y="436"/>
                      </a:cubicBezTo>
                      <a:cubicBezTo>
                        <a:pt x="1482" y="438"/>
                        <a:pt x="1478" y="443"/>
                        <a:pt x="1479" y="448"/>
                      </a:cubicBezTo>
                      <a:cubicBezTo>
                        <a:pt x="1480" y="456"/>
                        <a:pt x="1491" y="459"/>
                        <a:pt x="1485" y="469"/>
                      </a:cubicBezTo>
                      <a:cubicBezTo>
                        <a:pt x="1476" y="466"/>
                        <a:pt x="1471" y="450"/>
                        <a:pt x="1461" y="456"/>
                      </a:cubicBezTo>
                      <a:cubicBezTo>
                        <a:pt x="1470" y="463"/>
                        <a:pt x="1484" y="473"/>
                        <a:pt x="1479" y="483"/>
                      </a:cubicBezTo>
                      <a:cubicBezTo>
                        <a:pt x="1476" y="489"/>
                        <a:pt x="1473" y="488"/>
                        <a:pt x="1470" y="492"/>
                      </a:cubicBezTo>
                      <a:cubicBezTo>
                        <a:pt x="1468" y="494"/>
                        <a:pt x="1465" y="492"/>
                        <a:pt x="1463" y="495"/>
                      </a:cubicBezTo>
                      <a:cubicBezTo>
                        <a:pt x="1462" y="497"/>
                        <a:pt x="1464" y="500"/>
                        <a:pt x="1463" y="502"/>
                      </a:cubicBezTo>
                      <a:cubicBezTo>
                        <a:pt x="1461" y="509"/>
                        <a:pt x="1463" y="518"/>
                        <a:pt x="1455" y="521"/>
                      </a:cubicBezTo>
                      <a:cubicBezTo>
                        <a:pt x="1464" y="520"/>
                        <a:pt x="1474" y="516"/>
                        <a:pt x="1474" y="527"/>
                      </a:cubicBezTo>
                      <a:cubicBezTo>
                        <a:pt x="1474" y="531"/>
                        <a:pt x="1468" y="535"/>
                        <a:pt x="1467" y="539"/>
                      </a:cubicBezTo>
                      <a:cubicBezTo>
                        <a:pt x="1466" y="543"/>
                        <a:pt x="1467" y="549"/>
                        <a:pt x="1468" y="553"/>
                      </a:cubicBezTo>
                      <a:cubicBezTo>
                        <a:pt x="1467" y="539"/>
                        <a:pt x="1458" y="538"/>
                        <a:pt x="1448" y="537"/>
                      </a:cubicBezTo>
                      <a:cubicBezTo>
                        <a:pt x="1454" y="543"/>
                        <a:pt x="1460" y="551"/>
                        <a:pt x="1465" y="557"/>
                      </a:cubicBezTo>
                      <a:cubicBezTo>
                        <a:pt x="1472" y="566"/>
                        <a:pt x="1473" y="564"/>
                        <a:pt x="1474" y="576"/>
                      </a:cubicBezTo>
                      <a:cubicBezTo>
                        <a:pt x="1474" y="581"/>
                        <a:pt x="1475" y="594"/>
                        <a:pt x="1473" y="599"/>
                      </a:cubicBezTo>
                      <a:cubicBezTo>
                        <a:pt x="1471" y="604"/>
                        <a:pt x="1466" y="608"/>
                        <a:pt x="1464" y="614"/>
                      </a:cubicBezTo>
                      <a:cubicBezTo>
                        <a:pt x="1460" y="623"/>
                        <a:pt x="1463" y="629"/>
                        <a:pt x="1454" y="636"/>
                      </a:cubicBezTo>
                      <a:cubicBezTo>
                        <a:pt x="1452" y="638"/>
                        <a:pt x="1443" y="643"/>
                        <a:pt x="1443" y="644"/>
                      </a:cubicBezTo>
                      <a:cubicBezTo>
                        <a:pt x="1444" y="651"/>
                        <a:pt x="1453" y="647"/>
                        <a:pt x="1454" y="643"/>
                      </a:cubicBezTo>
                      <a:cubicBezTo>
                        <a:pt x="1456" y="653"/>
                        <a:pt x="1467" y="655"/>
                        <a:pt x="1458" y="666"/>
                      </a:cubicBezTo>
                      <a:cubicBezTo>
                        <a:pt x="1451" y="675"/>
                        <a:pt x="1444" y="668"/>
                        <a:pt x="1438" y="679"/>
                      </a:cubicBezTo>
                      <a:cubicBezTo>
                        <a:pt x="1442" y="679"/>
                        <a:pt x="1445" y="675"/>
                        <a:pt x="1447" y="676"/>
                      </a:cubicBezTo>
                      <a:cubicBezTo>
                        <a:pt x="1451" y="677"/>
                        <a:pt x="1458" y="682"/>
                        <a:pt x="1459" y="682"/>
                      </a:cubicBezTo>
                      <a:cubicBezTo>
                        <a:pt x="1466" y="684"/>
                        <a:pt x="1474" y="681"/>
                        <a:pt x="1476" y="693"/>
                      </a:cubicBezTo>
                      <a:cubicBezTo>
                        <a:pt x="1477" y="702"/>
                        <a:pt x="1470" y="706"/>
                        <a:pt x="1474" y="717"/>
                      </a:cubicBezTo>
                      <a:cubicBezTo>
                        <a:pt x="1477" y="723"/>
                        <a:pt x="1482" y="728"/>
                        <a:pt x="1486" y="733"/>
                      </a:cubicBezTo>
                      <a:cubicBezTo>
                        <a:pt x="1496" y="745"/>
                        <a:pt x="1514" y="759"/>
                        <a:pt x="1520" y="774"/>
                      </a:cubicBezTo>
                      <a:cubicBezTo>
                        <a:pt x="1527" y="791"/>
                        <a:pt x="1520" y="799"/>
                        <a:pt x="1505" y="800"/>
                      </a:cubicBezTo>
                      <a:cubicBezTo>
                        <a:pt x="1499" y="800"/>
                        <a:pt x="1498" y="802"/>
                        <a:pt x="1492" y="800"/>
                      </a:cubicBezTo>
                      <a:cubicBezTo>
                        <a:pt x="1489" y="800"/>
                        <a:pt x="1489" y="795"/>
                        <a:pt x="1486" y="794"/>
                      </a:cubicBezTo>
                      <a:cubicBezTo>
                        <a:pt x="1477" y="792"/>
                        <a:pt x="1476" y="799"/>
                        <a:pt x="1470" y="799"/>
                      </a:cubicBezTo>
                      <a:cubicBezTo>
                        <a:pt x="1461" y="800"/>
                        <a:pt x="1459" y="798"/>
                        <a:pt x="1450" y="795"/>
                      </a:cubicBezTo>
                      <a:cubicBezTo>
                        <a:pt x="1432" y="788"/>
                        <a:pt x="1423" y="788"/>
                        <a:pt x="1434" y="768"/>
                      </a:cubicBezTo>
                      <a:cubicBezTo>
                        <a:pt x="1420" y="767"/>
                        <a:pt x="1422" y="783"/>
                        <a:pt x="1406" y="780"/>
                      </a:cubicBezTo>
                      <a:cubicBezTo>
                        <a:pt x="1398" y="778"/>
                        <a:pt x="1390" y="770"/>
                        <a:pt x="1383" y="766"/>
                      </a:cubicBezTo>
                      <a:cubicBezTo>
                        <a:pt x="1371" y="759"/>
                        <a:pt x="1364" y="762"/>
                        <a:pt x="1350" y="764"/>
                      </a:cubicBezTo>
                      <a:cubicBezTo>
                        <a:pt x="1340" y="766"/>
                        <a:pt x="1316" y="777"/>
                        <a:pt x="1307" y="773"/>
                      </a:cubicBezTo>
                      <a:cubicBezTo>
                        <a:pt x="1311" y="770"/>
                        <a:pt x="1316" y="767"/>
                        <a:pt x="1317" y="762"/>
                      </a:cubicBezTo>
                      <a:cubicBezTo>
                        <a:pt x="1306" y="760"/>
                        <a:pt x="1301" y="758"/>
                        <a:pt x="1292" y="765"/>
                      </a:cubicBezTo>
                      <a:cubicBezTo>
                        <a:pt x="1297" y="769"/>
                        <a:pt x="1303" y="777"/>
                        <a:pt x="1293" y="777"/>
                      </a:cubicBezTo>
                      <a:cubicBezTo>
                        <a:pt x="1296" y="779"/>
                        <a:pt x="1294" y="780"/>
                        <a:pt x="1300" y="780"/>
                      </a:cubicBezTo>
                      <a:cubicBezTo>
                        <a:pt x="1289" y="789"/>
                        <a:pt x="1280" y="798"/>
                        <a:pt x="1271" y="809"/>
                      </a:cubicBezTo>
                      <a:cubicBezTo>
                        <a:pt x="1265" y="815"/>
                        <a:pt x="1263" y="826"/>
                        <a:pt x="1257" y="830"/>
                      </a:cubicBezTo>
                      <a:cubicBezTo>
                        <a:pt x="1253" y="833"/>
                        <a:pt x="1247" y="830"/>
                        <a:pt x="1243" y="832"/>
                      </a:cubicBezTo>
                      <a:cubicBezTo>
                        <a:pt x="1236" y="834"/>
                        <a:pt x="1233" y="838"/>
                        <a:pt x="1228" y="843"/>
                      </a:cubicBezTo>
                      <a:cubicBezTo>
                        <a:pt x="1218" y="852"/>
                        <a:pt x="1211" y="864"/>
                        <a:pt x="1206" y="876"/>
                      </a:cubicBezTo>
                      <a:cubicBezTo>
                        <a:pt x="1202" y="883"/>
                        <a:pt x="1201" y="906"/>
                        <a:pt x="1193" y="911"/>
                      </a:cubicBezTo>
                      <a:cubicBezTo>
                        <a:pt x="1187" y="915"/>
                        <a:pt x="1179" y="902"/>
                        <a:pt x="1182" y="913"/>
                      </a:cubicBezTo>
                      <a:cubicBezTo>
                        <a:pt x="1183" y="916"/>
                        <a:pt x="1190" y="915"/>
                        <a:pt x="1191" y="918"/>
                      </a:cubicBezTo>
                      <a:cubicBezTo>
                        <a:pt x="1192" y="921"/>
                        <a:pt x="1188" y="925"/>
                        <a:pt x="1188" y="927"/>
                      </a:cubicBezTo>
                      <a:cubicBezTo>
                        <a:pt x="1187" y="939"/>
                        <a:pt x="1186" y="951"/>
                        <a:pt x="1171" y="950"/>
                      </a:cubicBezTo>
                      <a:cubicBezTo>
                        <a:pt x="1186" y="965"/>
                        <a:pt x="1167" y="958"/>
                        <a:pt x="1158" y="962"/>
                      </a:cubicBezTo>
                      <a:cubicBezTo>
                        <a:pt x="1168" y="965"/>
                        <a:pt x="1182" y="975"/>
                        <a:pt x="1163" y="977"/>
                      </a:cubicBezTo>
                      <a:cubicBezTo>
                        <a:pt x="1178" y="979"/>
                        <a:pt x="1169" y="998"/>
                        <a:pt x="1157" y="999"/>
                      </a:cubicBezTo>
                      <a:cubicBezTo>
                        <a:pt x="1150" y="999"/>
                        <a:pt x="1137" y="990"/>
                        <a:pt x="1141" y="1000"/>
                      </a:cubicBezTo>
                      <a:cubicBezTo>
                        <a:pt x="1146" y="1012"/>
                        <a:pt x="1171" y="1015"/>
                        <a:pt x="1151" y="1033"/>
                      </a:cubicBezTo>
                      <a:cubicBezTo>
                        <a:pt x="1165" y="1031"/>
                        <a:pt x="1160" y="1043"/>
                        <a:pt x="1160" y="1052"/>
                      </a:cubicBezTo>
                      <a:cubicBezTo>
                        <a:pt x="1161" y="1066"/>
                        <a:pt x="1167" y="1081"/>
                        <a:pt x="1169" y="1095"/>
                      </a:cubicBezTo>
                      <a:cubicBezTo>
                        <a:pt x="1172" y="1113"/>
                        <a:pt x="1194" y="1182"/>
                        <a:pt x="1170" y="1190"/>
                      </a:cubicBezTo>
                      <a:cubicBezTo>
                        <a:pt x="1158" y="1194"/>
                        <a:pt x="1151" y="1173"/>
                        <a:pt x="1145" y="1164"/>
                      </a:cubicBezTo>
                      <a:cubicBezTo>
                        <a:pt x="1139" y="1154"/>
                        <a:pt x="1130" y="1148"/>
                        <a:pt x="1124" y="1138"/>
                      </a:cubicBezTo>
                      <a:cubicBezTo>
                        <a:pt x="1116" y="1125"/>
                        <a:pt x="1119" y="1110"/>
                        <a:pt x="1109" y="1100"/>
                      </a:cubicBezTo>
                      <a:cubicBezTo>
                        <a:pt x="1100" y="1092"/>
                        <a:pt x="1086" y="1076"/>
                        <a:pt x="1073" y="1074"/>
                      </a:cubicBezTo>
                      <a:cubicBezTo>
                        <a:pt x="1089" y="1073"/>
                        <a:pt x="1073" y="1042"/>
                        <a:pt x="1067" y="1042"/>
                      </a:cubicBezTo>
                      <a:cubicBezTo>
                        <a:pt x="1070" y="1052"/>
                        <a:pt x="1059" y="1056"/>
                        <a:pt x="1054" y="1064"/>
                      </a:cubicBezTo>
                      <a:cubicBezTo>
                        <a:pt x="1048" y="1074"/>
                        <a:pt x="1039" y="1100"/>
                        <a:pt x="1053" y="1105"/>
                      </a:cubicBezTo>
                      <a:cubicBezTo>
                        <a:pt x="1056" y="1097"/>
                        <a:pt x="1050" y="1090"/>
                        <a:pt x="1051" y="1082"/>
                      </a:cubicBezTo>
                      <a:cubicBezTo>
                        <a:pt x="1052" y="1076"/>
                        <a:pt x="1057" y="1069"/>
                        <a:pt x="1060" y="1064"/>
                      </a:cubicBezTo>
                      <a:cubicBezTo>
                        <a:pt x="1058" y="1074"/>
                        <a:pt x="1053" y="1080"/>
                        <a:pt x="1053" y="1091"/>
                      </a:cubicBezTo>
                      <a:cubicBezTo>
                        <a:pt x="1053" y="1103"/>
                        <a:pt x="1050" y="1111"/>
                        <a:pt x="1049" y="1123"/>
                      </a:cubicBezTo>
                      <a:cubicBezTo>
                        <a:pt x="1048" y="1131"/>
                        <a:pt x="1047" y="1193"/>
                        <a:pt x="1028" y="1169"/>
                      </a:cubicBezTo>
                      <a:cubicBezTo>
                        <a:pt x="1031" y="1178"/>
                        <a:pt x="1038" y="1178"/>
                        <a:pt x="1040" y="1188"/>
                      </a:cubicBezTo>
                      <a:cubicBezTo>
                        <a:pt x="1040" y="1189"/>
                        <a:pt x="1038" y="1217"/>
                        <a:pt x="1038" y="1217"/>
                      </a:cubicBezTo>
                      <a:cubicBezTo>
                        <a:pt x="1032" y="1227"/>
                        <a:pt x="1022" y="1216"/>
                        <a:pt x="1021" y="1208"/>
                      </a:cubicBezTo>
                      <a:cubicBezTo>
                        <a:pt x="1015" y="1216"/>
                        <a:pt x="1030" y="1234"/>
                        <a:pt x="1010" y="1231"/>
                      </a:cubicBezTo>
                      <a:cubicBezTo>
                        <a:pt x="1015" y="1235"/>
                        <a:pt x="1019" y="1241"/>
                        <a:pt x="1026" y="1240"/>
                      </a:cubicBezTo>
                      <a:cubicBezTo>
                        <a:pt x="1014" y="1222"/>
                        <a:pt x="1050" y="1239"/>
                        <a:pt x="1055" y="1240"/>
                      </a:cubicBezTo>
                      <a:cubicBezTo>
                        <a:pt x="1051" y="1247"/>
                        <a:pt x="1057" y="1257"/>
                        <a:pt x="1059" y="1264"/>
                      </a:cubicBezTo>
                      <a:cubicBezTo>
                        <a:pt x="1062" y="1278"/>
                        <a:pt x="1061" y="1282"/>
                        <a:pt x="1060" y="1293"/>
                      </a:cubicBezTo>
                      <a:cubicBezTo>
                        <a:pt x="1057" y="1314"/>
                        <a:pt x="1058" y="1317"/>
                        <a:pt x="1041" y="1305"/>
                      </a:cubicBezTo>
                      <a:cubicBezTo>
                        <a:pt x="1027" y="1294"/>
                        <a:pt x="1013" y="1288"/>
                        <a:pt x="996" y="1285"/>
                      </a:cubicBezTo>
                      <a:cubicBezTo>
                        <a:pt x="990" y="1284"/>
                        <a:pt x="943" y="1276"/>
                        <a:pt x="963" y="1297"/>
                      </a:cubicBezTo>
                      <a:cubicBezTo>
                        <a:pt x="950" y="1296"/>
                        <a:pt x="960" y="1303"/>
                        <a:pt x="965" y="1307"/>
                      </a:cubicBezTo>
                      <a:cubicBezTo>
                        <a:pt x="970" y="1312"/>
                        <a:pt x="972" y="1303"/>
                        <a:pt x="974" y="1314"/>
                      </a:cubicBezTo>
                      <a:cubicBezTo>
                        <a:pt x="975" y="1318"/>
                        <a:pt x="973" y="1321"/>
                        <a:pt x="971" y="1325"/>
                      </a:cubicBezTo>
                      <a:cubicBezTo>
                        <a:pt x="964" y="1345"/>
                        <a:pt x="960" y="1354"/>
                        <a:pt x="986" y="1356"/>
                      </a:cubicBezTo>
                      <a:cubicBezTo>
                        <a:pt x="961" y="1375"/>
                        <a:pt x="962" y="1346"/>
                        <a:pt x="962" y="1327"/>
                      </a:cubicBezTo>
                      <a:cubicBezTo>
                        <a:pt x="954" y="1345"/>
                        <a:pt x="930" y="1326"/>
                        <a:pt x="924" y="1352"/>
                      </a:cubicBezTo>
                      <a:cubicBezTo>
                        <a:pt x="923" y="1340"/>
                        <a:pt x="917" y="1351"/>
                        <a:pt x="916" y="1352"/>
                      </a:cubicBezTo>
                      <a:cubicBezTo>
                        <a:pt x="912" y="1354"/>
                        <a:pt x="900" y="1360"/>
                        <a:pt x="900" y="1366"/>
                      </a:cubicBezTo>
                      <a:cubicBezTo>
                        <a:pt x="899" y="1372"/>
                        <a:pt x="914" y="1379"/>
                        <a:pt x="920" y="1376"/>
                      </a:cubicBezTo>
                      <a:cubicBezTo>
                        <a:pt x="927" y="1372"/>
                        <a:pt x="917" y="1366"/>
                        <a:pt x="925" y="1364"/>
                      </a:cubicBezTo>
                      <a:cubicBezTo>
                        <a:pt x="925" y="1371"/>
                        <a:pt x="932" y="1381"/>
                        <a:pt x="931" y="1387"/>
                      </a:cubicBezTo>
                      <a:cubicBezTo>
                        <a:pt x="930" y="1395"/>
                        <a:pt x="924" y="1393"/>
                        <a:pt x="919" y="1400"/>
                      </a:cubicBezTo>
                      <a:cubicBezTo>
                        <a:pt x="913" y="1407"/>
                        <a:pt x="916" y="1410"/>
                        <a:pt x="916" y="1419"/>
                      </a:cubicBezTo>
                      <a:cubicBezTo>
                        <a:pt x="915" y="1433"/>
                        <a:pt x="915" y="1429"/>
                        <a:pt x="922" y="1438"/>
                      </a:cubicBezTo>
                      <a:cubicBezTo>
                        <a:pt x="929" y="1450"/>
                        <a:pt x="944" y="1457"/>
                        <a:pt x="951" y="1467"/>
                      </a:cubicBezTo>
                      <a:cubicBezTo>
                        <a:pt x="960" y="1484"/>
                        <a:pt x="940" y="1487"/>
                        <a:pt x="945" y="1501"/>
                      </a:cubicBezTo>
                      <a:cubicBezTo>
                        <a:pt x="945" y="1501"/>
                        <a:pt x="947" y="1498"/>
                        <a:pt x="947" y="1498"/>
                      </a:cubicBezTo>
                      <a:cubicBezTo>
                        <a:pt x="953" y="1519"/>
                        <a:pt x="963" y="1508"/>
                        <a:pt x="980" y="1515"/>
                      </a:cubicBezTo>
                      <a:cubicBezTo>
                        <a:pt x="991" y="1520"/>
                        <a:pt x="1008" y="1539"/>
                        <a:pt x="1010" y="1550"/>
                      </a:cubicBezTo>
                      <a:cubicBezTo>
                        <a:pt x="1013" y="1571"/>
                        <a:pt x="1001" y="1543"/>
                        <a:pt x="1000" y="1543"/>
                      </a:cubicBezTo>
                      <a:cubicBezTo>
                        <a:pt x="1006" y="1544"/>
                        <a:pt x="990" y="1553"/>
                        <a:pt x="991" y="1552"/>
                      </a:cubicBezTo>
                      <a:cubicBezTo>
                        <a:pt x="989" y="1556"/>
                        <a:pt x="986" y="1562"/>
                        <a:pt x="987" y="1567"/>
                      </a:cubicBezTo>
                      <a:cubicBezTo>
                        <a:pt x="988" y="1571"/>
                        <a:pt x="992" y="1574"/>
                        <a:pt x="995" y="1576"/>
                      </a:cubicBezTo>
                      <a:cubicBezTo>
                        <a:pt x="1002" y="1581"/>
                        <a:pt x="999" y="1579"/>
                        <a:pt x="1008" y="1579"/>
                      </a:cubicBezTo>
                      <a:cubicBezTo>
                        <a:pt x="1017" y="1579"/>
                        <a:pt x="1025" y="1577"/>
                        <a:pt x="1033" y="1583"/>
                      </a:cubicBezTo>
                      <a:cubicBezTo>
                        <a:pt x="1037" y="1587"/>
                        <a:pt x="1045" y="1599"/>
                        <a:pt x="1037" y="1604"/>
                      </a:cubicBezTo>
                      <a:cubicBezTo>
                        <a:pt x="1032" y="1608"/>
                        <a:pt x="1034" y="1600"/>
                        <a:pt x="1033" y="1599"/>
                      </a:cubicBezTo>
                      <a:cubicBezTo>
                        <a:pt x="1031" y="1598"/>
                        <a:pt x="1028" y="1594"/>
                        <a:pt x="1025" y="1593"/>
                      </a:cubicBezTo>
                      <a:cubicBezTo>
                        <a:pt x="1021" y="1592"/>
                        <a:pt x="1016" y="1596"/>
                        <a:pt x="1012" y="1596"/>
                      </a:cubicBezTo>
                      <a:cubicBezTo>
                        <a:pt x="1008" y="1596"/>
                        <a:pt x="1005" y="1589"/>
                        <a:pt x="999" y="1596"/>
                      </a:cubicBezTo>
                      <a:cubicBezTo>
                        <a:pt x="993" y="1601"/>
                        <a:pt x="998" y="1598"/>
                        <a:pt x="997" y="1603"/>
                      </a:cubicBezTo>
                      <a:cubicBezTo>
                        <a:pt x="997" y="1604"/>
                        <a:pt x="993" y="1610"/>
                        <a:pt x="994" y="1611"/>
                      </a:cubicBezTo>
                      <a:cubicBezTo>
                        <a:pt x="997" y="1616"/>
                        <a:pt x="1011" y="1618"/>
                        <a:pt x="1017" y="1619"/>
                      </a:cubicBezTo>
                      <a:cubicBezTo>
                        <a:pt x="1025" y="1619"/>
                        <a:pt x="1032" y="1613"/>
                        <a:pt x="1038" y="1622"/>
                      </a:cubicBezTo>
                      <a:cubicBezTo>
                        <a:pt x="1046" y="1633"/>
                        <a:pt x="1033" y="1644"/>
                        <a:pt x="1033" y="1655"/>
                      </a:cubicBezTo>
                      <a:cubicBezTo>
                        <a:pt x="1031" y="1648"/>
                        <a:pt x="1029" y="1640"/>
                        <a:pt x="1021" y="1638"/>
                      </a:cubicBezTo>
                      <a:cubicBezTo>
                        <a:pt x="1020" y="1646"/>
                        <a:pt x="1028" y="1650"/>
                        <a:pt x="1029" y="1657"/>
                      </a:cubicBezTo>
                      <a:cubicBezTo>
                        <a:pt x="1030" y="1667"/>
                        <a:pt x="1018" y="1669"/>
                        <a:pt x="1020" y="1678"/>
                      </a:cubicBezTo>
                      <a:cubicBezTo>
                        <a:pt x="1022" y="1692"/>
                        <a:pt x="1029" y="1670"/>
                        <a:pt x="1030" y="1669"/>
                      </a:cubicBezTo>
                      <a:cubicBezTo>
                        <a:pt x="1044" y="1680"/>
                        <a:pt x="1028" y="1730"/>
                        <a:pt x="1034" y="1751"/>
                      </a:cubicBezTo>
                      <a:cubicBezTo>
                        <a:pt x="1043" y="1788"/>
                        <a:pt x="1056" y="1823"/>
                        <a:pt x="1072" y="1857"/>
                      </a:cubicBezTo>
                      <a:cubicBezTo>
                        <a:pt x="1085" y="1883"/>
                        <a:pt x="1104" y="1918"/>
                        <a:pt x="1135" y="1926"/>
                      </a:cubicBezTo>
                      <a:cubicBezTo>
                        <a:pt x="1150" y="1930"/>
                        <a:pt x="1166" y="1927"/>
                        <a:pt x="1181" y="1921"/>
                      </a:cubicBezTo>
                      <a:cubicBezTo>
                        <a:pt x="1186" y="1919"/>
                        <a:pt x="1190" y="1910"/>
                        <a:pt x="1196" y="1916"/>
                      </a:cubicBezTo>
                      <a:cubicBezTo>
                        <a:pt x="1200" y="1920"/>
                        <a:pt x="1195" y="1935"/>
                        <a:pt x="1197" y="1941"/>
                      </a:cubicBezTo>
                      <a:cubicBezTo>
                        <a:pt x="1203" y="1936"/>
                        <a:pt x="1205" y="1918"/>
                        <a:pt x="1202" y="1912"/>
                      </a:cubicBezTo>
                      <a:cubicBezTo>
                        <a:pt x="1195" y="1898"/>
                        <a:pt x="1170" y="1895"/>
                        <a:pt x="1172" y="1875"/>
                      </a:cubicBezTo>
                      <a:cubicBezTo>
                        <a:pt x="1172" y="1866"/>
                        <a:pt x="1181" y="1857"/>
                        <a:pt x="1187" y="1854"/>
                      </a:cubicBezTo>
                      <a:cubicBezTo>
                        <a:pt x="1187" y="1854"/>
                        <a:pt x="1198" y="1855"/>
                        <a:pt x="1198" y="1855"/>
                      </a:cubicBezTo>
                      <a:cubicBezTo>
                        <a:pt x="1203" y="1854"/>
                        <a:pt x="1206" y="1852"/>
                        <a:pt x="1211" y="1852"/>
                      </a:cubicBezTo>
                      <a:cubicBezTo>
                        <a:pt x="1220" y="1851"/>
                        <a:pt x="1229" y="1855"/>
                        <a:pt x="1238" y="1853"/>
                      </a:cubicBezTo>
                      <a:cubicBezTo>
                        <a:pt x="1246" y="1851"/>
                        <a:pt x="1253" y="1841"/>
                        <a:pt x="1260" y="1839"/>
                      </a:cubicBezTo>
                      <a:cubicBezTo>
                        <a:pt x="1263" y="1839"/>
                        <a:pt x="1273" y="1843"/>
                        <a:pt x="1277" y="1844"/>
                      </a:cubicBezTo>
                      <a:cubicBezTo>
                        <a:pt x="1295" y="1850"/>
                        <a:pt x="1285" y="1849"/>
                        <a:pt x="1289" y="1862"/>
                      </a:cubicBezTo>
                      <a:cubicBezTo>
                        <a:pt x="1291" y="1868"/>
                        <a:pt x="1296" y="1870"/>
                        <a:pt x="1299" y="1875"/>
                      </a:cubicBezTo>
                      <a:cubicBezTo>
                        <a:pt x="1304" y="1883"/>
                        <a:pt x="1300" y="1884"/>
                        <a:pt x="1301" y="1893"/>
                      </a:cubicBezTo>
                      <a:cubicBezTo>
                        <a:pt x="1302" y="1899"/>
                        <a:pt x="1306" y="1905"/>
                        <a:pt x="1307" y="1911"/>
                      </a:cubicBezTo>
                      <a:cubicBezTo>
                        <a:pt x="1310" y="1923"/>
                        <a:pt x="1307" y="1924"/>
                        <a:pt x="1303" y="1936"/>
                      </a:cubicBezTo>
                      <a:cubicBezTo>
                        <a:pt x="1293" y="1968"/>
                        <a:pt x="1321" y="2001"/>
                        <a:pt x="1348" y="2015"/>
                      </a:cubicBezTo>
                      <a:cubicBezTo>
                        <a:pt x="1357" y="2020"/>
                        <a:pt x="1360" y="2020"/>
                        <a:pt x="1366" y="2028"/>
                      </a:cubicBezTo>
                      <a:cubicBezTo>
                        <a:pt x="1371" y="2034"/>
                        <a:pt x="1372" y="2043"/>
                        <a:pt x="1376" y="2050"/>
                      </a:cubicBezTo>
                      <a:cubicBezTo>
                        <a:pt x="1383" y="2060"/>
                        <a:pt x="1399" y="2081"/>
                        <a:pt x="1410" y="2085"/>
                      </a:cubicBezTo>
                      <a:cubicBezTo>
                        <a:pt x="1416" y="2088"/>
                        <a:pt x="1421" y="2087"/>
                        <a:pt x="1427" y="2083"/>
                      </a:cubicBezTo>
                      <a:cubicBezTo>
                        <a:pt x="1435" y="2078"/>
                        <a:pt x="1432" y="2076"/>
                        <a:pt x="1436" y="2069"/>
                      </a:cubicBezTo>
                      <a:cubicBezTo>
                        <a:pt x="1441" y="2062"/>
                        <a:pt x="1442" y="2063"/>
                        <a:pt x="1448" y="2058"/>
                      </a:cubicBezTo>
                      <a:cubicBezTo>
                        <a:pt x="1449" y="2056"/>
                        <a:pt x="1452" y="2049"/>
                        <a:pt x="1453" y="2049"/>
                      </a:cubicBezTo>
                      <a:cubicBezTo>
                        <a:pt x="1457" y="2047"/>
                        <a:pt x="1456" y="2051"/>
                        <a:pt x="1457" y="2051"/>
                      </a:cubicBezTo>
                      <a:cubicBezTo>
                        <a:pt x="1471" y="2051"/>
                        <a:pt x="1472" y="2066"/>
                        <a:pt x="1482" y="2075"/>
                      </a:cubicBezTo>
                      <a:cubicBezTo>
                        <a:pt x="1484" y="2077"/>
                        <a:pt x="1489" y="2077"/>
                        <a:pt x="1491" y="2079"/>
                      </a:cubicBezTo>
                      <a:cubicBezTo>
                        <a:pt x="1493" y="2080"/>
                        <a:pt x="1492" y="2085"/>
                        <a:pt x="1494" y="2087"/>
                      </a:cubicBezTo>
                      <a:cubicBezTo>
                        <a:pt x="1498" y="2091"/>
                        <a:pt x="1504" y="2092"/>
                        <a:pt x="1508" y="2095"/>
                      </a:cubicBezTo>
                      <a:cubicBezTo>
                        <a:pt x="1511" y="2098"/>
                        <a:pt x="1507" y="2101"/>
                        <a:pt x="1511" y="2104"/>
                      </a:cubicBezTo>
                      <a:cubicBezTo>
                        <a:pt x="1516" y="2108"/>
                        <a:pt x="1526" y="2108"/>
                        <a:pt x="1533" y="2112"/>
                      </a:cubicBezTo>
                      <a:cubicBezTo>
                        <a:pt x="1544" y="2118"/>
                        <a:pt x="1550" y="2129"/>
                        <a:pt x="1559" y="2137"/>
                      </a:cubicBezTo>
                      <a:cubicBezTo>
                        <a:pt x="1567" y="2145"/>
                        <a:pt x="1568" y="2144"/>
                        <a:pt x="1566" y="2155"/>
                      </a:cubicBezTo>
                      <a:cubicBezTo>
                        <a:pt x="1564" y="2161"/>
                        <a:pt x="1559" y="2168"/>
                        <a:pt x="1558" y="2176"/>
                      </a:cubicBezTo>
                      <a:cubicBezTo>
                        <a:pt x="1556" y="2185"/>
                        <a:pt x="1561" y="2201"/>
                        <a:pt x="1568" y="2208"/>
                      </a:cubicBezTo>
                      <a:cubicBezTo>
                        <a:pt x="1555" y="2216"/>
                        <a:pt x="1538" y="2222"/>
                        <a:pt x="1523" y="2216"/>
                      </a:cubicBezTo>
                      <a:cubicBezTo>
                        <a:pt x="1509" y="2211"/>
                        <a:pt x="1491" y="2199"/>
                        <a:pt x="1478" y="2210"/>
                      </a:cubicBezTo>
                      <a:cubicBezTo>
                        <a:pt x="1483" y="2201"/>
                        <a:pt x="1487" y="2193"/>
                        <a:pt x="1484" y="2182"/>
                      </a:cubicBezTo>
                      <a:cubicBezTo>
                        <a:pt x="1483" y="2179"/>
                        <a:pt x="1478" y="2174"/>
                        <a:pt x="1477" y="2170"/>
                      </a:cubicBezTo>
                      <a:cubicBezTo>
                        <a:pt x="1477" y="2162"/>
                        <a:pt x="1485" y="2160"/>
                        <a:pt x="1487" y="2152"/>
                      </a:cubicBezTo>
                      <a:cubicBezTo>
                        <a:pt x="1490" y="2143"/>
                        <a:pt x="1485" y="2142"/>
                        <a:pt x="1485" y="2134"/>
                      </a:cubicBezTo>
                      <a:cubicBezTo>
                        <a:pt x="1486" y="2129"/>
                        <a:pt x="1490" y="2125"/>
                        <a:pt x="1490" y="2121"/>
                      </a:cubicBezTo>
                      <a:cubicBezTo>
                        <a:pt x="1491" y="2109"/>
                        <a:pt x="1483" y="2098"/>
                        <a:pt x="1472" y="2107"/>
                      </a:cubicBezTo>
                      <a:cubicBezTo>
                        <a:pt x="1460" y="2117"/>
                        <a:pt x="1484" y="2125"/>
                        <a:pt x="1478" y="2137"/>
                      </a:cubicBezTo>
                      <a:cubicBezTo>
                        <a:pt x="1474" y="2145"/>
                        <a:pt x="1453" y="2138"/>
                        <a:pt x="1447" y="2147"/>
                      </a:cubicBezTo>
                      <a:cubicBezTo>
                        <a:pt x="1442" y="2153"/>
                        <a:pt x="1449" y="2156"/>
                        <a:pt x="1447" y="2162"/>
                      </a:cubicBezTo>
                      <a:cubicBezTo>
                        <a:pt x="1446" y="2165"/>
                        <a:pt x="1443" y="2168"/>
                        <a:pt x="1442" y="2170"/>
                      </a:cubicBezTo>
                      <a:cubicBezTo>
                        <a:pt x="1442" y="2171"/>
                        <a:pt x="1436" y="2169"/>
                        <a:pt x="1435" y="2172"/>
                      </a:cubicBezTo>
                      <a:cubicBezTo>
                        <a:pt x="1434" y="2175"/>
                        <a:pt x="1436" y="2178"/>
                        <a:pt x="1436" y="2181"/>
                      </a:cubicBezTo>
                      <a:cubicBezTo>
                        <a:pt x="1435" y="2187"/>
                        <a:pt x="1435" y="2194"/>
                        <a:pt x="1439" y="2196"/>
                      </a:cubicBezTo>
                      <a:cubicBezTo>
                        <a:pt x="1446" y="2201"/>
                        <a:pt x="1469" y="2189"/>
                        <a:pt x="1474" y="2200"/>
                      </a:cubicBezTo>
                      <a:cubicBezTo>
                        <a:pt x="1475" y="2203"/>
                        <a:pt x="1471" y="2213"/>
                        <a:pt x="1470" y="2215"/>
                      </a:cubicBezTo>
                      <a:cubicBezTo>
                        <a:pt x="1470" y="2217"/>
                        <a:pt x="1469" y="2222"/>
                        <a:pt x="1468" y="2227"/>
                      </a:cubicBezTo>
                      <a:cubicBezTo>
                        <a:pt x="1466" y="2234"/>
                        <a:pt x="1463" y="2240"/>
                        <a:pt x="1461" y="2246"/>
                      </a:cubicBezTo>
                      <a:cubicBezTo>
                        <a:pt x="1456" y="2259"/>
                        <a:pt x="1455" y="2265"/>
                        <a:pt x="1455" y="2277"/>
                      </a:cubicBezTo>
                      <a:cubicBezTo>
                        <a:pt x="1455" y="2280"/>
                        <a:pt x="1454" y="2286"/>
                        <a:pt x="1455" y="2289"/>
                      </a:cubicBezTo>
                      <a:cubicBezTo>
                        <a:pt x="1457" y="2294"/>
                        <a:pt x="1464" y="2292"/>
                        <a:pt x="1465" y="2295"/>
                      </a:cubicBezTo>
                      <a:cubicBezTo>
                        <a:pt x="1467" y="2299"/>
                        <a:pt x="1466" y="2306"/>
                        <a:pt x="1468" y="2310"/>
                      </a:cubicBezTo>
                      <a:cubicBezTo>
                        <a:pt x="1469" y="2314"/>
                        <a:pt x="1474" y="2320"/>
                        <a:pt x="1476" y="2324"/>
                      </a:cubicBezTo>
                      <a:cubicBezTo>
                        <a:pt x="1480" y="2334"/>
                        <a:pt x="1485" y="2345"/>
                        <a:pt x="1490" y="2354"/>
                      </a:cubicBezTo>
                      <a:cubicBezTo>
                        <a:pt x="1502" y="2380"/>
                        <a:pt x="1505" y="2402"/>
                        <a:pt x="1522" y="2425"/>
                      </a:cubicBezTo>
                      <a:cubicBezTo>
                        <a:pt x="1538" y="2446"/>
                        <a:pt x="1555" y="2461"/>
                        <a:pt x="1575" y="2478"/>
                      </a:cubicBezTo>
                      <a:cubicBezTo>
                        <a:pt x="1585" y="2485"/>
                        <a:pt x="1598" y="2497"/>
                        <a:pt x="1610" y="2500"/>
                      </a:cubicBezTo>
                      <a:cubicBezTo>
                        <a:pt x="1624" y="2504"/>
                        <a:pt x="1637" y="2502"/>
                        <a:pt x="1650" y="2508"/>
                      </a:cubicBezTo>
                      <a:cubicBezTo>
                        <a:pt x="1655" y="2510"/>
                        <a:pt x="1657" y="2514"/>
                        <a:pt x="1662" y="2516"/>
                      </a:cubicBezTo>
                      <a:cubicBezTo>
                        <a:pt x="1668" y="2518"/>
                        <a:pt x="1674" y="2514"/>
                        <a:pt x="1679" y="2518"/>
                      </a:cubicBezTo>
                      <a:cubicBezTo>
                        <a:pt x="1682" y="2521"/>
                        <a:pt x="1678" y="2525"/>
                        <a:pt x="1680" y="2527"/>
                      </a:cubicBezTo>
                      <a:cubicBezTo>
                        <a:pt x="1682" y="2530"/>
                        <a:pt x="1688" y="2533"/>
                        <a:pt x="1689" y="2535"/>
                      </a:cubicBezTo>
                      <a:cubicBezTo>
                        <a:pt x="1694" y="2543"/>
                        <a:pt x="1694" y="2563"/>
                        <a:pt x="1694" y="2574"/>
                      </a:cubicBezTo>
                      <a:cubicBezTo>
                        <a:pt x="1694" y="2581"/>
                        <a:pt x="1692" y="2589"/>
                        <a:pt x="1692" y="2596"/>
                      </a:cubicBezTo>
                      <a:cubicBezTo>
                        <a:pt x="1692" y="2604"/>
                        <a:pt x="1698" y="2618"/>
                        <a:pt x="1695" y="2625"/>
                      </a:cubicBezTo>
                      <a:cubicBezTo>
                        <a:pt x="1692" y="2632"/>
                        <a:pt x="1686" y="2631"/>
                        <a:pt x="1681" y="2634"/>
                      </a:cubicBezTo>
                      <a:cubicBezTo>
                        <a:pt x="1671" y="2642"/>
                        <a:pt x="1667" y="2657"/>
                        <a:pt x="1658" y="2665"/>
                      </a:cubicBezTo>
                      <a:cubicBezTo>
                        <a:pt x="1640" y="2682"/>
                        <a:pt x="1628" y="2653"/>
                        <a:pt x="1609" y="2672"/>
                      </a:cubicBezTo>
                      <a:cubicBezTo>
                        <a:pt x="1588" y="2693"/>
                        <a:pt x="1581" y="2726"/>
                        <a:pt x="1579" y="2754"/>
                      </a:cubicBezTo>
                      <a:cubicBezTo>
                        <a:pt x="1577" y="2768"/>
                        <a:pt x="1579" y="2782"/>
                        <a:pt x="1579" y="2796"/>
                      </a:cubicBezTo>
                      <a:cubicBezTo>
                        <a:pt x="1579" y="2801"/>
                        <a:pt x="1581" y="2811"/>
                        <a:pt x="1580" y="2816"/>
                      </a:cubicBezTo>
                      <a:cubicBezTo>
                        <a:pt x="1579" y="2821"/>
                        <a:pt x="1575" y="2824"/>
                        <a:pt x="1574" y="2829"/>
                      </a:cubicBezTo>
                      <a:cubicBezTo>
                        <a:pt x="1567" y="2854"/>
                        <a:pt x="1580" y="2884"/>
                        <a:pt x="1591" y="2906"/>
                      </a:cubicBezTo>
                      <a:cubicBezTo>
                        <a:pt x="1597" y="2920"/>
                        <a:pt x="1607" y="2935"/>
                        <a:pt x="1616" y="2948"/>
                      </a:cubicBezTo>
                      <a:cubicBezTo>
                        <a:pt x="1624" y="2960"/>
                        <a:pt x="1635" y="2962"/>
                        <a:pt x="1635" y="2977"/>
                      </a:cubicBezTo>
                      <a:cubicBezTo>
                        <a:pt x="1643" y="2975"/>
                        <a:pt x="1651" y="2978"/>
                        <a:pt x="1658" y="2982"/>
                      </a:cubicBezTo>
                      <a:cubicBezTo>
                        <a:pt x="1656" y="2977"/>
                        <a:pt x="1638" y="2970"/>
                        <a:pt x="1642" y="2967"/>
                      </a:cubicBezTo>
                      <a:cubicBezTo>
                        <a:pt x="1646" y="2964"/>
                        <a:pt x="1664" y="2978"/>
                        <a:pt x="1667" y="2981"/>
                      </a:cubicBezTo>
                      <a:cubicBezTo>
                        <a:pt x="1670" y="2983"/>
                        <a:pt x="1683" y="2999"/>
                        <a:pt x="1682" y="3002"/>
                      </a:cubicBezTo>
                      <a:cubicBezTo>
                        <a:pt x="1679" y="3009"/>
                        <a:pt x="1661" y="3003"/>
                        <a:pt x="1657" y="3001"/>
                      </a:cubicBezTo>
                      <a:cubicBezTo>
                        <a:pt x="1654" y="3010"/>
                        <a:pt x="1662" y="3007"/>
                        <a:pt x="1664" y="3015"/>
                      </a:cubicBezTo>
                      <a:cubicBezTo>
                        <a:pt x="1670" y="3004"/>
                        <a:pt x="1673" y="3016"/>
                        <a:pt x="1680" y="3020"/>
                      </a:cubicBezTo>
                      <a:cubicBezTo>
                        <a:pt x="1689" y="3024"/>
                        <a:pt x="1690" y="3020"/>
                        <a:pt x="1695" y="3021"/>
                      </a:cubicBezTo>
                      <a:cubicBezTo>
                        <a:pt x="1695" y="3021"/>
                        <a:pt x="1704" y="3031"/>
                        <a:pt x="1704" y="3031"/>
                      </a:cubicBezTo>
                      <a:cubicBezTo>
                        <a:pt x="1707" y="3033"/>
                        <a:pt x="1707" y="3025"/>
                        <a:pt x="1712" y="3033"/>
                      </a:cubicBezTo>
                      <a:cubicBezTo>
                        <a:pt x="1714" y="3036"/>
                        <a:pt x="1710" y="3041"/>
                        <a:pt x="1712" y="3045"/>
                      </a:cubicBezTo>
                      <a:cubicBezTo>
                        <a:pt x="1716" y="3050"/>
                        <a:pt x="1722" y="3051"/>
                        <a:pt x="1729" y="3052"/>
                      </a:cubicBezTo>
                      <a:cubicBezTo>
                        <a:pt x="1723" y="3049"/>
                        <a:pt x="1720" y="3043"/>
                        <a:pt x="1722" y="3037"/>
                      </a:cubicBezTo>
                      <a:cubicBezTo>
                        <a:pt x="1736" y="3043"/>
                        <a:pt x="1748" y="3058"/>
                        <a:pt x="1759" y="3067"/>
                      </a:cubicBezTo>
                      <a:cubicBezTo>
                        <a:pt x="1750" y="3066"/>
                        <a:pt x="1751" y="3073"/>
                        <a:pt x="1746" y="3073"/>
                      </a:cubicBezTo>
                      <a:cubicBezTo>
                        <a:pt x="1744" y="3074"/>
                        <a:pt x="1735" y="3071"/>
                        <a:pt x="1732" y="3071"/>
                      </a:cubicBezTo>
                      <a:cubicBezTo>
                        <a:pt x="1710" y="3070"/>
                        <a:pt x="1703" y="3078"/>
                        <a:pt x="1701" y="3052"/>
                      </a:cubicBezTo>
                      <a:cubicBezTo>
                        <a:pt x="1696" y="3059"/>
                        <a:pt x="1700" y="3067"/>
                        <a:pt x="1696" y="3072"/>
                      </a:cubicBezTo>
                      <a:cubicBezTo>
                        <a:pt x="1693" y="3077"/>
                        <a:pt x="1683" y="3077"/>
                        <a:pt x="1678" y="3084"/>
                      </a:cubicBezTo>
                      <a:cubicBezTo>
                        <a:pt x="1670" y="3094"/>
                        <a:pt x="1673" y="3097"/>
                        <a:pt x="1672" y="3108"/>
                      </a:cubicBezTo>
                      <a:cubicBezTo>
                        <a:pt x="1670" y="3123"/>
                        <a:pt x="1668" y="3115"/>
                        <a:pt x="1660" y="3125"/>
                      </a:cubicBezTo>
                      <a:cubicBezTo>
                        <a:pt x="1658" y="3127"/>
                        <a:pt x="1655" y="3138"/>
                        <a:pt x="1654" y="3142"/>
                      </a:cubicBezTo>
                      <a:cubicBezTo>
                        <a:pt x="1650" y="3151"/>
                        <a:pt x="1646" y="3161"/>
                        <a:pt x="1644" y="3172"/>
                      </a:cubicBezTo>
                      <a:cubicBezTo>
                        <a:pt x="1640" y="3192"/>
                        <a:pt x="1649" y="3218"/>
                        <a:pt x="1642" y="3237"/>
                      </a:cubicBezTo>
                      <a:cubicBezTo>
                        <a:pt x="1629" y="3230"/>
                        <a:pt x="1622" y="3218"/>
                        <a:pt x="1608" y="3215"/>
                      </a:cubicBezTo>
                      <a:cubicBezTo>
                        <a:pt x="1595" y="3212"/>
                        <a:pt x="1597" y="3214"/>
                        <a:pt x="1593" y="3224"/>
                      </a:cubicBezTo>
                      <a:cubicBezTo>
                        <a:pt x="1591" y="3228"/>
                        <a:pt x="1588" y="3232"/>
                        <a:pt x="1589" y="3237"/>
                      </a:cubicBezTo>
                      <a:cubicBezTo>
                        <a:pt x="1591" y="3244"/>
                        <a:pt x="1595" y="3241"/>
                        <a:pt x="1596" y="3243"/>
                      </a:cubicBezTo>
                      <a:cubicBezTo>
                        <a:pt x="1601" y="3249"/>
                        <a:pt x="1608" y="3265"/>
                        <a:pt x="1620" y="3251"/>
                      </a:cubicBezTo>
                      <a:cubicBezTo>
                        <a:pt x="1616" y="3250"/>
                        <a:pt x="1613" y="3248"/>
                        <a:pt x="1608" y="3248"/>
                      </a:cubicBezTo>
                      <a:cubicBezTo>
                        <a:pt x="1613" y="3239"/>
                        <a:pt x="1641" y="3234"/>
                        <a:pt x="1633" y="3249"/>
                      </a:cubicBezTo>
                      <a:cubicBezTo>
                        <a:pt x="1643" y="3251"/>
                        <a:pt x="1644" y="3265"/>
                        <a:pt x="1633" y="3263"/>
                      </a:cubicBezTo>
                      <a:cubicBezTo>
                        <a:pt x="1652" y="3270"/>
                        <a:pt x="1628" y="3279"/>
                        <a:pt x="1648" y="3283"/>
                      </a:cubicBezTo>
                      <a:cubicBezTo>
                        <a:pt x="1651" y="3284"/>
                        <a:pt x="1669" y="3281"/>
                        <a:pt x="1661" y="3292"/>
                      </a:cubicBezTo>
                      <a:cubicBezTo>
                        <a:pt x="1677" y="3304"/>
                        <a:pt x="1663" y="3314"/>
                        <a:pt x="1649" y="3311"/>
                      </a:cubicBezTo>
                      <a:cubicBezTo>
                        <a:pt x="1656" y="3315"/>
                        <a:pt x="1658" y="3323"/>
                        <a:pt x="1664" y="3325"/>
                      </a:cubicBezTo>
                      <a:cubicBezTo>
                        <a:pt x="1669" y="3326"/>
                        <a:pt x="1673" y="3319"/>
                        <a:pt x="1676" y="3321"/>
                      </a:cubicBezTo>
                      <a:cubicBezTo>
                        <a:pt x="1679" y="3322"/>
                        <a:pt x="1680" y="3327"/>
                        <a:pt x="1682" y="3329"/>
                      </a:cubicBezTo>
                      <a:cubicBezTo>
                        <a:pt x="1688" y="3335"/>
                        <a:pt x="1687" y="3337"/>
                        <a:pt x="1689" y="3342"/>
                      </a:cubicBezTo>
                      <a:cubicBezTo>
                        <a:pt x="1689" y="3342"/>
                        <a:pt x="1691" y="3352"/>
                        <a:pt x="1691" y="3353"/>
                      </a:cubicBezTo>
                      <a:cubicBezTo>
                        <a:pt x="1691" y="3356"/>
                        <a:pt x="1692" y="3359"/>
                        <a:pt x="1690" y="3362"/>
                      </a:cubicBezTo>
                      <a:cubicBezTo>
                        <a:pt x="1699" y="3357"/>
                        <a:pt x="1694" y="3341"/>
                        <a:pt x="1711" y="3352"/>
                      </a:cubicBezTo>
                      <a:cubicBezTo>
                        <a:pt x="1710" y="3356"/>
                        <a:pt x="1708" y="3364"/>
                        <a:pt x="1710" y="3366"/>
                      </a:cubicBezTo>
                      <a:cubicBezTo>
                        <a:pt x="1712" y="3368"/>
                        <a:pt x="1719" y="3366"/>
                        <a:pt x="1719" y="3366"/>
                      </a:cubicBezTo>
                      <a:cubicBezTo>
                        <a:pt x="1725" y="3373"/>
                        <a:pt x="1727" y="3385"/>
                        <a:pt x="1715" y="3391"/>
                      </a:cubicBezTo>
                      <a:cubicBezTo>
                        <a:pt x="1725" y="3395"/>
                        <a:pt x="1716" y="3396"/>
                        <a:pt x="1719" y="3401"/>
                      </a:cubicBezTo>
                      <a:cubicBezTo>
                        <a:pt x="1719" y="3401"/>
                        <a:pt x="1723" y="3407"/>
                        <a:pt x="1723" y="3408"/>
                      </a:cubicBezTo>
                      <a:cubicBezTo>
                        <a:pt x="1725" y="3412"/>
                        <a:pt x="1732" y="3408"/>
                        <a:pt x="1731" y="3420"/>
                      </a:cubicBezTo>
                      <a:cubicBezTo>
                        <a:pt x="1730" y="3425"/>
                        <a:pt x="1725" y="3425"/>
                        <a:pt x="1727" y="3430"/>
                      </a:cubicBezTo>
                      <a:cubicBezTo>
                        <a:pt x="1728" y="3435"/>
                        <a:pt x="1735" y="3440"/>
                        <a:pt x="1737" y="3444"/>
                      </a:cubicBezTo>
                      <a:cubicBezTo>
                        <a:pt x="1744" y="3456"/>
                        <a:pt x="1748" y="3467"/>
                        <a:pt x="1749" y="3481"/>
                      </a:cubicBezTo>
                      <a:cubicBezTo>
                        <a:pt x="1749" y="3489"/>
                        <a:pt x="1751" y="3498"/>
                        <a:pt x="1752" y="3507"/>
                      </a:cubicBezTo>
                      <a:cubicBezTo>
                        <a:pt x="1753" y="3515"/>
                        <a:pt x="1751" y="3522"/>
                        <a:pt x="1752" y="3531"/>
                      </a:cubicBezTo>
                      <a:cubicBezTo>
                        <a:pt x="1752" y="3536"/>
                        <a:pt x="1755" y="3544"/>
                        <a:pt x="1756" y="3549"/>
                      </a:cubicBezTo>
                      <a:cubicBezTo>
                        <a:pt x="1757" y="3554"/>
                        <a:pt x="1763" y="3566"/>
                        <a:pt x="1763" y="3568"/>
                      </a:cubicBezTo>
                      <a:cubicBezTo>
                        <a:pt x="1762" y="3573"/>
                        <a:pt x="1758" y="3578"/>
                        <a:pt x="1758" y="3586"/>
                      </a:cubicBezTo>
                      <a:cubicBezTo>
                        <a:pt x="1758" y="3599"/>
                        <a:pt x="1758" y="3602"/>
                        <a:pt x="1750" y="3612"/>
                      </a:cubicBezTo>
                      <a:cubicBezTo>
                        <a:pt x="1743" y="3622"/>
                        <a:pt x="1742" y="3631"/>
                        <a:pt x="1744" y="3643"/>
                      </a:cubicBezTo>
                      <a:cubicBezTo>
                        <a:pt x="1745" y="3647"/>
                        <a:pt x="1745" y="3652"/>
                        <a:pt x="1747" y="3655"/>
                      </a:cubicBezTo>
                      <a:cubicBezTo>
                        <a:pt x="1749" y="3660"/>
                        <a:pt x="1756" y="3661"/>
                        <a:pt x="1756" y="3667"/>
                      </a:cubicBezTo>
                      <a:cubicBezTo>
                        <a:pt x="1757" y="3674"/>
                        <a:pt x="1748" y="3679"/>
                        <a:pt x="1747" y="3687"/>
                      </a:cubicBezTo>
                      <a:cubicBezTo>
                        <a:pt x="1746" y="3697"/>
                        <a:pt x="1751" y="3706"/>
                        <a:pt x="1751" y="3715"/>
                      </a:cubicBezTo>
                      <a:cubicBezTo>
                        <a:pt x="1752" y="3726"/>
                        <a:pt x="1747" y="3738"/>
                        <a:pt x="1746" y="3749"/>
                      </a:cubicBezTo>
                      <a:cubicBezTo>
                        <a:pt x="1744" y="3762"/>
                        <a:pt x="1746" y="3775"/>
                        <a:pt x="1745" y="3788"/>
                      </a:cubicBezTo>
                      <a:cubicBezTo>
                        <a:pt x="1744" y="3805"/>
                        <a:pt x="1749" y="3830"/>
                        <a:pt x="1743" y="3847"/>
                      </a:cubicBezTo>
                      <a:cubicBezTo>
                        <a:pt x="1740" y="3846"/>
                        <a:pt x="1726" y="3776"/>
                        <a:pt x="1711" y="3797"/>
                      </a:cubicBezTo>
                      <a:cubicBezTo>
                        <a:pt x="1698" y="3788"/>
                        <a:pt x="1700" y="3773"/>
                        <a:pt x="1683" y="3770"/>
                      </a:cubicBezTo>
                      <a:cubicBezTo>
                        <a:pt x="1674" y="3769"/>
                        <a:pt x="1668" y="3774"/>
                        <a:pt x="1659" y="3772"/>
                      </a:cubicBezTo>
                      <a:cubicBezTo>
                        <a:pt x="1647" y="3769"/>
                        <a:pt x="1641" y="3752"/>
                        <a:pt x="1633" y="3745"/>
                      </a:cubicBezTo>
                      <a:cubicBezTo>
                        <a:pt x="1627" y="3740"/>
                        <a:pt x="1623" y="3740"/>
                        <a:pt x="1618" y="3734"/>
                      </a:cubicBezTo>
                      <a:cubicBezTo>
                        <a:pt x="1600" y="3718"/>
                        <a:pt x="1588" y="3693"/>
                        <a:pt x="1574" y="3674"/>
                      </a:cubicBezTo>
                      <a:cubicBezTo>
                        <a:pt x="1552" y="3647"/>
                        <a:pt x="1527" y="3623"/>
                        <a:pt x="1503" y="3598"/>
                      </a:cubicBezTo>
                      <a:cubicBezTo>
                        <a:pt x="1490" y="3585"/>
                        <a:pt x="1477" y="3572"/>
                        <a:pt x="1462" y="3561"/>
                      </a:cubicBezTo>
                      <a:cubicBezTo>
                        <a:pt x="1450" y="3552"/>
                        <a:pt x="1435" y="3548"/>
                        <a:pt x="1424" y="3537"/>
                      </a:cubicBezTo>
                      <a:cubicBezTo>
                        <a:pt x="1434" y="3538"/>
                        <a:pt x="1442" y="3533"/>
                        <a:pt x="1448" y="3546"/>
                      </a:cubicBezTo>
                      <a:cubicBezTo>
                        <a:pt x="1450" y="3540"/>
                        <a:pt x="1451" y="3528"/>
                        <a:pt x="1444" y="3525"/>
                      </a:cubicBezTo>
                      <a:cubicBezTo>
                        <a:pt x="1438" y="3522"/>
                        <a:pt x="1428" y="3531"/>
                        <a:pt x="1419" y="3528"/>
                      </a:cubicBezTo>
                      <a:cubicBezTo>
                        <a:pt x="1401" y="3521"/>
                        <a:pt x="1383" y="3504"/>
                        <a:pt x="1368" y="3493"/>
                      </a:cubicBezTo>
                      <a:cubicBezTo>
                        <a:pt x="1334" y="3467"/>
                        <a:pt x="1303" y="3434"/>
                        <a:pt x="1275" y="3402"/>
                      </a:cubicBezTo>
                      <a:cubicBezTo>
                        <a:pt x="1223" y="3342"/>
                        <a:pt x="1164" y="3284"/>
                        <a:pt x="1102" y="3235"/>
                      </a:cubicBezTo>
                      <a:cubicBezTo>
                        <a:pt x="1037" y="3183"/>
                        <a:pt x="978" y="3122"/>
                        <a:pt x="923" y="3060"/>
                      </a:cubicBezTo>
                      <a:cubicBezTo>
                        <a:pt x="893" y="3028"/>
                        <a:pt x="869" y="2996"/>
                        <a:pt x="848" y="2958"/>
                      </a:cubicBezTo>
                      <a:cubicBezTo>
                        <a:pt x="830" y="2923"/>
                        <a:pt x="803" y="2893"/>
                        <a:pt x="785" y="2858"/>
                      </a:cubicBezTo>
                      <a:cubicBezTo>
                        <a:pt x="782" y="2852"/>
                        <a:pt x="781" y="2845"/>
                        <a:pt x="779" y="2840"/>
                      </a:cubicBezTo>
                      <a:cubicBezTo>
                        <a:pt x="777" y="2835"/>
                        <a:pt x="776" y="2835"/>
                        <a:pt x="772" y="2828"/>
                      </a:cubicBezTo>
                      <a:cubicBezTo>
                        <a:pt x="762" y="2813"/>
                        <a:pt x="756" y="2793"/>
                        <a:pt x="748" y="2776"/>
                      </a:cubicBezTo>
                      <a:cubicBezTo>
                        <a:pt x="737" y="2755"/>
                        <a:pt x="725" y="2733"/>
                        <a:pt x="716" y="2711"/>
                      </a:cubicBezTo>
                      <a:cubicBezTo>
                        <a:pt x="711" y="2694"/>
                        <a:pt x="695" y="2663"/>
                        <a:pt x="705" y="2647"/>
                      </a:cubicBezTo>
                      <a:cubicBezTo>
                        <a:pt x="710" y="2659"/>
                        <a:pt x="705" y="2672"/>
                        <a:pt x="714" y="2683"/>
                      </a:cubicBezTo>
                      <a:cubicBezTo>
                        <a:pt x="708" y="2661"/>
                        <a:pt x="708" y="2642"/>
                        <a:pt x="714" y="2623"/>
                      </a:cubicBezTo>
                      <a:cubicBezTo>
                        <a:pt x="718" y="2612"/>
                        <a:pt x="720" y="2599"/>
                        <a:pt x="716" y="2588"/>
                      </a:cubicBezTo>
                      <a:cubicBezTo>
                        <a:pt x="713" y="2578"/>
                        <a:pt x="700" y="2567"/>
                        <a:pt x="703" y="2558"/>
                      </a:cubicBezTo>
                      <a:cubicBezTo>
                        <a:pt x="711" y="2564"/>
                        <a:pt x="718" y="2555"/>
                        <a:pt x="725" y="2563"/>
                      </a:cubicBezTo>
                      <a:cubicBezTo>
                        <a:pt x="727" y="2553"/>
                        <a:pt x="718" y="2533"/>
                        <a:pt x="716" y="2522"/>
                      </a:cubicBezTo>
                      <a:cubicBezTo>
                        <a:pt x="712" y="2504"/>
                        <a:pt x="707" y="2484"/>
                        <a:pt x="700" y="2466"/>
                      </a:cubicBezTo>
                      <a:cubicBezTo>
                        <a:pt x="695" y="2454"/>
                        <a:pt x="628" y="2384"/>
                        <a:pt x="621" y="2415"/>
                      </a:cubicBezTo>
                      <a:cubicBezTo>
                        <a:pt x="619" y="2403"/>
                        <a:pt x="617" y="2372"/>
                        <a:pt x="628" y="2369"/>
                      </a:cubicBezTo>
                      <a:cubicBezTo>
                        <a:pt x="631" y="2369"/>
                        <a:pt x="635" y="2374"/>
                        <a:pt x="638" y="2374"/>
                      </a:cubicBezTo>
                      <a:cubicBezTo>
                        <a:pt x="641" y="2374"/>
                        <a:pt x="644" y="2372"/>
                        <a:pt x="648" y="2371"/>
                      </a:cubicBezTo>
                      <a:cubicBezTo>
                        <a:pt x="657" y="2369"/>
                        <a:pt x="666" y="2366"/>
                        <a:pt x="673" y="2359"/>
                      </a:cubicBezTo>
                      <a:cubicBezTo>
                        <a:pt x="684" y="2347"/>
                        <a:pt x="685" y="2330"/>
                        <a:pt x="679" y="2314"/>
                      </a:cubicBezTo>
                      <a:cubicBezTo>
                        <a:pt x="677" y="2309"/>
                        <a:pt x="672" y="2305"/>
                        <a:pt x="671" y="2299"/>
                      </a:cubicBezTo>
                      <a:cubicBezTo>
                        <a:pt x="668" y="2292"/>
                        <a:pt x="672" y="2284"/>
                        <a:pt x="664" y="2280"/>
                      </a:cubicBezTo>
                      <a:cubicBezTo>
                        <a:pt x="670" y="2270"/>
                        <a:pt x="675" y="2276"/>
                        <a:pt x="684" y="2273"/>
                      </a:cubicBezTo>
                      <a:cubicBezTo>
                        <a:pt x="693" y="2270"/>
                        <a:pt x="706" y="2261"/>
                        <a:pt x="712" y="2253"/>
                      </a:cubicBezTo>
                      <a:cubicBezTo>
                        <a:pt x="716" y="2246"/>
                        <a:pt x="717" y="2234"/>
                        <a:pt x="725" y="2231"/>
                      </a:cubicBezTo>
                      <a:cubicBezTo>
                        <a:pt x="733" y="2228"/>
                        <a:pt x="740" y="2237"/>
                        <a:pt x="748" y="2236"/>
                      </a:cubicBezTo>
                      <a:cubicBezTo>
                        <a:pt x="745" y="2230"/>
                        <a:pt x="727" y="2222"/>
                        <a:pt x="722" y="2228"/>
                      </a:cubicBezTo>
                      <a:cubicBezTo>
                        <a:pt x="719" y="2191"/>
                        <a:pt x="727" y="2149"/>
                        <a:pt x="733" y="2113"/>
                      </a:cubicBezTo>
                      <a:cubicBezTo>
                        <a:pt x="734" y="2104"/>
                        <a:pt x="738" y="2094"/>
                        <a:pt x="739" y="2085"/>
                      </a:cubicBezTo>
                      <a:cubicBezTo>
                        <a:pt x="739" y="2076"/>
                        <a:pt x="737" y="2068"/>
                        <a:pt x="739" y="2060"/>
                      </a:cubicBezTo>
                      <a:cubicBezTo>
                        <a:pt x="740" y="2053"/>
                        <a:pt x="734" y="2056"/>
                        <a:pt x="740" y="2052"/>
                      </a:cubicBezTo>
                      <a:cubicBezTo>
                        <a:pt x="740" y="2052"/>
                        <a:pt x="750" y="2055"/>
                        <a:pt x="751" y="2055"/>
                      </a:cubicBezTo>
                      <a:cubicBezTo>
                        <a:pt x="747" y="2049"/>
                        <a:pt x="740" y="2053"/>
                        <a:pt x="736" y="2046"/>
                      </a:cubicBezTo>
                      <a:cubicBezTo>
                        <a:pt x="731" y="2040"/>
                        <a:pt x="731" y="2012"/>
                        <a:pt x="732" y="2003"/>
                      </a:cubicBezTo>
                      <a:cubicBezTo>
                        <a:pt x="733" y="1995"/>
                        <a:pt x="737" y="1989"/>
                        <a:pt x="737" y="1984"/>
                      </a:cubicBezTo>
                      <a:cubicBezTo>
                        <a:pt x="737" y="1979"/>
                        <a:pt x="733" y="1964"/>
                        <a:pt x="732" y="1957"/>
                      </a:cubicBezTo>
                      <a:cubicBezTo>
                        <a:pt x="729" y="1942"/>
                        <a:pt x="732" y="1926"/>
                        <a:pt x="719" y="1912"/>
                      </a:cubicBezTo>
                      <a:cubicBezTo>
                        <a:pt x="711" y="1904"/>
                        <a:pt x="709" y="1904"/>
                        <a:pt x="705" y="1893"/>
                      </a:cubicBezTo>
                      <a:cubicBezTo>
                        <a:pt x="701" y="1882"/>
                        <a:pt x="699" y="1872"/>
                        <a:pt x="699" y="1860"/>
                      </a:cubicBezTo>
                      <a:cubicBezTo>
                        <a:pt x="699" y="1844"/>
                        <a:pt x="701" y="1828"/>
                        <a:pt x="701" y="1811"/>
                      </a:cubicBezTo>
                      <a:cubicBezTo>
                        <a:pt x="701" y="1808"/>
                        <a:pt x="699" y="1803"/>
                        <a:pt x="700" y="1800"/>
                      </a:cubicBezTo>
                      <a:cubicBezTo>
                        <a:pt x="701" y="1795"/>
                        <a:pt x="706" y="1792"/>
                        <a:pt x="707" y="1787"/>
                      </a:cubicBezTo>
                      <a:cubicBezTo>
                        <a:pt x="711" y="1763"/>
                        <a:pt x="686" y="1745"/>
                        <a:pt x="692" y="1724"/>
                      </a:cubicBezTo>
                      <a:cubicBezTo>
                        <a:pt x="695" y="1713"/>
                        <a:pt x="706" y="1704"/>
                        <a:pt x="710" y="1694"/>
                      </a:cubicBezTo>
                      <a:cubicBezTo>
                        <a:pt x="715" y="1682"/>
                        <a:pt x="709" y="1671"/>
                        <a:pt x="707" y="1659"/>
                      </a:cubicBezTo>
                      <a:cubicBezTo>
                        <a:pt x="707" y="1654"/>
                        <a:pt x="707" y="1647"/>
                        <a:pt x="708" y="1642"/>
                      </a:cubicBezTo>
                      <a:cubicBezTo>
                        <a:pt x="708" y="1632"/>
                        <a:pt x="710" y="1618"/>
                        <a:pt x="709" y="1606"/>
                      </a:cubicBezTo>
                      <a:cubicBezTo>
                        <a:pt x="708" y="1591"/>
                        <a:pt x="703" y="1576"/>
                        <a:pt x="701" y="1560"/>
                      </a:cubicBezTo>
                      <a:cubicBezTo>
                        <a:pt x="699" y="1548"/>
                        <a:pt x="700" y="1542"/>
                        <a:pt x="703" y="1531"/>
                      </a:cubicBezTo>
                      <a:cubicBezTo>
                        <a:pt x="707" y="1515"/>
                        <a:pt x="720" y="1465"/>
                        <a:pt x="692" y="1459"/>
                      </a:cubicBezTo>
                      <a:cubicBezTo>
                        <a:pt x="692" y="1461"/>
                        <a:pt x="692" y="1463"/>
                        <a:pt x="692" y="1465"/>
                      </a:cubicBezTo>
                      <a:cubicBezTo>
                        <a:pt x="688" y="1458"/>
                        <a:pt x="677" y="1446"/>
                        <a:pt x="675" y="1438"/>
                      </a:cubicBezTo>
                      <a:cubicBezTo>
                        <a:pt x="674" y="1428"/>
                        <a:pt x="681" y="1412"/>
                        <a:pt x="682" y="1402"/>
                      </a:cubicBezTo>
                      <a:cubicBezTo>
                        <a:pt x="682" y="1395"/>
                        <a:pt x="679" y="1394"/>
                        <a:pt x="682" y="1388"/>
                      </a:cubicBezTo>
                      <a:cubicBezTo>
                        <a:pt x="683" y="1383"/>
                        <a:pt x="689" y="1380"/>
                        <a:pt x="691" y="1374"/>
                      </a:cubicBezTo>
                      <a:cubicBezTo>
                        <a:pt x="694" y="1367"/>
                        <a:pt x="689" y="1355"/>
                        <a:pt x="693" y="1348"/>
                      </a:cubicBezTo>
                      <a:cubicBezTo>
                        <a:pt x="697" y="1341"/>
                        <a:pt x="703" y="1343"/>
                        <a:pt x="708" y="1335"/>
                      </a:cubicBezTo>
                      <a:cubicBezTo>
                        <a:pt x="712" y="1328"/>
                        <a:pt x="712" y="1312"/>
                        <a:pt x="710" y="1304"/>
                      </a:cubicBezTo>
                      <a:cubicBezTo>
                        <a:pt x="707" y="1294"/>
                        <a:pt x="703" y="1294"/>
                        <a:pt x="708" y="1284"/>
                      </a:cubicBezTo>
                      <a:cubicBezTo>
                        <a:pt x="709" y="1282"/>
                        <a:pt x="710" y="1278"/>
                        <a:pt x="711" y="1277"/>
                      </a:cubicBezTo>
                      <a:cubicBezTo>
                        <a:pt x="712" y="1276"/>
                        <a:pt x="717" y="1277"/>
                        <a:pt x="718" y="1277"/>
                      </a:cubicBezTo>
                      <a:cubicBezTo>
                        <a:pt x="721" y="1273"/>
                        <a:pt x="728" y="1272"/>
                        <a:pt x="719" y="1269"/>
                      </a:cubicBezTo>
                      <a:cubicBezTo>
                        <a:pt x="727" y="1264"/>
                        <a:pt x="726" y="1237"/>
                        <a:pt x="740" y="1249"/>
                      </a:cubicBezTo>
                      <a:cubicBezTo>
                        <a:pt x="744" y="1253"/>
                        <a:pt x="749" y="1271"/>
                        <a:pt x="748" y="1257"/>
                      </a:cubicBezTo>
                      <a:cubicBezTo>
                        <a:pt x="748" y="1249"/>
                        <a:pt x="740" y="1241"/>
                        <a:pt x="740" y="1232"/>
                      </a:cubicBezTo>
                      <a:cubicBezTo>
                        <a:pt x="741" y="1215"/>
                        <a:pt x="763" y="1205"/>
                        <a:pt x="759" y="1193"/>
                      </a:cubicBezTo>
                      <a:cubicBezTo>
                        <a:pt x="754" y="1177"/>
                        <a:pt x="727" y="1188"/>
                        <a:pt x="714" y="1193"/>
                      </a:cubicBezTo>
                      <a:cubicBezTo>
                        <a:pt x="712" y="1185"/>
                        <a:pt x="717" y="1175"/>
                        <a:pt x="715" y="1169"/>
                      </a:cubicBezTo>
                      <a:cubicBezTo>
                        <a:pt x="713" y="1162"/>
                        <a:pt x="707" y="1161"/>
                        <a:pt x="706" y="1153"/>
                      </a:cubicBezTo>
                      <a:cubicBezTo>
                        <a:pt x="702" y="1138"/>
                        <a:pt x="715" y="1122"/>
                        <a:pt x="712" y="1109"/>
                      </a:cubicBezTo>
                      <a:cubicBezTo>
                        <a:pt x="711" y="1103"/>
                        <a:pt x="704" y="1100"/>
                        <a:pt x="702" y="1095"/>
                      </a:cubicBezTo>
                      <a:cubicBezTo>
                        <a:pt x="698" y="1084"/>
                        <a:pt x="703" y="1079"/>
                        <a:pt x="690" y="1073"/>
                      </a:cubicBezTo>
                      <a:cubicBezTo>
                        <a:pt x="674" y="1067"/>
                        <a:pt x="662" y="1072"/>
                        <a:pt x="666" y="1089"/>
                      </a:cubicBezTo>
                      <a:cubicBezTo>
                        <a:pt x="651" y="1084"/>
                        <a:pt x="648" y="1061"/>
                        <a:pt x="641" y="1049"/>
                      </a:cubicBezTo>
                      <a:cubicBezTo>
                        <a:pt x="636" y="1040"/>
                        <a:pt x="631" y="1037"/>
                        <a:pt x="634" y="1027"/>
                      </a:cubicBezTo>
                      <a:cubicBezTo>
                        <a:pt x="635" y="1023"/>
                        <a:pt x="641" y="1025"/>
                        <a:pt x="642" y="1020"/>
                      </a:cubicBezTo>
                      <a:cubicBezTo>
                        <a:pt x="643" y="1014"/>
                        <a:pt x="640" y="1012"/>
                        <a:pt x="637" y="1007"/>
                      </a:cubicBezTo>
                      <a:cubicBezTo>
                        <a:pt x="631" y="996"/>
                        <a:pt x="619" y="989"/>
                        <a:pt x="612" y="980"/>
                      </a:cubicBezTo>
                      <a:cubicBezTo>
                        <a:pt x="605" y="969"/>
                        <a:pt x="595" y="958"/>
                        <a:pt x="588" y="949"/>
                      </a:cubicBezTo>
                      <a:cubicBezTo>
                        <a:pt x="583" y="943"/>
                        <a:pt x="575" y="934"/>
                        <a:pt x="569" y="928"/>
                      </a:cubicBezTo>
                      <a:cubicBezTo>
                        <a:pt x="569" y="927"/>
                        <a:pt x="566" y="920"/>
                        <a:pt x="566" y="919"/>
                      </a:cubicBezTo>
                      <a:cubicBezTo>
                        <a:pt x="565" y="918"/>
                        <a:pt x="561" y="917"/>
                        <a:pt x="560" y="915"/>
                      </a:cubicBezTo>
                      <a:cubicBezTo>
                        <a:pt x="556" y="911"/>
                        <a:pt x="550" y="905"/>
                        <a:pt x="547" y="899"/>
                      </a:cubicBezTo>
                      <a:cubicBezTo>
                        <a:pt x="541" y="888"/>
                        <a:pt x="543" y="875"/>
                        <a:pt x="547" y="863"/>
                      </a:cubicBezTo>
                      <a:cubicBezTo>
                        <a:pt x="552" y="851"/>
                        <a:pt x="550" y="854"/>
                        <a:pt x="548" y="841"/>
                      </a:cubicBezTo>
                      <a:cubicBezTo>
                        <a:pt x="546" y="833"/>
                        <a:pt x="547" y="826"/>
                        <a:pt x="551" y="819"/>
                      </a:cubicBezTo>
                      <a:cubicBezTo>
                        <a:pt x="561" y="802"/>
                        <a:pt x="583" y="801"/>
                        <a:pt x="599" y="792"/>
                      </a:cubicBezTo>
                      <a:cubicBezTo>
                        <a:pt x="604" y="789"/>
                        <a:pt x="615" y="781"/>
                        <a:pt x="620" y="781"/>
                      </a:cubicBezTo>
                      <a:cubicBezTo>
                        <a:pt x="628" y="782"/>
                        <a:pt x="630" y="790"/>
                        <a:pt x="637" y="785"/>
                      </a:cubicBezTo>
                      <a:cubicBezTo>
                        <a:pt x="630" y="779"/>
                        <a:pt x="623" y="778"/>
                        <a:pt x="615" y="779"/>
                      </a:cubicBezTo>
                      <a:cubicBezTo>
                        <a:pt x="603" y="779"/>
                        <a:pt x="594" y="785"/>
                        <a:pt x="600" y="769"/>
                      </a:cubicBezTo>
                      <a:cubicBezTo>
                        <a:pt x="607" y="755"/>
                        <a:pt x="643" y="745"/>
                        <a:pt x="641" y="731"/>
                      </a:cubicBezTo>
                      <a:cubicBezTo>
                        <a:pt x="630" y="739"/>
                        <a:pt x="617" y="745"/>
                        <a:pt x="607" y="753"/>
                      </a:cubicBezTo>
                      <a:cubicBezTo>
                        <a:pt x="600" y="759"/>
                        <a:pt x="595" y="767"/>
                        <a:pt x="587" y="771"/>
                      </a:cubicBezTo>
                      <a:cubicBezTo>
                        <a:pt x="581" y="774"/>
                        <a:pt x="573" y="774"/>
                        <a:pt x="566" y="776"/>
                      </a:cubicBezTo>
                      <a:cubicBezTo>
                        <a:pt x="551" y="780"/>
                        <a:pt x="546" y="785"/>
                        <a:pt x="530" y="781"/>
                      </a:cubicBezTo>
                      <a:cubicBezTo>
                        <a:pt x="517" y="778"/>
                        <a:pt x="515" y="777"/>
                        <a:pt x="504" y="782"/>
                      </a:cubicBezTo>
                      <a:cubicBezTo>
                        <a:pt x="487" y="789"/>
                        <a:pt x="490" y="798"/>
                        <a:pt x="479" y="811"/>
                      </a:cubicBezTo>
                      <a:cubicBezTo>
                        <a:pt x="476" y="815"/>
                        <a:pt x="468" y="822"/>
                        <a:pt x="466" y="826"/>
                      </a:cubicBezTo>
                      <a:cubicBezTo>
                        <a:pt x="464" y="833"/>
                        <a:pt x="470" y="843"/>
                        <a:pt x="467" y="847"/>
                      </a:cubicBezTo>
                      <a:cubicBezTo>
                        <a:pt x="466" y="851"/>
                        <a:pt x="459" y="851"/>
                        <a:pt x="455" y="854"/>
                      </a:cubicBezTo>
                      <a:cubicBezTo>
                        <a:pt x="451" y="857"/>
                        <a:pt x="445" y="866"/>
                        <a:pt x="443" y="870"/>
                      </a:cubicBezTo>
                      <a:cubicBezTo>
                        <a:pt x="438" y="882"/>
                        <a:pt x="440" y="895"/>
                        <a:pt x="424" y="893"/>
                      </a:cubicBezTo>
                      <a:cubicBezTo>
                        <a:pt x="432" y="902"/>
                        <a:pt x="421" y="903"/>
                        <a:pt x="422" y="913"/>
                      </a:cubicBezTo>
                      <a:cubicBezTo>
                        <a:pt x="423" y="921"/>
                        <a:pt x="430" y="919"/>
                        <a:pt x="432" y="925"/>
                      </a:cubicBezTo>
                      <a:cubicBezTo>
                        <a:pt x="433" y="927"/>
                        <a:pt x="430" y="938"/>
                        <a:pt x="429" y="936"/>
                      </a:cubicBezTo>
                      <a:cubicBezTo>
                        <a:pt x="433" y="943"/>
                        <a:pt x="433" y="937"/>
                        <a:pt x="435" y="938"/>
                      </a:cubicBezTo>
                      <a:cubicBezTo>
                        <a:pt x="435" y="938"/>
                        <a:pt x="443" y="944"/>
                        <a:pt x="443" y="944"/>
                      </a:cubicBezTo>
                      <a:cubicBezTo>
                        <a:pt x="449" y="944"/>
                        <a:pt x="450" y="940"/>
                        <a:pt x="456" y="941"/>
                      </a:cubicBezTo>
                      <a:cubicBezTo>
                        <a:pt x="473" y="943"/>
                        <a:pt x="458" y="946"/>
                        <a:pt x="457" y="956"/>
                      </a:cubicBezTo>
                      <a:cubicBezTo>
                        <a:pt x="456" y="960"/>
                        <a:pt x="460" y="962"/>
                        <a:pt x="460" y="962"/>
                      </a:cubicBezTo>
                      <a:cubicBezTo>
                        <a:pt x="460" y="963"/>
                        <a:pt x="459" y="968"/>
                        <a:pt x="459" y="968"/>
                      </a:cubicBezTo>
                      <a:cubicBezTo>
                        <a:pt x="461" y="982"/>
                        <a:pt x="457" y="986"/>
                        <a:pt x="469" y="995"/>
                      </a:cubicBezTo>
                      <a:cubicBezTo>
                        <a:pt x="474" y="999"/>
                        <a:pt x="481" y="1000"/>
                        <a:pt x="485" y="1005"/>
                      </a:cubicBezTo>
                      <a:cubicBezTo>
                        <a:pt x="487" y="1006"/>
                        <a:pt x="486" y="1024"/>
                        <a:pt x="497" y="1009"/>
                      </a:cubicBezTo>
                      <a:cubicBezTo>
                        <a:pt x="498" y="1016"/>
                        <a:pt x="501" y="1022"/>
                        <a:pt x="504" y="1029"/>
                      </a:cubicBezTo>
                      <a:cubicBezTo>
                        <a:pt x="506" y="1035"/>
                        <a:pt x="510" y="1046"/>
                        <a:pt x="508" y="1051"/>
                      </a:cubicBezTo>
                      <a:cubicBezTo>
                        <a:pt x="517" y="1044"/>
                        <a:pt x="520" y="1077"/>
                        <a:pt x="529" y="1080"/>
                      </a:cubicBezTo>
                      <a:cubicBezTo>
                        <a:pt x="541" y="1085"/>
                        <a:pt x="562" y="1068"/>
                        <a:pt x="575" y="1067"/>
                      </a:cubicBezTo>
                      <a:cubicBezTo>
                        <a:pt x="575" y="1072"/>
                        <a:pt x="579" y="1073"/>
                        <a:pt x="580" y="1077"/>
                      </a:cubicBezTo>
                      <a:cubicBezTo>
                        <a:pt x="581" y="1082"/>
                        <a:pt x="577" y="1083"/>
                        <a:pt x="577" y="1088"/>
                      </a:cubicBezTo>
                      <a:cubicBezTo>
                        <a:pt x="577" y="1092"/>
                        <a:pt x="574" y="1094"/>
                        <a:pt x="582" y="1095"/>
                      </a:cubicBezTo>
                      <a:cubicBezTo>
                        <a:pt x="574" y="1095"/>
                        <a:pt x="568" y="1100"/>
                        <a:pt x="571" y="1109"/>
                      </a:cubicBezTo>
                      <a:cubicBezTo>
                        <a:pt x="573" y="1115"/>
                        <a:pt x="591" y="1117"/>
                        <a:pt x="582" y="1128"/>
                      </a:cubicBezTo>
                      <a:cubicBezTo>
                        <a:pt x="575" y="1137"/>
                        <a:pt x="553" y="1116"/>
                        <a:pt x="550" y="1127"/>
                      </a:cubicBezTo>
                      <a:cubicBezTo>
                        <a:pt x="544" y="1121"/>
                        <a:pt x="552" y="1116"/>
                        <a:pt x="549" y="1111"/>
                      </a:cubicBezTo>
                      <a:cubicBezTo>
                        <a:pt x="545" y="1105"/>
                        <a:pt x="531" y="1106"/>
                        <a:pt x="526" y="1110"/>
                      </a:cubicBezTo>
                      <a:cubicBezTo>
                        <a:pt x="522" y="1114"/>
                        <a:pt x="516" y="1133"/>
                        <a:pt x="519" y="1137"/>
                      </a:cubicBezTo>
                      <a:cubicBezTo>
                        <a:pt x="528" y="1147"/>
                        <a:pt x="534" y="1126"/>
                        <a:pt x="544" y="1136"/>
                      </a:cubicBezTo>
                      <a:cubicBezTo>
                        <a:pt x="535" y="1142"/>
                        <a:pt x="519" y="1147"/>
                        <a:pt x="508" y="1145"/>
                      </a:cubicBezTo>
                      <a:cubicBezTo>
                        <a:pt x="496" y="1142"/>
                        <a:pt x="497" y="1135"/>
                        <a:pt x="489" y="1129"/>
                      </a:cubicBezTo>
                      <a:cubicBezTo>
                        <a:pt x="486" y="1127"/>
                        <a:pt x="483" y="1133"/>
                        <a:pt x="480" y="1130"/>
                      </a:cubicBezTo>
                      <a:cubicBezTo>
                        <a:pt x="478" y="1128"/>
                        <a:pt x="481" y="1122"/>
                        <a:pt x="478" y="1121"/>
                      </a:cubicBezTo>
                      <a:cubicBezTo>
                        <a:pt x="471" y="1115"/>
                        <a:pt x="469" y="1118"/>
                        <a:pt x="460" y="1115"/>
                      </a:cubicBezTo>
                      <a:cubicBezTo>
                        <a:pt x="460" y="1115"/>
                        <a:pt x="442" y="1106"/>
                        <a:pt x="444" y="1108"/>
                      </a:cubicBezTo>
                      <a:cubicBezTo>
                        <a:pt x="433" y="1097"/>
                        <a:pt x="444" y="1100"/>
                        <a:pt x="449" y="1090"/>
                      </a:cubicBezTo>
                      <a:cubicBezTo>
                        <a:pt x="452" y="1082"/>
                        <a:pt x="445" y="1060"/>
                        <a:pt x="433" y="1058"/>
                      </a:cubicBezTo>
                      <a:cubicBezTo>
                        <a:pt x="421" y="1055"/>
                        <a:pt x="402" y="1082"/>
                        <a:pt x="388" y="1072"/>
                      </a:cubicBezTo>
                      <a:cubicBezTo>
                        <a:pt x="380" y="1066"/>
                        <a:pt x="384" y="1063"/>
                        <a:pt x="388" y="1055"/>
                      </a:cubicBezTo>
                      <a:cubicBezTo>
                        <a:pt x="389" y="1054"/>
                        <a:pt x="393" y="1055"/>
                        <a:pt x="394" y="1051"/>
                      </a:cubicBezTo>
                      <a:cubicBezTo>
                        <a:pt x="396" y="1046"/>
                        <a:pt x="392" y="1040"/>
                        <a:pt x="394" y="1035"/>
                      </a:cubicBezTo>
                      <a:cubicBezTo>
                        <a:pt x="396" y="1030"/>
                        <a:pt x="401" y="1029"/>
                        <a:pt x="403" y="1026"/>
                      </a:cubicBezTo>
                      <a:cubicBezTo>
                        <a:pt x="401" y="1029"/>
                        <a:pt x="409" y="1015"/>
                        <a:pt x="404" y="1019"/>
                      </a:cubicBezTo>
                      <a:cubicBezTo>
                        <a:pt x="406" y="1018"/>
                        <a:pt x="413" y="1016"/>
                        <a:pt x="415" y="1013"/>
                      </a:cubicBezTo>
                      <a:cubicBezTo>
                        <a:pt x="421" y="1003"/>
                        <a:pt x="407" y="987"/>
                        <a:pt x="402" y="981"/>
                      </a:cubicBezTo>
                      <a:cubicBezTo>
                        <a:pt x="398" y="977"/>
                        <a:pt x="393" y="975"/>
                        <a:pt x="389" y="971"/>
                      </a:cubicBezTo>
                      <a:cubicBezTo>
                        <a:pt x="386" y="967"/>
                        <a:pt x="386" y="962"/>
                        <a:pt x="382" y="959"/>
                      </a:cubicBezTo>
                      <a:cubicBezTo>
                        <a:pt x="378" y="955"/>
                        <a:pt x="370" y="956"/>
                        <a:pt x="365" y="952"/>
                      </a:cubicBezTo>
                      <a:cubicBezTo>
                        <a:pt x="356" y="945"/>
                        <a:pt x="360" y="915"/>
                        <a:pt x="348" y="913"/>
                      </a:cubicBezTo>
                      <a:cubicBezTo>
                        <a:pt x="342" y="912"/>
                        <a:pt x="342" y="923"/>
                        <a:pt x="336" y="925"/>
                      </a:cubicBezTo>
                      <a:cubicBezTo>
                        <a:pt x="324" y="928"/>
                        <a:pt x="320" y="916"/>
                        <a:pt x="313" y="912"/>
                      </a:cubicBezTo>
                      <a:cubicBezTo>
                        <a:pt x="296" y="903"/>
                        <a:pt x="275" y="922"/>
                        <a:pt x="260" y="913"/>
                      </a:cubicBezTo>
                      <a:cubicBezTo>
                        <a:pt x="253" y="908"/>
                        <a:pt x="253" y="896"/>
                        <a:pt x="248" y="890"/>
                      </a:cubicBezTo>
                      <a:cubicBezTo>
                        <a:pt x="241" y="882"/>
                        <a:pt x="239" y="888"/>
                        <a:pt x="239" y="875"/>
                      </a:cubicBezTo>
                      <a:cubicBezTo>
                        <a:pt x="239" y="863"/>
                        <a:pt x="240" y="871"/>
                        <a:pt x="246" y="863"/>
                      </a:cubicBezTo>
                      <a:cubicBezTo>
                        <a:pt x="248" y="860"/>
                        <a:pt x="253" y="849"/>
                        <a:pt x="253" y="847"/>
                      </a:cubicBezTo>
                      <a:cubicBezTo>
                        <a:pt x="252" y="842"/>
                        <a:pt x="245" y="843"/>
                        <a:pt x="248" y="834"/>
                      </a:cubicBezTo>
                      <a:cubicBezTo>
                        <a:pt x="252" y="825"/>
                        <a:pt x="265" y="824"/>
                        <a:pt x="252" y="812"/>
                      </a:cubicBezTo>
                      <a:cubicBezTo>
                        <a:pt x="248" y="808"/>
                        <a:pt x="242" y="806"/>
                        <a:pt x="237" y="804"/>
                      </a:cubicBezTo>
                      <a:cubicBezTo>
                        <a:pt x="234" y="802"/>
                        <a:pt x="220" y="796"/>
                        <a:pt x="220" y="796"/>
                      </a:cubicBezTo>
                      <a:cubicBezTo>
                        <a:pt x="211" y="786"/>
                        <a:pt x="226" y="768"/>
                        <a:pt x="222" y="755"/>
                      </a:cubicBezTo>
                      <a:cubicBezTo>
                        <a:pt x="218" y="741"/>
                        <a:pt x="204" y="724"/>
                        <a:pt x="192" y="721"/>
                      </a:cubicBezTo>
                      <a:cubicBezTo>
                        <a:pt x="188" y="720"/>
                        <a:pt x="184" y="722"/>
                        <a:pt x="180" y="721"/>
                      </a:cubicBezTo>
                      <a:cubicBezTo>
                        <a:pt x="176" y="720"/>
                        <a:pt x="174" y="714"/>
                        <a:pt x="170" y="713"/>
                      </a:cubicBezTo>
                      <a:cubicBezTo>
                        <a:pt x="159" y="710"/>
                        <a:pt x="159" y="719"/>
                        <a:pt x="148" y="708"/>
                      </a:cubicBezTo>
                      <a:cubicBezTo>
                        <a:pt x="141" y="703"/>
                        <a:pt x="141" y="701"/>
                        <a:pt x="139" y="693"/>
                      </a:cubicBezTo>
                      <a:cubicBezTo>
                        <a:pt x="138" y="688"/>
                        <a:pt x="140" y="680"/>
                        <a:pt x="146" y="678"/>
                      </a:cubicBezTo>
                      <a:cubicBezTo>
                        <a:pt x="136" y="676"/>
                        <a:pt x="140" y="667"/>
                        <a:pt x="135" y="660"/>
                      </a:cubicBezTo>
                      <a:cubicBezTo>
                        <a:pt x="134" y="658"/>
                        <a:pt x="127" y="653"/>
                        <a:pt x="125" y="652"/>
                      </a:cubicBezTo>
                      <a:cubicBezTo>
                        <a:pt x="123" y="652"/>
                        <a:pt x="116" y="653"/>
                        <a:pt x="118" y="654"/>
                      </a:cubicBezTo>
                      <a:cubicBezTo>
                        <a:pt x="104" y="648"/>
                        <a:pt x="82" y="633"/>
                        <a:pt x="92" y="613"/>
                      </a:cubicBezTo>
                      <a:cubicBezTo>
                        <a:pt x="97" y="604"/>
                        <a:pt x="113" y="603"/>
                        <a:pt x="114" y="596"/>
                      </a:cubicBezTo>
                      <a:cubicBezTo>
                        <a:pt x="115" y="591"/>
                        <a:pt x="108" y="586"/>
                        <a:pt x="106" y="583"/>
                      </a:cubicBezTo>
                      <a:cubicBezTo>
                        <a:pt x="99" y="569"/>
                        <a:pt x="101" y="566"/>
                        <a:pt x="102" y="556"/>
                      </a:cubicBezTo>
                      <a:cubicBezTo>
                        <a:pt x="102" y="553"/>
                        <a:pt x="99" y="549"/>
                        <a:pt x="99" y="546"/>
                      </a:cubicBezTo>
                      <a:cubicBezTo>
                        <a:pt x="100" y="542"/>
                        <a:pt x="106" y="540"/>
                        <a:pt x="104" y="535"/>
                      </a:cubicBezTo>
                      <a:cubicBezTo>
                        <a:pt x="104" y="535"/>
                        <a:pt x="87" y="528"/>
                        <a:pt x="84" y="527"/>
                      </a:cubicBezTo>
                      <a:cubicBezTo>
                        <a:pt x="74" y="524"/>
                        <a:pt x="72" y="529"/>
                        <a:pt x="61" y="529"/>
                      </a:cubicBezTo>
                      <a:cubicBezTo>
                        <a:pt x="49" y="528"/>
                        <a:pt x="49" y="521"/>
                        <a:pt x="43" y="514"/>
                      </a:cubicBezTo>
                      <a:cubicBezTo>
                        <a:pt x="40" y="511"/>
                        <a:pt x="36" y="512"/>
                        <a:pt x="33" y="508"/>
                      </a:cubicBezTo>
                      <a:cubicBezTo>
                        <a:pt x="32" y="505"/>
                        <a:pt x="34" y="498"/>
                        <a:pt x="32" y="494"/>
                      </a:cubicBezTo>
                      <a:cubicBezTo>
                        <a:pt x="26" y="479"/>
                        <a:pt x="0" y="492"/>
                        <a:pt x="0" y="477"/>
                      </a:cubicBezTo>
                      <a:cubicBezTo>
                        <a:pt x="1" y="465"/>
                        <a:pt x="14" y="466"/>
                        <a:pt x="16" y="453"/>
                      </a:cubicBezTo>
                      <a:cubicBezTo>
                        <a:pt x="16" y="445"/>
                        <a:pt x="9" y="434"/>
                        <a:pt x="10" y="429"/>
                      </a:cubicBezTo>
                      <a:cubicBezTo>
                        <a:pt x="12" y="414"/>
                        <a:pt x="18" y="423"/>
                        <a:pt x="26" y="420"/>
                      </a:cubicBezTo>
                      <a:cubicBezTo>
                        <a:pt x="32" y="418"/>
                        <a:pt x="34" y="413"/>
                        <a:pt x="40" y="410"/>
                      </a:cubicBezTo>
                      <a:cubicBezTo>
                        <a:pt x="43" y="409"/>
                        <a:pt x="47" y="412"/>
                        <a:pt x="51" y="410"/>
                      </a:cubicBezTo>
                      <a:cubicBezTo>
                        <a:pt x="60" y="405"/>
                        <a:pt x="61" y="393"/>
                        <a:pt x="62" y="386"/>
                      </a:cubicBezTo>
                      <a:cubicBezTo>
                        <a:pt x="62" y="388"/>
                        <a:pt x="65" y="376"/>
                        <a:pt x="64" y="378"/>
                      </a:cubicBezTo>
                      <a:cubicBezTo>
                        <a:pt x="66" y="374"/>
                        <a:pt x="61" y="372"/>
                        <a:pt x="69" y="37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 dirty="0"/>
                </a:p>
              </p:txBody>
            </p:sp>
          </p:grpSp>
          <p:grpSp>
            <p:nvGrpSpPr>
              <p:cNvPr id="43" name="Группа 42">
                <a:extLst>
                  <a:ext uri="{FF2B5EF4-FFF2-40B4-BE49-F238E27FC236}">
                    <a16:creationId xmlns:a16="http://schemas.microsoft.com/office/drawing/2014/main" id="{F29F8347-8BB6-9638-54CB-26BD68DB8623}"/>
                  </a:ext>
                </a:extLst>
              </p:cNvPr>
              <p:cNvGrpSpPr/>
              <p:nvPr/>
            </p:nvGrpSpPr>
            <p:grpSpPr>
              <a:xfrm>
                <a:off x="3068037" y="3579203"/>
                <a:ext cx="1146730" cy="2238037"/>
                <a:chOff x="5707063" y="2925763"/>
                <a:chExt cx="1379538" cy="2692400"/>
              </a:xfrm>
              <a:grpFill/>
            </p:grpSpPr>
            <p:sp>
              <p:nvSpPr>
                <p:cNvPr id="57" name="Freeform 66">
                  <a:extLst>
                    <a:ext uri="{FF2B5EF4-FFF2-40B4-BE49-F238E27FC236}">
                      <a16:creationId xmlns:a16="http://schemas.microsoft.com/office/drawing/2014/main" id="{698D8E0F-E2BC-5CEA-89BA-FCEA2CAB2E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37313" y="4305301"/>
                  <a:ext cx="17463" cy="28575"/>
                </a:xfrm>
                <a:custGeom>
                  <a:avLst/>
                  <a:gdLst>
                    <a:gd name="T0" fmla="*/ 19 w 29"/>
                    <a:gd name="T1" fmla="*/ 32 h 47"/>
                    <a:gd name="T2" fmla="*/ 8 w 29"/>
                    <a:gd name="T3" fmla="*/ 47 h 47"/>
                    <a:gd name="T4" fmla="*/ 8 w 29"/>
                    <a:gd name="T5" fmla="*/ 37 h 47"/>
                    <a:gd name="T6" fmla="*/ 16 w 29"/>
                    <a:gd name="T7" fmla="*/ 0 h 47"/>
                    <a:gd name="T8" fmla="*/ 19 w 29"/>
                    <a:gd name="T9" fmla="*/ 32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9" h="47">
                      <a:moveTo>
                        <a:pt x="19" y="32"/>
                      </a:moveTo>
                      <a:cubicBezTo>
                        <a:pt x="19" y="37"/>
                        <a:pt x="14" y="47"/>
                        <a:pt x="8" y="47"/>
                      </a:cubicBezTo>
                      <a:cubicBezTo>
                        <a:pt x="0" y="47"/>
                        <a:pt x="8" y="38"/>
                        <a:pt x="8" y="37"/>
                      </a:cubicBezTo>
                      <a:cubicBezTo>
                        <a:pt x="10" y="24"/>
                        <a:pt x="5" y="8"/>
                        <a:pt x="16" y="0"/>
                      </a:cubicBezTo>
                      <a:cubicBezTo>
                        <a:pt x="29" y="12"/>
                        <a:pt x="11" y="18"/>
                        <a:pt x="19" y="3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8" name="Freeform 67">
                  <a:extLst>
                    <a:ext uri="{FF2B5EF4-FFF2-40B4-BE49-F238E27FC236}">
                      <a16:creationId xmlns:a16="http://schemas.microsoft.com/office/drawing/2014/main" id="{FFBFBA18-D5C6-8A32-CEF2-DE39CC9018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16675" y="4308476"/>
                  <a:ext cx="15875" cy="26988"/>
                </a:xfrm>
                <a:custGeom>
                  <a:avLst/>
                  <a:gdLst>
                    <a:gd name="T0" fmla="*/ 26 w 26"/>
                    <a:gd name="T1" fmla="*/ 37 h 45"/>
                    <a:gd name="T2" fmla="*/ 20 w 26"/>
                    <a:gd name="T3" fmla="*/ 44 h 45"/>
                    <a:gd name="T4" fmla="*/ 11 w 26"/>
                    <a:gd name="T5" fmla="*/ 27 h 45"/>
                    <a:gd name="T6" fmla="*/ 6 w 26"/>
                    <a:gd name="T7" fmla="*/ 0 h 45"/>
                    <a:gd name="T8" fmla="*/ 19 w 26"/>
                    <a:gd name="T9" fmla="*/ 18 h 45"/>
                    <a:gd name="T10" fmla="*/ 26 w 26"/>
                    <a:gd name="T11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45">
                      <a:moveTo>
                        <a:pt x="26" y="37"/>
                      </a:moveTo>
                      <a:cubicBezTo>
                        <a:pt x="26" y="36"/>
                        <a:pt x="23" y="45"/>
                        <a:pt x="20" y="44"/>
                      </a:cubicBezTo>
                      <a:cubicBezTo>
                        <a:pt x="15" y="43"/>
                        <a:pt x="13" y="32"/>
                        <a:pt x="11" y="27"/>
                      </a:cubicBezTo>
                      <a:cubicBezTo>
                        <a:pt x="5" y="16"/>
                        <a:pt x="0" y="13"/>
                        <a:pt x="6" y="0"/>
                      </a:cubicBezTo>
                      <a:cubicBezTo>
                        <a:pt x="10" y="7"/>
                        <a:pt x="17" y="11"/>
                        <a:pt x="19" y="18"/>
                      </a:cubicBezTo>
                      <a:cubicBezTo>
                        <a:pt x="22" y="25"/>
                        <a:pt x="15" y="32"/>
                        <a:pt x="26" y="37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9" name="Freeform 68">
                  <a:extLst>
                    <a:ext uri="{FF2B5EF4-FFF2-40B4-BE49-F238E27FC236}">
                      <a16:creationId xmlns:a16="http://schemas.microsoft.com/office/drawing/2014/main" id="{A29C837C-859A-87D0-224C-3F9C5B9844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42088" y="4237038"/>
                  <a:ext cx="3175" cy="6350"/>
                </a:xfrm>
                <a:custGeom>
                  <a:avLst/>
                  <a:gdLst>
                    <a:gd name="T0" fmla="*/ 5 w 5"/>
                    <a:gd name="T1" fmla="*/ 5 h 11"/>
                    <a:gd name="T2" fmla="*/ 0 w 5"/>
                    <a:gd name="T3" fmla="*/ 10 h 11"/>
                    <a:gd name="T4" fmla="*/ 5 w 5"/>
                    <a:gd name="T5" fmla="*/ 0 h 11"/>
                    <a:gd name="T6" fmla="*/ 5 w 5"/>
                    <a:gd name="T7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1">
                      <a:moveTo>
                        <a:pt x="5" y="5"/>
                      </a:moveTo>
                      <a:cubicBezTo>
                        <a:pt x="3" y="8"/>
                        <a:pt x="4" y="11"/>
                        <a:pt x="0" y="10"/>
                      </a:cubicBezTo>
                      <a:cubicBezTo>
                        <a:pt x="3" y="6"/>
                        <a:pt x="3" y="4"/>
                        <a:pt x="5" y="0"/>
                      </a:cubicBezTo>
                      <a:cubicBezTo>
                        <a:pt x="5" y="2"/>
                        <a:pt x="5" y="3"/>
                        <a:pt x="5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0" name="Freeform 69">
                  <a:extLst>
                    <a:ext uri="{FF2B5EF4-FFF2-40B4-BE49-F238E27FC236}">
                      <a16:creationId xmlns:a16="http://schemas.microsoft.com/office/drawing/2014/main" id="{1128E99E-7458-FF65-3D0F-A12B4C9C0A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53188" y="4262438"/>
                  <a:ext cx="4763" cy="4763"/>
                </a:xfrm>
                <a:custGeom>
                  <a:avLst/>
                  <a:gdLst>
                    <a:gd name="T0" fmla="*/ 5 w 7"/>
                    <a:gd name="T1" fmla="*/ 5 h 7"/>
                    <a:gd name="T2" fmla="*/ 0 w 7"/>
                    <a:gd name="T3" fmla="*/ 4 h 7"/>
                    <a:gd name="T4" fmla="*/ 7 w 7"/>
                    <a:gd name="T5" fmla="*/ 0 h 7"/>
                    <a:gd name="T6" fmla="*/ 5 w 7"/>
                    <a:gd name="T7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7">
                      <a:moveTo>
                        <a:pt x="5" y="5"/>
                      </a:moveTo>
                      <a:cubicBezTo>
                        <a:pt x="3" y="5"/>
                        <a:pt x="1" y="7"/>
                        <a:pt x="0" y="4"/>
                      </a:cubicBezTo>
                      <a:cubicBezTo>
                        <a:pt x="2" y="2"/>
                        <a:pt x="5" y="1"/>
                        <a:pt x="7" y="0"/>
                      </a:cubicBezTo>
                      <a:cubicBezTo>
                        <a:pt x="7" y="2"/>
                        <a:pt x="6" y="3"/>
                        <a:pt x="5" y="5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1" name="Freeform 70">
                  <a:extLst>
                    <a:ext uri="{FF2B5EF4-FFF2-40B4-BE49-F238E27FC236}">
                      <a16:creationId xmlns:a16="http://schemas.microsoft.com/office/drawing/2014/main" id="{9A87F0B5-E8B1-7127-D779-C0CF04BD44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9838" y="4241801"/>
                  <a:ext cx="33338" cy="55563"/>
                </a:xfrm>
                <a:custGeom>
                  <a:avLst/>
                  <a:gdLst>
                    <a:gd name="T0" fmla="*/ 45 w 53"/>
                    <a:gd name="T1" fmla="*/ 13 h 90"/>
                    <a:gd name="T2" fmla="*/ 43 w 53"/>
                    <a:gd name="T3" fmla="*/ 44 h 90"/>
                    <a:gd name="T4" fmla="*/ 50 w 53"/>
                    <a:gd name="T5" fmla="*/ 59 h 90"/>
                    <a:gd name="T6" fmla="*/ 35 w 53"/>
                    <a:gd name="T7" fmla="*/ 68 h 90"/>
                    <a:gd name="T8" fmla="*/ 22 w 53"/>
                    <a:gd name="T9" fmla="*/ 68 h 90"/>
                    <a:gd name="T10" fmla="*/ 10 w 53"/>
                    <a:gd name="T11" fmla="*/ 80 h 90"/>
                    <a:gd name="T12" fmla="*/ 14 w 53"/>
                    <a:gd name="T13" fmla="*/ 88 h 90"/>
                    <a:gd name="T14" fmla="*/ 2 w 53"/>
                    <a:gd name="T15" fmla="*/ 88 h 90"/>
                    <a:gd name="T16" fmla="*/ 0 w 53"/>
                    <a:gd name="T17" fmla="*/ 71 h 90"/>
                    <a:gd name="T18" fmla="*/ 12 w 53"/>
                    <a:gd name="T19" fmla="*/ 48 h 90"/>
                    <a:gd name="T20" fmla="*/ 35 w 53"/>
                    <a:gd name="T21" fmla="*/ 20 h 90"/>
                    <a:gd name="T22" fmla="*/ 45 w 53"/>
                    <a:gd name="T23" fmla="*/ 13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3" h="90">
                      <a:moveTo>
                        <a:pt x="45" y="13"/>
                      </a:moveTo>
                      <a:cubicBezTo>
                        <a:pt x="45" y="23"/>
                        <a:pt x="42" y="36"/>
                        <a:pt x="43" y="44"/>
                      </a:cubicBezTo>
                      <a:cubicBezTo>
                        <a:pt x="45" y="51"/>
                        <a:pt x="53" y="50"/>
                        <a:pt x="50" y="59"/>
                      </a:cubicBezTo>
                      <a:cubicBezTo>
                        <a:pt x="48" y="63"/>
                        <a:pt x="39" y="68"/>
                        <a:pt x="35" y="68"/>
                      </a:cubicBezTo>
                      <a:cubicBezTo>
                        <a:pt x="23" y="68"/>
                        <a:pt x="36" y="57"/>
                        <a:pt x="22" y="68"/>
                      </a:cubicBezTo>
                      <a:cubicBezTo>
                        <a:pt x="18" y="71"/>
                        <a:pt x="11" y="76"/>
                        <a:pt x="10" y="80"/>
                      </a:cubicBezTo>
                      <a:cubicBezTo>
                        <a:pt x="8" y="83"/>
                        <a:pt x="18" y="84"/>
                        <a:pt x="14" y="88"/>
                      </a:cubicBezTo>
                      <a:cubicBezTo>
                        <a:pt x="13" y="89"/>
                        <a:pt x="4" y="90"/>
                        <a:pt x="2" y="88"/>
                      </a:cubicBezTo>
                      <a:cubicBezTo>
                        <a:pt x="1" y="87"/>
                        <a:pt x="0" y="74"/>
                        <a:pt x="0" y="71"/>
                      </a:cubicBezTo>
                      <a:cubicBezTo>
                        <a:pt x="1" y="64"/>
                        <a:pt x="9" y="54"/>
                        <a:pt x="12" y="48"/>
                      </a:cubicBezTo>
                      <a:cubicBezTo>
                        <a:pt x="15" y="40"/>
                        <a:pt x="22" y="12"/>
                        <a:pt x="35" y="20"/>
                      </a:cubicBezTo>
                      <a:cubicBezTo>
                        <a:pt x="31" y="10"/>
                        <a:pt x="41" y="0"/>
                        <a:pt x="45" y="1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2" name="Freeform 71">
                  <a:extLst>
                    <a:ext uri="{FF2B5EF4-FFF2-40B4-BE49-F238E27FC236}">
                      <a16:creationId xmlns:a16="http://schemas.microsoft.com/office/drawing/2014/main" id="{6037D9AF-4295-464D-479E-F171B1B567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64288" y="4208463"/>
                  <a:ext cx="68263" cy="92075"/>
                </a:xfrm>
                <a:custGeom>
                  <a:avLst/>
                  <a:gdLst>
                    <a:gd name="T0" fmla="*/ 44 w 111"/>
                    <a:gd name="T1" fmla="*/ 18 h 149"/>
                    <a:gd name="T2" fmla="*/ 69 w 111"/>
                    <a:gd name="T3" fmla="*/ 10 h 149"/>
                    <a:gd name="T4" fmla="*/ 73 w 111"/>
                    <a:gd name="T5" fmla="*/ 44 h 149"/>
                    <a:gd name="T6" fmla="*/ 107 w 111"/>
                    <a:gd name="T7" fmla="*/ 13 h 149"/>
                    <a:gd name="T8" fmla="*/ 100 w 111"/>
                    <a:gd name="T9" fmla="*/ 49 h 149"/>
                    <a:gd name="T10" fmla="*/ 105 w 111"/>
                    <a:gd name="T11" fmla="*/ 73 h 149"/>
                    <a:gd name="T12" fmla="*/ 102 w 111"/>
                    <a:gd name="T13" fmla="*/ 114 h 149"/>
                    <a:gd name="T14" fmla="*/ 97 w 111"/>
                    <a:gd name="T15" fmla="*/ 144 h 149"/>
                    <a:gd name="T16" fmla="*/ 64 w 111"/>
                    <a:gd name="T17" fmla="*/ 122 h 149"/>
                    <a:gd name="T18" fmla="*/ 39 w 111"/>
                    <a:gd name="T19" fmla="*/ 100 h 149"/>
                    <a:gd name="T20" fmla="*/ 16 w 111"/>
                    <a:gd name="T21" fmla="*/ 139 h 149"/>
                    <a:gd name="T22" fmla="*/ 8 w 111"/>
                    <a:gd name="T23" fmla="*/ 96 h 149"/>
                    <a:gd name="T24" fmla="*/ 10 w 111"/>
                    <a:gd name="T25" fmla="*/ 76 h 149"/>
                    <a:gd name="T26" fmla="*/ 16 w 111"/>
                    <a:gd name="T27" fmla="*/ 61 h 149"/>
                    <a:gd name="T28" fmla="*/ 13 w 111"/>
                    <a:gd name="T29" fmla="*/ 15 h 149"/>
                    <a:gd name="T30" fmla="*/ 32 w 111"/>
                    <a:gd name="T31" fmla="*/ 19 h 149"/>
                    <a:gd name="T32" fmla="*/ 44 w 111"/>
                    <a:gd name="T33" fmla="*/ 18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1" h="149">
                      <a:moveTo>
                        <a:pt x="44" y="18"/>
                      </a:moveTo>
                      <a:cubicBezTo>
                        <a:pt x="59" y="16"/>
                        <a:pt x="56" y="0"/>
                        <a:pt x="69" y="10"/>
                      </a:cubicBezTo>
                      <a:cubicBezTo>
                        <a:pt x="80" y="19"/>
                        <a:pt x="70" y="31"/>
                        <a:pt x="73" y="44"/>
                      </a:cubicBezTo>
                      <a:cubicBezTo>
                        <a:pt x="76" y="37"/>
                        <a:pt x="93" y="2"/>
                        <a:pt x="107" y="13"/>
                      </a:cubicBezTo>
                      <a:cubicBezTo>
                        <a:pt x="108" y="14"/>
                        <a:pt x="101" y="41"/>
                        <a:pt x="100" y="49"/>
                      </a:cubicBezTo>
                      <a:cubicBezTo>
                        <a:pt x="100" y="59"/>
                        <a:pt x="101" y="62"/>
                        <a:pt x="105" y="73"/>
                      </a:cubicBezTo>
                      <a:cubicBezTo>
                        <a:pt x="111" y="87"/>
                        <a:pt x="104" y="98"/>
                        <a:pt x="102" y="114"/>
                      </a:cubicBezTo>
                      <a:cubicBezTo>
                        <a:pt x="102" y="114"/>
                        <a:pt x="96" y="144"/>
                        <a:pt x="97" y="144"/>
                      </a:cubicBezTo>
                      <a:cubicBezTo>
                        <a:pt x="88" y="149"/>
                        <a:pt x="68" y="125"/>
                        <a:pt x="64" y="122"/>
                      </a:cubicBezTo>
                      <a:cubicBezTo>
                        <a:pt x="59" y="118"/>
                        <a:pt x="44" y="100"/>
                        <a:pt x="39" y="100"/>
                      </a:cubicBezTo>
                      <a:cubicBezTo>
                        <a:pt x="27" y="99"/>
                        <a:pt x="25" y="131"/>
                        <a:pt x="16" y="139"/>
                      </a:cubicBezTo>
                      <a:cubicBezTo>
                        <a:pt x="17" y="124"/>
                        <a:pt x="7" y="112"/>
                        <a:pt x="8" y="96"/>
                      </a:cubicBezTo>
                      <a:cubicBezTo>
                        <a:pt x="9" y="91"/>
                        <a:pt x="8" y="81"/>
                        <a:pt x="10" y="76"/>
                      </a:cubicBezTo>
                      <a:cubicBezTo>
                        <a:pt x="12" y="69"/>
                        <a:pt x="16" y="68"/>
                        <a:pt x="16" y="61"/>
                      </a:cubicBezTo>
                      <a:cubicBezTo>
                        <a:pt x="17" y="49"/>
                        <a:pt x="0" y="25"/>
                        <a:pt x="13" y="15"/>
                      </a:cubicBezTo>
                      <a:cubicBezTo>
                        <a:pt x="20" y="11"/>
                        <a:pt x="28" y="18"/>
                        <a:pt x="32" y="19"/>
                      </a:cubicBezTo>
                      <a:cubicBezTo>
                        <a:pt x="35" y="19"/>
                        <a:pt x="40" y="19"/>
                        <a:pt x="44" y="1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63" name="Freeform 72">
                  <a:extLst>
                    <a:ext uri="{FF2B5EF4-FFF2-40B4-BE49-F238E27FC236}">
                      <a16:creationId xmlns:a16="http://schemas.microsoft.com/office/drawing/2014/main" id="{15814EF7-2B07-7164-5B40-149880BBDD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07063" y="2925763"/>
                  <a:ext cx="1379538" cy="2692400"/>
                </a:xfrm>
                <a:custGeom>
                  <a:avLst/>
                  <a:gdLst>
                    <a:gd name="T0" fmla="*/ 730 w 2255"/>
                    <a:gd name="T1" fmla="*/ 247 h 4395"/>
                    <a:gd name="T2" fmla="*/ 858 w 2255"/>
                    <a:gd name="T3" fmla="*/ 154 h 4395"/>
                    <a:gd name="T4" fmla="*/ 1011 w 2255"/>
                    <a:gd name="T5" fmla="*/ 176 h 4395"/>
                    <a:gd name="T6" fmla="*/ 1139 w 2255"/>
                    <a:gd name="T7" fmla="*/ 8 h 4395"/>
                    <a:gd name="T8" fmla="*/ 1333 w 2255"/>
                    <a:gd name="T9" fmla="*/ 89 h 4395"/>
                    <a:gd name="T10" fmla="*/ 1349 w 2255"/>
                    <a:gd name="T11" fmla="*/ 318 h 4395"/>
                    <a:gd name="T12" fmla="*/ 1478 w 2255"/>
                    <a:gd name="T13" fmla="*/ 391 h 4395"/>
                    <a:gd name="T14" fmla="*/ 1636 w 2255"/>
                    <a:gd name="T15" fmla="*/ 482 h 4395"/>
                    <a:gd name="T16" fmla="*/ 1491 w 2255"/>
                    <a:gd name="T17" fmla="*/ 601 h 4395"/>
                    <a:gd name="T18" fmla="*/ 1255 w 2255"/>
                    <a:gd name="T19" fmla="*/ 776 h 4395"/>
                    <a:gd name="T20" fmla="*/ 1076 w 2255"/>
                    <a:gd name="T21" fmla="*/ 1409 h 4395"/>
                    <a:gd name="T22" fmla="*/ 1003 w 2255"/>
                    <a:gd name="T23" fmla="*/ 1694 h 4395"/>
                    <a:gd name="T24" fmla="*/ 973 w 2255"/>
                    <a:gd name="T25" fmla="*/ 1945 h 4395"/>
                    <a:gd name="T26" fmla="*/ 853 w 2255"/>
                    <a:gd name="T27" fmla="*/ 2246 h 4395"/>
                    <a:gd name="T28" fmla="*/ 1075 w 2255"/>
                    <a:gd name="T29" fmla="*/ 2326 h 4395"/>
                    <a:gd name="T30" fmla="*/ 1143 w 2255"/>
                    <a:gd name="T31" fmla="*/ 2393 h 4395"/>
                    <a:gd name="T32" fmla="*/ 1267 w 2255"/>
                    <a:gd name="T33" fmla="*/ 2384 h 4395"/>
                    <a:gd name="T34" fmla="*/ 1374 w 2255"/>
                    <a:gd name="T35" fmla="*/ 2364 h 4395"/>
                    <a:gd name="T36" fmla="*/ 1473 w 2255"/>
                    <a:gd name="T37" fmla="*/ 2179 h 4395"/>
                    <a:gd name="T38" fmla="*/ 1731 w 2255"/>
                    <a:gd name="T39" fmla="*/ 2295 h 4395"/>
                    <a:gd name="T40" fmla="*/ 1814 w 2255"/>
                    <a:gd name="T41" fmla="*/ 2419 h 4395"/>
                    <a:gd name="T42" fmla="*/ 1971 w 2255"/>
                    <a:gd name="T43" fmla="*/ 2689 h 4395"/>
                    <a:gd name="T44" fmla="*/ 2000 w 2255"/>
                    <a:gd name="T45" fmla="*/ 2915 h 4395"/>
                    <a:gd name="T46" fmla="*/ 2167 w 2255"/>
                    <a:gd name="T47" fmla="*/ 3244 h 4395"/>
                    <a:gd name="T48" fmla="*/ 2234 w 2255"/>
                    <a:gd name="T49" fmla="*/ 3587 h 4395"/>
                    <a:gd name="T50" fmla="*/ 2127 w 2255"/>
                    <a:gd name="T51" fmla="*/ 3799 h 4395"/>
                    <a:gd name="T52" fmla="*/ 1968 w 2255"/>
                    <a:gd name="T53" fmla="*/ 3713 h 4395"/>
                    <a:gd name="T54" fmla="*/ 2043 w 2255"/>
                    <a:gd name="T55" fmla="*/ 3859 h 4395"/>
                    <a:gd name="T56" fmla="*/ 1948 w 2255"/>
                    <a:gd name="T57" fmla="*/ 4066 h 4395"/>
                    <a:gd name="T58" fmla="*/ 1813 w 2255"/>
                    <a:gd name="T59" fmla="*/ 4219 h 4395"/>
                    <a:gd name="T60" fmla="*/ 1649 w 2255"/>
                    <a:gd name="T61" fmla="*/ 4206 h 4395"/>
                    <a:gd name="T62" fmla="*/ 1546 w 2255"/>
                    <a:gd name="T63" fmla="*/ 4345 h 4395"/>
                    <a:gd name="T64" fmla="*/ 1505 w 2255"/>
                    <a:gd name="T65" fmla="*/ 4034 h 4395"/>
                    <a:gd name="T66" fmla="*/ 1380 w 2255"/>
                    <a:gd name="T67" fmla="*/ 3887 h 4395"/>
                    <a:gd name="T68" fmla="*/ 1075 w 2255"/>
                    <a:gd name="T69" fmla="*/ 3838 h 4395"/>
                    <a:gd name="T70" fmla="*/ 881 w 2255"/>
                    <a:gd name="T71" fmla="*/ 3833 h 4395"/>
                    <a:gd name="T72" fmla="*/ 743 w 2255"/>
                    <a:gd name="T73" fmla="*/ 3654 h 4395"/>
                    <a:gd name="T74" fmla="*/ 638 w 2255"/>
                    <a:gd name="T75" fmla="*/ 3533 h 4395"/>
                    <a:gd name="T76" fmla="*/ 728 w 2255"/>
                    <a:gd name="T77" fmla="*/ 3284 h 4395"/>
                    <a:gd name="T78" fmla="*/ 869 w 2255"/>
                    <a:gd name="T79" fmla="*/ 3083 h 4395"/>
                    <a:gd name="T80" fmla="*/ 921 w 2255"/>
                    <a:gd name="T81" fmla="*/ 2969 h 4395"/>
                    <a:gd name="T82" fmla="*/ 976 w 2255"/>
                    <a:gd name="T83" fmla="*/ 2782 h 4395"/>
                    <a:gd name="T84" fmla="*/ 845 w 2255"/>
                    <a:gd name="T85" fmla="*/ 2723 h 4395"/>
                    <a:gd name="T86" fmla="*/ 708 w 2255"/>
                    <a:gd name="T87" fmla="*/ 2848 h 4395"/>
                    <a:gd name="T88" fmla="*/ 508 w 2255"/>
                    <a:gd name="T89" fmla="*/ 2936 h 4395"/>
                    <a:gd name="T90" fmla="*/ 288 w 2255"/>
                    <a:gd name="T91" fmla="*/ 2780 h 4395"/>
                    <a:gd name="T92" fmla="*/ 390 w 2255"/>
                    <a:gd name="T93" fmla="*/ 2490 h 4395"/>
                    <a:gd name="T94" fmla="*/ 365 w 2255"/>
                    <a:gd name="T95" fmla="*/ 2298 h 4395"/>
                    <a:gd name="T96" fmla="*/ 147 w 2255"/>
                    <a:gd name="T97" fmla="*/ 2258 h 4395"/>
                    <a:gd name="T98" fmla="*/ 153 w 2255"/>
                    <a:gd name="T99" fmla="*/ 2044 h 4395"/>
                    <a:gd name="T100" fmla="*/ 99 w 2255"/>
                    <a:gd name="T101" fmla="*/ 1887 h 4395"/>
                    <a:gd name="T102" fmla="*/ 12 w 2255"/>
                    <a:gd name="T103" fmla="*/ 1736 h 4395"/>
                    <a:gd name="T104" fmla="*/ 74 w 2255"/>
                    <a:gd name="T105" fmla="*/ 1599 h 4395"/>
                    <a:gd name="T106" fmla="*/ 88 w 2255"/>
                    <a:gd name="T107" fmla="*/ 1411 h 4395"/>
                    <a:gd name="T108" fmla="*/ 345 w 2255"/>
                    <a:gd name="T109" fmla="*/ 1309 h 4395"/>
                    <a:gd name="T110" fmla="*/ 512 w 2255"/>
                    <a:gd name="T111" fmla="*/ 1144 h 4395"/>
                    <a:gd name="T112" fmla="*/ 601 w 2255"/>
                    <a:gd name="T113" fmla="*/ 944 h 4395"/>
                    <a:gd name="T114" fmla="*/ 474 w 2255"/>
                    <a:gd name="T115" fmla="*/ 704 h 4395"/>
                    <a:gd name="T116" fmla="*/ 553 w 2255"/>
                    <a:gd name="T117" fmla="*/ 514 h 4395"/>
                    <a:gd name="T118" fmla="*/ 554 w 2255"/>
                    <a:gd name="T119" fmla="*/ 229 h 4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255" h="4395">
                      <a:moveTo>
                        <a:pt x="569" y="196"/>
                      </a:moveTo>
                      <a:cubicBezTo>
                        <a:pt x="572" y="193"/>
                        <a:pt x="575" y="194"/>
                        <a:pt x="578" y="194"/>
                      </a:cubicBezTo>
                      <a:cubicBezTo>
                        <a:pt x="574" y="194"/>
                        <a:pt x="594" y="192"/>
                        <a:pt x="588" y="190"/>
                      </a:cubicBezTo>
                      <a:cubicBezTo>
                        <a:pt x="596" y="192"/>
                        <a:pt x="597" y="209"/>
                        <a:pt x="608" y="204"/>
                      </a:cubicBezTo>
                      <a:cubicBezTo>
                        <a:pt x="612" y="202"/>
                        <a:pt x="610" y="184"/>
                        <a:pt x="623" y="187"/>
                      </a:cubicBezTo>
                      <a:cubicBezTo>
                        <a:pt x="632" y="189"/>
                        <a:pt x="642" y="208"/>
                        <a:pt x="651" y="212"/>
                      </a:cubicBezTo>
                      <a:cubicBezTo>
                        <a:pt x="656" y="214"/>
                        <a:pt x="662" y="211"/>
                        <a:pt x="666" y="214"/>
                      </a:cubicBezTo>
                      <a:cubicBezTo>
                        <a:pt x="672" y="217"/>
                        <a:pt x="673" y="224"/>
                        <a:pt x="677" y="228"/>
                      </a:cubicBezTo>
                      <a:cubicBezTo>
                        <a:pt x="681" y="231"/>
                        <a:pt x="683" y="232"/>
                        <a:pt x="687" y="234"/>
                      </a:cubicBezTo>
                      <a:cubicBezTo>
                        <a:pt x="689" y="235"/>
                        <a:pt x="693" y="232"/>
                        <a:pt x="695" y="233"/>
                      </a:cubicBezTo>
                      <a:cubicBezTo>
                        <a:pt x="697" y="234"/>
                        <a:pt x="697" y="237"/>
                        <a:pt x="699" y="238"/>
                      </a:cubicBezTo>
                      <a:cubicBezTo>
                        <a:pt x="702" y="239"/>
                        <a:pt x="707" y="240"/>
                        <a:pt x="710" y="240"/>
                      </a:cubicBezTo>
                      <a:cubicBezTo>
                        <a:pt x="715" y="241"/>
                        <a:pt x="713" y="240"/>
                        <a:pt x="717" y="239"/>
                      </a:cubicBezTo>
                      <a:cubicBezTo>
                        <a:pt x="720" y="238"/>
                        <a:pt x="723" y="231"/>
                        <a:pt x="728" y="234"/>
                      </a:cubicBezTo>
                      <a:cubicBezTo>
                        <a:pt x="734" y="237"/>
                        <a:pt x="726" y="244"/>
                        <a:pt x="730" y="247"/>
                      </a:cubicBezTo>
                      <a:cubicBezTo>
                        <a:pt x="736" y="251"/>
                        <a:pt x="749" y="240"/>
                        <a:pt x="751" y="234"/>
                      </a:cubicBezTo>
                      <a:cubicBezTo>
                        <a:pt x="755" y="223"/>
                        <a:pt x="747" y="215"/>
                        <a:pt x="762" y="219"/>
                      </a:cubicBezTo>
                      <a:cubicBezTo>
                        <a:pt x="765" y="220"/>
                        <a:pt x="778" y="230"/>
                        <a:pt x="781" y="232"/>
                      </a:cubicBezTo>
                      <a:cubicBezTo>
                        <a:pt x="783" y="233"/>
                        <a:pt x="785" y="236"/>
                        <a:pt x="789" y="237"/>
                      </a:cubicBezTo>
                      <a:cubicBezTo>
                        <a:pt x="798" y="240"/>
                        <a:pt x="796" y="233"/>
                        <a:pt x="804" y="240"/>
                      </a:cubicBezTo>
                      <a:cubicBezTo>
                        <a:pt x="811" y="245"/>
                        <a:pt x="809" y="260"/>
                        <a:pt x="816" y="244"/>
                      </a:cubicBezTo>
                      <a:cubicBezTo>
                        <a:pt x="818" y="241"/>
                        <a:pt x="817" y="237"/>
                        <a:pt x="818" y="234"/>
                      </a:cubicBezTo>
                      <a:cubicBezTo>
                        <a:pt x="820" y="229"/>
                        <a:pt x="823" y="227"/>
                        <a:pt x="827" y="222"/>
                      </a:cubicBezTo>
                      <a:cubicBezTo>
                        <a:pt x="829" y="219"/>
                        <a:pt x="826" y="217"/>
                        <a:pt x="830" y="214"/>
                      </a:cubicBezTo>
                      <a:cubicBezTo>
                        <a:pt x="834" y="210"/>
                        <a:pt x="837" y="213"/>
                        <a:pt x="841" y="213"/>
                      </a:cubicBezTo>
                      <a:cubicBezTo>
                        <a:pt x="846" y="212"/>
                        <a:pt x="845" y="210"/>
                        <a:pt x="851" y="211"/>
                      </a:cubicBezTo>
                      <a:cubicBezTo>
                        <a:pt x="854" y="211"/>
                        <a:pt x="863" y="216"/>
                        <a:pt x="866" y="213"/>
                      </a:cubicBezTo>
                      <a:cubicBezTo>
                        <a:pt x="871" y="208"/>
                        <a:pt x="862" y="196"/>
                        <a:pt x="862" y="189"/>
                      </a:cubicBezTo>
                      <a:cubicBezTo>
                        <a:pt x="861" y="183"/>
                        <a:pt x="864" y="178"/>
                        <a:pt x="863" y="172"/>
                      </a:cubicBezTo>
                      <a:cubicBezTo>
                        <a:pt x="862" y="165"/>
                        <a:pt x="855" y="160"/>
                        <a:pt x="858" y="154"/>
                      </a:cubicBezTo>
                      <a:cubicBezTo>
                        <a:pt x="865" y="139"/>
                        <a:pt x="871" y="156"/>
                        <a:pt x="878" y="159"/>
                      </a:cubicBezTo>
                      <a:cubicBezTo>
                        <a:pt x="888" y="163"/>
                        <a:pt x="891" y="157"/>
                        <a:pt x="896" y="155"/>
                      </a:cubicBezTo>
                      <a:cubicBezTo>
                        <a:pt x="897" y="155"/>
                        <a:pt x="897" y="150"/>
                        <a:pt x="898" y="150"/>
                      </a:cubicBezTo>
                      <a:cubicBezTo>
                        <a:pt x="901" y="148"/>
                        <a:pt x="904" y="151"/>
                        <a:pt x="907" y="150"/>
                      </a:cubicBezTo>
                      <a:cubicBezTo>
                        <a:pt x="919" y="145"/>
                        <a:pt x="915" y="143"/>
                        <a:pt x="921" y="151"/>
                      </a:cubicBezTo>
                      <a:cubicBezTo>
                        <a:pt x="922" y="153"/>
                        <a:pt x="925" y="155"/>
                        <a:pt x="926" y="158"/>
                      </a:cubicBezTo>
                      <a:cubicBezTo>
                        <a:pt x="927" y="161"/>
                        <a:pt x="923" y="164"/>
                        <a:pt x="924" y="167"/>
                      </a:cubicBezTo>
                      <a:cubicBezTo>
                        <a:pt x="925" y="169"/>
                        <a:pt x="928" y="167"/>
                        <a:pt x="930" y="169"/>
                      </a:cubicBezTo>
                      <a:cubicBezTo>
                        <a:pt x="936" y="176"/>
                        <a:pt x="941" y="180"/>
                        <a:pt x="947" y="172"/>
                      </a:cubicBezTo>
                      <a:cubicBezTo>
                        <a:pt x="952" y="164"/>
                        <a:pt x="943" y="157"/>
                        <a:pt x="944" y="150"/>
                      </a:cubicBezTo>
                      <a:cubicBezTo>
                        <a:pt x="943" y="156"/>
                        <a:pt x="959" y="133"/>
                        <a:pt x="954" y="136"/>
                      </a:cubicBezTo>
                      <a:cubicBezTo>
                        <a:pt x="958" y="134"/>
                        <a:pt x="959" y="134"/>
                        <a:pt x="964" y="140"/>
                      </a:cubicBezTo>
                      <a:cubicBezTo>
                        <a:pt x="967" y="144"/>
                        <a:pt x="972" y="155"/>
                        <a:pt x="974" y="160"/>
                      </a:cubicBezTo>
                      <a:cubicBezTo>
                        <a:pt x="977" y="168"/>
                        <a:pt x="978" y="180"/>
                        <a:pt x="987" y="185"/>
                      </a:cubicBezTo>
                      <a:cubicBezTo>
                        <a:pt x="1000" y="192"/>
                        <a:pt x="1002" y="183"/>
                        <a:pt x="1011" y="176"/>
                      </a:cubicBezTo>
                      <a:cubicBezTo>
                        <a:pt x="1018" y="171"/>
                        <a:pt x="1018" y="174"/>
                        <a:pt x="1021" y="169"/>
                      </a:cubicBezTo>
                      <a:cubicBezTo>
                        <a:pt x="1021" y="169"/>
                        <a:pt x="1022" y="158"/>
                        <a:pt x="1022" y="157"/>
                      </a:cubicBezTo>
                      <a:cubicBezTo>
                        <a:pt x="1023" y="155"/>
                        <a:pt x="1026" y="153"/>
                        <a:pt x="1027" y="151"/>
                      </a:cubicBezTo>
                      <a:cubicBezTo>
                        <a:pt x="1028" y="149"/>
                        <a:pt x="1025" y="146"/>
                        <a:pt x="1025" y="144"/>
                      </a:cubicBezTo>
                      <a:cubicBezTo>
                        <a:pt x="1028" y="140"/>
                        <a:pt x="1033" y="136"/>
                        <a:pt x="1035" y="132"/>
                      </a:cubicBezTo>
                      <a:cubicBezTo>
                        <a:pt x="1038" y="124"/>
                        <a:pt x="1035" y="116"/>
                        <a:pt x="1033" y="112"/>
                      </a:cubicBezTo>
                      <a:cubicBezTo>
                        <a:pt x="1031" y="108"/>
                        <a:pt x="1027" y="105"/>
                        <a:pt x="1027" y="99"/>
                      </a:cubicBezTo>
                      <a:cubicBezTo>
                        <a:pt x="1026" y="92"/>
                        <a:pt x="1030" y="91"/>
                        <a:pt x="1030" y="85"/>
                      </a:cubicBezTo>
                      <a:cubicBezTo>
                        <a:pt x="1032" y="74"/>
                        <a:pt x="1031" y="63"/>
                        <a:pt x="1043" y="56"/>
                      </a:cubicBezTo>
                      <a:cubicBezTo>
                        <a:pt x="1057" y="47"/>
                        <a:pt x="1069" y="65"/>
                        <a:pt x="1084" y="61"/>
                      </a:cubicBezTo>
                      <a:cubicBezTo>
                        <a:pt x="1095" y="58"/>
                        <a:pt x="1093" y="48"/>
                        <a:pt x="1105" y="45"/>
                      </a:cubicBezTo>
                      <a:cubicBezTo>
                        <a:pt x="1119" y="41"/>
                        <a:pt x="1116" y="48"/>
                        <a:pt x="1124" y="36"/>
                      </a:cubicBezTo>
                      <a:cubicBezTo>
                        <a:pt x="1126" y="33"/>
                        <a:pt x="1130" y="28"/>
                        <a:pt x="1131" y="24"/>
                      </a:cubicBezTo>
                      <a:cubicBezTo>
                        <a:pt x="1132" y="19"/>
                        <a:pt x="1126" y="14"/>
                        <a:pt x="1128" y="10"/>
                      </a:cubicBezTo>
                      <a:cubicBezTo>
                        <a:pt x="1132" y="0"/>
                        <a:pt x="1134" y="8"/>
                        <a:pt x="1139" y="8"/>
                      </a:cubicBezTo>
                      <a:cubicBezTo>
                        <a:pt x="1141" y="7"/>
                        <a:pt x="1143" y="12"/>
                        <a:pt x="1146" y="12"/>
                      </a:cubicBezTo>
                      <a:cubicBezTo>
                        <a:pt x="1149" y="11"/>
                        <a:pt x="1149" y="6"/>
                        <a:pt x="1151" y="6"/>
                      </a:cubicBezTo>
                      <a:cubicBezTo>
                        <a:pt x="1155" y="5"/>
                        <a:pt x="1158" y="0"/>
                        <a:pt x="1166" y="3"/>
                      </a:cubicBezTo>
                      <a:cubicBezTo>
                        <a:pt x="1170" y="4"/>
                        <a:pt x="1173" y="9"/>
                        <a:pt x="1176" y="9"/>
                      </a:cubicBezTo>
                      <a:cubicBezTo>
                        <a:pt x="1181" y="10"/>
                        <a:pt x="1182" y="6"/>
                        <a:pt x="1187" y="6"/>
                      </a:cubicBezTo>
                      <a:cubicBezTo>
                        <a:pt x="1192" y="6"/>
                        <a:pt x="1196" y="9"/>
                        <a:pt x="1199" y="10"/>
                      </a:cubicBezTo>
                      <a:cubicBezTo>
                        <a:pt x="1204" y="11"/>
                        <a:pt x="1212" y="12"/>
                        <a:pt x="1218" y="14"/>
                      </a:cubicBezTo>
                      <a:cubicBezTo>
                        <a:pt x="1222" y="16"/>
                        <a:pt x="1227" y="16"/>
                        <a:pt x="1232" y="19"/>
                      </a:cubicBezTo>
                      <a:cubicBezTo>
                        <a:pt x="1235" y="22"/>
                        <a:pt x="1236" y="27"/>
                        <a:pt x="1239" y="29"/>
                      </a:cubicBezTo>
                      <a:cubicBezTo>
                        <a:pt x="1242" y="32"/>
                        <a:pt x="1248" y="31"/>
                        <a:pt x="1252" y="33"/>
                      </a:cubicBezTo>
                      <a:cubicBezTo>
                        <a:pt x="1257" y="35"/>
                        <a:pt x="1258" y="41"/>
                        <a:pt x="1265" y="43"/>
                      </a:cubicBezTo>
                      <a:cubicBezTo>
                        <a:pt x="1278" y="47"/>
                        <a:pt x="1275" y="43"/>
                        <a:pt x="1283" y="53"/>
                      </a:cubicBezTo>
                      <a:cubicBezTo>
                        <a:pt x="1291" y="63"/>
                        <a:pt x="1299" y="69"/>
                        <a:pt x="1307" y="78"/>
                      </a:cubicBezTo>
                      <a:cubicBezTo>
                        <a:pt x="1314" y="85"/>
                        <a:pt x="1310" y="90"/>
                        <a:pt x="1322" y="90"/>
                      </a:cubicBezTo>
                      <a:cubicBezTo>
                        <a:pt x="1332" y="91"/>
                        <a:pt x="1326" y="81"/>
                        <a:pt x="1333" y="89"/>
                      </a:cubicBezTo>
                      <a:cubicBezTo>
                        <a:pt x="1335" y="92"/>
                        <a:pt x="1335" y="100"/>
                        <a:pt x="1336" y="103"/>
                      </a:cubicBezTo>
                      <a:cubicBezTo>
                        <a:pt x="1339" y="118"/>
                        <a:pt x="1344" y="116"/>
                        <a:pt x="1353" y="126"/>
                      </a:cubicBezTo>
                      <a:cubicBezTo>
                        <a:pt x="1359" y="132"/>
                        <a:pt x="1371" y="148"/>
                        <a:pt x="1373" y="156"/>
                      </a:cubicBezTo>
                      <a:cubicBezTo>
                        <a:pt x="1374" y="161"/>
                        <a:pt x="1367" y="162"/>
                        <a:pt x="1369" y="168"/>
                      </a:cubicBezTo>
                      <a:cubicBezTo>
                        <a:pt x="1370" y="170"/>
                        <a:pt x="1377" y="171"/>
                        <a:pt x="1379" y="173"/>
                      </a:cubicBezTo>
                      <a:cubicBezTo>
                        <a:pt x="1383" y="177"/>
                        <a:pt x="1390" y="184"/>
                        <a:pt x="1388" y="192"/>
                      </a:cubicBezTo>
                      <a:cubicBezTo>
                        <a:pt x="1384" y="203"/>
                        <a:pt x="1369" y="195"/>
                        <a:pt x="1369" y="210"/>
                      </a:cubicBezTo>
                      <a:cubicBezTo>
                        <a:pt x="1369" y="218"/>
                        <a:pt x="1380" y="224"/>
                        <a:pt x="1385" y="231"/>
                      </a:cubicBezTo>
                      <a:cubicBezTo>
                        <a:pt x="1389" y="237"/>
                        <a:pt x="1386" y="246"/>
                        <a:pt x="1390" y="251"/>
                      </a:cubicBezTo>
                      <a:cubicBezTo>
                        <a:pt x="1394" y="258"/>
                        <a:pt x="1405" y="261"/>
                        <a:pt x="1398" y="274"/>
                      </a:cubicBezTo>
                      <a:cubicBezTo>
                        <a:pt x="1394" y="284"/>
                        <a:pt x="1381" y="282"/>
                        <a:pt x="1372" y="281"/>
                      </a:cubicBezTo>
                      <a:cubicBezTo>
                        <a:pt x="1363" y="279"/>
                        <a:pt x="1357" y="272"/>
                        <a:pt x="1352" y="284"/>
                      </a:cubicBezTo>
                      <a:cubicBezTo>
                        <a:pt x="1351" y="287"/>
                        <a:pt x="1351" y="298"/>
                        <a:pt x="1350" y="302"/>
                      </a:cubicBezTo>
                      <a:cubicBezTo>
                        <a:pt x="1350" y="304"/>
                        <a:pt x="1345" y="309"/>
                        <a:pt x="1345" y="310"/>
                      </a:cubicBezTo>
                      <a:cubicBezTo>
                        <a:pt x="1345" y="313"/>
                        <a:pt x="1349" y="316"/>
                        <a:pt x="1349" y="318"/>
                      </a:cubicBezTo>
                      <a:cubicBezTo>
                        <a:pt x="1346" y="330"/>
                        <a:pt x="1341" y="325"/>
                        <a:pt x="1336" y="333"/>
                      </a:cubicBezTo>
                      <a:cubicBezTo>
                        <a:pt x="1335" y="334"/>
                        <a:pt x="1332" y="346"/>
                        <a:pt x="1332" y="348"/>
                      </a:cubicBezTo>
                      <a:cubicBezTo>
                        <a:pt x="1332" y="352"/>
                        <a:pt x="1334" y="357"/>
                        <a:pt x="1334" y="360"/>
                      </a:cubicBezTo>
                      <a:cubicBezTo>
                        <a:pt x="1333" y="370"/>
                        <a:pt x="1325" y="377"/>
                        <a:pt x="1337" y="386"/>
                      </a:cubicBezTo>
                      <a:cubicBezTo>
                        <a:pt x="1346" y="392"/>
                        <a:pt x="1353" y="384"/>
                        <a:pt x="1358" y="395"/>
                      </a:cubicBezTo>
                      <a:cubicBezTo>
                        <a:pt x="1359" y="397"/>
                        <a:pt x="1354" y="400"/>
                        <a:pt x="1357" y="405"/>
                      </a:cubicBezTo>
                      <a:cubicBezTo>
                        <a:pt x="1360" y="411"/>
                        <a:pt x="1372" y="414"/>
                        <a:pt x="1378" y="416"/>
                      </a:cubicBezTo>
                      <a:cubicBezTo>
                        <a:pt x="1382" y="417"/>
                        <a:pt x="1387" y="419"/>
                        <a:pt x="1392" y="419"/>
                      </a:cubicBezTo>
                      <a:cubicBezTo>
                        <a:pt x="1401" y="419"/>
                        <a:pt x="1396" y="419"/>
                        <a:pt x="1401" y="416"/>
                      </a:cubicBezTo>
                      <a:cubicBezTo>
                        <a:pt x="1405" y="413"/>
                        <a:pt x="1412" y="405"/>
                        <a:pt x="1417" y="401"/>
                      </a:cubicBezTo>
                      <a:cubicBezTo>
                        <a:pt x="1427" y="395"/>
                        <a:pt x="1429" y="390"/>
                        <a:pt x="1435" y="381"/>
                      </a:cubicBezTo>
                      <a:cubicBezTo>
                        <a:pt x="1436" y="380"/>
                        <a:pt x="1447" y="368"/>
                        <a:pt x="1447" y="368"/>
                      </a:cubicBezTo>
                      <a:cubicBezTo>
                        <a:pt x="1455" y="366"/>
                        <a:pt x="1451" y="369"/>
                        <a:pt x="1459" y="373"/>
                      </a:cubicBezTo>
                      <a:cubicBezTo>
                        <a:pt x="1464" y="376"/>
                        <a:pt x="1469" y="378"/>
                        <a:pt x="1474" y="381"/>
                      </a:cubicBezTo>
                      <a:cubicBezTo>
                        <a:pt x="1476" y="384"/>
                        <a:pt x="1475" y="389"/>
                        <a:pt x="1478" y="391"/>
                      </a:cubicBezTo>
                      <a:cubicBezTo>
                        <a:pt x="1479" y="392"/>
                        <a:pt x="1491" y="387"/>
                        <a:pt x="1492" y="387"/>
                      </a:cubicBezTo>
                      <a:cubicBezTo>
                        <a:pt x="1494" y="387"/>
                        <a:pt x="1494" y="382"/>
                        <a:pt x="1499" y="382"/>
                      </a:cubicBezTo>
                      <a:cubicBezTo>
                        <a:pt x="1507" y="381"/>
                        <a:pt x="1512" y="389"/>
                        <a:pt x="1515" y="395"/>
                      </a:cubicBezTo>
                      <a:cubicBezTo>
                        <a:pt x="1516" y="397"/>
                        <a:pt x="1518" y="408"/>
                        <a:pt x="1518" y="409"/>
                      </a:cubicBezTo>
                      <a:cubicBezTo>
                        <a:pt x="1523" y="414"/>
                        <a:pt x="1528" y="410"/>
                        <a:pt x="1534" y="412"/>
                      </a:cubicBezTo>
                      <a:cubicBezTo>
                        <a:pt x="1538" y="414"/>
                        <a:pt x="1543" y="423"/>
                        <a:pt x="1547" y="421"/>
                      </a:cubicBezTo>
                      <a:cubicBezTo>
                        <a:pt x="1549" y="420"/>
                        <a:pt x="1553" y="406"/>
                        <a:pt x="1557" y="403"/>
                      </a:cubicBezTo>
                      <a:cubicBezTo>
                        <a:pt x="1562" y="397"/>
                        <a:pt x="1561" y="396"/>
                        <a:pt x="1568" y="397"/>
                      </a:cubicBezTo>
                      <a:cubicBezTo>
                        <a:pt x="1570" y="397"/>
                        <a:pt x="1571" y="402"/>
                        <a:pt x="1573" y="403"/>
                      </a:cubicBezTo>
                      <a:cubicBezTo>
                        <a:pt x="1576" y="404"/>
                        <a:pt x="1581" y="401"/>
                        <a:pt x="1584" y="403"/>
                      </a:cubicBezTo>
                      <a:cubicBezTo>
                        <a:pt x="1594" y="408"/>
                        <a:pt x="1589" y="414"/>
                        <a:pt x="1594" y="421"/>
                      </a:cubicBezTo>
                      <a:cubicBezTo>
                        <a:pt x="1599" y="427"/>
                        <a:pt x="1605" y="426"/>
                        <a:pt x="1609" y="436"/>
                      </a:cubicBezTo>
                      <a:cubicBezTo>
                        <a:pt x="1610" y="441"/>
                        <a:pt x="1607" y="445"/>
                        <a:pt x="1610" y="449"/>
                      </a:cubicBezTo>
                      <a:cubicBezTo>
                        <a:pt x="1613" y="453"/>
                        <a:pt x="1621" y="453"/>
                        <a:pt x="1625" y="457"/>
                      </a:cubicBezTo>
                      <a:cubicBezTo>
                        <a:pt x="1629" y="462"/>
                        <a:pt x="1633" y="475"/>
                        <a:pt x="1636" y="482"/>
                      </a:cubicBezTo>
                      <a:cubicBezTo>
                        <a:pt x="1638" y="488"/>
                        <a:pt x="1647" y="499"/>
                        <a:pt x="1647" y="505"/>
                      </a:cubicBezTo>
                      <a:cubicBezTo>
                        <a:pt x="1648" y="512"/>
                        <a:pt x="1646" y="512"/>
                        <a:pt x="1641" y="519"/>
                      </a:cubicBezTo>
                      <a:cubicBezTo>
                        <a:pt x="1639" y="521"/>
                        <a:pt x="1636" y="521"/>
                        <a:pt x="1634" y="524"/>
                      </a:cubicBezTo>
                      <a:cubicBezTo>
                        <a:pt x="1633" y="526"/>
                        <a:pt x="1634" y="532"/>
                        <a:pt x="1633" y="532"/>
                      </a:cubicBezTo>
                      <a:cubicBezTo>
                        <a:pt x="1616" y="553"/>
                        <a:pt x="1586" y="519"/>
                        <a:pt x="1570" y="548"/>
                      </a:cubicBezTo>
                      <a:cubicBezTo>
                        <a:pt x="1555" y="575"/>
                        <a:pt x="1597" y="596"/>
                        <a:pt x="1598" y="615"/>
                      </a:cubicBezTo>
                      <a:cubicBezTo>
                        <a:pt x="1589" y="614"/>
                        <a:pt x="1584" y="617"/>
                        <a:pt x="1578" y="623"/>
                      </a:cubicBezTo>
                      <a:cubicBezTo>
                        <a:pt x="1576" y="626"/>
                        <a:pt x="1577" y="640"/>
                        <a:pt x="1574" y="643"/>
                      </a:cubicBezTo>
                      <a:cubicBezTo>
                        <a:pt x="1564" y="652"/>
                        <a:pt x="1565" y="641"/>
                        <a:pt x="1560" y="638"/>
                      </a:cubicBezTo>
                      <a:cubicBezTo>
                        <a:pt x="1553" y="634"/>
                        <a:pt x="1548" y="637"/>
                        <a:pt x="1542" y="635"/>
                      </a:cubicBezTo>
                      <a:cubicBezTo>
                        <a:pt x="1529" y="631"/>
                        <a:pt x="1531" y="624"/>
                        <a:pt x="1530" y="609"/>
                      </a:cubicBezTo>
                      <a:cubicBezTo>
                        <a:pt x="1530" y="604"/>
                        <a:pt x="1534" y="590"/>
                        <a:pt x="1527" y="588"/>
                      </a:cubicBezTo>
                      <a:cubicBezTo>
                        <a:pt x="1523" y="586"/>
                        <a:pt x="1518" y="597"/>
                        <a:pt x="1510" y="596"/>
                      </a:cubicBezTo>
                      <a:cubicBezTo>
                        <a:pt x="1512" y="599"/>
                        <a:pt x="1513" y="604"/>
                        <a:pt x="1516" y="608"/>
                      </a:cubicBezTo>
                      <a:cubicBezTo>
                        <a:pt x="1509" y="608"/>
                        <a:pt x="1496" y="607"/>
                        <a:pt x="1491" y="601"/>
                      </a:cubicBezTo>
                      <a:cubicBezTo>
                        <a:pt x="1490" y="610"/>
                        <a:pt x="1479" y="615"/>
                        <a:pt x="1472" y="621"/>
                      </a:cubicBezTo>
                      <a:cubicBezTo>
                        <a:pt x="1469" y="624"/>
                        <a:pt x="1466" y="630"/>
                        <a:pt x="1462" y="632"/>
                      </a:cubicBezTo>
                      <a:cubicBezTo>
                        <a:pt x="1460" y="634"/>
                        <a:pt x="1456" y="632"/>
                        <a:pt x="1455" y="632"/>
                      </a:cubicBezTo>
                      <a:cubicBezTo>
                        <a:pt x="1445" y="638"/>
                        <a:pt x="1440" y="648"/>
                        <a:pt x="1431" y="656"/>
                      </a:cubicBezTo>
                      <a:cubicBezTo>
                        <a:pt x="1422" y="665"/>
                        <a:pt x="1410" y="669"/>
                        <a:pt x="1399" y="674"/>
                      </a:cubicBezTo>
                      <a:cubicBezTo>
                        <a:pt x="1401" y="671"/>
                        <a:pt x="1401" y="670"/>
                        <a:pt x="1402" y="668"/>
                      </a:cubicBezTo>
                      <a:cubicBezTo>
                        <a:pt x="1395" y="672"/>
                        <a:pt x="1388" y="677"/>
                        <a:pt x="1381" y="681"/>
                      </a:cubicBezTo>
                      <a:cubicBezTo>
                        <a:pt x="1385" y="682"/>
                        <a:pt x="1387" y="682"/>
                        <a:pt x="1392" y="680"/>
                      </a:cubicBezTo>
                      <a:cubicBezTo>
                        <a:pt x="1380" y="687"/>
                        <a:pt x="1369" y="696"/>
                        <a:pt x="1355" y="700"/>
                      </a:cubicBezTo>
                      <a:cubicBezTo>
                        <a:pt x="1358" y="699"/>
                        <a:pt x="1361" y="697"/>
                        <a:pt x="1364" y="695"/>
                      </a:cubicBezTo>
                      <a:cubicBezTo>
                        <a:pt x="1356" y="689"/>
                        <a:pt x="1342" y="705"/>
                        <a:pt x="1334" y="709"/>
                      </a:cubicBezTo>
                      <a:cubicBezTo>
                        <a:pt x="1325" y="713"/>
                        <a:pt x="1316" y="718"/>
                        <a:pt x="1307" y="722"/>
                      </a:cubicBezTo>
                      <a:cubicBezTo>
                        <a:pt x="1304" y="723"/>
                        <a:pt x="1300" y="721"/>
                        <a:pt x="1298" y="722"/>
                      </a:cubicBezTo>
                      <a:cubicBezTo>
                        <a:pt x="1296" y="724"/>
                        <a:pt x="1294" y="730"/>
                        <a:pt x="1292" y="733"/>
                      </a:cubicBezTo>
                      <a:cubicBezTo>
                        <a:pt x="1284" y="747"/>
                        <a:pt x="1272" y="774"/>
                        <a:pt x="1255" y="776"/>
                      </a:cubicBezTo>
                      <a:cubicBezTo>
                        <a:pt x="1245" y="777"/>
                        <a:pt x="1239" y="774"/>
                        <a:pt x="1230" y="778"/>
                      </a:cubicBezTo>
                      <a:cubicBezTo>
                        <a:pt x="1226" y="780"/>
                        <a:pt x="1227" y="776"/>
                        <a:pt x="1222" y="780"/>
                      </a:cubicBezTo>
                      <a:cubicBezTo>
                        <a:pt x="1219" y="783"/>
                        <a:pt x="1224" y="784"/>
                        <a:pt x="1225" y="785"/>
                      </a:cubicBezTo>
                      <a:cubicBezTo>
                        <a:pt x="1199" y="818"/>
                        <a:pt x="1170" y="855"/>
                        <a:pt x="1155" y="895"/>
                      </a:cubicBezTo>
                      <a:cubicBezTo>
                        <a:pt x="1141" y="934"/>
                        <a:pt x="1147" y="967"/>
                        <a:pt x="1147" y="1009"/>
                      </a:cubicBezTo>
                      <a:cubicBezTo>
                        <a:pt x="1147" y="1028"/>
                        <a:pt x="1146" y="1050"/>
                        <a:pt x="1138" y="1068"/>
                      </a:cubicBezTo>
                      <a:cubicBezTo>
                        <a:pt x="1135" y="1077"/>
                        <a:pt x="1131" y="1086"/>
                        <a:pt x="1128" y="1095"/>
                      </a:cubicBezTo>
                      <a:cubicBezTo>
                        <a:pt x="1126" y="1099"/>
                        <a:pt x="1125" y="1106"/>
                        <a:pt x="1123" y="1110"/>
                      </a:cubicBezTo>
                      <a:cubicBezTo>
                        <a:pt x="1119" y="1116"/>
                        <a:pt x="1115" y="1116"/>
                        <a:pt x="1112" y="1120"/>
                      </a:cubicBezTo>
                      <a:cubicBezTo>
                        <a:pt x="1092" y="1142"/>
                        <a:pt x="1087" y="1186"/>
                        <a:pt x="1093" y="1214"/>
                      </a:cubicBezTo>
                      <a:cubicBezTo>
                        <a:pt x="1097" y="1237"/>
                        <a:pt x="1101" y="1260"/>
                        <a:pt x="1108" y="1282"/>
                      </a:cubicBezTo>
                      <a:cubicBezTo>
                        <a:pt x="1111" y="1295"/>
                        <a:pt x="1115" y="1300"/>
                        <a:pt x="1112" y="1312"/>
                      </a:cubicBezTo>
                      <a:cubicBezTo>
                        <a:pt x="1110" y="1322"/>
                        <a:pt x="1105" y="1329"/>
                        <a:pt x="1105" y="1339"/>
                      </a:cubicBezTo>
                      <a:cubicBezTo>
                        <a:pt x="1097" y="1334"/>
                        <a:pt x="1083" y="1353"/>
                        <a:pt x="1080" y="1361"/>
                      </a:cubicBezTo>
                      <a:cubicBezTo>
                        <a:pt x="1072" y="1376"/>
                        <a:pt x="1074" y="1393"/>
                        <a:pt x="1076" y="1409"/>
                      </a:cubicBezTo>
                      <a:cubicBezTo>
                        <a:pt x="1076" y="1414"/>
                        <a:pt x="1079" y="1421"/>
                        <a:pt x="1078" y="1425"/>
                      </a:cubicBezTo>
                      <a:cubicBezTo>
                        <a:pt x="1076" y="1434"/>
                        <a:pt x="1077" y="1430"/>
                        <a:pt x="1073" y="1435"/>
                      </a:cubicBezTo>
                      <a:cubicBezTo>
                        <a:pt x="1068" y="1441"/>
                        <a:pt x="1062" y="1442"/>
                        <a:pt x="1059" y="1452"/>
                      </a:cubicBezTo>
                      <a:cubicBezTo>
                        <a:pt x="1057" y="1461"/>
                        <a:pt x="1062" y="1468"/>
                        <a:pt x="1062" y="1477"/>
                      </a:cubicBezTo>
                      <a:cubicBezTo>
                        <a:pt x="1061" y="1486"/>
                        <a:pt x="1056" y="1491"/>
                        <a:pt x="1057" y="1500"/>
                      </a:cubicBezTo>
                      <a:cubicBezTo>
                        <a:pt x="1048" y="1497"/>
                        <a:pt x="1052" y="1506"/>
                        <a:pt x="1047" y="1511"/>
                      </a:cubicBezTo>
                      <a:cubicBezTo>
                        <a:pt x="1044" y="1515"/>
                        <a:pt x="1037" y="1516"/>
                        <a:pt x="1033" y="1520"/>
                      </a:cubicBezTo>
                      <a:cubicBezTo>
                        <a:pt x="1025" y="1531"/>
                        <a:pt x="1026" y="1549"/>
                        <a:pt x="1029" y="1562"/>
                      </a:cubicBezTo>
                      <a:cubicBezTo>
                        <a:pt x="1005" y="1553"/>
                        <a:pt x="1043" y="1615"/>
                        <a:pt x="1016" y="1601"/>
                      </a:cubicBezTo>
                      <a:cubicBezTo>
                        <a:pt x="1019" y="1612"/>
                        <a:pt x="1006" y="1618"/>
                        <a:pt x="1003" y="1629"/>
                      </a:cubicBezTo>
                      <a:cubicBezTo>
                        <a:pt x="1001" y="1637"/>
                        <a:pt x="1005" y="1645"/>
                        <a:pt x="1008" y="1653"/>
                      </a:cubicBezTo>
                      <a:cubicBezTo>
                        <a:pt x="1010" y="1658"/>
                        <a:pt x="1019" y="1671"/>
                        <a:pt x="1018" y="1676"/>
                      </a:cubicBezTo>
                      <a:cubicBezTo>
                        <a:pt x="1011" y="1672"/>
                        <a:pt x="1009" y="1664"/>
                        <a:pt x="1006" y="1657"/>
                      </a:cubicBezTo>
                      <a:cubicBezTo>
                        <a:pt x="997" y="1667"/>
                        <a:pt x="999" y="1668"/>
                        <a:pt x="1002" y="1681"/>
                      </a:cubicBezTo>
                      <a:cubicBezTo>
                        <a:pt x="1002" y="1684"/>
                        <a:pt x="1003" y="1692"/>
                        <a:pt x="1003" y="1694"/>
                      </a:cubicBezTo>
                      <a:cubicBezTo>
                        <a:pt x="1000" y="1708"/>
                        <a:pt x="991" y="1719"/>
                        <a:pt x="1000" y="1733"/>
                      </a:cubicBezTo>
                      <a:cubicBezTo>
                        <a:pt x="988" y="1730"/>
                        <a:pt x="986" y="1754"/>
                        <a:pt x="994" y="1763"/>
                      </a:cubicBezTo>
                      <a:cubicBezTo>
                        <a:pt x="1007" y="1780"/>
                        <a:pt x="1017" y="1759"/>
                        <a:pt x="1019" y="1780"/>
                      </a:cubicBezTo>
                      <a:cubicBezTo>
                        <a:pt x="1014" y="1780"/>
                        <a:pt x="1013" y="1781"/>
                        <a:pt x="1008" y="1778"/>
                      </a:cubicBezTo>
                      <a:cubicBezTo>
                        <a:pt x="1007" y="1781"/>
                        <a:pt x="1001" y="1782"/>
                        <a:pt x="999" y="1786"/>
                      </a:cubicBezTo>
                      <a:cubicBezTo>
                        <a:pt x="998" y="1789"/>
                        <a:pt x="1001" y="1791"/>
                        <a:pt x="1000" y="1794"/>
                      </a:cubicBezTo>
                      <a:cubicBezTo>
                        <a:pt x="999" y="1797"/>
                        <a:pt x="1001" y="1799"/>
                        <a:pt x="999" y="1803"/>
                      </a:cubicBezTo>
                      <a:cubicBezTo>
                        <a:pt x="998" y="1807"/>
                        <a:pt x="991" y="1809"/>
                        <a:pt x="989" y="1814"/>
                      </a:cubicBezTo>
                      <a:cubicBezTo>
                        <a:pt x="987" y="1822"/>
                        <a:pt x="993" y="1833"/>
                        <a:pt x="993" y="1842"/>
                      </a:cubicBezTo>
                      <a:cubicBezTo>
                        <a:pt x="993" y="1852"/>
                        <a:pt x="991" y="1857"/>
                        <a:pt x="991" y="1868"/>
                      </a:cubicBezTo>
                      <a:cubicBezTo>
                        <a:pt x="991" y="1873"/>
                        <a:pt x="992" y="1880"/>
                        <a:pt x="989" y="1884"/>
                      </a:cubicBezTo>
                      <a:cubicBezTo>
                        <a:pt x="987" y="1888"/>
                        <a:pt x="978" y="1889"/>
                        <a:pt x="976" y="1893"/>
                      </a:cubicBezTo>
                      <a:cubicBezTo>
                        <a:pt x="973" y="1897"/>
                        <a:pt x="974" y="1906"/>
                        <a:pt x="973" y="1910"/>
                      </a:cubicBezTo>
                      <a:cubicBezTo>
                        <a:pt x="971" y="1918"/>
                        <a:pt x="968" y="1917"/>
                        <a:pt x="969" y="1926"/>
                      </a:cubicBezTo>
                      <a:cubicBezTo>
                        <a:pt x="969" y="1933"/>
                        <a:pt x="973" y="1938"/>
                        <a:pt x="973" y="1945"/>
                      </a:cubicBezTo>
                      <a:cubicBezTo>
                        <a:pt x="958" y="1939"/>
                        <a:pt x="956" y="1962"/>
                        <a:pt x="951" y="1973"/>
                      </a:cubicBezTo>
                      <a:cubicBezTo>
                        <a:pt x="948" y="1981"/>
                        <a:pt x="950" y="1995"/>
                        <a:pt x="948" y="1999"/>
                      </a:cubicBezTo>
                      <a:cubicBezTo>
                        <a:pt x="946" y="2005"/>
                        <a:pt x="943" y="2002"/>
                        <a:pt x="938" y="2009"/>
                      </a:cubicBezTo>
                      <a:cubicBezTo>
                        <a:pt x="929" y="2022"/>
                        <a:pt x="934" y="2039"/>
                        <a:pt x="928" y="2052"/>
                      </a:cubicBezTo>
                      <a:cubicBezTo>
                        <a:pt x="925" y="2058"/>
                        <a:pt x="917" y="2065"/>
                        <a:pt x="914" y="2071"/>
                      </a:cubicBezTo>
                      <a:cubicBezTo>
                        <a:pt x="913" y="2072"/>
                        <a:pt x="909" y="2070"/>
                        <a:pt x="908" y="2072"/>
                      </a:cubicBezTo>
                      <a:cubicBezTo>
                        <a:pt x="907" y="2074"/>
                        <a:pt x="910" y="2079"/>
                        <a:pt x="909" y="2080"/>
                      </a:cubicBezTo>
                      <a:cubicBezTo>
                        <a:pt x="901" y="2090"/>
                        <a:pt x="891" y="2104"/>
                        <a:pt x="894" y="2122"/>
                      </a:cubicBezTo>
                      <a:cubicBezTo>
                        <a:pt x="895" y="2133"/>
                        <a:pt x="898" y="2138"/>
                        <a:pt x="895" y="2150"/>
                      </a:cubicBezTo>
                      <a:cubicBezTo>
                        <a:pt x="894" y="2157"/>
                        <a:pt x="895" y="2163"/>
                        <a:pt x="892" y="2170"/>
                      </a:cubicBezTo>
                      <a:cubicBezTo>
                        <a:pt x="888" y="2183"/>
                        <a:pt x="879" y="2196"/>
                        <a:pt x="875" y="2210"/>
                      </a:cubicBezTo>
                      <a:cubicBezTo>
                        <a:pt x="873" y="2217"/>
                        <a:pt x="870" y="2220"/>
                        <a:pt x="867" y="2225"/>
                      </a:cubicBezTo>
                      <a:cubicBezTo>
                        <a:pt x="865" y="2228"/>
                        <a:pt x="864" y="2233"/>
                        <a:pt x="862" y="2236"/>
                      </a:cubicBezTo>
                      <a:cubicBezTo>
                        <a:pt x="860" y="2238"/>
                        <a:pt x="860" y="2241"/>
                        <a:pt x="859" y="2243"/>
                      </a:cubicBezTo>
                      <a:cubicBezTo>
                        <a:pt x="857" y="2246"/>
                        <a:pt x="854" y="2245"/>
                        <a:pt x="853" y="2246"/>
                      </a:cubicBezTo>
                      <a:cubicBezTo>
                        <a:pt x="838" y="2264"/>
                        <a:pt x="833" y="2281"/>
                        <a:pt x="826" y="2302"/>
                      </a:cubicBezTo>
                      <a:cubicBezTo>
                        <a:pt x="823" y="2311"/>
                        <a:pt x="818" y="2329"/>
                        <a:pt x="820" y="2339"/>
                      </a:cubicBezTo>
                      <a:cubicBezTo>
                        <a:pt x="823" y="2352"/>
                        <a:pt x="836" y="2358"/>
                        <a:pt x="846" y="2367"/>
                      </a:cubicBezTo>
                      <a:cubicBezTo>
                        <a:pt x="844" y="2370"/>
                        <a:pt x="846" y="2370"/>
                        <a:pt x="845" y="2373"/>
                      </a:cubicBezTo>
                      <a:cubicBezTo>
                        <a:pt x="851" y="2360"/>
                        <a:pt x="894" y="2352"/>
                        <a:pt x="905" y="2357"/>
                      </a:cubicBezTo>
                      <a:cubicBezTo>
                        <a:pt x="911" y="2360"/>
                        <a:pt x="912" y="2372"/>
                        <a:pt x="921" y="2373"/>
                      </a:cubicBezTo>
                      <a:cubicBezTo>
                        <a:pt x="928" y="2374"/>
                        <a:pt x="940" y="2364"/>
                        <a:pt x="947" y="2359"/>
                      </a:cubicBezTo>
                      <a:cubicBezTo>
                        <a:pt x="956" y="2354"/>
                        <a:pt x="962" y="2346"/>
                        <a:pt x="971" y="2339"/>
                      </a:cubicBezTo>
                      <a:cubicBezTo>
                        <a:pt x="978" y="2333"/>
                        <a:pt x="983" y="2334"/>
                        <a:pt x="990" y="2332"/>
                      </a:cubicBezTo>
                      <a:cubicBezTo>
                        <a:pt x="998" y="2329"/>
                        <a:pt x="1017" y="2325"/>
                        <a:pt x="1022" y="2320"/>
                      </a:cubicBezTo>
                      <a:cubicBezTo>
                        <a:pt x="1031" y="2312"/>
                        <a:pt x="1027" y="2301"/>
                        <a:pt x="1029" y="2290"/>
                      </a:cubicBezTo>
                      <a:cubicBezTo>
                        <a:pt x="1034" y="2293"/>
                        <a:pt x="1033" y="2309"/>
                        <a:pt x="1043" y="2305"/>
                      </a:cubicBezTo>
                      <a:cubicBezTo>
                        <a:pt x="1050" y="2302"/>
                        <a:pt x="1042" y="2290"/>
                        <a:pt x="1052" y="2289"/>
                      </a:cubicBezTo>
                      <a:cubicBezTo>
                        <a:pt x="1049" y="2289"/>
                        <a:pt x="1069" y="2301"/>
                        <a:pt x="1068" y="2299"/>
                      </a:cubicBezTo>
                      <a:cubicBezTo>
                        <a:pt x="1074" y="2308"/>
                        <a:pt x="1060" y="2323"/>
                        <a:pt x="1075" y="2326"/>
                      </a:cubicBezTo>
                      <a:cubicBezTo>
                        <a:pt x="1070" y="2333"/>
                        <a:pt x="1082" y="2332"/>
                        <a:pt x="1080" y="2338"/>
                      </a:cubicBezTo>
                      <a:cubicBezTo>
                        <a:pt x="1079" y="2346"/>
                        <a:pt x="1072" y="2338"/>
                        <a:pt x="1070" y="2344"/>
                      </a:cubicBezTo>
                      <a:cubicBezTo>
                        <a:pt x="1066" y="2355"/>
                        <a:pt x="1090" y="2366"/>
                        <a:pt x="1092" y="2372"/>
                      </a:cubicBezTo>
                      <a:cubicBezTo>
                        <a:pt x="1093" y="2374"/>
                        <a:pt x="1086" y="2375"/>
                        <a:pt x="1089" y="2381"/>
                      </a:cubicBezTo>
                      <a:cubicBezTo>
                        <a:pt x="1090" y="2384"/>
                        <a:pt x="1098" y="2381"/>
                        <a:pt x="1099" y="2384"/>
                      </a:cubicBezTo>
                      <a:cubicBezTo>
                        <a:pt x="1101" y="2387"/>
                        <a:pt x="1096" y="2391"/>
                        <a:pt x="1097" y="2393"/>
                      </a:cubicBezTo>
                      <a:cubicBezTo>
                        <a:pt x="1100" y="2398"/>
                        <a:pt x="1104" y="2398"/>
                        <a:pt x="1107" y="2403"/>
                      </a:cubicBezTo>
                      <a:cubicBezTo>
                        <a:pt x="1112" y="2409"/>
                        <a:pt x="1114" y="2421"/>
                        <a:pt x="1114" y="2428"/>
                      </a:cubicBezTo>
                      <a:cubicBezTo>
                        <a:pt x="1114" y="2441"/>
                        <a:pt x="1111" y="2455"/>
                        <a:pt x="1116" y="2470"/>
                      </a:cubicBezTo>
                      <a:cubicBezTo>
                        <a:pt x="1119" y="2478"/>
                        <a:pt x="1137" y="2510"/>
                        <a:pt x="1151" y="2499"/>
                      </a:cubicBezTo>
                      <a:cubicBezTo>
                        <a:pt x="1158" y="2493"/>
                        <a:pt x="1150" y="2482"/>
                        <a:pt x="1159" y="2473"/>
                      </a:cubicBezTo>
                      <a:cubicBezTo>
                        <a:pt x="1172" y="2459"/>
                        <a:pt x="1190" y="2480"/>
                        <a:pt x="1194" y="2458"/>
                      </a:cubicBezTo>
                      <a:cubicBezTo>
                        <a:pt x="1194" y="2454"/>
                        <a:pt x="1190" y="2406"/>
                        <a:pt x="1185" y="2404"/>
                      </a:cubicBezTo>
                      <a:cubicBezTo>
                        <a:pt x="1177" y="2400"/>
                        <a:pt x="1175" y="2412"/>
                        <a:pt x="1167" y="2411"/>
                      </a:cubicBezTo>
                      <a:cubicBezTo>
                        <a:pt x="1165" y="2411"/>
                        <a:pt x="1146" y="2395"/>
                        <a:pt x="1143" y="2393"/>
                      </a:cubicBezTo>
                      <a:cubicBezTo>
                        <a:pt x="1151" y="2383"/>
                        <a:pt x="1155" y="2366"/>
                        <a:pt x="1160" y="2354"/>
                      </a:cubicBezTo>
                      <a:cubicBezTo>
                        <a:pt x="1162" y="2350"/>
                        <a:pt x="1164" y="2336"/>
                        <a:pt x="1170" y="2331"/>
                      </a:cubicBezTo>
                      <a:cubicBezTo>
                        <a:pt x="1176" y="2326"/>
                        <a:pt x="1180" y="2329"/>
                        <a:pt x="1188" y="2326"/>
                      </a:cubicBezTo>
                      <a:cubicBezTo>
                        <a:pt x="1198" y="2324"/>
                        <a:pt x="1198" y="2314"/>
                        <a:pt x="1203" y="2312"/>
                      </a:cubicBezTo>
                      <a:cubicBezTo>
                        <a:pt x="1218" y="2304"/>
                        <a:pt x="1206" y="2331"/>
                        <a:pt x="1204" y="2342"/>
                      </a:cubicBezTo>
                      <a:cubicBezTo>
                        <a:pt x="1203" y="2349"/>
                        <a:pt x="1202" y="2355"/>
                        <a:pt x="1202" y="2361"/>
                      </a:cubicBezTo>
                      <a:cubicBezTo>
                        <a:pt x="1201" y="2364"/>
                        <a:pt x="1205" y="2379"/>
                        <a:pt x="1204" y="2379"/>
                      </a:cubicBezTo>
                      <a:cubicBezTo>
                        <a:pt x="1199" y="2389"/>
                        <a:pt x="1198" y="2372"/>
                        <a:pt x="1195" y="2371"/>
                      </a:cubicBezTo>
                      <a:cubicBezTo>
                        <a:pt x="1187" y="2367"/>
                        <a:pt x="1178" y="2378"/>
                        <a:pt x="1179" y="2386"/>
                      </a:cubicBezTo>
                      <a:cubicBezTo>
                        <a:pt x="1179" y="2398"/>
                        <a:pt x="1187" y="2397"/>
                        <a:pt x="1195" y="2398"/>
                      </a:cubicBezTo>
                      <a:cubicBezTo>
                        <a:pt x="1204" y="2398"/>
                        <a:pt x="1205" y="2396"/>
                        <a:pt x="1215" y="2399"/>
                      </a:cubicBezTo>
                      <a:cubicBezTo>
                        <a:pt x="1222" y="2402"/>
                        <a:pt x="1229" y="2405"/>
                        <a:pt x="1236" y="2404"/>
                      </a:cubicBezTo>
                      <a:cubicBezTo>
                        <a:pt x="1237" y="2404"/>
                        <a:pt x="1237" y="2399"/>
                        <a:pt x="1240" y="2398"/>
                      </a:cubicBezTo>
                      <a:cubicBezTo>
                        <a:pt x="1244" y="2397"/>
                        <a:pt x="1248" y="2398"/>
                        <a:pt x="1252" y="2397"/>
                      </a:cubicBezTo>
                      <a:cubicBezTo>
                        <a:pt x="1260" y="2394"/>
                        <a:pt x="1260" y="2391"/>
                        <a:pt x="1267" y="2384"/>
                      </a:cubicBezTo>
                      <a:cubicBezTo>
                        <a:pt x="1266" y="2391"/>
                        <a:pt x="1267" y="2399"/>
                        <a:pt x="1264" y="2406"/>
                      </a:cubicBezTo>
                      <a:cubicBezTo>
                        <a:pt x="1260" y="2414"/>
                        <a:pt x="1255" y="2418"/>
                        <a:pt x="1253" y="2425"/>
                      </a:cubicBezTo>
                      <a:cubicBezTo>
                        <a:pt x="1251" y="2431"/>
                        <a:pt x="1250" y="2441"/>
                        <a:pt x="1252" y="2448"/>
                      </a:cubicBezTo>
                      <a:cubicBezTo>
                        <a:pt x="1256" y="2460"/>
                        <a:pt x="1256" y="2460"/>
                        <a:pt x="1253" y="2470"/>
                      </a:cubicBezTo>
                      <a:cubicBezTo>
                        <a:pt x="1252" y="2473"/>
                        <a:pt x="1255" y="2478"/>
                        <a:pt x="1253" y="2481"/>
                      </a:cubicBezTo>
                      <a:cubicBezTo>
                        <a:pt x="1248" y="2488"/>
                        <a:pt x="1238" y="2486"/>
                        <a:pt x="1234" y="2495"/>
                      </a:cubicBezTo>
                      <a:cubicBezTo>
                        <a:pt x="1232" y="2499"/>
                        <a:pt x="1228" y="2514"/>
                        <a:pt x="1229" y="2517"/>
                      </a:cubicBezTo>
                      <a:cubicBezTo>
                        <a:pt x="1239" y="2534"/>
                        <a:pt x="1261" y="2515"/>
                        <a:pt x="1270" y="2509"/>
                      </a:cubicBezTo>
                      <a:cubicBezTo>
                        <a:pt x="1286" y="2498"/>
                        <a:pt x="1307" y="2488"/>
                        <a:pt x="1319" y="2471"/>
                      </a:cubicBezTo>
                      <a:cubicBezTo>
                        <a:pt x="1324" y="2464"/>
                        <a:pt x="1325" y="2454"/>
                        <a:pt x="1329" y="2447"/>
                      </a:cubicBezTo>
                      <a:cubicBezTo>
                        <a:pt x="1333" y="2441"/>
                        <a:pt x="1338" y="2436"/>
                        <a:pt x="1342" y="2429"/>
                      </a:cubicBezTo>
                      <a:cubicBezTo>
                        <a:pt x="1353" y="2408"/>
                        <a:pt x="1344" y="2399"/>
                        <a:pt x="1340" y="2376"/>
                      </a:cubicBezTo>
                      <a:cubicBezTo>
                        <a:pt x="1338" y="2358"/>
                        <a:pt x="1349" y="2346"/>
                        <a:pt x="1356" y="2330"/>
                      </a:cubicBezTo>
                      <a:cubicBezTo>
                        <a:pt x="1360" y="2335"/>
                        <a:pt x="1359" y="2340"/>
                        <a:pt x="1361" y="2345"/>
                      </a:cubicBezTo>
                      <a:cubicBezTo>
                        <a:pt x="1365" y="2352"/>
                        <a:pt x="1371" y="2356"/>
                        <a:pt x="1374" y="2364"/>
                      </a:cubicBezTo>
                      <a:cubicBezTo>
                        <a:pt x="1380" y="2381"/>
                        <a:pt x="1371" y="2397"/>
                        <a:pt x="1369" y="2414"/>
                      </a:cubicBezTo>
                      <a:cubicBezTo>
                        <a:pt x="1368" y="2421"/>
                        <a:pt x="1370" y="2427"/>
                        <a:pt x="1370" y="2433"/>
                      </a:cubicBezTo>
                      <a:cubicBezTo>
                        <a:pt x="1370" y="2435"/>
                        <a:pt x="1373" y="2435"/>
                        <a:pt x="1373" y="2438"/>
                      </a:cubicBezTo>
                      <a:cubicBezTo>
                        <a:pt x="1373" y="2441"/>
                        <a:pt x="1368" y="2443"/>
                        <a:pt x="1367" y="2446"/>
                      </a:cubicBezTo>
                      <a:cubicBezTo>
                        <a:pt x="1366" y="2456"/>
                        <a:pt x="1370" y="2463"/>
                        <a:pt x="1370" y="2474"/>
                      </a:cubicBezTo>
                      <a:cubicBezTo>
                        <a:pt x="1373" y="2464"/>
                        <a:pt x="1373" y="2465"/>
                        <a:pt x="1381" y="2460"/>
                      </a:cubicBezTo>
                      <a:cubicBezTo>
                        <a:pt x="1391" y="2454"/>
                        <a:pt x="1395" y="2458"/>
                        <a:pt x="1400" y="2446"/>
                      </a:cubicBezTo>
                      <a:cubicBezTo>
                        <a:pt x="1406" y="2430"/>
                        <a:pt x="1400" y="2404"/>
                        <a:pt x="1398" y="2388"/>
                      </a:cubicBezTo>
                      <a:cubicBezTo>
                        <a:pt x="1395" y="2372"/>
                        <a:pt x="1386" y="2360"/>
                        <a:pt x="1383" y="2345"/>
                      </a:cubicBezTo>
                      <a:cubicBezTo>
                        <a:pt x="1379" y="2325"/>
                        <a:pt x="1378" y="2311"/>
                        <a:pt x="1367" y="2293"/>
                      </a:cubicBezTo>
                      <a:cubicBezTo>
                        <a:pt x="1353" y="2318"/>
                        <a:pt x="1358" y="2294"/>
                        <a:pt x="1354" y="2279"/>
                      </a:cubicBezTo>
                      <a:cubicBezTo>
                        <a:pt x="1350" y="2265"/>
                        <a:pt x="1345" y="2253"/>
                        <a:pt x="1328" y="2255"/>
                      </a:cubicBezTo>
                      <a:cubicBezTo>
                        <a:pt x="1336" y="2236"/>
                        <a:pt x="1363" y="2247"/>
                        <a:pt x="1379" y="2245"/>
                      </a:cubicBezTo>
                      <a:cubicBezTo>
                        <a:pt x="1400" y="2243"/>
                        <a:pt x="1421" y="2243"/>
                        <a:pt x="1436" y="2227"/>
                      </a:cubicBezTo>
                      <a:cubicBezTo>
                        <a:pt x="1442" y="2221"/>
                        <a:pt x="1463" y="2177"/>
                        <a:pt x="1473" y="2179"/>
                      </a:cubicBezTo>
                      <a:cubicBezTo>
                        <a:pt x="1476" y="2180"/>
                        <a:pt x="1495" y="2216"/>
                        <a:pt x="1502" y="2194"/>
                      </a:cubicBezTo>
                      <a:cubicBezTo>
                        <a:pt x="1503" y="2205"/>
                        <a:pt x="1522" y="2204"/>
                        <a:pt x="1530" y="2205"/>
                      </a:cubicBezTo>
                      <a:cubicBezTo>
                        <a:pt x="1537" y="2205"/>
                        <a:pt x="1554" y="2202"/>
                        <a:pt x="1559" y="2205"/>
                      </a:cubicBezTo>
                      <a:cubicBezTo>
                        <a:pt x="1562" y="2207"/>
                        <a:pt x="1562" y="2213"/>
                        <a:pt x="1563" y="2214"/>
                      </a:cubicBezTo>
                      <a:cubicBezTo>
                        <a:pt x="1566" y="2216"/>
                        <a:pt x="1569" y="2218"/>
                        <a:pt x="1573" y="2220"/>
                      </a:cubicBezTo>
                      <a:cubicBezTo>
                        <a:pt x="1577" y="2222"/>
                        <a:pt x="1581" y="2217"/>
                        <a:pt x="1583" y="2220"/>
                      </a:cubicBezTo>
                      <a:cubicBezTo>
                        <a:pt x="1587" y="2225"/>
                        <a:pt x="1582" y="2232"/>
                        <a:pt x="1583" y="2237"/>
                      </a:cubicBezTo>
                      <a:cubicBezTo>
                        <a:pt x="1584" y="2248"/>
                        <a:pt x="1587" y="2249"/>
                        <a:pt x="1597" y="2254"/>
                      </a:cubicBezTo>
                      <a:cubicBezTo>
                        <a:pt x="1610" y="2261"/>
                        <a:pt x="1626" y="2256"/>
                        <a:pt x="1637" y="2263"/>
                      </a:cubicBezTo>
                      <a:cubicBezTo>
                        <a:pt x="1643" y="2267"/>
                        <a:pt x="1644" y="2274"/>
                        <a:pt x="1651" y="2278"/>
                      </a:cubicBezTo>
                      <a:cubicBezTo>
                        <a:pt x="1661" y="2283"/>
                        <a:pt x="1681" y="2283"/>
                        <a:pt x="1693" y="2284"/>
                      </a:cubicBezTo>
                      <a:cubicBezTo>
                        <a:pt x="1709" y="2284"/>
                        <a:pt x="1727" y="2281"/>
                        <a:pt x="1743" y="2282"/>
                      </a:cubicBezTo>
                      <a:cubicBezTo>
                        <a:pt x="1735" y="2286"/>
                        <a:pt x="1725" y="2281"/>
                        <a:pt x="1722" y="2291"/>
                      </a:cubicBezTo>
                      <a:cubicBezTo>
                        <a:pt x="1720" y="2297"/>
                        <a:pt x="1727" y="2301"/>
                        <a:pt x="1729" y="2302"/>
                      </a:cubicBezTo>
                      <a:cubicBezTo>
                        <a:pt x="1730" y="2302"/>
                        <a:pt x="1730" y="2295"/>
                        <a:pt x="1731" y="2295"/>
                      </a:cubicBezTo>
                      <a:cubicBezTo>
                        <a:pt x="1733" y="2295"/>
                        <a:pt x="1737" y="2298"/>
                        <a:pt x="1739" y="2298"/>
                      </a:cubicBezTo>
                      <a:cubicBezTo>
                        <a:pt x="1743" y="2298"/>
                        <a:pt x="1754" y="2301"/>
                        <a:pt x="1757" y="2301"/>
                      </a:cubicBezTo>
                      <a:cubicBezTo>
                        <a:pt x="1762" y="2302"/>
                        <a:pt x="1771" y="2309"/>
                        <a:pt x="1778" y="2309"/>
                      </a:cubicBezTo>
                      <a:cubicBezTo>
                        <a:pt x="1786" y="2309"/>
                        <a:pt x="1797" y="2298"/>
                        <a:pt x="1803" y="2300"/>
                      </a:cubicBezTo>
                      <a:cubicBezTo>
                        <a:pt x="1808" y="2302"/>
                        <a:pt x="1809" y="2336"/>
                        <a:pt x="1815" y="2317"/>
                      </a:cubicBezTo>
                      <a:cubicBezTo>
                        <a:pt x="1816" y="2319"/>
                        <a:pt x="1825" y="2328"/>
                        <a:pt x="1825" y="2331"/>
                      </a:cubicBezTo>
                      <a:cubicBezTo>
                        <a:pt x="1826" y="2332"/>
                        <a:pt x="1826" y="2355"/>
                        <a:pt x="1827" y="2354"/>
                      </a:cubicBezTo>
                      <a:cubicBezTo>
                        <a:pt x="1825" y="2362"/>
                        <a:pt x="1819" y="2354"/>
                        <a:pt x="1812" y="2362"/>
                      </a:cubicBezTo>
                      <a:cubicBezTo>
                        <a:pt x="1804" y="2370"/>
                        <a:pt x="1809" y="2381"/>
                        <a:pt x="1820" y="2372"/>
                      </a:cubicBezTo>
                      <a:cubicBezTo>
                        <a:pt x="1824" y="2423"/>
                        <a:pt x="1741" y="2359"/>
                        <a:pt x="1739" y="2394"/>
                      </a:cubicBezTo>
                      <a:cubicBezTo>
                        <a:pt x="1747" y="2393"/>
                        <a:pt x="1754" y="2396"/>
                        <a:pt x="1762" y="2397"/>
                      </a:cubicBezTo>
                      <a:cubicBezTo>
                        <a:pt x="1765" y="2397"/>
                        <a:pt x="1778" y="2396"/>
                        <a:pt x="1779" y="2397"/>
                      </a:cubicBezTo>
                      <a:cubicBezTo>
                        <a:pt x="1786" y="2400"/>
                        <a:pt x="1787" y="2413"/>
                        <a:pt x="1796" y="2416"/>
                      </a:cubicBezTo>
                      <a:cubicBezTo>
                        <a:pt x="1800" y="2417"/>
                        <a:pt x="1802" y="2413"/>
                        <a:pt x="1805" y="2414"/>
                      </a:cubicBezTo>
                      <a:cubicBezTo>
                        <a:pt x="1807" y="2414"/>
                        <a:pt x="1812" y="2419"/>
                        <a:pt x="1814" y="2419"/>
                      </a:cubicBezTo>
                      <a:cubicBezTo>
                        <a:pt x="1822" y="2419"/>
                        <a:pt x="1837" y="2423"/>
                        <a:pt x="1843" y="2415"/>
                      </a:cubicBezTo>
                      <a:cubicBezTo>
                        <a:pt x="1844" y="2420"/>
                        <a:pt x="1841" y="2432"/>
                        <a:pt x="1845" y="2437"/>
                      </a:cubicBezTo>
                      <a:cubicBezTo>
                        <a:pt x="1848" y="2440"/>
                        <a:pt x="1854" y="2438"/>
                        <a:pt x="1857" y="2440"/>
                      </a:cubicBezTo>
                      <a:cubicBezTo>
                        <a:pt x="1864" y="2445"/>
                        <a:pt x="1872" y="2453"/>
                        <a:pt x="1875" y="2459"/>
                      </a:cubicBezTo>
                      <a:cubicBezTo>
                        <a:pt x="1878" y="2465"/>
                        <a:pt x="1880" y="2475"/>
                        <a:pt x="1881" y="2482"/>
                      </a:cubicBezTo>
                      <a:cubicBezTo>
                        <a:pt x="1883" y="2497"/>
                        <a:pt x="1872" y="2510"/>
                        <a:pt x="1880" y="2523"/>
                      </a:cubicBezTo>
                      <a:cubicBezTo>
                        <a:pt x="1887" y="2535"/>
                        <a:pt x="1901" y="2536"/>
                        <a:pt x="1912" y="2539"/>
                      </a:cubicBezTo>
                      <a:cubicBezTo>
                        <a:pt x="1921" y="2542"/>
                        <a:pt x="1931" y="2549"/>
                        <a:pt x="1941" y="2550"/>
                      </a:cubicBezTo>
                      <a:cubicBezTo>
                        <a:pt x="1948" y="2551"/>
                        <a:pt x="1956" y="2541"/>
                        <a:pt x="1960" y="2541"/>
                      </a:cubicBezTo>
                      <a:cubicBezTo>
                        <a:pt x="1961" y="2541"/>
                        <a:pt x="1970" y="2555"/>
                        <a:pt x="1971" y="2557"/>
                      </a:cubicBezTo>
                      <a:cubicBezTo>
                        <a:pt x="1951" y="2545"/>
                        <a:pt x="1953" y="2587"/>
                        <a:pt x="1954" y="2593"/>
                      </a:cubicBezTo>
                      <a:cubicBezTo>
                        <a:pt x="1957" y="2608"/>
                        <a:pt x="1955" y="2604"/>
                        <a:pt x="1969" y="2609"/>
                      </a:cubicBezTo>
                      <a:cubicBezTo>
                        <a:pt x="1984" y="2614"/>
                        <a:pt x="1982" y="2614"/>
                        <a:pt x="1977" y="2626"/>
                      </a:cubicBezTo>
                      <a:cubicBezTo>
                        <a:pt x="1973" y="2635"/>
                        <a:pt x="1969" y="2642"/>
                        <a:pt x="1968" y="2652"/>
                      </a:cubicBezTo>
                      <a:cubicBezTo>
                        <a:pt x="1967" y="2665"/>
                        <a:pt x="1972" y="2676"/>
                        <a:pt x="1971" y="2689"/>
                      </a:cubicBezTo>
                      <a:cubicBezTo>
                        <a:pt x="1971" y="2694"/>
                        <a:pt x="1974" y="2693"/>
                        <a:pt x="1972" y="2699"/>
                      </a:cubicBezTo>
                      <a:cubicBezTo>
                        <a:pt x="1970" y="2704"/>
                        <a:pt x="1962" y="2708"/>
                        <a:pt x="1959" y="2713"/>
                      </a:cubicBezTo>
                      <a:cubicBezTo>
                        <a:pt x="1952" y="2726"/>
                        <a:pt x="1956" y="2730"/>
                        <a:pt x="1962" y="2741"/>
                      </a:cubicBezTo>
                      <a:cubicBezTo>
                        <a:pt x="1964" y="2745"/>
                        <a:pt x="1969" y="2754"/>
                        <a:pt x="1968" y="2757"/>
                      </a:cubicBezTo>
                      <a:cubicBezTo>
                        <a:pt x="1968" y="2760"/>
                        <a:pt x="1963" y="2762"/>
                        <a:pt x="1963" y="2763"/>
                      </a:cubicBezTo>
                      <a:cubicBezTo>
                        <a:pt x="1962" y="2768"/>
                        <a:pt x="1957" y="2778"/>
                        <a:pt x="1968" y="2780"/>
                      </a:cubicBezTo>
                      <a:cubicBezTo>
                        <a:pt x="1976" y="2782"/>
                        <a:pt x="1975" y="2762"/>
                        <a:pt x="1979" y="2783"/>
                      </a:cubicBezTo>
                      <a:cubicBezTo>
                        <a:pt x="1983" y="2799"/>
                        <a:pt x="1973" y="2793"/>
                        <a:pt x="1966" y="2805"/>
                      </a:cubicBezTo>
                      <a:cubicBezTo>
                        <a:pt x="1959" y="2817"/>
                        <a:pt x="1972" y="2818"/>
                        <a:pt x="1973" y="2824"/>
                      </a:cubicBezTo>
                      <a:cubicBezTo>
                        <a:pt x="1975" y="2830"/>
                        <a:pt x="1970" y="2831"/>
                        <a:pt x="1971" y="2837"/>
                      </a:cubicBezTo>
                      <a:cubicBezTo>
                        <a:pt x="1971" y="2839"/>
                        <a:pt x="1977" y="2840"/>
                        <a:pt x="1978" y="2843"/>
                      </a:cubicBezTo>
                      <a:cubicBezTo>
                        <a:pt x="1983" y="2856"/>
                        <a:pt x="1989" y="2857"/>
                        <a:pt x="1996" y="2868"/>
                      </a:cubicBezTo>
                      <a:cubicBezTo>
                        <a:pt x="2000" y="2874"/>
                        <a:pt x="1999" y="2879"/>
                        <a:pt x="2001" y="2882"/>
                      </a:cubicBezTo>
                      <a:cubicBezTo>
                        <a:pt x="2000" y="2882"/>
                        <a:pt x="2004" y="2895"/>
                        <a:pt x="2004" y="2893"/>
                      </a:cubicBezTo>
                      <a:cubicBezTo>
                        <a:pt x="2005" y="2904"/>
                        <a:pt x="2003" y="2904"/>
                        <a:pt x="2000" y="2915"/>
                      </a:cubicBezTo>
                      <a:cubicBezTo>
                        <a:pt x="1996" y="2930"/>
                        <a:pt x="2005" y="2931"/>
                        <a:pt x="2008" y="2943"/>
                      </a:cubicBezTo>
                      <a:cubicBezTo>
                        <a:pt x="2011" y="2952"/>
                        <a:pt x="2005" y="2961"/>
                        <a:pt x="2009" y="2970"/>
                      </a:cubicBezTo>
                      <a:cubicBezTo>
                        <a:pt x="2013" y="2977"/>
                        <a:pt x="2022" y="2982"/>
                        <a:pt x="2028" y="2989"/>
                      </a:cubicBezTo>
                      <a:cubicBezTo>
                        <a:pt x="2013" y="3002"/>
                        <a:pt x="2037" y="3018"/>
                        <a:pt x="2045" y="3025"/>
                      </a:cubicBezTo>
                      <a:cubicBezTo>
                        <a:pt x="2053" y="3032"/>
                        <a:pt x="2063" y="3045"/>
                        <a:pt x="2067" y="3054"/>
                      </a:cubicBezTo>
                      <a:cubicBezTo>
                        <a:pt x="2073" y="3066"/>
                        <a:pt x="2078" y="3084"/>
                        <a:pt x="2087" y="3095"/>
                      </a:cubicBezTo>
                      <a:cubicBezTo>
                        <a:pt x="2090" y="3100"/>
                        <a:pt x="2101" y="3110"/>
                        <a:pt x="2107" y="3108"/>
                      </a:cubicBezTo>
                      <a:cubicBezTo>
                        <a:pt x="2108" y="3108"/>
                        <a:pt x="2113" y="3097"/>
                        <a:pt x="2116" y="3096"/>
                      </a:cubicBezTo>
                      <a:cubicBezTo>
                        <a:pt x="2124" y="3104"/>
                        <a:pt x="2112" y="3122"/>
                        <a:pt x="2109" y="3131"/>
                      </a:cubicBezTo>
                      <a:cubicBezTo>
                        <a:pt x="2106" y="3142"/>
                        <a:pt x="2105" y="3143"/>
                        <a:pt x="2106" y="3154"/>
                      </a:cubicBezTo>
                      <a:cubicBezTo>
                        <a:pt x="2108" y="3165"/>
                        <a:pt x="2107" y="3172"/>
                        <a:pt x="2118" y="3178"/>
                      </a:cubicBezTo>
                      <a:cubicBezTo>
                        <a:pt x="2126" y="3183"/>
                        <a:pt x="2134" y="3180"/>
                        <a:pt x="2140" y="3188"/>
                      </a:cubicBezTo>
                      <a:cubicBezTo>
                        <a:pt x="2143" y="3192"/>
                        <a:pt x="2142" y="3201"/>
                        <a:pt x="2144" y="3205"/>
                      </a:cubicBezTo>
                      <a:cubicBezTo>
                        <a:pt x="2146" y="3208"/>
                        <a:pt x="2152" y="3214"/>
                        <a:pt x="2154" y="3216"/>
                      </a:cubicBezTo>
                      <a:cubicBezTo>
                        <a:pt x="2164" y="3227"/>
                        <a:pt x="2165" y="3230"/>
                        <a:pt x="2167" y="3244"/>
                      </a:cubicBezTo>
                      <a:cubicBezTo>
                        <a:pt x="2169" y="3263"/>
                        <a:pt x="2172" y="3285"/>
                        <a:pt x="2183" y="3303"/>
                      </a:cubicBezTo>
                      <a:cubicBezTo>
                        <a:pt x="2169" y="3309"/>
                        <a:pt x="2171" y="3319"/>
                        <a:pt x="2178" y="3309"/>
                      </a:cubicBezTo>
                      <a:cubicBezTo>
                        <a:pt x="2184" y="3316"/>
                        <a:pt x="2175" y="3324"/>
                        <a:pt x="2183" y="3332"/>
                      </a:cubicBezTo>
                      <a:cubicBezTo>
                        <a:pt x="2184" y="3330"/>
                        <a:pt x="2184" y="3328"/>
                        <a:pt x="2185" y="3327"/>
                      </a:cubicBezTo>
                      <a:cubicBezTo>
                        <a:pt x="2188" y="3334"/>
                        <a:pt x="2206" y="3357"/>
                        <a:pt x="2190" y="3361"/>
                      </a:cubicBezTo>
                      <a:cubicBezTo>
                        <a:pt x="2211" y="3362"/>
                        <a:pt x="2195" y="3376"/>
                        <a:pt x="2188" y="3384"/>
                      </a:cubicBezTo>
                      <a:cubicBezTo>
                        <a:pt x="2199" y="3378"/>
                        <a:pt x="2196" y="3391"/>
                        <a:pt x="2203" y="3391"/>
                      </a:cubicBezTo>
                      <a:cubicBezTo>
                        <a:pt x="2204" y="3391"/>
                        <a:pt x="2205" y="3390"/>
                        <a:pt x="2206" y="3389"/>
                      </a:cubicBezTo>
                      <a:cubicBezTo>
                        <a:pt x="2202" y="3386"/>
                        <a:pt x="2201" y="3376"/>
                        <a:pt x="2207" y="3373"/>
                      </a:cubicBezTo>
                      <a:cubicBezTo>
                        <a:pt x="2206" y="3373"/>
                        <a:pt x="2216" y="3376"/>
                        <a:pt x="2216" y="3376"/>
                      </a:cubicBezTo>
                      <a:cubicBezTo>
                        <a:pt x="2220" y="3394"/>
                        <a:pt x="2214" y="3406"/>
                        <a:pt x="2215" y="3423"/>
                      </a:cubicBezTo>
                      <a:cubicBezTo>
                        <a:pt x="2215" y="3435"/>
                        <a:pt x="2220" y="3451"/>
                        <a:pt x="2225" y="3462"/>
                      </a:cubicBezTo>
                      <a:cubicBezTo>
                        <a:pt x="2232" y="3478"/>
                        <a:pt x="2239" y="3489"/>
                        <a:pt x="2246" y="3502"/>
                      </a:cubicBezTo>
                      <a:cubicBezTo>
                        <a:pt x="2255" y="3517"/>
                        <a:pt x="2246" y="3531"/>
                        <a:pt x="2246" y="3547"/>
                      </a:cubicBezTo>
                      <a:cubicBezTo>
                        <a:pt x="2247" y="3562"/>
                        <a:pt x="2239" y="3571"/>
                        <a:pt x="2234" y="3587"/>
                      </a:cubicBezTo>
                      <a:cubicBezTo>
                        <a:pt x="2229" y="3607"/>
                        <a:pt x="2228" y="3619"/>
                        <a:pt x="2227" y="3639"/>
                      </a:cubicBezTo>
                      <a:cubicBezTo>
                        <a:pt x="2225" y="3677"/>
                        <a:pt x="2202" y="3710"/>
                        <a:pt x="2205" y="3749"/>
                      </a:cubicBezTo>
                      <a:cubicBezTo>
                        <a:pt x="2206" y="3763"/>
                        <a:pt x="2209" y="3774"/>
                        <a:pt x="2209" y="3788"/>
                      </a:cubicBezTo>
                      <a:cubicBezTo>
                        <a:pt x="2209" y="3803"/>
                        <a:pt x="2210" y="3822"/>
                        <a:pt x="2215" y="3837"/>
                      </a:cubicBezTo>
                      <a:cubicBezTo>
                        <a:pt x="2219" y="3853"/>
                        <a:pt x="2222" y="3857"/>
                        <a:pt x="2205" y="3853"/>
                      </a:cubicBezTo>
                      <a:cubicBezTo>
                        <a:pt x="2182" y="3848"/>
                        <a:pt x="2190" y="3850"/>
                        <a:pt x="2174" y="3862"/>
                      </a:cubicBezTo>
                      <a:cubicBezTo>
                        <a:pt x="2170" y="3866"/>
                        <a:pt x="2162" y="3868"/>
                        <a:pt x="2156" y="3869"/>
                      </a:cubicBezTo>
                      <a:cubicBezTo>
                        <a:pt x="2155" y="3869"/>
                        <a:pt x="2144" y="3867"/>
                        <a:pt x="2145" y="3867"/>
                      </a:cubicBezTo>
                      <a:cubicBezTo>
                        <a:pt x="2137" y="3863"/>
                        <a:pt x="2144" y="3871"/>
                        <a:pt x="2142" y="3862"/>
                      </a:cubicBezTo>
                      <a:cubicBezTo>
                        <a:pt x="2143" y="3866"/>
                        <a:pt x="2144" y="3852"/>
                        <a:pt x="2144" y="3853"/>
                      </a:cubicBezTo>
                      <a:cubicBezTo>
                        <a:pt x="2144" y="3853"/>
                        <a:pt x="2138" y="3852"/>
                        <a:pt x="2138" y="3850"/>
                      </a:cubicBezTo>
                      <a:cubicBezTo>
                        <a:pt x="2136" y="3844"/>
                        <a:pt x="2142" y="3835"/>
                        <a:pt x="2136" y="3831"/>
                      </a:cubicBezTo>
                      <a:cubicBezTo>
                        <a:pt x="2129" y="3825"/>
                        <a:pt x="2128" y="3833"/>
                        <a:pt x="2122" y="3832"/>
                      </a:cubicBezTo>
                      <a:cubicBezTo>
                        <a:pt x="2108" y="3831"/>
                        <a:pt x="2110" y="3822"/>
                        <a:pt x="2116" y="3811"/>
                      </a:cubicBezTo>
                      <a:cubicBezTo>
                        <a:pt x="2119" y="3806"/>
                        <a:pt x="2124" y="3803"/>
                        <a:pt x="2127" y="3799"/>
                      </a:cubicBezTo>
                      <a:cubicBezTo>
                        <a:pt x="2131" y="3795"/>
                        <a:pt x="2131" y="3790"/>
                        <a:pt x="2134" y="3784"/>
                      </a:cubicBezTo>
                      <a:cubicBezTo>
                        <a:pt x="2137" y="3777"/>
                        <a:pt x="2140" y="3783"/>
                        <a:pt x="2140" y="3776"/>
                      </a:cubicBezTo>
                      <a:cubicBezTo>
                        <a:pt x="2140" y="3779"/>
                        <a:pt x="2135" y="3764"/>
                        <a:pt x="2137" y="3765"/>
                      </a:cubicBezTo>
                      <a:cubicBezTo>
                        <a:pt x="2130" y="3757"/>
                        <a:pt x="2119" y="3753"/>
                        <a:pt x="2108" y="3747"/>
                      </a:cubicBezTo>
                      <a:cubicBezTo>
                        <a:pt x="2101" y="3744"/>
                        <a:pt x="2087" y="3745"/>
                        <a:pt x="2082" y="3741"/>
                      </a:cubicBezTo>
                      <a:cubicBezTo>
                        <a:pt x="2079" y="3739"/>
                        <a:pt x="2071" y="3716"/>
                        <a:pt x="2073" y="3712"/>
                      </a:cubicBezTo>
                      <a:cubicBezTo>
                        <a:pt x="2075" y="3703"/>
                        <a:pt x="2090" y="3711"/>
                        <a:pt x="2080" y="3696"/>
                      </a:cubicBezTo>
                      <a:cubicBezTo>
                        <a:pt x="2071" y="3684"/>
                        <a:pt x="2074" y="3693"/>
                        <a:pt x="2066" y="3698"/>
                      </a:cubicBezTo>
                      <a:cubicBezTo>
                        <a:pt x="2049" y="3709"/>
                        <a:pt x="2054" y="3696"/>
                        <a:pt x="2046" y="3689"/>
                      </a:cubicBezTo>
                      <a:cubicBezTo>
                        <a:pt x="2039" y="3682"/>
                        <a:pt x="2034" y="3687"/>
                        <a:pt x="2029" y="3677"/>
                      </a:cubicBezTo>
                      <a:cubicBezTo>
                        <a:pt x="2025" y="3669"/>
                        <a:pt x="2028" y="3659"/>
                        <a:pt x="2018" y="3655"/>
                      </a:cubicBezTo>
                      <a:cubicBezTo>
                        <a:pt x="2014" y="3653"/>
                        <a:pt x="1999" y="3657"/>
                        <a:pt x="1995" y="3658"/>
                      </a:cubicBezTo>
                      <a:cubicBezTo>
                        <a:pt x="1986" y="3662"/>
                        <a:pt x="1977" y="3671"/>
                        <a:pt x="1978" y="3684"/>
                      </a:cubicBezTo>
                      <a:cubicBezTo>
                        <a:pt x="1978" y="3688"/>
                        <a:pt x="1984" y="3689"/>
                        <a:pt x="1983" y="3694"/>
                      </a:cubicBezTo>
                      <a:cubicBezTo>
                        <a:pt x="1983" y="3702"/>
                        <a:pt x="1973" y="3709"/>
                        <a:pt x="1968" y="3713"/>
                      </a:cubicBezTo>
                      <a:cubicBezTo>
                        <a:pt x="1962" y="3719"/>
                        <a:pt x="1961" y="3717"/>
                        <a:pt x="1957" y="3728"/>
                      </a:cubicBezTo>
                      <a:cubicBezTo>
                        <a:pt x="1955" y="3735"/>
                        <a:pt x="1958" y="3741"/>
                        <a:pt x="1950" y="3748"/>
                      </a:cubicBezTo>
                      <a:cubicBezTo>
                        <a:pt x="1940" y="3757"/>
                        <a:pt x="1926" y="3754"/>
                        <a:pt x="1915" y="3761"/>
                      </a:cubicBezTo>
                      <a:cubicBezTo>
                        <a:pt x="1906" y="3767"/>
                        <a:pt x="1897" y="3776"/>
                        <a:pt x="1892" y="3785"/>
                      </a:cubicBezTo>
                      <a:cubicBezTo>
                        <a:pt x="1879" y="3809"/>
                        <a:pt x="1891" y="3822"/>
                        <a:pt x="1913" y="3828"/>
                      </a:cubicBezTo>
                      <a:cubicBezTo>
                        <a:pt x="1914" y="3829"/>
                        <a:pt x="1914" y="3833"/>
                        <a:pt x="1916" y="3833"/>
                      </a:cubicBezTo>
                      <a:cubicBezTo>
                        <a:pt x="1919" y="3834"/>
                        <a:pt x="1921" y="3831"/>
                        <a:pt x="1924" y="3831"/>
                      </a:cubicBezTo>
                      <a:cubicBezTo>
                        <a:pt x="1929" y="3832"/>
                        <a:pt x="1934" y="3831"/>
                        <a:pt x="1940" y="3833"/>
                      </a:cubicBezTo>
                      <a:cubicBezTo>
                        <a:pt x="1948" y="3835"/>
                        <a:pt x="1957" y="3839"/>
                        <a:pt x="1954" y="3848"/>
                      </a:cubicBezTo>
                      <a:cubicBezTo>
                        <a:pt x="1952" y="3854"/>
                        <a:pt x="1942" y="3857"/>
                        <a:pt x="1941" y="3867"/>
                      </a:cubicBezTo>
                      <a:cubicBezTo>
                        <a:pt x="1939" y="3885"/>
                        <a:pt x="1948" y="3874"/>
                        <a:pt x="1962" y="3870"/>
                      </a:cubicBezTo>
                      <a:cubicBezTo>
                        <a:pt x="1970" y="3867"/>
                        <a:pt x="1978" y="3868"/>
                        <a:pt x="1989" y="3870"/>
                      </a:cubicBezTo>
                      <a:cubicBezTo>
                        <a:pt x="1997" y="3872"/>
                        <a:pt x="1999" y="3873"/>
                        <a:pt x="2005" y="3870"/>
                      </a:cubicBezTo>
                      <a:cubicBezTo>
                        <a:pt x="2009" y="3868"/>
                        <a:pt x="2012" y="3862"/>
                        <a:pt x="2014" y="3861"/>
                      </a:cubicBezTo>
                      <a:cubicBezTo>
                        <a:pt x="2024" y="3855"/>
                        <a:pt x="2035" y="3867"/>
                        <a:pt x="2043" y="3859"/>
                      </a:cubicBezTo>
                      <a:cubicBezTo>
                        <a:pt x="2044" y="3864"/>
                        <a:pt x="2037" y="3881"/>
                        <a:pt x="2042" y="3884"/>
                      </a:cubicBezTo>
                      <a:cubicBezTo>
                        <a:pt x="2046" y="3887"/>
                        <a:pt x="2050" y="3879"/>
                        <a:pt x="2054" y="3880"/>
                      </a:cubicBezTo>
                      <a:cubicBezTo>
                        <a:pt x="2069" y="3882"/>
                        <a:pt x="2065" y="3894"/>
                        <a:pt x="2063" y="3904"/>
                      </a:cubicBezTo>
                      <a:cubicBezTo>
                        <a:pt x="2063" y="3907"/>
                        <a:pt x="2064" y="3912"/>
                        <a:pt x="2063" y="3915"/>
                      </a:cubicBezTo>
                      <a:cubicBezTo>
                        <a:pt x="2062" y="3917"/>
                        <a:pt x="2059" y="3917"/>
                        <a:pt x="2059" y="3916"/>
                      </a:cubicBezTo>
                      <a:cubicBezTo>
                        <a:pt x="2058" y="3919"/>
                        <a:pt x="2054" y="3923"/>
                        <a:pt x="2053" y="3927"/>
                      </a:cubicBezTo>
                      <a:cubicBezTo>
                        <a:pt x="2051" y="3934"/>
                        <a:pt x="2053" y="3939"/>
                        <a:pt x="2050" y="3946"/>
                      </a:cubicBezTo>
                      <a:cubicBezTo>
                        <a:pt x="2047" y="3952"/>
                        <a:pt x="2041" y="3957"/>
                        <a:pt x="2041" y="3963"/>
                      </a:cubicBezTo>
                      <a:cubicBezTo>
                        <a:pt x="2032" y="3956"/>
                        <a:pt x="2025" y="3981"/>
                        <a:pt x="2023" y="3987"/>
                      </a:cubicBezTo>
                      <a:cubicBezTo>
                        <a:pt x="2020" y="3998"/>
                        <a:pt x="2016" y="4021"/>
                        <a:pt x="2001" y="4022"/>
                      </a:cubicBezTo>
                      <a:cubicBezTo>
                        <a:pt x="1990" y="4023"/>
                        <a:pt x="1982" y="4009"/>
                        <a:pt x="1973" y="4012"/>
                      </a:cubicBezTo>
                      <a:cubicBezTo>
                        <a:pt x="1972" y="4013"/>
                        <a:pt x="1973" y="4021"/>
                        <a:pt x="1969" y="4022"/>
                      </a:cubicBezTo>
                      <a:cubicBezTo>
                        <a:pt x="1968" y="4023"/>
                        <a:pt x="1965" y="4019"/>
                        <a:pt x="1964" y="4019"/>
                      </a:cubicBezTo>
                      <a:cubicBezTo>
                        <a:pt x="1957" y="4020"/>
                        <a:pt x="1950" y="4015"/>
                        <a:pt x="1945" y="4022"/>
                      </a:cubicBezTo>
                      <a:cubicBezTo>
                        <a:pt x="1939" y="4029"/>
                        <a:pt x="1947" y="4060"/>
                        <a:pt x="1948" y="4066"/>
                      </a:cubicBezTo>
                      <a:cubicBezTo>
                        <a:pt x="1949" y="4070"/>
                        <a:pt x="1949" y="4081"/>
                        <a:pt x="1952" y="4085"/>
                      </a:cubicBezTo>
                      <a:cubicBezTo>
                        <a:pt x="1955" y="4089"/>
                        <a:pt x="1963" y="4090"/>
                        <a:pt x="1965" y="4093"/>
                      </a:cubicBezTo>
                      <a:cubicBezTo>
                        <a:pt x="1966" y="4096"/>
                        <a:pt x="1961" y="4108"/>
                        <a:pt x="1960" y="4111"/>
                      </a:cubicBezTo>
                      <a:cubicBezTo>
                        <a:pt x="1959" y="4113"/>
                        <a:pt x="1959" y="4117"/>
                        <a:pt x="1958" y="4120"/>
                      </a:cubicBezTo>
                      <a:cubicBezTo>
                        <a:pt x="1958" y="4121"/>
                        <a:pt x="1953" y="4121"/>
                        <a:pt x="1951" y="4124"/>
                      </a:cubicBezTo>
                      <a:cubicBezTo>
                        <a:pt x="1949" y="4129"/>
                        <a:pt x="1949" y="4140"/>
                        <a:pt x="1948" y="4146"/>
                      </a:cubicBezTo>
                      <a:cubicBezTo>
                        <a:pt x="1945" y="4154"/>
                        <a:pt x="1944" y="4161"/>
                        <a:pt x="1939" y="4170"/>
                      </a:cubicBezTo>
                      <a:cubicBezTo>
                        <a:pt x="1931" y="4180"/>
                        <a:pt x="1935" y="4175"/>
                        <a:pt x="1926" y="4177"/>
                      </a:cubicBezTo>
                      <a:cubicBezTo>
                        <a:pt x="1925" y="4177"/>
                        <a:pt x="1911" y="4180"/>
                        <a:pt x="1912" y="4180"/>
                      </a:cubicBezTo>
                      <a:cubicBezTo>
                        <a:pt x="1899" y="4190"/>
                        <a:pt x="1909" y="4200"/>
                        <a:pt x="1887" y="4205"/>
                      </a:cubicBezTo>
                      <a:cubicBezTo>
                        <a:pt x="1881" y="4206"/>
                        <a:pt x="1873" y="4206"/>
                        <a:pt x="1867" y="4205"/>
                      </a:cubicBezTo>
                      <a:cubicBezTo>
                        <a:pt x="1862" y="4203"/>
                        <a:pt x="1855" y="4195"/>
                        <a:pt x="1849" y="4198"/>
                      </a:cubicBezTo>
                      <a:cubicBezTo>
                        <a:pt x="1846" y="4200"/>
                        <a:pt x="1847" y="4211"/>
                        <a:pt x="1844" y="4215"/>
                      </a:cubicBezTo>
                      <a:cubicBezTo>
                        <a:pt x="1838" y="4222"/>
                        <a:pt x="1837" y="4221"/>
                        <a:pt x="1828" y="4222"/>
                      </a:cubicBezTo>
                      <a:cubicBezTo>
                        <a:pt x="1820" y="4222"/>
                        <a:pt x="1819" y="4223"/>
                        <a:pt x="1813" y="4219"/>
                      </a:cubicBezTo>
                      <a:cubicBezTo>
                        <a:pt x="1809" y="4217"/>
                        <a:pt x="1809" y="4212"/>
                        <a:pt x="1805" y="4210"/>
                      </a:cubicBezTo>
                      <a:cubicBezTo>
                        <a:pt x="1802" y="4209"/>
                        <a:pt x="1796" y="4211"/>
                        <a:pt x="1795" y="4210"/>
                      </a:cubicBezTo>
                      <a:cubicBezTo>
                        <a:pt x="1793" y="4209"/>
                        <a:pt x="1792" y="4208"/>
                        <a:pt x="1790" y="4207"/>
                      </a:cubicBezTo>
                      <a:cubicBezTo>
                        <a:pt x="1789" y="4206"/>
                        <a:pt x="1794" y="4202"/>
                        <a:pt x="1793" y="4201"/>
                      </a:cubicBezTo>
                      <a:cubicBezTo>
                        <a:pt x="1783" y="4193"/>
                        <a:pt x="1783" y="4205"/>
                        <a:pt x="1773" y="4209"/>
                      </a:cubicBezTo>
                      <a:cubicBezTo>
                        <a:pt x="1769" y="4211"/>
                        <a:pt x="1767" y="4204"/>
                        <a:pt x="1762" y="4207"/>
                      </a:cubicBezTo>
                      <a:cubicBezTo>
                        <a:pt x="1755" y="4211"/>
                        <a:pt x="1753" y="4221"/>
                        <a:pt x="1749" y="4226"/>
                      </a:cubicBezTo>
                      <a:cubicBezTo>
                        <a:pt x="1735" y="4239"/>
                        <a:pt x="1733" y="4226"/>
                        <a:pt x="1733" y="4214"/>
                      </a:cubicBezTo>
                      <a:cubicBezTo>
                        <a:pt x="1734" y="4199"/>
                        <a:pt x="1734" y="4200"/>
                        <a:pt x="1720" y="4196"/>
                      </a:cubicBezTo>
                      <a:cubicBezTo>
                        <a:pt x="1714" y="4195"/>
                        <a:pt x="1709" y="4191"/>
                        <a:pt x="1705" y="4189"/>
                      </a:cubicBezTo>
                      <a:cubicBezTo>
                        <a:pt x="1703" y="4188"/>
                        <a:pt x="1706" y="4182"/>
                        <a:pt x="1703" y="4181"/>
                      </a:cubicBezTo>
                      <a:cubicBezTo>
                        <a:pt x="1697" y="4178"/>
                        <a:pt x="1693" y="4184"/>
                        <a:pt x="1690" y="4185"/>
                      </a:cubicBezTo>
                      <a:cubicBezTo>
                        <a:pt x="1684" y="4185"/>
                        <a:pt x="1670" y="4181"/>
                        <a:pt x="1665" y="4185"/>
                      </a:cubicBezTo>
                      <a:cubicBezTo>
                        <a:pt x="1656" y="4190"/>
                        <a:pt x="1665" y="4201"/>
                        <a:pt x="1661" y="4205"/>
                      </a:cubicBezTo>
                      <a:cubicBezTo>
                        <a:pt x="1656" y="4213"/>
                        <a:pt x="1657" y="4204"/>
                        <a:pt x="1649" y="4206"/>
                      </a:cubicBezTo>
                      <a:cubicBezTo>
                        <a:pt x="1643" y="4207"/>
                        <a:pt x="1643" y="4217"/>
                        <a:pt x="1634" y="4210"/>
                      </a:cubicBezTo>
                      <a:cubicBezTo>
                        <a:pt x="1631" y="4224"/>
                        <a:pt x="1617" y="4224"/>
                        <a:pt x="1612" y="4237"/>
                      </a:cubicBezTo>
                      <a:cubicBezTo>
                        <a:pt x="1611" y="4241"/>
                        <a:pt x="1613" y="4245"/>
                        <a:pt x="1612" y="4249"/>
                      </a:cubicBezTo>
                      <a:cubicBezTo>
                        <a:pt x="1612" y="4253"/>
                        <a:pt x="1608" y="4256"/>
                        <a:pt x="1607" y="4262"/>
                      </a:cubicBezTo>
                      <a:cubicBezTo>
                        <a:pt x="1607" y="4267"/>
                        <a:pt x="1612" y="4273"/>
                        <a:pt x="1610" y="4277"/>
                      </a:cubicBezTo>
                      <a:cubicBezTo>
                        <a:pt x="1607" y="4282"/>
                        <a:pt x="1602" y="4280"/>
                        <a:pt x="1601" y="4283"/>
                      </a:cubicBezTo>
                      <a:cubicBezTo>
                        <a:pt x="1598" y="4289"/>
                        <a:pt x="1597" y="4302"/>
                        <a:pt x="1600" y="4310"/>
                      </a:cubicBezTo>
                      <a:cubicBezTo>
                        <a:pt x="1604" y="4319"/>
                        <a:pt x="1615" y="4323"/>
                        <a:pt x="1619" y="4331"/>
                      </a:cubicBezTo>
                      <a:cubicBezTo>
                        <a:pt x="1624" y="4342"/>
                        <a:pt x="1623" y="4351"/>
                        <a:pt x="1615" y="4359"/>
                      </a:cubicBezTo>
                      <a:cubicBezTo>
                        <a:pt x="1612" y="4363"/>
                        <a:pt x="1607" y="4364"/>
                        <a:pt x="1604" y="4367"/>
                      </a:cubicBezTo>
                      <a:cubicBezTo>
                        <a:pt x="1601" y="4369"/>
                        <a:pt x="1597" y="4375"/>
                        <a:pt x="1595" y="4376"/>
                      </a:cubicBezTo>
                      <a:cubicBezTo>
                        <a:pt x="1589" y="4379"/>
                        <a:pt x="1580" y="4379"/>
                        <a:pt x="1575" y="4383"/>
                      </a:cubicBezTo>
                      <a:cubicBezTo>
                        <a:pt x="1572" y="4386"/>
                        <a:pt x="1571" y="4395"/>
                        <a:pt x="1567" y="4395"/>
                      </a:cubicBezTo>
                      <a:cubicBezTo>
                        <a:pt x="1560" y="4395"/>
                        <a:pt x="1560" y="4366"/>
                        <a:pt x="1557" y="4360"/>
                      </a:cubicBezTo>
                      <a:cubicBezTo>
                        <a:pt x="1554" y="4354"/>
                        <a:pt x="1548" y="4351"/>
                        <a:pt x="1546" y="4345"/>
                      </a:cubicBezTo>
                      <a:cubicBezTo>
                        <a:pt x="1542" y="4337"/>
                        <a:pt x="1545" y="4327"/>
                        <a:pt x="1542" y="4319"/>
                      </a:cubicBezTo>
                      <a:cubicBezTo>
                        <a:pt x="1539" y="4308"/>
                        <a:pt x="1531" y="4291"/>
                        <a:pt x="1535" y="4280"/>
                      </a:cubicBezTo>
                      <a:cubicBezTo>
                        <a:pt x="1538" y="4272"/>
                        <a:pt x="1547" y="4274"/>
                        <a:pt x="1546" y="4263"/>
                      </a:cubicBezTo>
                      <a:cubicBezTo>
                        <a:pt x="1545" y="4261"/>
                        <a:pt x="1534" y="4248"/>
                        <a:pt x="1532" y="4246"/>
                      </a:cubicBezTo>
                      <a:cubicBezTo>
                        <a:pt x="1525" y="4238"/>
                        <a:pt x="1515" y="4231"/>
                        <a:pt x="1516" y="4217"/>
                      </a:cubicBezTo>
                      <a:cubicBezTo>
                        <a:pt x="1517" y="4210"/>
                        <a:pt x="1521" y="4205"/>
                        <a:pt x="1522" y="4198"/>
                      </a:cubicBezTo>
                      <a:cubicBezTo>
                        <a:pt x="1524" y="4191"/>
                        <a:pt x="1522" y="4187"/>
                        <a:pt x="1527" y="4180"/>
                      </a:cubicBezTo>
                      <a:cubicBezTo>
                        <a:pt x="1533" y="4172"/>
                        <a:pt x="1543" y="4174"/>
                        <a:pt x="1550" y="4168"/>
                      </a:cubicBezTo>
                      <a:cubicBezTo>
                        <a:pt x="1558" y="4160"/>
                        <a:pt x="1556" y="4139"/>
                        <a:pt x="1558" y="4129"/>
                      </a:cubicBezTo>
                      <a:cubicBezTo>
                        <a:pt x="1560" y="4117"/>
                        <a:pt x="1556" y="4113"/>
                        <a:pt x="1556" y="4102"/>
                      </a:cubicBezTo>
                      <a:cubicBezTo>
                        <a:pt x="1556" y="4096"/>
                        <a:pt x="1562" y="4089"/>
                        <a:pt x="1559" y="4081"/>
                      </a:cubicBezTo>
                      <a:cubicBezTo>
                        <a:pt x="1555" y="4071"/>
                        <a:pt x="1544" y="4070"/>
                        <a:pt x="1536" y="4063"/>
                      </a:cubicBezTo>
                      <a:cubicBezTo>
                        <a:pt x="1530" y="4057"/>
                        <a:pt x="1527" y="4051"/>
                        <a:pt x="1521" y="4046"/>
                      </a:cubicBezTo>
                      <a:cubicBezTo>
                        <a:pt x="1519" y="4045"/>
                        <a:pt x="1514" y="4046"/>
                        <a:pt x="1511" y="4044"/>
                      </a:cubicBezTo>
                      <a:cubicBezTo>
                        <a:pt x="1510" y="4043"/>
                        <a:pt x="1507" y="4036"/>
                        <a:pt x="1505" y="4034"/>
                      </a:cubicBezTo>
                      <a:cubicBezTo>
                        <a:pt x="1498" y="4025"/>
                        <a:pt x="1493" y="4022"/>
                        <a:pt x="1495" y="4009"/>
                      </a:cubicBezTo>
                      <a:cubicBezTo>
                        <a:pt x="1496" y="3999"/>
                        <a:pt x="1501" y="3995"/>
                        <a:pt x="1500" y="3985"/>
                      </a:cubicBezTo>
                      <a:cubicBezTo>
                        <a:pt x="1498" y="3973"/>
                        <a:pt x="1488" y="3965"/>
                        <a:pt x="1492" y="3953"/>
                      </a:cubicBezTo>
                      <a:cubicBezTo>
                        <a:pt x="1479" y="3961"/>
                        <a:pt x="1464" y="3952"/>
                        <a:pt x="1456" y="3942"/>
                      </a:cubicBezTo>
                      <a:cubicBezTo>
                        <a:pt x="1451" y="3955"/>
                        <a:pt x="1440" y="3950"/>
                        <a:pt x="1430" y="3947"/>
                      </a:cubicBezTo>
                      <a:cubicBezTo>
                        <a:pt x="1444" y="3935"/>
                        <a:pt x="1447" y="3925"/>
                        <a:pt x="1467" y="3925"/>
                      </a:cubicBezTo>
                      <a:cubicBezTo>
                        <a:pt x="1485" y="3924"/>
                        <a:pt x="1493" y="3923"/>
                        <a:pt x="1499" y="3902"/>
                      </a:cubicBezTo>
                      <a:cubicBezTo>
                        <a:pt x="1503" y="3888"/>
                        <a:pt x="1504" y="3853"/>
                        <a:pt x="1483" y="3853"/>
                      </a:cubicBezTo>
                      <a:cubicBezTo>
                        <a:pt x="1472" y="3853"/>
                        <a:pt x="1475" y="3859"/>
                        <a:pt x="1471" y="3866"/>
                      </a:cubicBezTo>
                      <a:cubicBezTo>
                        <a:pt x="1465" y="3876"/>
                        <a:pt x="1461" y="3876"/>
                        <a:pt x="1452" y="3877"/>
                      </a:cubicBezTo>
                      <a:cubicBezTo>
                        <a:pt x="1449" y="3878"/>
                        <a:pt x="1447" y="3872"/>
                        <a:pt x="1444" y="3872"/>
                      </a:cubicBezTo>
                      <a:cubicBezTo>
                        <a:pt x="1442" y="3873"/>
                        <a:pt x="1438" y="3883"/>
                        <a:pt x="1432" y="3883"/>
                      </a:cubicBezTo>
                      <a:cubicBezTo>
                        <a:pt x="1427" y="3883"/>
                        <a:pt x="1425" y="3867"/>
                        <a:pt x="1416" y="3877"/>
                      </a:cubicBezTo>
                      <a:cubicBezTo>
                        <a:pt x="1413" y="3872"/>
                        <a:pt x="1399" y="3860"/>
                        <a:pt x="1393" y="3861"/>
                      </a:cubicBezTo>
                      <a:cubicBezTo>
                        <a:pt x="1375" y="3862"/>
                        <a:pt x="1380" y="3876"/>
                        <a:pt x="1380" y="3887"/>
                      </a:cubicBezTo>
                      <a:cubicBezTo>
                        <a:pt x="1373" y="3884"/>
                        <a:pt x="1369" y="3894"/>
                        <a:pt x="1364" y="3900"/>
                      </a:cubicBezTo>
                      <a:cubicBezTo>
                        <a:pt x="1359" y="3906"/>
                        <a:pt x="1356" y="3906"/>
                        <a:pt x="1349" y="3909"/>
                      </a:cubicBezTo>
                      <a:cubicBezTo>
                        <a:pt x="1337" y="3913"/>
                        <a:pt x="1330" y="3917"/>
                        <a:pt x="1318" y="3912"/>
                      </a:cubicBezTo>
                      <a:cubicBezTo>
                        <a:pt x="1311" y="3909"/>
                        <a:pt x="1307" y="3901"/>
                        <a:pt x="1303" y="3898"/>
                      </a:cubicBezTo>
                      <a:cubicBezTo>
                        <a:pt x="1289" y="3893"/>
                        <a:pt x="1262" y="3904"/>
                        <a:pt x="1247" y="3907"/>
                      </a:cubicBezTo>
                      <a:cubicBezTo>
                        <a:pt x="1225" y="3912"/>
                        <a:pt x="1226" y="3911"/>
                        <a:pt x="1212" y="3892"/>
                      </a:cubicBezTo>
                      <a:cubicBezTo>
                        <a:pt x="1201" y="3876"/>
                        <a:pt x="1191" y="3859"/>
                        <a:pt x="1178" y="3844"/>
                      </a:cubicBezTo>
                      <a:cubicBezTo>
                        <a:pt x="1176" y="3842"/>
                        <a:pt x="1175" y="3839"/>
                        <a:pt x="1172" y="3837"/>
                      </a:cubicBezTo>
                      <a:cubicBezTo>
                        <a:pt x="1164" y="3834"/>
                        <a:pt x="1168" y="3839"/>
                        <a:pt x="1160" y="3837"/>
                      </a:cubicBezTo>
                      <a:cubicBezTo>
                        <a:pt x="1156" y="3837"/>
                        <a:pt x="1151" y="3834"/>
                        <a:pt x="1147" y="3833"/>
                      </a:cubicBezTo>
                      <a:cubicBezTo>
                        <a:pt x="1141" y="3832"/>
                        <a:pt x="1135" y="3834"/>
                        <a:pt x="1129" y="3835"/>
                      </a:cubicBezTo>
                      <a:cubicBezTo>
                        <a:pt x="1126" y="3836"/>
                        <a:pt x="1124" y="3833"/>
                        <a:pt x="1121" y="3834"/>
                      </a:cubicBezTo>
                      <a:cubicBezTo>
                        <a:pt x="1118" y="3835"/>
                        <a:pt x="1116" y="3841"/>
                        <a:pt x="1113" y="3841"/>
                      </a:cubicBezTo>
                      <a:cubicBezTo>
                        <a:pt x="1107" y="3841"/>
                        <a:pt x="1096" y="3824"/>
                        <a:pt x="1091" y="3818"/>
                      </a:cubicBezTo>
                      <a:cubicBezTo>
                        <a:pt x="1091" y="3832"/>
                        <a:pt x="1083" y="3835"/>
                        <a:pt x="1075" y="3838"/>
                      </a:cubicBezTo>
                      <a:cubicBezTo>
                        <a:pt x="1074" y="3839"/>
                        <a:pt x="1070" y="3836"/>
                        <a:pt x="1067" y="3837"/>
                      </a:cubicBezTo>
                      <a:cubicBezTo>
                        <a:pt x="1064" y="3839"/>
                        <a:pt x="1064" y="3847"/>
                        <a:pt x="1061" y="3849"/>
                      </a:cubicBezTo>
                      <a:cubicBezTo>
                        <a:pt x="1058" y="3852"/>
                        <a:pt x="1044" y="3857"/>
                        <a:pt x="1040" y="3854"/>
                      </a:cubicBezTo>
                      <a:cubicBezTo>
                        <a:pt x="1034" y="3850"/>
                        <a:pt x="1039" y="3842"/>
                        <a:pt x="1036" y="3836"/>
                      </a:cubicBezTo>
                      <a:cubicBezTo>
                        <a:pt x="1032" y="3827"/>
                        <a:pt x="992" y="3818"/>
                        <a:pt x="983" y="3825"/>
                      </a:cubicBezTo>
                      <a:cubicBezTo>
                        <a:pt x="974" y="3831"/>
                        <a:pt x="980" y="3839"/>
                        <a:pt x="981" y="3846"/>
                      </a:cubicBezTo>
                      <a:cubicBezTo>
                        <a:pt x="981" y="3849"/>
                        <a:pt x="986" y="3848"/>
                        <a:pt x="986" y="3852"/>
                      </a:cubicBezTo>
                      <a:cubicBezTo>
                        <a:pt x="986" y="3854"/>
                        <a:pt x="978" y="3857"/>
                        <a:pt x="978" y="3860"/>
                      </a:cubicBezTo>
                      <a:cubicBezTo>
                        <a:pt x="978" y="3857"/>
                        <a:pt x="980" y="3877"/>
                        <a:pt x="980" y="3875"/>
                      </a:cubicBezTo>
                      <a:cubicBezTo>
                        <a:pt x="980" y="3879"/>
                        <a:pt x="991" y="3890"/>
                        <a:pt x="990" y="3893"/>
                      </a:cubicBezTo>
                      <a:cubicBezTo>
                        <a:pt x="987" y="3898"/>
                        <a:pt x="956" y="3883"/>
                        <a:pt x="952" y="3885"/>
                      </a:cubicBezTo>
                      <a:cubicBezTo>
                        <a:pt x="948" y="3886"/>
                        <a:pt x="931" y="3902"/>
                        <a:pt x="928" y="3907"/>
                      </a:cubicBezTo>
                      <a:cubicBezTo>
                        <a:pt x="925" y="3912"/>
                        <a:pt x="925" y="3926"/>
                        <a:pt x="919" y="3930"/>
                      </a:cubicBezTo>
                      <a:cubicBezTo>
                        <a:pt x="896" y="3945"/>
                        <a:pt x="903" y="3889"/>
                        <a:pt x="900" y="3879"/>
                      </a:cubicBezTo>
                      <a:cubicBezTo>
                        <a:pt x="897" y="3869"/>
                        <a:pt x="889" y="3842"/>
                        <a:pt x="881" y="3833"/>
                      </a:cubicBezTo>
                      <a:cubicBezTo>
                        <a:pt x="875" y="3826"/>
                        <a:pt x="843" y="3829"/>
                        <a:pt x="850" y="3812"/>
                      </a:cubicBezTo>
                      <a:cubicBezTo>
                        <a:pt x="855" y="3802"/>
                        <a:pt x="864" y="3810"/>
                        <a:pt x="863" y="3796"/>
                      </a:cubicBezTo>
                      <a:cubicBezTo>
                        <a:pt x="862" y="3790"/>
                        <a:pt x="856" y="3781"/>
                        <a:pt x="854" y="3774"/>
                      </a:cubicBezTo>
                      <a:cubicBezTo>
                        <a:pt x="850" y="3759"/>
                        <a:pt x="846" y="3747"/>
                        <a:pt x="828" y="3750"/>
                      </a:cubicBezTo>
                      <a:cubicBezTo>
                        <a:pt x="821" y="3752"/>
                        <a:pt x="818" y="3756"/>
                        <a:pt x="812" y="3751"/>
                      </a:cubicBezTo>
                      <a:cubicBezTo>
                        <a:pt x="813" y="3752"/>
                        <a:pt x="807" y="3733"/>
                        <a:pt x="807" y="3734"/>
                      </a:cubicBezTo>
                      <a:cubicBezTo>
                        <a:pt x="807" y="3731"/>
                        <a:pt x="812" y="3730"/>
                        <a:pt x="813" y="3726"/>
                      </a:cubicBezTo>
                      <a:cubicBezTo>
                        <a:pt x="814" y="3721"/>
                        <a:pt x="812" y="3715"/>
                        <a:pt x="814" y="3711"/>
                      </a:cubicBezTo>
                      <a:cubicBezTo>
                        <a:pt x="816" y="3702"/>
                        <a:pt x="823" y="3709"/>
                        <a:pt x="817" y="3699"/>
                      </a:cubicBezTo>
                      <a:cubicBezTo>
                        <a:pt x="814" y="3695"/>
                        <a:pt x="805" y="3691"/>
                        <a:pt x="800" y="3688"/>
                      </a:cubicBezTo>
                      <a:cubicBezTo>
                        <a:pt x="793" y="3684"/>
                        <a:pt x="790" y="3682"/>
                        <a:pt x="785" y="3674"/>
                      </a:cubicBezTo>
                      <a:cubicBezTo>
                        <a:pt x="783" y="3671"/>
                        <a:pt x="781" y="3666"/>
                        <a:pt x="779" y="3664"/>
                      </a:cubicBezTo>
                      <a:cubicBezTo>
                        <a:pt x="771" y="3659"/>
                        <a:pt x="778" y="3661"/>
                        <a:pt x="771" y="3664"/>
                      </a:cubicBezTo>
                      <a:cubicBezTo>
                        <a:pt x="767" y="3666"/>
                        <a:pt x="762" y="3675"/>
                        <a:pt x="759" y="3675"/>
                      </a:cubicBezTo>
                      <a:cubicBezTo>
                        <a:pt x="752" y="3673"/>
                        <a:pt x="751" y="3655"/>
                        <a:pt x="743" y="3654"/>
                      </a:cubicBezTo>
                      <a:cubicBezTo>
                        <a:pt x="741" y="3654"/>
                        <a:pt x="732" y="3664"/>
                        <a:pt x="731" y="3665"/>
                      </a:cubicBezTo>
                      <a:cubicBezTo>
                        <a:pt x="726" y="3671"/>
                        <a:pt x="732" y="3679"/>
                        <a:pt x="718" y="3675"/>
                      </a:cubicBezTo>
                      <a:cubicBezTo>
                        <a:pt x="715" y="3675"/>
                        <a:pt x="717" y="3669"/>
                        <a:pt x="715" y="3668"/>
                      </a:cubicBezTo>
                      <a:cubicBezTo>
                        <a:pt x="712" y="3665"/>
                        <a:pt x="706" y="3667"/>
                        <a:pt x="704" y="3663"/>
                      </a:cubicBezTo>
                      <a:cubicBezTo>
                        <a:pt x="699" y="3654"/>
                        <a:pt x="710" y="3646"/>
                        <a:pt x="712" y="3638"/>
                      </a:cubicBezTo>
                      <a:cubicBezTo>
                        <a:pt x="713" y="3630"/>
                        <a:pt x="713" y="3629"/>
                        <a:pt x="710" y="3622"/>
                      </a:cubicBezTo>
                      <a:cubicBezTo>
                        <a:pt x="704" y="3612"/>
                        <a:pt x="693" y="3609"/>
                        <a:pt x="688" y="3610"/>
                      </a:cubicBezTo>
                      <a:cubicBezTo>
                        <a:pt x="691" y="3609"/>
                        <a:pt x="666" y="3620"/>
                        <a:pt x="668" y="3617"/>
                      </a:cubicBezTo>
                      <a:cubicBezTo>
                        <a:pt x="665" y="3622"/>
                        <a:pt x="671" y="3630"/>
                        <a:pt x="670" y="3636"/>
                      </a:cubicBezTo>
                      <a:cubicBezTo>
                        <a:pt x="666" y="3634"/>
                        <a:pt x="654" y="3631"/>
                        <a:pt x="652" y="3626"/>
                      </a:cubicBezTo>
                      <a:cubicBezTo>
                        <a:pt x="649" y="3620"/>
                        <a:pt x="656" y="3618"/>
                        <a:pt x="656" y="3613"/>
                      </a:cubicBezTo>
                      <a:cubicBezTo>
                        <a:pt x="655" y="3609"/>
                        <a:pt x="650" y="3608"/>
                        <a:pt x="650" y="3604"/>
                      </a:cubicBezTo>
                      <a:cubicBezTo>
                        <a:pt x="649" y="3598"/>
                        <a:pt x="652" y="3593"/>
                        <a:pt x="653" y="3588"/>
                      </a:cubicBezTo>
                      <a:cubicBezTo>
                        <a:pt x="654" y="3580"/>
                        <a:pt x="657" y="3563"/>
                        <a:pt x="656" y="3558"/>
                      </a:cubicBezTo>
                      <a:cubicBezTo>
                        <a:pt x="652" y="3546"/>
                        <a:pt x="631" y="3550"/>
                        <a:pt x="638" y="3533"/>
                      </a:cubicBezTo>
                      <a:cubicBezTo>
                        <a:pt x="643" y="3521"/>
                        <a:pt x="654" y="3525"/>
                        <a:pt x="655" y="3509"/>
                      </a:cubicBezTo>
                      <a:cubicBezTo>
                        <a:pt x="655" y="3502"/>
                        <a:pt x="652" y="3496"/>
                        <a:pt x="652" y="3489"/>
                      </a:cubicBezTo>
                      <a:cubicBezTo>
                        <a:pt x="653" y="3485"/>
                        <a:pt x="655" y="3480"/>
                        <a:pt x="655" y="3475"/>
                      </a:cubicBezTo>
                      <a:cubicBezTo>
                        <a:pt x="655" y="3471"/>
                        <a:pt x="650" y="3464"/>
                        <a:pt x="652" y="3459"/>
                      </a:cubicBezTo>
                      <a:cubicBezTo>
                        <a:pt x="656" y="3448"/>
                        <a:pt x="664" y="3456"/>
                        <a:pt x="668" y="3451"/>
                      </a:cubicBezTo>
                      <a:cubicBezTo>
                        <a:pt x="676" y="3440"/>
                        <a:pt x="661" y="3411"/>
                        <a:pt x="682" y="3408"/>
                      </a:cubicBezTo>
                      <a:cubicBezTo>
                        <a:pt x="694" y="3406"/>
                        <a:pt x="706" y="3419"/>
                        <a:pt x="699" y="3397"/>
                      </a:cubicBezTo>
                      <a:cubicBezTo>
                        <a:pt x="696" y="3387"/>
                        <a:pt x="686" y="3375"/>
                        <a:pt x="678" y="3369"/>
                      </a:cubicBezTo>
                      <a:cubicBezTo>
                        <a:pt x="672" y="3363"/>
                        <a:pt x="664" y="3360"/>
                        <a:pt x="662" y="3350"/>
                      </a:cubicBezTo>
                      <a:cubicBezTo>
                        <a:pt x="661" y="3347"/>
                        <a:pt x="661" y="3339"/>
                        <a:pt x="661" y="3335"/>
                      </a:cubicBezTo>
                      <a:cubicBezTo>
                        <a:pt x="661" y="3334"/>
                        <a:pt x="657" y="3333"/>
                        <a:pt x="657" y="3332"/>
                      </a:cubicBezTo>
                      <a:cubicBezTo>
                        <a:pt x="659" y="3327"/>
                        <a:pt x="662" y="3329"/>
                        <a:pt x="669" y="3327"/>
                      </a:cubicBezTo>
                      <a:cubicBezTo>
                        <a:pt x="688" y="3320"/>
                        <a:pt x="701" y="3315"/>
                        <a:pt x="710" y="3297"/>
                      </a:cubicBezTo>
                      <a:cubicBezTo>
                        <a:pt x="712" y="3293"/>
                        <a:pt x="709" y="3289"/>
                        <a:pt x="714" y="3286"/>
                      </a:cubicBezTo>
                      <a:cubicBezTo>
                        <a:pt x="717" y="3283"/>
                        <a:pt x="722" y="3289"/>
                        <a:pt x="728" y="3284"/>
                      </a:cubicBezTo>
                      <a:cubicBezTo>
                        <a:pt x="731" y="3281"/>
                        <a:pt x="727" y="3268"/>
                        <a:pt x="733" y="3264"/>
                      </a:cubicBezTo>
                      <a:cubicBezTo>
                        <a:pt x="735" y="3263"/>
                        <a:pt x="738" y="3271"/>
                        <a:pt x="743" y="3269"/>
                      </a:cubicBezTo>
                      <a:cubicBezTo>
                        <a:pt x="743" y="3269"/>
                        <a:pt x="748" y="3257"/>
                        <a:pt x="750" y="3256"/>
                      </a:cubicBezTo>
                      <a:cubicBezTo>
                        <a:pt x="757" y="3249"/>
                        <a:pt x="760" y="3257"/>
                        <a:pt x="765" y="3253"/>
                      </a:cubicBezTo>
                      <a:cubicBezTo>
                        <a:pt x="768" y="3251"/>
                        <a:pt x="770" y="3242"/>
                        <a:pt x="771" y="3239"/>
                      </a:cubicBezTo>
                      <a:cubicBezTo>
                        <a:pt x="779" y="3224"/>
                        <a:pt x="779" y="3231"/>
                        <a:pt x="772" y="3218"/>
                      </a:cubicBezTo>
                      <a:cubicBezTo>
                        <a:pt x="770" y="3215"/>
                        <a:pt x="763" y="3208"/>
                        <a:pt x="764" y="3204"/>
                      </a:cubicBezTo>
                      <a:cubicBezTo>
                        <a:pt x="767" y="3197"/>
                        <a:pt x="775" y="3203"/>
                        <a:pt x="777" y="3201"/>
                      </a:cubicBezTo>
                      <a:cubicBezTo>
                        <a:pt x="786" y="3194"/>
                        <a:pt x="772" y="3179"/>
                        <a:pt x="777" y="3166"/>
                      </a:cubicBezTo>
                      <a:cubicBezTo>
                        <a:pt x="778" y="3163"/>
                        <a:pt x="784" y="3159"/>
                        <a:pt x="786" y="3156"/>
                      </a:cubicBezTo>
                      <a:cubicBezTo>
                        <a:pt x="791" y="3150"/>
                        <a:pt x="795" y="3143"/>
                        <a:pt x="799" y="3136"/>
                      </a:cubicBezTo>
                      <a:cubicBezTo>
                        <a:pt x="801" y="3134"/>
                        <a:pt x="800" y="3127"/>
                        <a:pt x="801" y="3126"/>
                      </a:cubicBezTo>
                      <a:cubicBezTo>
                        <a:pt x="803" y="3124"/>
                        <a:pt x="819" y="3125"/>
                        <a:pt x="823" y="3123"/>
                      </a:cubicBezTo>
                      <a:cubicBezTo>
                        <a:pt x="831" y="3119"/>
                        <a:pt x="840" y="3114"/>
                        <a:pt x="847" y="3109"/>
                      </a:cubicBezTo>
                      <a:cubicBezTo>
                        <a:pt x="856" y="3103"/>
                        <a:pt x="864" y="3093"/>
                        <a:pt x="869" y="3083"/>
                      </a:cubicBezTo>
                      <a:cubicBezTo>
                        <a:pt x="878" y="3062"/>
                        <a:pt x="869" y="3066"/>
                        <a:pt x="855" y="3059"/>
                      </a:cubicBezTo>
                      <a:cubicBezTo>
                        <a:pt x="849" y="3056"/>
                        <a:pt x="850" y="3054"/>
                        <a:pt x="845" y="3050"/>
                      </a:cubicBezTo>
                      <a:cubicBezTo>
                        <a:pt x="843" y="3048"/>
                        <a:pt x="845" y="3043"/>
                        <a:pt x="842" y="3041"/>
                      </a:cubicBezTo>
                      <a:cubicBezTo>
                        <a:pt x="840" y="3038"/>
                        <a:pt x="833" y="3041"/>
                        <a:pt x="830" y="3037"/>
                      </a:cubicBezTo>
                      <a:cubicBezTo>
                        <a:pt x="825" y="3032"/>
                        <a:pt x="827" y="3019"/>
                        <a:pt x="821" y="3011"/>
                      </a:cubicBezTo>
                      <a:cubicBezTo>
                        <a:pt x="820" y="3009"/>
                        <a:pt x="816" y="3007"/>
                        <a:pt x="814" y="3003"/>
                      </a:cubicBezTo>
                      <a:cubicBezTo>
                        <a:pt x="812" y="3001"/>
                        <a:pt x="808" y="2993"/>
                        <a:pt x="808" y="2990"/>
                      </a:cubicBezTo>
                      <a:cubicBezTo>
                        <a:pt x="807" y="2970"/>
                        <a:pt x="819" y="2976"/>
                        <a:pt x="829" y="2976"/>
                      </a:cubicBezTo>
                      <a:cubicBezTo>
                        <a:pt x="833" y="2976"/>
                        <a:pt x="840" y="2975"/>
                        <a:pt x="843" y="2975"/>
                      </a:cubicBezTo>
                      <a:cubicBezTo>
                        <a:pt x="849" y="2975"/>
                        <a:pt x="857" y="2977"/>
                        <a:pt x="864" y="2978"/>
                      </a:cubicBezTo>
                      <a:cubicBezTo>
                        <a:pt x="867" y="2978"/>
                        <a:pt x="869" y="2981"/>
                        <a:pt x="873" y="2981"/>
                      </a:cubicBezTo>
                      <a:cubicBezTo>
                        <a:pt x="879" y="2982"/>
                        <a:pt x="885" y="2978"/>
                        <a:pt x="891" y="2978"/>
                      </a:cubicBezTo>
                      <a:cubicBezTo>
                        <a:pt x="894" y="2978"/>
                        <a:pt x="895" y="2975"/>
                        <a:pt x="898" y="2975"/>
                      </a:cubicBezTo>
                      <a:cubicBezTo>
                        <a:pt x="900" y="2975"/>
                        <a:pt x="901" y="2981"/>
                        <a:pt x="903" y="2980"/>
                      </a:cubicBezTo>
                      <a:cubicBezTo>
                        <a:pt x="910" y="2979"/>
                        <a:pt x="915" y="2969"/>
                        <a:pt x="921" y="2969"/>
                      </a:cubicBezTo>
                      <a:cubicBezTo>
                        <a:pt x="926" y="2968"/>
                        <a:pt x="932" y="2975"/>
                        <a:pt x="938" y="2975"/>
                      </a:cubicBezTo>
                      <a:cubicBezTo>
                        <a:pt x="945" y="2974"/>
                        <a:pt x="946" y="2970"/>
                        <a:pt x="952" y="2968"/>
                      </a:cubicBezTo>
                      <a:cubicBezTo>
                        <a:pt x="959" y="2966"/>
                        <a:pt x="966" y="2969"/>
                        <a:pt x="973" y="2968"/>
                      </a:cubicBezTo>
                      <a:cubicBezTo>
                        <a:pt x="981" y="2967"/>
                        <a:pt x="989" y="2962"/>
                        <a:pt x="998" y="2961"/>
                      </a:cubicBezTo>
                      <a:cubicBezTo>
                        <a:pt x="1004" y="2961"/>
                        <a:pt x="1009" y="2967"/>
                        <a:pt x="1016" y="2961"/>
                      </a:cubicBezTo>
                      <a:cubicBezTo>
                        <a:pt x="1028" y="2949"/>
                        <a:pt x="1011" y="2943"/>
                        <a:pt x="1007" y="2936"/>
                      </a:cubicBezTo>
                      <a:cubicBezTo>
                        <a:pt x="998" y="2919"/>
                        <a:pt x="1028" y="2890"/>
                        <a:pt x="1002" y="2881"/>
                      </a:cubicBezTo>
                      <a:cubicBezTo>
                        <a:pt x="994" y="2878"/>
                        <a:pt x="995" y="2889"/>
                        <a:pt x="987" y="2881"/>
                      </a:cubicBezTo>
                      <a:cubicBezTo>
                        <a:pt x="986" y="2879"/>
                        <a:pt x="993" y="2873"/>
                        <a:pt x="992" y="2872"/>
                      </a:cubicBezTo>
                      <a:cubicBezTo>
                        <a:pt x="990" y="2869"/>
                        <a:pt x="984" y="2873"/>
                        <a:pt x="982" y="2871"/>
                      </a:cubicBezTo>
                      <a:cubicBezTo>
                        <a:pt x="978" y="2868"/>
                        <a:pt x="973" y="2864"/>
                        <a:pt x="972" y="2858"/>
                      </a:cubicBezTo>
                      <a:cubicBezTo>
                        <a:pt x="972" y="2853"/>
                        <a:pt x="977" y="2847"/>
                        <a:pt x="977" y="2847"/>
                      </a:cubicBezTo>
                      <a:cubicBezTo>
                        <a:pt x="975" y="2838"/>
                        <a:pt x="967" y="2838"/>
                        <a:pt x="967" y="2826"/>
                      </a:cubicBezTo>
                      <a:cubicBezTo>
                        <a:pt x="966" y="2815"/>
                        <a:pt x="970" y="2802"/>
                        <a:pt x="973" y="2791"/>
                      </a:cubicBezTo>
                      <a:cubicBezTo>
                        <a:pt x="973" y="2787"/>
                        <a:pt x="978" y="2789"/>
                        <a:pt x="976" y="2782"/>
                      </a:cubicBezTo>
                      <a:cubicBezTo>
                        <a:pt x="976" y="2782"/>
                        <a:pt x="968" y="2775"/>
                        <a:pt x="967" y="2773"/>
                      </a:cubicBezTo>
                      <a:cubicBezTo>
                        <a:pt x="960" y="2758"/>
                        <a:pt x="978" y="2749"/>
                        <a:pt x="969" y="2736"/>
                      </a:cubicBezTo>
                      <a:cubicBezTo>
                        <a:pt x="963" y="2728"/>
                        <a:pt x="946" y="2731"/>
                        <a:pt x="941" y="2725"/>
                      </a:cubicBezTo>
                      <a:cubicBezTo>
                        <a:pt x="929" y="2712"/>
                        <a:pt x="964" y="2713"/>
                        <a:pt x="945" y="2699"/>
                      </a:cubicBezTo>
                      <a:cubicBezTo>
                        <a:pt x="945" y="2699"/>
                        <a:pt x="928" y="2693"/>
                        <a:pt x="930" y="2693"/>
                      </a:cubicBezTo>
                      <a:cubicBezTo>
                        <a:pt x="927" y="2693"/>
                        <a:pt x="920" y="2698"/>
                        <a:pt x="918" y="2696"/>
                      </a:cubicBezTo>
                      <a:cubicBezTo>
                        <a:pt x="913" y="2693"/>
                        <a:pt x="916" y="2687"/>
                        <a:pt x="913" y="2684"/>
                      </a:cubicBezTo>
                      <a:cubicBezTo>
                        <a:pt x="909" y="2681"/>
                        <a:pt x="897" y="2677"/>
                        <a:pt x="890" y="2676"/>
                      </a:cubicBezTo>
                      <a:cubicBezTo>
                        <a:pt x="880" y="2673"/>
                        <a:pt x="880" y="2675"/>
                        <a:pt x="875" y="2678"/>
                      </a:cubicBezTo>
                      <a:cubicBezTo>
                        <a:pt x="873" y="2679"/>
                        <a:pt x="865" y="2689"/>
                        <a:pt x="865" y="2691"/>
                      </a:cubicBezTo>
                      <a:cubicBezTo>
                        <a:pt x="864" y="2695"/>
                        <a:pt x="873" y="2698"/>
                        <a:pt x="872" y="2703"/>
                      </a:cubicBezTo>
                      <a:cubicBezTo>
                        <a:pt x="870" y="2711"/>
                        <a:pt x="865" y="2705"/>
                        <a:pt x="861" y="2707"/>
                      </a:cubicBezTo>
                      <a:cubicBezTo>
                        <a:pt x="858" y="2709"/>
                        <a:pt x="853" y="2712"/>
                        <a:pt x="851" y="2714"/>
                      </a:cubicBezTo>
                      <a:cubicBezTo>
                        <a:pt x="851" y="2715"/>
                        <a:pt x="846" y="2718"/>
                        <a:pt x="846" y="2718"/>
                      </a:cubicBezTo>
                      <a:cubicBezTo>
                        <a:pt x="846" y="2719"/>
                        <a:pt x="845" y="2723"/>
                        <a:pt x="845" y="2723"/>
                      </a:cubicBezTo>
                      <a:cubicBezTo>
                        <a:pt x="845" y="2724"/>
                        <a:pt x="848" y="2729"/>
                        <a:pt x="847" y="2731"/>
                      </a:cubicBezTo>
                      <a:cubicBezTo>
                        <a:pt x="847" y="2733"/>
                        <a:pt x="841" y="2731"/>
                        <a:pt x="840" y="2732"/>
                      </a:cubicBezTo>
                      <a:cubicBezTo>
                        <a:pt x="838" y="2736"/>
                        <a:pt x="836" y="2741"/>
                        <a:pt x="833" y="2745"/>
                      </a:cubicBezTo>
                      <a:cubicBezTo>
                        <a:pt x="825" y="2755"/>
                        <a:pt x="822" y="2751"/>
                        <a:pt x="811" y="2752"/>
                      </a:cubicBezTo>
                      <a:cubicBezTo>
                        <a:pt x="807" y="2753"/>
                        <a:pt x="794" y="2753"/>
                        <a:pt x="793" y="2754"/>
                      </a:cubicBezTo>
                      <a:cubicBezTo>
                        <a:pt x="792" y="2754"/>
                        <a:pt x="787" y="2760"/>
                        <a:pt x="784" y="2761"/>
                      </a:cubicBezTo>
                      <a:cubicBezTo>
                        <a:pt x="777" y="2761"/>
                        <a:pt x="774" y="2752"/>
                        <a:pt x="767" y="2750"/>
                      </a:cubicBezTo>
                      <a:cubicBezTo>
                        <a:pt x="749" y="2744"/>
                        <a:pt x="757" y="2759"/>
                        <a:pt x="752" y="2767"/>
                      </a:cubicBezTo>
                      <a:cubicBezTo>
                        <a:pt x="748" y="2773"/>
                        <a:pt x="747" y="2764"/>
                        <a:pt x="743" y="2767"/>
                      </a:cubicBezTo>
                      <a:cubicBezTo>
                        <a:pt x="741" y="2769"/>
                        <a:pt x="742" y="2774"/>
                        <a:pt x="740" y="2775"/>
                      </a:cubicBezTo>
                      <a:cubicBezTo>
                        <a:pt x="738" y="2777"/>
                        <a:pt x="733" y="2781"/>
                        <a:pt x="732" y="2782"/>
                      </a:cubicBezTo>
                      <a:cubicBezTo>
                        <a:pt x="723" y="2792"/>
                        <a:pt x="718" y="2801"/>
                        <a:pt x="721" y="2815"/>
                      </a:cubicBezTo>
                      <a:cubicBezTo>
                        <a:pt x="722" y="2824"/>
                        <a:pt x="728" y="2832"/>
                        <a:pt x="724" y="2838"/>
                      </a:cubicBezTo>
                      <a:cubicBezTo>
                        <a:pt x="724" y="2839"/>
                        <a:pt x="718" y="2837"/>
                        <a:pt x="716" y="2838"/>
                      </a:cubicBezTo>
                      <a:cubicBezTo>
                        <a:pt x="713" y="2840"/>
                        <a:pt x="711" y="2845"/>
                        <a:pt x="708" y="2848"/>
                      </a:cubicBezTo>
                      <a:cubicBezTo>
                        <a:pt x="703" y="2852"/>
                        <a:pt x="700" y="2848"/>
                        <a:pt x="697" y="2854"/>
                      </a:cubicBezTo>
                      <a:cubicBezTo>
                        <a:pt x="693" y="2861"/>
                        <a:pt x="700" y="2864"/>
                        <a:pt x="693" y="2869"/>
                      </a:cubicBezTo>
                      <a:cubicBezTo>
                        <a:pt x="692" y="2870"/>
                        <a:pt x="674" y="2875"/>
                        <a:pt x="672" y="2876"/>
                      </a:cubicBezTo>
                      <a:cubicBezTo>
                        <a:pt x="670" y="2877"/>
                        <a:pt x="666" y="2874"/>
                        <a:pt x="664" y="2875"/>
                      </a:cubicBezTo>
                      <a:cubicBezTo>
                        <a:pt x="663" y="2876"/>
                        <a:pt x="660" y="2880"/>
                        <a:pt x="660" y="2880"/>
                      </a:cubicBezTo>
                      <a:cubicBezTo>
                        <a:pt x="653" y="2884"/>
                        <a:pt x="645" y="2890"/>
                        <a:pt x="635" y="2894"/>
                      </a:cubicBezTo>
                      <a:cubicBezTo>
                        <a:pt x="623" y="2898"/>
                        <a:pt x="611" y="2904"/>
                        <a:pt x="599" y="2913"/>
                      </a:cubicBezTo>
                      <a:cubicBezTo>
                        <a:pt x="592" y="2918"/>
                        <a:pt x="592" y="2915"/>
                        <a:pt x="589" y="2923"/>
                      </a:cubicBezTo>
                      <a:cubicBezTo>
                        <a:pt x="587" y="2930"/>
                        <a:pt x="593" y="2936"/>
                        <a:pt x="588" y="2942"/>
                      </a:cubicBezTo>
                      <a:cubicBezTo>
                        <a:pt x="590" y="2940"/>
                        <a:pt x="572" y="2949"/>
                        <a:pt x="575" y="2949"/>
                      </a:cubicBezTo>
                      <a:cubicBezTo>
                        <a:pt x="569" y="2950"/>
                        <a:pt x="565" y="2948"/>
                        <a:pt x="562" y="2942"/>
                      </a:cubicBezTo>
                      <a:cubicBezTo>
                        <a:pt x="559" y="2938"/>
                        <a:pt x="563" y="2929"/>
                        <a:pt x="557" y="2927"/>
                      </a:cubicBezTo>
                      <a:cubicBezTo>
                        <a:pt x="549" y="2924"/>
                        <a:pt x="547" y="2932"/>
                        <a:pt x="543" y="2935"/>
                      </a:cubicBezTo>
                      <a:cubicBezTo>
                        <a:pt x="534" y="2941"/>
                        <a:pt x="507" y="2962"/>
                        <a:pt x="504" y="2948"/>
                      </a:cubicBezTo>
                      <a:cubicBezTo>
                        <a:pt x="503" y="2948"/>
                        <a:pt x="508" y="2939"/>
                        <a:pt x="508" y="2936"/>
                      </a:cubicBezTo>
                      <a:cubicBezTo>
                        <a:pt x="508" y="2931"/>
                        <a:pt x="506" y="2926"/>
                        <a:pt x="504" y="2922"/>
                      </a:cubicBezTo>
                      <a:cubicBezTo>
                        <a:pt x="499" y="2912"/>
                        <a:pt x="491" y="2903"/>
                        <a:pt x="485" y="2895"/>
                      </a:cubicBezTo>
                      <a:cubicBezTo>
                        <a:pt x="477" y="2884"/>
                        <a:pt x="481" y="2879"/>
                        <a:pt x="476" y="2868"/>
                      </a:cubicBezTo>
                      <a:cubicBezTo>
                        <a:pt x="475" y="2863"/>
                        <a:pt x="471" y="2861"/>
                        <a:pt x="469" y="2857"/>
                      </a:cubicBezTo>
                      <a:cubicBezTo>
                        <a:pt x="466" y="2853"/>
                        <a:pt x="463" y="2851"/>
                        <a:pt x="460" y="2847"/>
                      </a:cubicBezTo>
                      <a:cubicBezTo>
                        <a:pt x="453" y="2837"/>
                        <a:pt x="451" y="2827"/>
                        <a:pt x="440" y="2824"/>
                      </a:cubicBezTo>
                      <a:cubicBezTo>
                        <a:pt x="431" y="2822"/>
                        <a:pt x="407" y="2825"/>
                        <a:pt x="398" y="2828"/>
                      </a:cubicBezTo>
                      <a:cubicBezTo>
                        <a:pt x="380" y="2833"/>
                        <a:pt x="382" y="2854"/>
                        <a:pt x="365" y="2845"/>
                      </a:cubicBezTo>
                      <a:cubicBezTo>
                        <a:pt x="362" y="2844"/>
                        <a:pt x="361" y="2838"/>
                        <a:pt x="357" y="2837"/>
                      </a:cubicBezTo>
                      <a:cubicBezTo>
                        <a:pt x="354" y="2835"/>
                        <a:pt x="334" y="2834"/>
                        <a:pt x="330" y="2835"/>
                      </a:cubicBezTo>
                      <a:cubicBezTo>
                        <a:pt x="327" y="2835"/>
                        <a:pt x="320" y="2839"/>
                        <a:pt x="317" y="2840"/>
                      </a:cubicBezTo>
                      <a:cubicBezTo>
                        <a:pt x="315" y="2841"/>
                        <a:pt x="313" y="2838"/>
                        <a:pt x="310" y="2839"/>
                      </a:cubicBezTo>
                      <a:cubicBezTo>
                        <a:pt x="308" y="2839"/>
                        <a:pt x="309" y="2845"/>
                        <a:pt x="306" y="2845"/>
                      </a:cubicBezTo>
                      <a:cubicBezTo>
                        <a:pt x="284" y="2847"/>
                        <a:pt x="296" y="2834"/>
                        <a:pt x="297" y="2823"/>
                      </a:cubicBezTo>
                      <a:cubicBezTo>
                        <a:pt x="299" y="2808"/>
                        <a:pt x="286" y="2796"/>
                        <a:pt x="288" y="2780"/>
                      </a:cubicBezTo>
                      <a:cubicBezTo>
                        <a:pt x="291" y="2766"/>
                        <a:pt x="297" y="2751"/>
                        <a:pt x="302" y="2739"/>
                      </a:cubicBezTo>
                      <a:cubicBezTo>
                        <a:pt x="304" y="2734"/>
                        <a:pt x="304" y="2733"/>
                        <a:pt x="307" y="2729"/>
                      </a:cubicBezTo>
                      <a:cubicBezTo>
                        <a:pt x="308" y="2727"/>
                        <a:pt x="313" y="2729"/>
                        <a:pt x="314" y="2727"/>
                      </a:cubicBezTo>
                      <a:cubicBezTo>
                        <a:pt x="316" y="2725"/>
                        <a:pt x="314" y="2720"/>
                        <a:pt x="317" y="2718"/>
                      </a:cubicBezTo>
                      <a:cubicBezTo>
                        <a:pt x="329" y="2708"/>
                        <a:pt x="322" y="2718"/>
                        <a:pt x="337" y="2715"/>
                      </a:cubicBezTo>
                      <a:cubicBezTo>
                        <a:pt x="343" y="2714"/>
                        <a:pt x="345" y="2713"/>
                        <a:pt x="347" y="2705"/>
                      </a:cubicBezTo>
                      <a:cubicBezTo>
                        <a:pt x="350" y="2692"/>
                        <a:pt x="345" y="2659"/>
                        <a:pt x="340" y="2646"/>
                      </a:cubicBezTo>
                      <a:cubicBezTo>
                        <a:pt x="336" y="2632"/>
                        <a:pt x="329" y="2634"/>
                        <a:pt x="332" y="2620"/>
                      </a:cubicBezTo>
                      <a:cubicBezTo>
                        <a:pt x="334" y="2614"/>
                        <a:pt x="339" y="2597"/>
                        <a:pt x="343" y="2592"/>
                      </a:cubicBezTo>
                      <a:cubicBezTo>
                        <a:pt x="347" y="2587"/>
                        <a:pt x="357" y="2586"/>
                        <a:pt x="361" y="2581"/>
                      </a:cubicBezTo>
                      <a:cubicBezTo>
                        <a:pt x="366" y="2576"/>
                        <a:pt x="365" y="2567"/>
                        <a:pt x="367" y="2561"/>
                      </a:cubicBezTo>
                      <a:cubicBezTo>
                        <a:pt x="375" y="2570"/>
                        <a:pt x="382" y="2551"/>
                        <a:pt x="384" y="2546"/>
                      </a:cubicBezTo>
                      <a:cubicBezTo>
                        <a:pt x="385" y="2542"/>
                        <a:pt x="384" y="2538"/>
                        <a:pt x="386" y="2533"/>
                      </a:cubicBezTo>
                      <a:cubicBezTo>
                        <a:pt x="389" y="2528"/>
                        <a:pt x="400" y="2525"/>
                        <a:pt x="401" y="2517"/>
                      </a:cubicBezTo>
                      <a:cubicBezTo>
                        <a:pt x="404" y="2504"/>
                        <a:pt x="391" y="2501"/>
                        <a:pt x="390" y="2490"/>
                      </a:cubicBezTo>
                      <a:cubicBezTo>
                        <a:pt x="389" y="2467"/>
                        <a:pt x="417" y="2470"/>
                        <a:pt x="429" y="2460"/>
                      </a:cubicBezTo>
                      <a:cubicBezTo>
                        <a:pt x="453" y="2440"/>
                        <a:pt x="406" y="2433"/>
                        <a:pt x="424" y="2416"/>
                      </a:cubicBezTo>
                      <a:cubicBezTo>
                        <a:pt x="427" y="2413"/>
                        <a:pt x="440" y="2412"/>
                        <a:pt x="445" y="2409"/>
                      </a:cubicBezTo>
                      <a:cubicBezTo>
                        <a:pt x="451" y="2404"/>
                        <a:pt x="451" y="2404"/>
                        <a:pt x="453" y="2397"/>
                      </a:cubicBezTo>
                      <a:cubicBezTo>
                        <a:pt x="458" y="2380"/>
                        <a:pt x="442" y="2379"/>
                        <a:pt x="443" y="2366"/>
                      </a:cubicBezTo>
                      <a:cubicBezTo>
                        <a:pt x="444" y="2357"/>
                        <a:pt x="445" y="2364"/>
                        <a:pt x="450" y="2361"/>
                      </a:cubicBezTo>
                      <a:cubicBezTo>
                        <a:pt x="452" y="2360"/>
                        <a:pt x="460" y="2357"/>
                        <a:pt x="463" y="2354"/>
                      </a:cubicBezTo>
                      <a:cubicBezTo>
                        <a:pt x="476" y="2346"/>
                        <a:pt x="481" y="2337"/>
                        <a:pt x="460" y="2339"/>
                      </a:cubicBezTo>
                      <a:cubicBezTo>
                        <a:pt x="453" y="2339"/>
                        <a:pt x="452" y="2343"/>
                        <a:pt x="445" y="2342"/>
                      </a:cubicBezTo>
                      <a:cubicBezTo>
                        <a:pt x="442" y="2342"/>
                        <a:pt x="426" y="2334"/>
                        <a:pt x="424" y="2332"/>
                      </a:cubicBezTo>
                      <a:cubicBezTo>
                        <a:pt x="421" y="2329"/>
                        <a:pt x="421" y="2328"/>
                        <a:pt x="419" y="2324"/>
                      </a:cubicBezTo>
                      <a:cubicBezTo>
                        <a:pt x="417" y="2322"/>
                        <a:pt x="421" y="2317"/>
                        <a:pt x="419" y="2314"/>
                      </a:cubicBezTo>
                      <a:cubicBezTo>
                        <a:pt x="417" y="2309"/>
                        <a:pt x="405" y="2306"/>
                        <a:pt x="401" y="2303"/>
                      </a:cubicBezTo>
                      <a:cubicBezTo>
                        <a:pt x="395" y="2298"/>
                        <a:pt x="394" y="2295"/>
                        <a:pt x="388" y="2294"/>
                      </a:cubicBezTo>
                      <a:cubicBezTo>
                        <a:pt x="382" y="2292"/>
                        <a:pt x="372" y="2296"/>
                        <a:pt x="365" y="2298"/>
                      </a:cubicBezTo>
                      <a:cubicBezTo>
                        <a:pt x="345" y="2303"/>
                        <a:pt x="354" y="2311"/>
                        <a:pt x="343" y="2322"/>
                      </a:cubicBezTo>
                      <a:cubicBezTo>
                        <a:pt x="337" y="2328"/>
                        <a:pt x="329" y="2325"/>
                        <a:pt x="322" y="2329"/>
                      </a:cubicBezTo>
                      <a:cubicBezTo>
                        <a:pt x="317" y="2333"/>
                        <a:pt x="319" y="2336"/>
                        <a:pt x="316" y="2340"/>
                      </a:cubicBezTo>
                      <a:cubicBezTo>
                        <a:pt x="303" y="2355"/>
                        <a:pt x="289" y="2338"/>
                        <a:pt x="277" y="2349"/>
                      </a:cubicBezTo>
                      <a:cubicBezTo>
                        <a:pt x="273" y="2353"/>
                        <a:pt x="279" y="2359"/>
                        <a:pt x="275" y="2361"/>
                      </a:cubicBezTo>
                      <a:cubicBezTo>
                        <a:pt x="269" y="2367"/>
                        <a:pt x="261" y="2358"/>
                        <a:pt x="256" y="2360"/>
                      </a:cubicBezTo>
                      <a:cubicBezTo>
                        <a:pt x="251" y="2362"/>
                        <a:pt x="254" y="2366"/>
                        <a:pt x="250" y="2369"/>
                      </a:cubicBezTo>
                      <a:cubicBezTo>
                        <a:pt x="241" y="2375"/>
                        <a:pt x="241" y="2372"/>
                        <a:pt x="231" y="2375"/>
                      </a:cubicBezTo>
                      <a:cubicBezTo>
                        <a:pt x="217" y="2379"/>
                        <a:pt x="215" y="2389"/>
                        <a:pt x="198" y="2385"/>
                      </a:cubicBezTo>
                      <a:cubicBezTo>
                        <a:pt x="182" y="2382"/>
                        <a:pt x="185" y="2369"/>
                        <a:pt x="175" y="2358"/>
                      </a:cubicBezTo>
                      <a:cubicBezTo>
                        <a:pt x="169" y="2351"/>
                        <a:pt x="164" y="2349"/>
                        <a:pt x="160" y="2341"/>
                      </a:cubicBezTo>
                      <a:cubicBezTo>
                        <a:pt x="154" y="2329"/>
                        <a:pt x="160" y="2331"/>
                        <a:pt x="159" y="2321"/>
                      </a:cubicBezTo>
                      <a:cubicBezTo>
                        <a:pt x="158" y="2314"/>
                        <a:pt x="154" y="2310"/>
                        <a:pt x="153" y="2303"/>
                      </a:cubicBezTo>
                      <a:cubicBezTo>
                        <a:pt x="151" y="2298"/>
                        <a:pt x="154" y="2291"/>
                        <a:pt x="152" y="2285"/>
                      </a:cubicBezTo>
                      <a:cubicBezTo>
                        <a:pt x="150" y="2274"/>
                        <a:pt x="143" y="2271"/>
                        <a:pt x="147" y="2258"/>
                      </a:cubicBezTo>
                      <a:cubicBezTo>
                        <a:pt x="151" y="2243"/>
                        <a:pt x="156" y="2236"/>
                        <a:pt x="147" y="2220"/>
                      </a:cubicBezTo>
                      <a:cubicBezTo>
                        <a:pt x="140" y="2206"/>
                        <a:pt x="135" y="2198"/>
                        <a:pt x="137" y="2181"/>
                      </a:cubicBezTo>
                      <a:cubicBezTo>
                        <a:pt x="139" y="2170"/>
                        <a:pt x="145" y="2155"/>
                        <a:pt x="158" y="2163"/>
                      </a:cubicBezTo>
                      <a:cubicBezTo>
                        <a:pt x="161" y="2164"/>
                        <a:pt x="171" y="2186"/>
                        <a:pt x="172" y="2168"/>
                      </a:cubicBezTo>
                      <a:cubicBezTo>
                        <a:pt x="172" y="2160"/>
                        <a:pt x="156" y="2156"/>
                        <a:pt x="166" y="2141"/>
                      </a:cubicBezTo>
                      <a:cubicBezTo>
                        <a:pt x="174" y="2131"/>
                        <a:pt x="176" y="2138"/>
                        <a:pt x="183" y="2144"/>
                      </a:cubicBezTo>
                      <a:cubicBezTo>
                        <a:pt x="185" y="2145"/>
                        <a:pt x="188" y="2140"/>
                        <a:pt x="190" y="2143"/>
                      </a:cubicBezTo>
                      <a:cubicBezTo>
                        <a:pt x="192" y="2144"/>
                        <a:pt x="190" y="2151"/>
                        <a:pt x="191" y="2152"/>
                      </a:cubicBezTo>
                      <a:cubicBezTo>
                        <a:pt x="196" y="2153"/>
                        <a:pt x="192" y="2151"/>
                        <a:pt x="196" y="2152"/>
                      </a:cubicBezTo>
                      <a:cubicBezTo>
                        <a:pt x="194" y="2151"/>
                        <a:pt x="205" y="2145"/>
                        <a:pt x="205" y="2148"/>
                      </a:cubicBezTo>
                      <a:cubicBezTo>
                        <a:pt x="204" y="2143"/>
                        <a:pt x="198" y="2143"/>
                        <a:pt x="196" y="2139"/>
                      </a:cubicBezTo>
                      <a:cubicBezTo>
                        <a:pt x="192" y="2133"/>
                        <a:pt x="190" y="2126"/>
                        <a:pt x="188" y="2117"/>
                      </a:cubicBezTo>
                      <a:cubicBezTo>
                        <a:pt x="186" y="2108"/>
                        <a:pt x="184" y="2104"/>
                        <a:pt x="184" y="2097"/>
                      </a:cubicBezTo>
                      <a:cubicBezTo>
                        <a:pt x="183" y="2088"/>
                        <a:pt x="190" y="2082"/>
                        <a:pt x="189" y="2075"/>
                      </a:cubicBezTo>
                      <a:cubicBezTo>
                        <a:pt x="186" y="2058"/>
                        <a:pt x="164" y="2051"/>
                        <a:pt x="153" y="2044"/>
                      </a:cubicBezTo>
                      <a:cubicBezTo>
                        <a:pt x="150" y="2041"/>
                        <a:pt x="146" y="2037"/>
                        <a:pt x="142" y="2035"/>
                      </a:cubicBezTo>
                      <a:cubicBezTo>
                        <a:pt x="138" y="2033"/>
                        <a:pt x="138" y="2036"/>
                        <a:pt x="133" y="2034"/>
                      </a:cubicBezTo>
                      <a:cubicBezTo>
                        <a:pt x="130" y="2032"/>
                        <a:pt x="114" y="2022"/>
                        <a:pt x="113" y="2020"/>
                      </a:cubicBezTo>
                      <a:cubicBezTo>
                        <a:pt x="110" y="2015"/>
                        <a:pt x="116" y="2012"/>
                        <a:pt x="115" y="2009"/>
                      </a:cubicBezTo>
                      <a:cubicBezTo>
                        <a:pt x="111" y="2004"/>
                        <a:pt x="95" y="2008"/>
                        <a:pt x="89" y="2005"/>
                      </a:cubicBezTo>
                      <a:cubicBezTo>
                        <a:pt x="88" y="2005"/>
                        <a:pt x="81" y="1999"/>
                        <a:pt x="81" y="1999"/>
                      </a:cubicBezTo>
                      <a:cubicBezTo>
                        <a:pt x="73" y="1999"/>
                        <a:pt x="77" y="2006"/>
                        <a:pt x="74" y="2007"/>
                      </a:cubicBezTo>
                      <a:cubicBezTo>
                        <a:pt x="68" y="2009"/>
                        <a:pt x="58" y="1998"/>
                        <a:pt x="51" y="1990"/>
                      </a:cubicBezTo>
                      <a:cubicBezTo>
                        <a:pt x="68" y="1989"/>
                        <a:pt x="55" y="1975"/>
                        <a:pt x="61" y="1968"/>
                      </a:cubicBezTo>
                      <a:cubicBezTo>
                        <a:pt x="67" y="1959"/>
                        <a:pt x="70" y="1972"/>
                        <a:pt x="77" y="1973"/>
                      </a:cubicBezTo>
                      <a:cubicBezTo>
                        <a:pt x="82" y="1973"/>
                        <a:pt x="97" y="1967"/>
                        <a:pt x="99" y="1964"/>
                      </a:cubicBezTo>
                      <a:cubicBezTo>
                        <a:pt x="95" y="1968"/>
                        <a:pt x="100" y="1952"/>
                        <a:pt x="99" y="1955"/>
                      </a:cubicBezTo>
                      <a:cubicBezTo>
                        <a:pt x="100" y="1951"/>
                        <a:pt x="105" y="1955"/>
                        <a:pt x="105" y="1947"/>
                      </a:cubicBezTo>
                      <a:cubicBezTo>
                        <a:pt x="104" y="1936"/>
                        <a:pt x="90" y="1931"/>
                        <a:pt x="91" y="1916"/>
                      </a:cubicBezTo>
                      <a:cubicBezTo>
                        <a:pt x="92" y="1905"/>
                        <a:pt x="103" y="1897"/>
                        <a:pt x="99" y="1887"/>
                      </a:cubicBezTo>
                      <a:cubicBezTo>
                        <a:pt x="98" y="1883"/>
                        <a:pt x="91" y="1888"/>
                        <a:pt x="90" y="1881"/>
                      </a:cubicBezTo>
                      <a:cubicBezTo>
                        <a:pt x="90" y="1875"/>
                        <a:pt x="96" y="1879"/>
                        <a:pt x="99" y="1875"/>
                      </a:cubicBezTo>
                      <a:cubicBezTo>
                        <a:pt x="102" y="1872"/>
                        <a:pt x="103" y="1867"/>
                        <a:pt x="106" y="1864"/>
                      </a:cubicBezTo>
                      <a:cubicBezTo>
                        <a:pt x="110" y="1861"/>
                        <a:pt x="121" y="1862"/>
                        <a:pt x="122" y="1859"/>
                      </a:cubicBezTo>
                      <a:cubicBezTo>
                        <a:pt x="123" y="1857"/>
                        <a:pt x="116" y="1853"/>
                        <a:pt x="117" y="1850"/>
                      </a:cubicBezTo>
                      <a:cubicBezTo>
                        <a:pt x="118" y="1846"/>
                        <a:pt x="124" y="1844"/>
                        <a:pt x="124" y="1839"/>
                      </a:cubicBezTo>
                      <a:cubicBezTo>
                        <a:pt x="124" y="1828"/>
                        <a:pt x="109" y="1823"/>
                        <a:pt x="102" y="1818"/>
                      </a:cubicBezTo>
                      <a:cubicBezTo>
                        <a:pt x="96" y="1814"/>
                        <a:pt x="88" y="1808"/>
                        <a:pt x="80" y="1805"/>
                      </a:cubicBezTo>
                      <a:cubicBezTo>
                        <a:pt x="78" y="1805"/>
                        <a:pt x="70" y="1808"/>
                        <a:pt x="69" y="1807"/>
                      </a:cubicBezTo>
                      <a:cubicBezTo>
                        <a:pt x="65" y="1803"/>
                        <a:pt x="72" y="1795"/>
                        <a:pt x="69" y="1790"/>
                      </a:cubicBezTo>
                      <a:cubicBezTo>
                        <a:pt x="63" y="1782"/>
                        <a:pt x="45" y="1788"/>
                        <a:pt x="37" y="1778"/>
                      </a:cubicBezTo>
                      <a:cubicBezTo>
                        <a:pt x="32" y="1772"/>
                        <a:pt x="40" y="1767"/>
                        <a:pt x="32" y="1761"/>
                      </a:cubicBezTo>
                      <a:cubicBezTo>
                        <a:pt x="28" y="1758"/>
                        <a:pt x="21" y="1760"/>
                        <a:pt x="17" y="1758"/>
                      </a:cubicBezTo>
                      <a:cubicBezTo>
                        <a:pt x="15" y="1757"/>
                        <a:pt x="10" y="1751"/>
                        <a:pt x="8" y="1750"/>
                      </a:cubicBezTo>
                      <a:cubicBezTo>
                        <a:pt x="1" y="1742"/>
                        <a:pt x="0" y="1742"/>
                        <a:pt x="12" y="1736"/>
                      </a:cubicBezTo>
                      <a:cubicBezTo>
                        <a:pt x="15" y="1734"/>
                        <a:pt x="22" y="1730"/>
                        <a:pt x="26" y="1730"/>
                      </a:cubicBezTo>
                      <a:cubicBezTo>
                        <a:pt x="32" y="1730"/>
                        <a:pt x="31" y="1734"/>
                        <a:pt x="35" y="1735"/>
                      </a:cubicBezTo>
                      <a:cubicBezTo>
                        <a:pt x="47" y="1737"/>
                        <a:pt x="53" y="1735"/>
                        <a:pt x="66" y="1741"/>
                      </a:cubicBezTo>
                      <a:cubicBezTo>
                        <a:pt x="73" y="1745"/>
                        <a:pt x="84" y="1751"/>
                        <a:pt x="89" y="1746"/>
                      </a:cubicBezTo>
                      <a:cubicBezTo>
                        <a:pt x="106" y="1731"/>
                        <a:pt x="77" y="1733"/>
                        <a:pt x="74" y="1731"/>
                      </a:cubicBezTo>
                      <a:cubicBezTo>
                        <a:pt x="72" y="1729"/>
                        <a:pt x="65" y="1712"/>
                        <a:pt x="65" y="1710"/>
                      </a:cubicBezTo>
                      <a:cubicBezTo>
                        <a:pt x="65" y="1708"/>
                        <a:pt x="67" y="1696"/>
                        <a:pt x="68" y="1695"/>
                      </a:cubicBezTo>
                      <a:cubicBezTo>
                        <a:pt x="69" y="1693"/>
                        <a:pt x="69" y="1690"/>
                        <a:pt x="71" y="1688"/>
                      </a:cubicBezTo>
                      <a:cubicBezTo>
                        <a:pt x="72" y="1687"/>
                        <a:pt x="77" y="1691"/>
                        <a:pt x="78" y="1691"/>
                      </a:cubicBezTo>
                      <a:cubicBezTo>
                        <a:pt x="86" y="1678"/>
                        <a:pt x="68" y="1659"/>
                        <a:pt x="60" y="1647"/>
                      </a:cubicBezTo>
                      <a:cubicBezTo>
                        <a:pt x="58" y="1644"/>
                        <a:pt x="56" y="1640"/>
                        <a:pt x="55" y="1637"/>
                      </a:cubicBezTo>
                      <a:cubicBezTo>
                        <a:pt x="50" y="1626"/>
                        <a:pt x="45" y="1638"/>
                        <a:pt x="53" y="1628"/>
                      </a:cubicBezTo>
                      <a:cubicBezTo>
                        <a:pt x="57" y="1622"/>
                        <a:pt x="81" y="1623"/>
                        <a:pt x="82" y="1618"/>
                      </a:cubicBezTo>
                      <a:cubicBezTo>
                        <a:pt x="84" y="1612"/>
                        <a:pt x="75" y="1615"/>
                        <a:pt x="73" y="1611"/>
                      </a:cubicBezTo>
                      <a:cubicBezTo>
                        <a:pt x="73" y="1608"/>
                        <a:pt x="74" y="1602"/>
                        <a:pt x="74" y="1599"/>
                      </a:cubicBezTo>
                      <a:cubicBezTo>
                        <a:pt x="75" y="1587"/>
                        <a:pt x="82" y="1575"/>
                        <a:pt x="81" y="1568"/>
                      </a:cubicBezTo>
                      <a:cubicBezTo>
                        <a:pt x="79" y="1560"/>
                        <a:pt x="73" y="1547"/>
                        <a:pt x="69" y="1539"/>
                      </a:cubicBezTo>
                      <a:cubicBezTo>
                        <a:pt x="67" y="1536"/>
                        <a:pt x="65" y="1537"/>
                        <a:pt x="63" y="1532"/>
                      </a:cubicBezTo>
                      <a:cubicBezTo>
                        <a:pt x="62" y="1528"/>
                        <a:pt x="60" y="1511"/>
                        <a:pt x="62" y="1509"/>
                      </a:cubicBezTo>
                      <a:cubicBezTo>
                        <a:pt x="67" y="1498"/>
                        <a:pt x="83" y="1509"/>
                        <a:pt x="87" y="1499"/>
                      </a:cubicBezTo>
                      <a:cubicBezTo>
                        <a:pt x="88" y="1497"/>
                        <a:pt x="83" y="1488"/>
                        <a:pt x="83" y="1485"/>
                      </a:cubicBezTo>
                      <a:cubicBezTo>
                        <a:pt x="83" y="1482"/>
                        <a:pt x="86" y="1476"/>
                        <a:pt x="84" y="1473"/>
                      </a:cubicBezTo>
                      <a:cubicBezTo>
                        <a:pt x="83" y="1471"/>
                        <a:pt x="80" y="1471"/>
                        <a:pt x="80" y="1470"/>
                      </a:cubicBezTo>
                      <a:cubicBezTo>
                        <a:pt x="79" y="1468"/>
                        <a:pt x="75" y="1468"/>
                        <a:pt x="74" y="1465"/>
                      </a:cubicBezTo>
                      <a:cubicBezTo>
                        <a:pt x="73" y="1464"/>
                        <a:pt x="75" y="1461"/>
                        <a:pt x="75" y="1460"/>
                      </a:cubicBezTo>
                      <a:cubicBezTo>
                        <a:pt x="76" y="1462"/>
                        <a:pt x="69" y="1444"/>
                        <a:pt x="69" y="1448"/>
                      </a:cubicBezTo>
                      <a:cubicBezTo>
                        <a:pt x="69" y="1439"/>
                        <a:pt x="69" y="1448"/>
                        <a:pt x="73" y="1442"/>
                      </a:cubicBezTo>
                      <a:cubicBezTo>
                        <a:pt x="73" y="1442"/>
                        <a:pt x="78" y="1443"/>
                        <a:pt x="79" y="1442"/>
                      </a:cubicBezTo>
                      <a:cubicBezTo>
                        <a:pt x="82" y="1440"/>
                        <a:pt x="81" y="1434"/>
                        <a:pt x="82" y="1431"/>
                      </a:cubicBezTo>
                      <a:cubicBezTo>
                        <a:pt x="84" y="1423"/>
                        <a:pt x="83" y="1418"/>
                        <a:pt x="88" y="1411"/>
                      </a:cubicBezTo>
                      <a:cubicBezTo>
                        <a:pt x="92" y="1405"/>
                        <a:pt x="94" y="1408"/>
                        <a:pt x="99" y="1403"/>
                      </a:cubicBezTo>
                      <a:cubicBezTo>
                        <a:pt x="101" y="1401"/>
                        <a:pt x="98" y="1395"/>
                        <a:pt x="100" y="1393"/>
                      </a:cubicBezTo>
                      <a:cubicBezTo>
                        <a:pt x="101" y="1392"/>
                        <a:pt x="107" y="1393"/>
                        <a:pt x="110" y="1391"/>
                      </a:cubicBezTo>
                      <a:cubicBezTo>
                        <a:pt x="118" y="1384"/>
                        <a:pt x="117" y="1375"/>
                        <a:pt x="124" y="1368"/>
                      </a:cubicBezTo>
                      <a:cubicBezTo>
                        <a:pt x="128" y="1364"/>
                        <a:pt x="130" y="1359"/>
                        <a:pt x="136" y="1360"/>
                      </a:cubicBezTo>
                      <a:cubicBezTo>
                        <a:pt x="141" y="1362"/>
                        <a:pt x="138" y="1368"/>
                        <a:pt x="142" y="1369"/>
                      </a:cubicBezTo>
                      <a:cubicBezTo>
                        <a:pt x="157" y="1375"/>
                        <a:pt x="165" y="1363"/>
                        <a:pt x="175" y="1355"/>
                      </a:cubicBezTo>
                      <a:cubicBezTo>
                        <a:pt x="191" y="1342"/>
                        <a:pt x="200" y="1346"/>
                        <a:pt x="218" y="1346"/>
                      </a:cubicBezTo>
                      <a:cubicBezTo>
                        <a:pt x="225" y="1346"/>
                        <a:pt x="231" y="1341"/>
                        <a:pt x="238" y="1341"/>
                      </a:cubicBezTo>
                      <a:cubicBezTo>
                        <a:pt x="242" y="1340"/>
                        <a:pt x="243" y="1344"/>
                        <a:pt x="247" y="1345"/>
                      </a:cubicBezTo>
                      <a:cubicBezTo>
                        <a:pt x="265" y="1347"/>
                        <a:pt x="256" y="1342"/>
                        <a:pt x="262" y="1334"/>
                      </a:cubicBezTo>
                      <a:cubicBezTo>
                        <a:pt x="265" y="1330"/>
                        <a:pt x="278" y="1318"/>
                        <a:pt x="281" y="1319"/>
                      </a:cubicBezTo>
                      <a:cubicBezTo>
                        <a:pt x="293" y="1321"/>
                        <a:pt x="281" y="1330"/>
                        <a:pt x="296" y="1330"/>
                      </a:cubicBezTo>
                      <a:cubicBezTo>
                        <a:pt x="307" y="1330"/>
                        <a:pt x="311" y="1318"/>
                        <a:pt x="327" y="1317"/>
                      </a:cubicBezTo>
                      <a:cubicBezTo>
                        <a:pt x="336" y="1316"/>
                        <a:pt x="340" y="1322"/>
                        <a:pt x="345" y="1309"/>
                      </a:cubicBezTo>
                      <a:cubicBezTo>
                        <a:pt x="346" y="1303"/>
                        <a:pt x="342" y="1292"/>
                        <a:pt x="341" y="1289"/>
                      </a:cubicBezTo>
                      <a:cubicBezTo>
                        <a:pt x="340" y="1280"/>
                        <a:pt x="340" y="1271"/>
                        <a:pt x="340" y="1262"/>
                      </a:cubicBezTo>
                      <a:cubicBezTo>
                        <a:pt x="340" y="1252"/>
                        <a:pt x="339" y="1242"/>
                        <a:pt x="342" y="1232"/>
                      </a:cubicBezTo>
                      <a:cubicBezTo>
                        <a:pt x="344" y="1224"/>
                        <a:pt x="348" y="1218"/>
                        <a:pt x="350" y="1211"/>
                      </a:cubicBezTo>
                      <a:cubicBezTo>
                        <a:pt x="351" y="1207"/>
                        <a:pt x="349" y="1204"/>
                        <a:pt x="351" y="1200"/>
                      </a:cubicBezTo>
                      <a:cubicBezTo>
                        <a:pt x="359" y="1180"/>
                        <a:pt x="376" y="1180"/>
                        <a:pt x="392" y="1184"/>
                      </a:cubicBezTo>
                      <a:cubicBezTo>
                        <a:pt x="395" y="1185"/>
                        <a:pt x="401" y="1188"/>
                        <a:pt x="405" y="1189"/>
                      </a:cubicBezTo>
                      <a:cubicBezTo>
                        <a:pt x="413" y="1191"/>
                        <a:pt x="410" y="1189"/>
                        <a:pt x="418" y="1189"/>
                      </a:cubicBezTo>
                      <a:cubicBezTo>
                        <a:pt x="420" y="1188"/>
                        <a:pt x="426" y="1190"/>
                        <a:pt x="428" y="1188"/>
                      </a:cubicBezTo>
                      <a:cubicBezTo>
                        <a:pt x="432" y="1186"/>
                        <a:pt x="433" y="1179"/>
                        <a:pt x="436" y="1178"/>
                      </a:cubicBezTo>
                      <a:cubicBezTo>
                        <a:pt x="441" y="1177"/>
                        <a:pt x="443" y="1184"/>
                        <a:pt x="448" y="1184"/>
                      </a:cubicBezTo>
                      <a:cubicBezTo>
                        <a:pt x="450" y="1184"/>
                        <a:pt x="462" y="1180"/>
                        <a:pt x="464" y="1179"/>
                      </a:cubicBezTo>
                      <a:cubicBezTo>
                        <a:pt x="469" y="1177"/>
                        <a:pt x="474" y="1174"/>
                        <a:pt x="479" y="1173"/>
                      </a:cubicBezTo>
                      <a:cubicBezTo>
                        <a:pt x="482" y="1172"/>
                        <a:pt x="484" y="1177"/>
                        <a:pt x="489" y="1176"/>
                      </a:cubicBezTo>
                      <a:cubicBezTo>
                        <a:pt x="505" y="1173"/>
                        <a:pt x="501" y="1154"/>
                        <a:pt x="512" y="1144"/>
                      </a:cubicBezTo>
                      <a:cubicBezTo>
                        <a:pt x="516" y="1141"/>
                        <a:pt x="520" y="1140"/>
                        <a:pt x="523" y="1137"/>
                      </a:cubicBezTo>
                      <a:cubicBezTo>
                        <a:pt x="525" y="1136"/>
                        <a:pt x="524" y="1132"/>
                        <a:pt x="526" y="1130"/>
                      </a:cubicBezTo>
                      <a:cubicBezTo>
                        <a:pt x="529" y="1128"/>
                        <a:pt x="535" y="1128"/>
                        <a:pt x="538" y="1124"/>
                      </a:cubicBezTo>
                      <a:cubicBezTo>
                        <a:pt x="544" y="1117"/>
                        <a:pt x="539" y="1101"/>
                        <a:pt x="543" y="1093"/>
                      </a:cubicBezTo>
                      <a:cubicBezTo>
                        <a:pt x="549" y="1083"/>
                        <a:pt x="558" y="1090"/>
                        <a:pt x="553" y="1076"/>
                      </a:cubicBezTo>
                      <a:cubicBezTo>
                        <a:pt x="549" y="1063"/>
                        <a:pt x="543" y="1068"/>
                        <a:pt x="547" y="1050"/>
                      </a:cubicBezTo>
                      <a:cubicBezTo>
                        <a:pt x="550" y="1032"/>
                        <a:pt x="557" y="1022"/>
                        <a:pt x="575" y="1014"/>
                      </a:cubicBezTo>
                      <a:cubicBezTo>
                        <a:pt x="580" y="1011"/>
                        <a:pt x="583" y="1017"/>
                        <a:pt x="588" y="1009"/>
                      </a:cubicBezTo>
                      <a:cubicBezTo>
                        <a:pt x="589" y="1007"/>
                        <a:pt x="586" y="997"/>
                        <a:pt x="588" y="997"/>
                      </a:cubicBezTo>
                      <a:cubicBezTo>
                        <a:pt x="596" y="993"/>
                        <a:pt x="599" y="1010"/>
                        <a:pt x="602" y="1013"/>
                      </a:cubicBezTo>
                      <a:cubicBezTo>
                        <a:pt x="608" y="1019"/>
                        <a:pt x="602" y="1017"/>
                        <a:pt x="609" y="1018"/>
                      </a:cubicBezTo>
                      <a:cubicBezTo>
                        <a:pt x="617" y="1019"/>
                        <a:pt x="623" y="1012"/>
                        <a:pt x="625" y="1006"/>
                      </a:cubicBezTo>
                      <a:cubicBezTo>
                        <a:pt x="631" y="991"/>
                        <a:pt x="623" y="999"/>
                        <a:pt x="614" y="992"/>
                      </a:cubicBezTo>
                      <a:cubicBezTo>
                        <a:pt x="609" y="988"/>
                        <a:pt x="601" y="971"/>
                        <a:pt x="600" y="964"/>
                      </a:cubicBezTo>
                      <a:cubicBezTo>
                        <a:pt x="599" y="958"/>
                        <a:pt x="603" y="950"/>
                        <a:pt x="601" y="944"/>
                      </a:cubicBezTo>
                      <a:cubicBezTo>
                        <a:pt x="600" y="941"/>
                        <a:pt x="595" y="939"/>
                        <a:pt x="593" y="936"/>
                      </a:cubicBezTo>
                      <a:cubicBezTo>
                        <a:pt x="587" y="928"/>
                        <a:pt x="587" y="920"/>
                        <a:pt x="582" y="913"/>
                      </a:cubicBezTo>
                      <a:cubicBezTo>
                        <a:pt x="579" y="909"/>
                        <a:pt x="574" y="909"/>
                        <a:pt x="571" y="905"/>
                      </a:cubicBezTo>
                      <a:cubicBezTo>
                        <a:pt x="569" y="900"/>
                        <a:pt x="570" y="894"/>
                        <a:pt x="568" y="889"/>
                      </a:cubicBezTo>
                      <a:cubicBezTo>
                        <a:pt x="564" y="882"/>
                        <a:pt x="558" y="882"/>
                        <a:pt x="557" y="872"/>
                      </a:cubicBezTo>
                      <a:cubicBezTo>
                        <a:pt x="557" y="867"/>
                        <a:pt x="561" y="863"/>
                        <a:pt x="561" y="858"/>
                      </a:cubicBezTo>
                      <a:cubicBezTo>
                        <a:pt x="561" y="852"/>
                        <a:pt x="558" y="852"/>
                        <a:pt x="557" y="847"/>
                      </a:cubicBezTo>
                      <a:cubicBezTo>
                        <a:pt x="553" y="833"/>
                        <a:pt x="549" y="833"/>
                        <a:pt x="540" y="824"/>
                      </a:cubicBezTo>
                      <a:cubicBezTo>
                        <a:pt x="530" y="814"/>
                        <a:pt x="539" y="816"/>
                        <a:pt x="538" y="803"/>
                      </a:cubicBezTo>
                      <a:cubicBezTo>
                        <a:pt x="537" y="800"/>
                        <a:pt x="532" y="798"/>
                        <a:pt x="532" y="796"/>
                      </a:cubicBezTo>
                      <a:cubicBezTo>
                        <a:pt x="532" y="791"/>
                        <a:pt x="533" y="790"/>
                        <a:pt x="533" y="786"/>
                      </a:cubicBezTo>
                      <a:cubicBezTo>
                        <a:pt x="534" y="779"/>
                        <a:pt x="537" y="775"/>
                        <a:pt x="533" y="766"/>
                      </a:cubicBezTo>
                      <a:cubicBezTo>
                        <a:pt x="528" y="757"/>
                        <a:pt x="525" y="756"/>
                        <a:pt x="516" y="754"/>
                      </a:cubicBezTo>
                      <a:cubicBezTo>
                        <a:pt x="506" y="751"/>
                        <a:pt x="503" y="749"/>
                        <a:pt x="495" y="742"/>
                      </a:cubicBezTo>
                      <a:cubicBezTo>
                        <a:pt x="484" y="732"/>
                        <a:pt x="470" y="720"/>
                        <a:pt x="474" y="704"/>
                      </a:cubicBezTo>
                      <a:cubicBezTo>
                        <a:pt x="477" y="693"/>
                        <a:pt x="487" y="698"/>
                        <a:pt x="479" y="683"/>
                      </a:cubicBezTo>
                      <a:cubicBezTo>
                        <a:pt x="477" y="680"/>
                        <a:pt x="467" y="672"/>
                        <a:pt x="464" y="668"/>
                      </a:cubicBezTo>
                      <a:cubicBezTo>
                        <a:pt x="477" y="667"/>
                        <a:pt x="472" y="664"/>
                        <a:pt x="478" y="658"/>
                      </a:cubicBezTo>
                      <a:cubicBezTo>
                        <a:pt x="481" y="655"/>
                        <a:pt x="488" y="648"/>
                        <a:pt x="490" y="645"/>
                      </a:cubicBezTo>
                      <a:cubicBezTo>
                        <a:pt x="490" y="645"/>
                        <a:pt x="498" y="627"/>
                        <a:pt x="498" y="627"/>
                      </a:cubicBezTo>
                      <a:cubicBezTo>
                        <a:pt x="497" y="618"/>
                        <a:pt x="494" y="627"/>
                        <a:pt x="489" y="623"/>
                      </a:cubicBezTo>
                      <a:cubicBezTo>
                        <a:pt x="484" y="617"/>
                        <a:pt x="476" y="596"/>
                        <a:pt x="483" y="590"/>
                      </a:cubicBezTo>
                      <a:cubicBezTo>
                        <a:pt x="488" y="585"/>
                        <a:pt x="488" y="594"/>
                        <a:pt x="488" y="594"/>
                      </a:cubicBezTo>
                      <a:cubicBezTo>
                        <a:pt x="491" y="592"/>
                        <a:pt x="494" y="586"/>
                        <a:pt x="499" y="583"/>
                      </a:cubicBezTo>
                      <a:cubicBezTo>
                        <a:pt x="502" y="580"/>
                        <a:pt x="505" y="587"/>
                        <a:pt x="509" y="583"/>
                      </a:cubicBezTo>
                      <a:cubicBezTo>
                        <a:pt x="512" y="579"/>
                        <a:pt x="512" y="568"/>
                        <a:pt x="511" y="564"/>
                      </a:cubicBezTo>
                      <a:cubicBezTo>
                        <a:pt x="511" y="557"/>
                        <a:pt x="506" y="549"/>
                        <a:pt x="512" y="543"/>
                      </a:cubicBezTo>
                      <a:cubicBezTo>
                        <a:pt x="516" y="538"/>
                        <a:pt x="527" y="541"/>
                        <a:pt x="532" y="536"/>
                      </a:cubicBezTo>
                      <a:cubicBezTo>
                        <a:pt x="536" y="532"/>
                        <a:pt x="536" y="519"/>
                        <a:pt x="539" y="517"/>
                      </a:cubicBezTo>
                      <a:cubicBezTo>
                        <a:pt x="543" y="513"/>
                        <a:pt x="549" y="517"/>
                        <a:pt x="553" y="514"/>
                      </a:cubicBezTo>
                      <a:cubicBezTo>
                        <a:pt x="558" y="509"/>
                        <a:pt x="555" y="502"/>
                        <a:pt x="555" y="496"/>
                      </a:cubicBezTo>
                      <a:cubicBezTo>
                        <a:pt x="554" y="483"/>
                        <a:pt x="549" y="475"/>
                        <a:pt x="548" y="463"/>
                      </a:cubicBezTo>
                      <a:cubicBezTo>
                        <a:pt x="547" y="455"/>
                        <a:pt x="552" y="446"/>
                        <a:pt x="554" y="438"/>
                      </a:cubicBezTo>
                      <a:cubicBezTo>
                        <a:pt x="555" y="428"/>
                        <a:pt x="558" y="410"/>
                        <a:pt x="555" y="400"/>
                      </a:cubicBezTo>
                      <a:cubicBezTo>
                        <a:pt x="552" y="391"/>
                        <a:pt x="544" y="387"/>
                        <a:pt x="543" y="376"/>
                      </a:cubicBezTo>
                      <a:cubicBezTo>
                        <a:pt x="542" y="358"/>
                        <a:pt x="552" y="371"/>
                        <a:pt x="558" y="359"/>
                      </a:cubicBezTo>
                      <a:cubicBezTo>
                        <a:pt x="560" y="355"/>
                        <a:pt x="556" y="353"/>
                        <a:pt x="557" y="350"/>
                      </a:cubicBezTo>
                      <a:cubicBezTo>
                        <a:pt x="557" y="347"/>
                        <a:pt x="562" y="343"/>
                        <a:pt x="562" y="340"/>
                      </a:cubicBezTo>
                      <a:cubicBezTo>
                        <a:pt x="562" y="335"/>
                        <a:pt x="561" y="333"/>
                        <a:pt x="560" y="329"/>
                      </a:cubicBezTo>
                      <a:cubicBezTo>
                        <a:pt x="560" y="329"/>
                        <a:pt x="556" y="328"/>
                        <a:pt x="555" y="326"/>
                      </a:cubicBezTo>
                      <a:cubicBezTo>
                        <a:pt x="554" y="323"/>
                        <a:pt x="557" y="319"/>
                        <a:pt x="556" y="315"/>
                      </a:cubicBezTo>
                      <a:cubicBezTo>
                        <a:pt x="554" y="307"/>
                        <a:pt x="548" y="296"/>
                        <a:pt x="544" y="290"/>
                      </a:cubicBezTo>
                      <a:cubicBezTo>
                        <a:pt x="537" y="279"/>
                        <a:pt x="529" y="267"/>
                        <a:pt x="528" y="253"/>
                      </a:cubicBezTo>
                      <a:cubicBezTo>
                        <a:pt x="528" y="245"/>
                        <a:pt x="529" y="240"/>
                        <a:pt x="536" y="235"/>
                      </a:cubicBezTo>
                      <a:cubicBezTo>
                        <a:pt x="542" y="231"/>
                        <a:pt x="550" y="235"/>
                        <a:pt x="554" y="229"/>
                      </a:cubicBezTo>
                      <a:cubicBezTo>
                        <a:pt x="561" y="217"/>
                        <a:pt x="543" y="207"/>
                        <a:pt x="541" y="199"/>
                      </a:cubicBezTo>
                      <a:cubicBezTo>
                        <a:pt x="537" y="181"/>
                        <a:pt x="561" y="188"/>
                        <a:pt x="569" y="196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sp>
            <p:nvSpPr>
              <p:cNvPr id="44" name="Freeform 73">
                <a:extLst>
                  <a:ext uri="{FF2B5EF4-FFF2-40B4-BE49-F238E27FC236}">
                    <a16:creationId xmlns:a16="http://schemas.microsoft.com/office/drawing/2014/main" id="{B9E43AFE-A71E-9FEC-D0D5-1647B45FA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7669" y="5522970"/>
                <a:ext cx="344415" cy="263919"/>
              </a:xfrm>
              <a:custGeom>
                <a:avLst/>
                <a:gdLst>
                  <a:gd name="T0" fmla="*/ 241 w 678"/>
                  <a:gd name="T1" fmla="*/ 22 h 517"/>
                  <a:gd name="T2" fmla="*/ 257 w 678"/>
                  <a:gd name="T3" fmla="*/ 20 h 517"/>
                  <a:gd name="T4" fmla="*/ 284 w 678"/>
                  <a:gd name="T5" fmla="*/ 24 h 517"/>
                  <a:gd name="T6" fmla="*/ 316 w 678"/>
                  <a:gd name="T7" fmla="*/ 15 h 517"/>
                  <a:gd name="T8" fmla="*/ 345 w 678"/>
                  <a:gd name="T9" fmla="*/ 18 h 517"/>
                  <a:gd name="T10" fmla="*/ 408 w 678"/>
                  <a:gd name="T11" fmla="*/ 92 h 517"/>
                  <a:gd name="T12" fmla="*/ 487 w 678"/>
                  <a:gd name="T13" fmla="*/ 90 h 517"/>
                  <a:gd name="T14" fmla="*/ 537 w 678"/>
                  <a:gd name="T15" fmla="*/ 84 h 517"/>
                  <a:gd name="T16" fmla="*/ 568 w 678"/>
                  <a:gd name="T17" fmla="*/ 43 h 517"/>
                  <a:gd name="T18" fmla="*/ 605 w 678"/>
                  <a:gd name="T19" fmla="*/ 64 h 517"/>
                  <a:gd name="T20" fmla="*/ 640 w 678"/>
                  <a:gd name="T21" fmla="*/ 55 h 517"/>
                  <a:gd name="T22" fmla="*/ 665 w 678"/>
                  <a:gd name="T23" fmla="*/ 35 h 517"/>
                  <a:gd name="T24" fmla="*/ 669 w 678"/>
                  <a:gd name="T25" fmla="*/ 91 h 517"/>
                  <a:gd name="T26" fmla="*/ 606 w 678"/>
                  <a:gd name="T27" fmla="*/ 128 h 517"/>
                  <a:gd name="T28" fmla="*/ 561 w 678"/>
                  <a:gd name="T29" fmla="*/ 167 h 517"/>
                  <a:gd name="T30" fmla="*/ 526 w 678"/>
                  <a:gd name="T31" fmla="*/ 203 h 517"/>
                  <a:gd name="T32" fmla="*/ 515 w 678"/>
                  <a:gd name="T33" fmla="*/ 229 h 517"/>
                  <a:gd name="T34" fmla="*/ 482 w 678"/>
                  <a:gd name="T35" fmla="*/ 265 h 517"/>
                  <a:gd name="T36" fmla="*/ 442 w 678"/>
                  <a:gd name="T37" fmla="*/ 294 h 517"/>
                  <a:gd name="T38" fmla="*/ 412 w 678"/>
                  <a:gd name="T39" fmla="*/ 341 h 517"/>
                  <a:gd name="T40" fmla="*/ 406 w 678"/>
                  <a:gd name="T41" fmla="*/ 368 h 517"/>
                  <a:gd name="T42" fmla="*/ 407 w 678"/>
                  <a:gd name="T43" fmla="*/ 398 h 517"/>
                  <a:gd name="T44" fmla="*/ 355 w 678"/>
                  <a:gd name="T45" fmla="*/ 438 h 517"/>
                  <a:gd name="T46" fmla="*/ 320 w 678"/>
                  <a:gd name="T47" fmla="*/ 457 h 517"/>
                  <a:gd name="T48" fmla="*/ 278 w 678"/>
                  <a:gd name="T49" fmla="*/ 474 h 517"/>
                  <a:gd name="T50" fmla="*/ 249 w 678"/>
                  <a:gd name="T51" fmla="*/ 474 h 517"/>
                  <a:gd name="T52" fmla="*/ 159 w 678"/>
                  <a:gd name="T53" fmla="*/ 494 h 517"/>
                  <a:gd name="T54" fmla="*/ 89 w 678"/>
                  <a:gd name="T55" fmla="*/ 438 h 517"/>
                  <a:gd name="T56" fmla="*/ 89 w 678"/>
                  <a:gd name="T57" fmla="*/ 374 h 517"/>
                  <a:gd name="T58" fmla="*/ 58 w 678"/>
                  <a:gd name="T59" fmla="*/ 332 h 517"/>
                  <a:gd name="T60" fmla="*/ 31 w 678"/>
                  <a:gd name="T61" fmla="*/ 322 h 517"/>
                  <a:gd name="T62" fmla="*/ 11 w 678"/>
                  <a:gd name="T63" fmla="*/ 269 h 517"/>
                  <a:gd name="T64" fmla="*/ 10 w 678"/>
                  <a:gd name="T65" fmla="*/ 223 h 517"/>
                  <a:gd name="T66" fmla="*/ 41 w 678"/>
                  <a:gd name="T67" fmla="*/ 173 h 517"/>
                  <a:gd name="T68" fmla="*/ 49 w 678"/>
                  <a:gd name="T69" fmla="*/ 120 h 517"/>
                  <a:gd name="T70" fmla="*/ 81 w 678"/>
                  <a:gd name="T71" fmla="*/ 111 h 517"/>
                  <a:gd name="T72" fmla="*/ 106 w 678"/>
                  <a:gd name="T73" fmla="*/ 85 h 517"/>
                  <a:gd name="T74" fmla="*/ 162 w 678"/>
                  <a:gd name="T75" fmla="*/ 69 h 517"/>
                  <a:gd name="T76" fmla="*/ 156 w 678"/>
                  <a:gd name="T77" fmla="*/ 53 h 517"/>
                  <a:gd name="T78" fmla="*/ 160 w 678"/>
                  <a:gd name="T79" fmla="*/ 31 h 517"/>
                  <a:gd name="T80" fmla="*/ 167 w 678"/>
                  <a:gd name="T81" fmla="*/ 5 h 517"/>
                  <a:gd name="T82" fmla="*/ 233 w 678"/>
                  <a:gd name="T83" fmla="*/ 34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78" h="517">
                    <a:moveTo>
                      <a:pt x="233" y="34"/>
                    </a:moveTo>
                    <a:cubicBezTo>
                      <a:pt x="237" y="31"/>
                      <a:pt x="238" y="24"/>
                      <a:pt x="241" y="22"/>
                    </a:cubicBezTo>
                    <a:cubicBezTo>
                      <a:pt x="244" y="20"/>
                      <a:pt x="246" y="21"/>
                      <a:pt x="249" y="19"/>
                    </a:cubicBezTo>
                    <a:cubicBezTo>
                      <a:pt x="250" y="19"/>
                      <a:pt x="254" y="22"/>
                      <a:pt x="257" y="20"/>
                    </a:cubicBezTo>
                    <a:cubicBezTo>
                      <a:pt x="263" y="17"/>
                      <a:pt x="266" y="5"/>
                      <a:pt x="266" y="0"/>
                    </a:cubicBezTo>
                    <a:cubicBezTo>
                      <a:pt x="269" y="3"/>
                      <a:pt x="282" y="23"/>
                      <a:pt x="284" y="24"/>
                    </a:cubicBezTo>
                    <a:cubicBezTo>
                      <a:pt x="290" y="25"/>
                      <a:pt x="293" y="18"/>
                      <a:pt x="297" y="16"/>
                    </a:cubicBezTo>
                    <a:cubicBezTo>
                      <a:pt x="300" y="15"/>
                      <a:pt x="313" y="14"/>
                      <a:pt x="316" y="15"/>
                    </a:cubicBezTo>
                    <a:cubicBezTo>
                      <a:pt x="321" y="15"/>
                      <a:pt x="325" y="19"/>
                      <a:pt x="329" y="19"/>
                    </a:cubicBezTo>
                    <a:cubicBezTo>
                      <a:pt x="335" y="20"/>
                      <a:pt x="341" y="16"/>
                      <a:pt x="345" y="18"/>
                    </a:cubicBezTo>
                    <a:cubicBezTo>
                      <a:pt x="359" y="22"/>
                      <a:pt x="371" y="51"/>
                      <a:pt x="379" y="63"/>
                    </a:cubicBezTo>
                    <a:cubicBezTo>
                      <a:pt x="388" y="75"/>
                      <a:pt x="393" y="91"/>
                      <a:pt x="408" y="92"/>
                    </a:cubicBezTo>
                    <a:cubicBezTo>
                      <a:pt x="428" y="94"/>
                      <a:pt x="455" y="73"/>
                      <a:pt x="474" y="78"/>
                    </a:cubicBezTo>
                    <a:cubicBezTo>
                      <a:pt x="478" y="79"/>
                      <a:pt x="483" y="87"/>
                      <a:pt x="487" y="90"/>
                    </a:cubicBezTo>
                    <a:cubicBezTo>
                      <a:pt x="496" y="96"/>
                      <a:pt x="504" y="97"/>
                      <a:pt x="515" y="95"/>
                    </a:cubicBezTo>
                    <a:cubicBezTo>
                      <a:pt x="524" y="92"/>
                      <a:pt x="531" y="89"/>
                      <a:pt x="537" y="84"/>
                    </a:cubicBezTo>
                    <a:cubicBezTo>
                      <a:pt x="543" y="79"/>
                      <a:pt x="547" y="65"/>
                      <a:pt x="555" y="69"/>
                    </a:cubicBezTo>
                    <a:cubicBezTo>
                      <a:pt x="556" y="59"/>
                      <a:pt x="549" y="43"/>
                      <a:pt x="568" y="43"/>
                    </a:cubicBezTo>
                    <a:cubicBezTo>
                      <a:pt x="574" y="42"/>
                      <a:pt x="588" y="54"/>
                      <a:pt x="591" y="59"/>
                    </a:cubicBezTo>
                    <a:cubicBezTo>
                      <a:pt x="600" y="50"/>
                      <a:pt x="602" y="64"/>
                      <a:pt x="605" y="64"/>
                    </a:cubicBezTo>
                    <a:cubicBezTo>
                      <a:pt x="611" y="65"/>
                      <a:pt x="618" y="57"/>
                      <a:pt x="623" y="56"/>
                    </a:cubicBezTo>
                    <a:cubicBezTo>
                      <a:pt x="632" y="56"/>
                      <a:pt x="630" y="64"/>
                      <a:pt x="640" y="55"/>
                    </a:cubicBezTo>
                    <a:cubicBezTo>
                      <a:pt x="646" y="50"/>
                      <a:pt x="644" y="41"/>
                      <a:pt x="649" y="37"/>
                    </a:cubicBezTo>
                    <a:cubicBezTo>
                      <a:pt x="650" y="36"/>
                      <a:pt x="663" y="34"/>
                      <a:pt x="665" y="35"/>
                    </a:cubicBezTo>
                    <a:cubicBezTo>
                      <a:pt x="669" y="36"/>
                      <a:pt x="677" y="53"/>
                      <a:pt x="677" y="58"/>
                    </a:cubicBezTo>
                    <a:cubicBezTo>
                      <a:pt x="678" y="69"/>
                      <a:pt x="674" y="82"/>
                      <a:pt x="669" y="91"/>
                    </a:cubicBezTo>
                    <a:cubicBezTo>
                      <a:pt x="659" y="113"/>
                      <a:pt x="657" y="103"/>
                      <a:pt x="635" y="106"/>
                    </a:cubicBezTo>
                    <a:cubicBezTo>
                      <a:pt x="621" y="108"/>
                      <a:pt x="616" y="118"/>
                      <a:pt x="606" y="128"/>
                    </a:cubicBezTo>
                    <a:cubicBezTo>
                      <a:pt x="596" y="138"/>
                      <a:pt x="584" y="145"/>
                      <a:pt x="573" y="155"/>
                    </a:cubicBezTo>
                    <a:cubicBezTo>
                      <a:pt x="569" y="159"/>
                      <a:pt x="564" y="162"/>
                      <a:pt x="561" y="167"/>
                    </a:cubicBezTo>
                    <a:cubicBezTo>
                      <a:pt x="558" y="171"/>
                      <a:pt x="558" y="178"/>
                      <a:pt x="554" y="182"/>
                    </a:cubicBezTo>
                    <a:cubicBezTo>
                      <a:pt x="547" y="190"/>
                      <a:pt x="532" y="194"/>
                      <a:pt x="526" y="203"/>
                    </a:cubicBezTo>
                    <a:cubicBezTo>
                      <a:pt x="522" y="208"/>
                      <a:pt x="524" y="211"/>
                      <a:pt x="522" y="217"/>
                    </a:cubicBezTo>
                    <a:cubicBezTo>
                      <a:pt x="521" y="222"/>
                      <a:pt x="516" y="225"/>
                      <a:pt x="515" y="229"/>
                    </a:cubicBezTo>
                    <a:cubicBezTo>
                      <a:pt x="512" y="237"/>
                      <a:pt x="515" y="247"/>
                      <a:pt x="511" y="253"/>
                    </a:cubicBezTo>
                    <a:cubicBezTo>
                      <a:pt x="507" y="260"/>
                      <a:pt x="489" y="264"/>
                      <a:pt x="482" y="265"/>
                    </a:cubicBezTo>
                    <a:cubicBezTo>
                      <a:pt x="473" y="267"/>
                      <a:pt x="465" y="265"/>
                      <a:pt x="456" y="271"/>
                    </a:cubicBezTo>
                    <a:cubicBezTo>
                      <a:pt x="442" y="279"/>
                      <a:pt x="446" y="284"/>
                      <a:pt x="442" y="294"/>
                    </a:cubicBezTo>
                    <a:cubicBezTo>
                      <a:pt x="438" y="306"/>
                      <a:pt x="428" y="313"/>
                      <a:pt x="424" y="326"/>
                    </a:cubicBezTo>
                    <a:cubicBezTo>
                      <a:pt x="419" y="341"/>
                      <a:pt x="424" y="337"/>
                      <a:pt x="412" y="341"/>
                    </a:cubicBezTo>
                    <a:cubicBezTo>
                      <a:pt x="405" y="343"/>
                      <a:pt x="400" y="339"/>
                      <a:pt x="400" y="350"/>
                    </a:cubicBezTo>
                    <a:cubicBezTo>
                      <a:pt x="400" y="356"/>
                      <a:pt x="406" y="360"/>
                      <a:pt x="406" y="368"/>
                    </a:cubicBezTo>
                    <a:cubicBezTo>
                      <a:pt x="406" y="374"/>
                      <a:pt x="401" y="381"/>
                      <a:pt x="402" y="388"/>
                    </a:cubicBezTo>
                    <a:cubicBezTo>
                      <a:pt x="402" y="392"/>
                      <a:pt x="406" y="395"/>
                      <a:pt x="407" y="398"/>
                    </a:cubicBezTo>
                    <a:cubicBezTo>
                      <a:pt x="410" y="426"/>
                      <a:pt x="377" y="410"/>
                      <a:pt x="362" y="425"/>
                    </a:cubicBezTo>
                    <a:cubicBezTo>
                      <a:pt x="359" y="429"/>
                      <a:pt x="358" y="434"/>
                      <a:pt x="355" y="438"/>
                    </a:cubicBezTo>
                    <a:cubicBezTo>
                      <a:pt x="349" y="444"/>
                      <a:pt x="342" y="443"/>
                      <a:pt x="335" y="446"/>
                    </a:cubicBezTo>
                    <a:cubicBezTo>
                      <a:pt x="328" y="449"/>
                      <a:pt x="325" y="454"/>
                      <a:pt x="320" y="457"/>
                    </a:cubicBezTo>
                    <a:cubicBezTo>
                      <a:pt x="314" y="461"/>
                      <a:pt x="314" y="459"/>
                      <a:pt x="307" y="462"/>
                    </a:cubicBezTo>
                    <a:cubicBezTo>
                      <a:pt x="297" y="466"/>
                      <a:pt x="285" y="468"/>
                      <a:pt x="278" y="474"/>
                    </a:cubicBezTo>
                    <a:cubicBezTo>
                      <a:pt x="274" y="477"/>
                      <a:pt x="275" y="483"/>
                      <a:pt x="269" y="484"/>
                    </a:cubicBezTo>
                    <a:cubicBezTo>
                      <a:pt x="263" y="485"/>
                      <a:pt x="255" y="476"/>
                      <a:pt x="249" y="474"/>
                    </a:cubicBezTo>
                    <a:cubicBezTo>
                      <a:pt x="219" y="469"/>
                      <a:pt x="209" y="511"/>
                      <a:pt x="184" y="514"/>
                    </a:cubicBezTo>
                    <a:cubicBezTo>
                      <a:pt x="168" y="517"/>
                      <a:pt x="165" y="507"/>
                      <a:pt x="159" y="494"/>
                    </a:cubicBezTo>
                    <a:cubicBezTo>
                      <a:pt x="152" y="480"/>
                      <a:pt x="144" y="471"/>
                      <a:pt x="130" y="464"/>
                    </a:cubicBezTo>
                    <a:cubicBezTo>
                      <a:pt x="116" y="456"/>
                      <a:pt x="98" y="452"/>
                      <a:pt x="89" y="438"/>
                    </a:cubicBezTo>
                    <a:cubicBezTo>
                      <a:pt x="80" y="425"/>
                      <a:pt x="89" y="420"/>
                      <a:pt x="90" y="407"/>
                    </a:cubicBezTo>
                    <a:cubicBezTo>
                      <a:pt x="91" y="400"/>
                      <a:pt x="91" y="379"/>
                      <a:pt x="89" y="374"/>
                    </a:cubicBezTo>
                    <a:cubicBezTo>
                      <a:pt x="86" y="366"/>
                      <a:pt x="80" y="366"/>
                      <a:pt x="74" y="361"/>
                    </a:cubicBezTo>
                    <a:cubicBezTo>
                      <a:pt x="67" y="355"/>
                      <a:pt x="64" y="333"/>
                      <a:pt x="58" y="332"/>
                    </a:cubicBezTo>
                    <a:cubicBezTo>
                      <a:pt x="43" y="329"/>
                      <a:pt x="49" y="353"/>
                      <a:pt x="36" y="333"/>
                    </a:cubicBezTo>
                    <a:cubicBezTo>
                      <a:pt x="33" y="329"/>
                      <a:pt x="35" y="325"/>
                      <a:pt x="31" y="322"/>
                    </a:cubicBezTo>
                    <a:cubicBezTo>
                      <a:pt x="27" y="318"/>
                      <a:pt x="21" y="322"/>
                      <a:pt x="16" y="318"/>
                    </a:cubicBezTo>
                    <a:cubicBezTo>
                      <a:pt x="7" y="309"/>
                      <a:pt x="11" y="280"/>
                      <a:pt x="11" y="269"/>
                    </a:cubicBezTo>
                    <a:cubicBezTo>
                      <a:pt x="11" y="262"/>
                      <a:pt x="16" y="238"/>
                      <a:pt x="3" y="247"/>
                    </a:cubicBezTo>
                    <a:cubicBezTo>
                      <a:pt x="0" y="238"/>
                      <a:pt x="6" y="230"/>
                      <a:pt x="10" y="223"/>
                    </a:cubicBezTo>
                    <a:cubicBezTo>
                      <a:pt x="20" y="208"/>
                      <a:pt x="21" y="210"/>
                      <a:pt x="34" y="206"/>
                    </a:cubicBezTo>
                    <a:cubicBezTo>
                      <a:pt x="54" y="200"/>
                      <a:pt x="42" y="188"/>
                      <a:pt x="41" y="173"/>
                    </a:cubicBezTo>
                    <a:cubicBezTo>
                      <a:pt x="40" y="165"/>
                      <a:pt x="45" y="153"/>
                      <a:pt x="46" y="144"/>
                    </a:cubicBezTo>
                    <a:cubicBezTo>
                      <a:pt x="46" y="134"/>
                      <a:pt x="41" y="128"/>
                      <a:pt x="49" y="120"/>
                    </a:cubicBezTo>
                    <a:cubicBezTo>
                      <a:pt x="55" y="113"/>
                      <a:pt x="56" y="118"/>
                      <a:pt x="63" y="116"/>
                    </a:cubicBezTo>
                    <a:cubicBezTo>
                      <a:pt x="69" y="114"/>
                      <a:pt x="73" y="111"/>
                      <a:pt x="81" y="111"/>
                    </a:cubicBezTo>
                    <a:cubicBezTo>
                      <a:pt x="95" y="111"/>
                      <a:pt x="86" y="118"/>
                      <a:pt x="96" y="107"/>
                    </a:cubicBezTo>
                    <a:cubicBezTo>
                      <a:pt x="102" y="101"/>
                      <a:pt x="101" y="91"/>
                      <a:pt x="106" y="85"/>
                    </a:cubicBezTo>
                    <a:cubicBezTo>
                      <a:pt x="121" y="65"/>
                      <a:pt x="131" y="66"/>
                      <a:pt x="149" y="71"/>
                    </a:cubicBezTo>
                    <a:cubicBezTo>
                      <a:pt x="159" y="74"/>
                      <a:pt x="165" y="81"/>
                      <a:pt x="162" y="69"/>
                    </a:cubicBezTo>
                    <a:cubicBezTo>
                      <a:pt x="161" y="66"/>
                      <a:pt x="156" y="65"/>
                      <a:pt x="155" y="62"/>
                    </a:cubicBezTo>
                    <a:cubicBezTo>
                      <a:pt x="154" y="58"/>
                      <a:pt x="157" y="55"/>
                      <a:pt x="156" y="53"/>
                    </a:cubicBezTo>
                    <a:cubicBezTo>
                      <a:pt x="156" y="50"/>
                      <a:pt x="152" y="42"/>
                      <a:pt x="153" y="40"/>
                    </a:cubicBezTo>
                    <a:cubicBezTo>
                      <a:pt x="153" y="36"/>
                      <a:pt x="160" y="35"/>
                      <a:pt x="160" y="31"/>
                    </a:cubicBezTo>
                    <a:cubicBezTo>
                      <a:pt x="160" y="30"/>
                      <a:pt x="155" y="27"/>
                      <a:pt x="154" y="25"/>
                    </a:cubicBezTo>
                    <a:cubicBezTo>
                      <a:pt x="152" y="13"/>
                      <a:pt x="155" y="7"/>
                      <a:pt x="167" y="5"/>
                    </a:cubicBezTo>
                    <a:cubicBezTo>
                      <a:pt x="175" y="4"/>
                      <a:pt x="198" y="8"/>
                      <a:pt x="204" y="11"/>
                    </a:cubicBezTo>
                    <a:cubicBezTo>
                      <a:pt x="224" y="20"/>
                      <a:pt x="200" y="42"/>
                      <a:pt x="233" y="34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grpSp>
            <p:nvGrpSpPr>
              <p:cNvPr id="45" name="Группа 44">
                <a:extLst>
                  <a:ext uri="{FF2B5EF4-FFF2-40B4-BE49-F238E27FC236}">
                    <a16:creationId xmlns:a16="http://schemas.microsoft.com/office/drawing/2014/main" id="{19E6E574-51FA-5B5E-B9CA-CF44685B067C}"/>
                  </a:ext>
                </a:extLst>
              </p:cNvPr>
              <p:cNvGrpSpPr/>
              <p:nvPr/>
            </p:nvGrpSpPr>
            <p:grpSpPr>
              <a:xfrm>
                <a:off x="3754228" y="1238238"/>
                <a:ext cx="1442320" cy="1492465"/>
                <a:chOff x="6532563" y="109538"/>
                <a:chExt cx="1735138" cy="1795463"/>
              </a:xfrm>
              <a:grpFill/>
            </p:grpSpPr>
            <p:sp>
              <p:nvSpPr>
                <p:cNvPr id="48" name="Freeform 74">
                  <a:extLst>
                    <a:ext uri="{FF2B5EF4-FFF2-40B4-BE49-F238E27FC236}">
                      <a16:creationId xmlns:a16="http://schemas.microsoft.com/office/drawing/2014/main" id="{76EB33A3-3533-C559-8E04-8163F60C1A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99438" y="515938"/>
                  <a:ext cx="26988" cy="41275"/>
                </a:xfrm>
                <a:custGeom>
                  <a:avLst/>
                  <a:gdLst>
                    <a:gd name="T0" fmla="*/ 38 w 44"/>
                    <a:gd name="T1" fmla="*/ 28 h 66"/>
                    <a:gd name="T2" fmla="*/ 30 w 44"/>
                    <a:gd name="T3" fmla="*/ 47 h 66"/>
                    <a:gd name="T4" fmla="*/ 23 w 44"/>
                    <a:gd name="T5" fmla="*/ 66 h 66"/>
                    <a:gd name="T6" fmla="*/ 2 w 44"/>
                    <a:gd name="T7" fmla="*/ 25 h 66"/>
                    <a:gd name="T8" fmla="*/ 44 w 44"/>
                    <a:gd name="T9" fmla="*/ 0 h 66"/>
                    <a:gd name="T10" fmla="*/ 38 w 44"/>
                    <a:gd name="T11" fmla="*/ 28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4" h="66">
                      <a:moveTo>
                        <a:pt x="38" y="28"/>
                      </a:moveTo>
                      <a:cubicBezTo>
                        <a:pt x="37" y="36"/>
                        <a:pt x="32" y="40"/>
                        <a:pt x="30" y="47"/>
                      </a:cubicBezTo>
                      <a:cubicBezTo>
                        <a:pt x="27" y="53"/>
                        <a:pt x="29" y="60"/>
                        <a:pt x="23" y="66"/>
                      </a:cubicBezTo>
                      <a:cubicBezTo>
                        <a:pt x="14" y="57"/>
                        <a:pt x="0" y="38"/>
                        <a:pt x="2" y="25"/>
                      </a:cubicBezTo>
                      <a:cubicBezTo>
                        <a:pt x="5" y="11"/>
                        <a:pt x="31" y="0"/>
                        <a:pt x="44" y="0"/>
                      </a:cubicBezTo>
                      <a:cubicBezTo>
                        <a:pt x="40" y="10"/>
                        <a:pt x="38" y="17"/>
                        <a:pt x="38" y="28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49" name="Freeform 75">
                  <a:extLst>
                    <a:ext uri="{FF2B5EF4-FFF2-40B4-BE49-F238E27FC236}">
                      <a16:creationId xmlns:a16="http://schemas.microsoft.com/office/drawing/2014/main" id="{CAEFF633-97FA-C953-8218-33FB9C8DC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81975" y="244476"/>
                  <a:ext cx="11113" cy="15875"/>
                </a:xfrm>
                <a:custGeom>
                  <a:avLst/>
                  <a:gdLst>
                    <a:gd name="T0" fmla="*/ 18 w 18"/>
                    <a:gd name="T1" fmla="*/ 20 h 26"/>
                    <a:gd name="T2" fmla="*/ 2 w 18"/>
                    <a:gd name="T3" fmla="*/ 13 h 26"/>
                    <a:gd name="T4" fmla="*/ 18 w 18"/>
                    <a:gd name="T5" fmla="*/ 2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8" h="26">
                      <a:moveTo>
                        <a:pt x="18" y="20"/>
                      </a:moveTo>
                      <a:cubicBezTo>
                        <a:pt x="15" y="26"/>
                        <a:pt x="3" y="20"/>
                        <a:pt x="2" y="13"/>
                      </a:cubicBezTo>
                      <a:cubicBezTo>
                        <a:pt x="0" y="0"/>
                        <a:pt x="15" y="14"/>
                        <a:pt x="18" y="2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0" name="Freeform 76">
                  <a:extLst>
                    <a:ext uri="{FF2B5EF4-FFF2-40B4-BE49-F238E27FC236}">
                      <a16:creationId xmlns:a16="http://schemas.microsoft.com/office/drawing/2014/main" id="{28C55B34-E696-D22A-823D-8EB5CC4381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75463" y="927101"/>
                  <a:ext cx="14288" cy="20638"/>
                </a:xfrm>
                <a:custGeom>
                  <a:avLst/>
                  <a:gdLst>
                    <a:gd name="T0" fmla="*/ 18 w 23"/>
                    <a:gd name="T1" fmla="*/ 0 h 34"/>
                    <a:gd name="T2" fmla="*/ 22 w 23"/>
                    <a:gd name="T3" fmla="*/ 17 h 34"/>
                    <a:gd name="T4" fmla="*/ 16 w 23"/>
                    <a:gd name="T5" fmla="*/ 27 h 34"/>
                    <a:gd name="T6" fmla="*/ 4 w 23"/>
                    <a:gd name="T7" fmla="*/ 26 h 34"/>
                    <a:gd name="T8" fmla="*/ 18 w 23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34">
                      <a:moveTo>
                        <a:pt x="18" y="0"/>
                      </a:moveTo>
                      <a:cubicBezTo>
                        <a:pt x="19" y="4"/>
                        <a:pt x="22" y="11"/>
                        <a:pt x="22" y="17"/>
                      </a:cubicBezTo>
                      <a:cubicBezTo>
                        <a:pt x="23" y="31"/>
                        <a:pt x="22" y="25"/>
                        <a:pt x="16" y="27"/>
                      </a:cubicBezTo>
                      <a:cubicBezTo>
                        <a:pt x="8" y="29"/>
                        <a:pt x="7" y="34"/>
                        <a:pt x="4" y="26"/>
                      </a:cubicBezTo>
                      <a:cubicBezTo>
                        <a:pt x="0" y="16"/>
                        <a:pt x="13" y="5"/>
                        <a:pt x="18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1" name="Freeform 77">
                  <a:extLst>
                    <a:ext uri="{FF2B5EF4-FFF2-40B4-BE49-F238E27FC236}">
                      <a16:creationId xmlns:a16="http://schemas.microsoft.com/office/drawing/2014/main" id="{FEC46378-27CE-50C8-7D89-51B9587D5A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9100" y="952501"/>
                  <a:ext cx="98425" cy="77788"/>
                </a:xfrm>
                <a:custGeom>
                  <a:avLst/>
                  <a:gdLst>
                    <a:gd name="T0" fmla="*/ 133 w 161"/>
                    <a:gd name="T1" fmla="*/ 19 h 127"/>
                    <a:gd name="T2" fmla="*/ 136 w 161"/>
                    <a:gd name="T3" fmla="*/ 40 h 127"/>
                    <a:gd name="T4" fmla="*/ 153 w 161"/>
                    <a:gd name="T5" fmla="*/ 75 h 127"/>
                    <a:gd name="T6" fmla="*/ 108 w 161"/>
                    <a:gd name="T7" fmla="*/ 105 h 127"/>
                    <a:gd name="T8" fmla="*/ 59 w 161"/>
                    <a:gd name="T9" fmla="*/ 121 h 127"/>
                    <a:gd name="T10" fmla="*/ 41 w 161"/>
                    <a:gd name="T11" fmla="*/ 117 h 127"/>
                    <a:gd name="T12" fmla="*/ 16 w 161"/>
                    <a:gd name="T13" fmla="*/ 126 h 127"/>
                    <a:gd name="T14" fmla="*/ 1 w 161"/>
                    <a:gd name="T15" fmla="*/ 84 h 127"/>
                    <a:gd name="T16" fmla="*/ 14 w 161"/>
                    <a:gd name="T17" fmla="*/ 49 h 127"/>
                    <a:gd name="T18" fmla="*/ 61 w 161"/>
                    <a:gd name="T19" fmla="*/ 29 h 127"/>
                    <a:gd name="T20" fmla="*/ 111 w 161"/>
                    <a:gd name="T21" fmla="*/ 0 h 127"/>
                    <a:gd name="T22" fmla="*/ 133 w 161"/>
                    <a:gd name="T23" fmla="*/ 19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1" h="127">
                      <a:moveTo>
                        <a:pt x="133" y="19"/>
                      </a:moveTo>
                      <a:cubicBezTo>
                        <a:pt x="131" y="32"/>
                        <a:pt x="120" y="27"/>
                        <a:pt x="136" y="40"/>
                      </a:cubicBezTo>
                      <a:cubicBezTo>
                        <a:pt x="147" y="48"/>
                        <a:pt x="161" y="59"/>
                        <a:pt x="153" y="75"/>
                      </a:cubicBezTo>
                      <a:cubicBezTo>
                        <a:pt x="143" y="92"/>
                        <a:pt x="125" y="99"/>
                        <a:pt x="108" y="105"/>
                      </a:cubicBezTo>
                      <a:cubicBezTo>
                        <a:pt x="93" y="110"/>
                        <a:pt x="75" y="121"/>
                        <a:pt x="59" y="121"/>
                      </a:cubicBezTo>
                      <a:cubicBezTo>
                        <a:pt x="53" y="121"/>
                        <a:pt x="47" y="116"/>
                        <a:pt x="41" y="117"/>
                      </a:cubicBezTo>
                      <a:cubicBezTo>
                        <a:pt x="34" y="117"/>
                        <a:pt x="22" y="127"/>
                        <a:pt x="16" y="126"/>
                      </a:cubicBezTo>
                      <a:cubicBezTo>
                        <a:pt x="0" y="125"/>
                        <a:pt x="0" y="97"/>
                        <a:pt x="1" y="84"/>
                      </a:cubicBezTo>
                      <a:cubicBezTo>
                        <a:pt x="1" y="68"/>
                        <a:pt x="4" y="57"/>
                        <a:pt x="14" y="49"/>
                      </a:cubicBezTo>
                      <a:cubicBezTo>
                        <a:pt x="29" y="36"/>
                        <a:pt x="45" y="36"/>
                        <a:pt x="61" y="29"/>
                      </a:cubicBezTo>
                      <a:cubicBezTo>
                        <a:pt x="76" y="23"/>
                        <a:pt x="93" y="1"/>
                        <a:pt x="111" y="0"/>
                      </a:cubicBezTo>
                      <a:cubicBezTo>
                        <a:pt x="126" y="0"/>
                        <a:pt x="125" y="12"/>
                        <a:pt x="133" y="1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2" name="Freeform 78">
                  <a:extLst>
                    <a:ext uri="{FF2B5EF4-FFF2-40B4-BE49-F238E27FC236}">
                      <a16:creationId xmlns:a16="http://schemas.microsoft.com/office/drawing/2014/main" id="{D1EBD1AD-3820-7701-6E01-5D15612436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32563" y="263526"/>
                  <a:ext cx="1735138" cy="1641475"/>
                </a:xfrm>
                <a:custGeom>
                  <a:avLst/>
                  <a:gdLst>
                    <a:gd name="T0" fmla="*/ 2800 w 2835"/>
                    <a:gd name="T1" fmla="*/ 484 h 2680"/>
                    <a:gd name="T2" fmla="*/ 2693 w 2835"/>
                    <a:gd name="T3" fmla="*/ 369 h 2680"/>
                    <a:gd name="T4" fmla="*/ 2592 w 2835"/>
                    <a:gd name="T5" fmla="*/ 337 h 2680"/>
                    <a:gd name="T6" fmla="*/ 2600 w 2835"/>
                    <a:gd name="T7" fmla="*/ 296 h 2680"/>
                    <a:gd name="T8" fmla="*/ 2605 w 2835"/>
                    <a:gd name="T9" fmla="*/ 194 h 2680"/>
                    <a:gd name="T10" fmla="*/ 2613 w 2835"/>
                    <a:gd name="T11" fmla="*/ 28 h 2680"/>
                    <a:gd name="T12" fmla="*/ 2511 w 2835"/>
                    <a:gd name="T13" fmla="*/ 38 h 2680"/>
                    <a:gd name="T14" fmla="*/ 2203 w 2835"/>
                    <a:gd name="T15" fmla="*/ 171 h 2680"/>
                    <a:gd name="T16" fmla="*/ 2194 w 2835"/>
                    <a:gd name="T17" fmla="*/ 196 h 2680"/>
                    <a:gd name="T18" fmla="*/ 2141 w 2835"/>
                    <a:gd name="T19" fmla="*/ 296 h 2680"/>
                    <a:gd name="T20" fmla="*/ 2300 w 2835"/>
                    <a:gd name="T21" fmla="*/ 364 h 2680"/>
                    <a:gd name="T22" fmla="*/ 2205 w 2835"/>
                    <a:gd name="T23" fmla="*/ 388 h 2680"/>
                    <a:gd name="T24" fmla="*/ 2007 w 2835"/>
                    <a:gd name="T25" fmla="*/ 323 h 2680"/>
                    <a:gd name="T26" fmla="*/ 1899 w 2835"/>
                    <a:gd name="T27" fmla="*/ 336 h 2680"/>
                    <a:gd name="T28" fmla="*/ 1822 w 2835"/>
                    <a:gd name="T29" fmla="*/ 329 h 2680"/>
                    <a:gd name="T30" fmla="*/ 1661 w 2835"/>
                    <a:gd name="T31" fmla="*/ 378 h 2680"/>
                    <a:gd name="T32" fmla="*/ 1505 w 2835"/>
                    <a:gd name="T33" fmla="*/ 420 h 2680"/>
                    <a:gd name="T34" fmla="*/ 1357 w 2835"/>
                    <a:gd name="T35" fmla="*/ 477 h 2680"/>
                    <a:gd name="T36" fmla="*/ 1125 w 2835"/>
                    <a:gd name="T37" fmla="*/ 558 h 2680"/>
                    <a:gd name="T38" fmla="*/ 957 w 2835"/>
                    <a:gd name="T39" fmla="*/ 650 h 2680"/>
                    <a:gd name="T40" fmla="*/ 781 w 2835"/>
                    <a:gd name="T41" fmla="*/ 811 h 2680"/>
                    <a:gd name="T42" fmla="*/ 555 w 2835"/>
                    <a:gd name="T43" fmla="*/ 1026 h 2680"/>
                    <a:gd name="T44" fmla="*/ 770 w 2835"/>
                    <a:gd name="T45" fmla="*/ 1191 h 2680"/>
                    <a:gd name="T46" fmla="*/ 490 w 2835"/>
                    <a:gd name="T47" fmla="*/ 1276 h 2680"/>
                    <a:gd name="T48" fmla="*/ 156 w 2835"/>
                    <a:gd name="T49" fmla="*/ 1517 h 2680"/>
                    <a:gd name="T50" fmla="*/ 82 w 2835"/>
                    <a:gd name="T51" fmla="*/ 1687 h 2680"/>
                    <a:gd name="T52" fmla="*/ 211 w 2835"/>
                    <a:gd name="T53" fmla="*/ 1803 h 2680"/>
                    <a:gd name="T54" fmla="*/ 81 w 2835"/>
                    <a:gd name="T55" fmla="*/ 2116 h 2680"/>
                    <a:gd name="T56" fmla="*/ 81 w 2835"/>
                    <a:gd name="T57" fmla="*/ 2399 h 2680"/>
                    <a:gd name="T58" fmla="*/ 303 w 2835"/>
                    <a:gd name="T59" fmla="*/ 2571 h 2680"/>
                    <a:gd name="T60" fmla="*/ 594 w 2835"/>
                    <a:gd name="T61" fmla="*/ 2641 h 2680"/>
                    <a:gd name="T62" fmla="*/ 987 w 2835"/>
                    <a:gd name="T63" fmla="*/ 2575 h 2680"/>
                    <a:gd name="T64" fmla="*/ 1031 w 2835"/>
                    <a:gd name="T65" fmla="*/ 2444 h 2680"/>
                    <a:gd name="T66" fmla="*/ 1204 w 2835"/>
                    <a:gd name="T67" fmla="*/ 2371 h 2680"/>
                    <a:gd name="T68" fmla="*/ 1330 w 2835"/>
                    <a:gd name="T69" fmla="*/ 2279 h 2680"/>
                    <a:gd name="T70" fmla="*/ 1560 w 2835"/>
                    <a:gd name="T71" fmla="*/ 2231 h 2680"/>
                    <a:gd name="T72" fmla="*/ 1711 w 2835"/>
                    <a:gd name="T73" fmla="*/ 2357 h 2680"/>
                    <a:gd name="T74" fmla="*/ 1877 w 2835"/>
                    <a:gd name="T75" fmla="*/ 2411 h 2680"/>
                    <a:gd name="T76" fmla="*/ 2083 w 2835"/>
                    <a:gd name="T77" fmla="*/ 2396 h 2680"/>
                    <a:gd name="T78" fmla="*/ 2136 w 2835"/>
                    <a:gd name="T79" fmla="*/ 2254 h 2680"/>
                    <a:gd name="T80" fmla="*/ 2248 w 2835"/>
                    <a:gd name="T81" fmla="*/ 2106 h 2680"/>
                    <a:gd name="T82" fmla="*/ 2439 w 2835"/>
                    <a:gd name="T83" fmla="*/ 2130 h 2680"/>
                    <a:gd name="T84" fmla="*/ 2498 w 2835"/>
                    <a:gd name="T85" fmla="*/ 1893 h 2680"/>
                    <a:gd name="T86" fmla="*/ 2491 w 2835"/>
                    <a:gd name="T87" fmla="*/ 1735 h 2680"/>
                    <a:gd name="T88" fmla="*/ 2671 w 2835"/>
                    <a:gd name="T89" fmla="*/ 1548 h 2680"/>
                    <a:gd name="T90" fmla="*/ 2469 w 2835"/>
                    <a:gd name="T91" fmla="*/ 1485 h 2680"/>
                    <a:gd name="T92" fmla="*/ 2389 w 2835"/>
                    <a:gd name="T93" fmla="*/ 1468 h 2680"/>
                    <a:gd name="T94" fmla="*/ 2256 w 2835"/>
                    <a:gd name="T95" fmla="*/ 1379 h 2680"/>
                    <a:gd name="T96" fmla="*/ 2061 w 2835"/>
                    <a:gd name="T97" fmla="*/ 1439 h 2680"/>
                    <a:gd name="T98" fmla="*/ 1912 w 2835"/>
                    <a:gd name="T99" fmla="*/ 1582 h 2680"/>
                    <a:gd name="T100" fmla="*/ 1964 w 2835"/>
                    <a:gd name="T101" fmla="*/ 1461 h 2680"/>
                    <a:gd name="T102" fmla="*/ 1991 w 2835"/>
                    <a:gd name="T103" fmla="*/ 1375 h 2680"/>
                    <a:gd name="T104" fmla="*/ 2077 w 2835"/>
                    <a:gd name="T105" fmla="*/ 1370 h 2680"/>
                    <a:gd name="T106" fmla="*/ 2195 w 2835"/>
                    <a:gd name="T107" fmla="*/ 1217 h 2680"/>
                    <a:gd name="T108" fmla="*/ 2123 w 2835"/>
                    <a:gd name="T109" fmla="*/ 954 h 2680"/>
                    <a:gd name="T110" fmla="*/ 2008 w 2835"/>
                    <a:gd name="T111" fmla="*/ 773 h 2680"/>
                    <a:gd name="T112" fmla="*/ 2074 w 2835"/>
                    <a:gd name="T113" fmla="*/ 860 h 2680"/>
                    <a:gd name="T114" fmla="*/ 2394 w 2835"/>
                    <a:gd name="T115" fmla="*/ 682 h 2680"/>
                    <a:gd name="T116" fmla="*/ 2556 w 2835"/>
                    <a:gd name="T117" fmla="*/ 728 h 2680"/>
                    <a:gd name="T118" fmla="*/ 2729 w 2835"/>
                    <a:gd name="T119" fmla="*/ 643 h 2680"/>
                    <a:gd name="T120" fmla="*/ 2168 w 2835"/>
                    <a:gd name="T121" fmla="*/ 1084 h 26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835" h="2680">
                      <a:moveTo>
                        <a:pt x="2811" y="561"/>
                      </a:moveTo>
                      <a:cubicBezTo>
                        <a:pt x="2804" y="554"/>
                        <a:pt x="2809" y="559"/>
                        <a:pt x="2811" y="555"/>
                      </a:cubicBezTo>
                      <a:cubicBezTo>
                        <a:pt x="2812" y="553"/>
                        <a:pt x="2818" y="559"/>
                        <a:pt x="2820" y="553"/>
                      </a:cubicBezTo>
                      <a:cubicBezTo>
                        <a:pt x="2821" y="549"/>
                        <a:pt x="2815" y="546"/>
                        <a:pt x="2813" y="544"/>
                      </a:cubicBezTo>
                      <a:cubicBezTo>
                        <a:pt x="2809" y="540"/>
                        <a:pt x="2796" y="528"/>
                        <a:pt x="2792" y="528"/>
                      </a:cubicBezTo>
                      <a:cubicBezTo>
                        <a:pt x="2780" y="529"/>
                        <a:pt x="2788" y="549"/>
                        <a:pt x="2775" y="546"/>
                      </a:cubicBezTo>
                      <a:cubicBezTo>
                        <a:pt x="2774" y="534"/>
                        <a:pt x="2773" y="524"/>
                        <a:pt x="2783" y="520"/>
                      </a:cubicBezTo>
                      <a:cubicBezTo>
                        <a:pt x="2788" y="518"/>
                        <a:pt x="2803" y="522"/>
                        <a:pt x="2807" y="526"/>
                      </a:cubicBezTo>
                      <a:cubicBezTo>
                        <a:pt x="2810" y="521"/>
                        <a:pt x="2812" y="523"/>
                        <a:pt x="2816" y="520"/>
                      </a:cubicBezTo>
                      <a:cubicBezTo>
                        <a:pt x="2822" y="515"/>
                        <a:pt x="2820" y="518"/>
                        <a:pt x="2823" y="509"/>
                      </a:cubicBezTo>
                      <a:cubicBezTo>
                        <a:pt x="2828" y="498"/>
                        <a:pt x="2826" y="489"/>
                        <a:pt x="2835" y="477"/>
                      </a:cubicBezTo>
                      <a:cubicBezTo>
                        <a:pt x="2824" y="480"/>
                        <a:pt x="2812" y="485"/>
                        <a:pt x="2800" y="484"/>
                      </a:cubicBezTo>
                      <a:cubicBezTo>
                        <a:pt x="2784" y="482"/>
                        <a:pt x="2789" y="479"/>
                        <a:pt x="2774" y="491"/>
                      </a:cubicBezTo>
                      <a:cubicBezTo>
                        <a:pt x="2769" y="495"/>
                        <a:pt x="2760" y="497"/>
                        <a:pt x="2757" y="503"/>
                      </a:cubicBezTo>
                      <a:cubicBezTo>
                        <a:pt x="2754" y="510"/>
                        <a:pt x="2762" y="519"/>
                        <a:pt x="2755" y="527"/>
                      </a:cubicBezTo>
                      <a:cubicBezTo>
                        <a:pt x="2743" y="512"/>
                        <a:pt x="2742" y="489"/>
                        <a:pt x="2732" y="522"/>
                      </a:cubicBezTo>
                      <a:cubicBezTo>
                        <a:pt x="2717" y="513"/>
                        <a:pt x="2742" y="485"/>
                        <a:pt x="2721" y="477"/>
                      </a:cubicBezTo>
                      <a:cubicBezTo>
                        <a:pt x="2712" y="474"/>
                        <a:pt x="2701" y="481"/>
                        <a:pt x="2699" y="490"/>
                      </a:cubicBezTo>
                      <a:cubicBezTo>
                        <a:pt x="2697" y="500"/>
                        <a:pt x="2708" y="509"/>
                        <a:pt x="2698" y="517"/>
                      </a:cubicBezTo>
                      <a:cubicBezTo>
                        <a:pt x="2704" y="503"/>
                        <a:pt x="2688" y="502"/>
                        <a:pt x="2688" y="490"/>
                      </a:cubicBezTo>
                      <a:cubicBezTo>
                        <a:pt x="2687" y="479"/>
                        <a:pt x="2704" y="474"/>
                        <a:pt x="2705" y="466"/>
                      </a:cubicBezTo>
                      <a:cubicBezTo>
                        <a:pt x="2706" y="461"/>
                        <a:pt x="2701" y="451"/>
                        <a:pt x="2701" y="445"/>
                      </a:cubicBezTo>
                      <a:cubicBezTo>
                        <a:pt x="2701" y="434"/>
                        <a:pt x="2703" y="437"/>
                        <a:pt x="2705" y="429"/>
                      </a:cubicBezTo>
                      <a:cubicBezTo>
                        <a:pt x="2709" y="416"/>
                        <a:pt x="2708" y="374"/>
                        <a:pt x="2693" y="369"/>
                      </a:cubicBezTo>
                      <a:cubicBezTo>
                        <a:pt x="2681" y="366"/>
                        <a:pt x="2686" y="378"/>
                        <a:pt x="2685" y="378"/>
                      </a:cubicBezTo>
                      <a:cubicBezTo>
                        <a:pt x="2681" y="381"/>
                        <a:pt x="2675" y="379"/>
                        <a:pt x="2669" y="378"/>
                      </a:cubicBezTo>
                      <a:cubicBezTo>
                        <a:pt x="2681" y="370"/>
                        <a:pt x="2661" y="359"/>
                        <a:pt x="2654" y="362"/>
                      </a:cubicBezTo>
                      <a:cubicBezTo>
                        <a:pt x="2649" y="364"/>
                        <a:pt x="2642" y="383"/>
                        <a:pt x="2638" y="388"/>
                      </a:cubicBezTo>
                      <a:cubicBezTo>
                        <a:pt x="2635" y="392"/>
                        <a:pt x="2629" y="408"/>
                        <a:pt x="2619" y="405"/>
                      </a:cubicBezTo>
                      <a:cubicBezTo>
                        <a:pt x="2606" y="399"/>
                        <a:pt x="2621" y="396"/>
                        <a:pt x="2623" y="393"/>
                      </a:cubicBezTo>
                      <a:cubicBezTo>
                        <a:pt x="2627" y="388"/>
                        <a:pt x="2626" y="378"/>
                        <a:pt x="2630" y="372"/>
                      </a:cubicBezTo>
                      <a:cubicBezTo>
                        <a:pt x="2634" y="366"/>
                        <a:pt x="2647" y="364"/>
                        <a:pt x="2648" y="361"/>
                      </a:cubicBezTo>
                      <a:cubicBezTo>
                        <a:pt x="2653" y="351"/>
                        <a:pt x="2634" y="348"/>
                        <a:pt x="2628" y="344"/>
                      </a:cubicBezTo>
                      <a:cubicBezTo>
                        <a:pt x="2616" y="336"/>
                        <a:pt x="2609" y="325"/>
                        <a:pt x="2601" y="313"/>
                      </a:cubicBezTo>
                      <a:cubicBezTo>
                        <a:pt x="2598" y="322"/>
                        <a:pt x="2617" y="343"/>
                        <a:pt x="2595" y="348"/>
                      </a:cubicBezTo>
                      <a:cubicBezTo>
                        <a:pt x="2587" y="351"/>
                        <a:pt x="2578" y="341"/>
                        <a:pt x="2592" y="337"/>
                      </a:cubicBezTo>
                      <a:cubicBezTo>
                        <a:pt x="2585" y="333"/>
                        <a:pt x="2578" y="336"/>
                        <a:pt x="2572" y="334"/>
                      </a:cubicBezTo>
                      <a:cubicBezTo>
                        <a:pt x="2562" y="332"/>
                        <a:pt x="2566" y="326"/>
                        <a:pt x="2554" y="331"/>
                      </a:cubicBezTo>
                      <a:cubicBezTo>
                        <a:pt x="2544" y="335"/>
                        <a:pt x="2534" y="359"/>
                        <a:pt x="2525" y="340"/>
                      </a:cubicBezTo>
                      <a:cubicBezTo>
                        <a:pt x="2522" y="348"/>
                        <a:pt x="2518" y="358"/>
                        <a:pt x="2507" y="354"/>
                      </a:cubicBezTo>
                      <a:cubicBezTo>
                        <a:pt x="2517" y="351"/>
                        <a:pt x="2519" y="336"/>
                        <a:pt x="2525" y="328"/>
                      </a:cubicBezTo>
                      <a:cubicBezTo>
                        <a:pt x="2530" y="323"/>
                        <a:pt x="2540" y="309"/>
                        <a:pt x="2548" y="312"/>
                      </a:cubicBezTo>
                      <a:cubicBezTo>
                        <a:pt x="2548" y="310"/>
                        <a:pt x="2549" y="308"/>
                        <a:pt x="2549" y="306"/>
                      </a:cubicBezTo>
                      <a:cubicBezTo>
                        <a:pt x="2554" y="306"/>
                        <a:pt x="2556" y="310"/>
                        <a:pt x="2557" y="315"/>
                      </a:cubicBezTo>
                      <a:cubicBezTo>
                        <a:pt x="2560" y="312"/>
                        <a:pt x="2568" y="309"/>
                        <a:pt x="2573" y="310"/>
                      </a:cubicBezTo>
                      <a:cubicBezTo>
                        <a:pt x="2575" y="311"/>
                        <a:pt x="2573" y="319"/>
                        <a:pt x="2576" y="320"/>
                      </a:cubicBezTo>
                      <a:cubicBezTo>
                        <a:pt x="2587" y="321"/>
                        <a:pt x="2588" y="308"/>
                        <a:pt x="2582" y="301"/>
                      </a:cubicBezTo>
                      <a:cubicBezTo>
                        <a:pt x="2587" y="300"/>
                        <a:pt x="2597" y="298"/>
                        <a:pt x="2600" y="296"/>
                      </a:cubicBezTo>
                      <a:cubicBezTo>
                        <a:pt x="2607" y="291"/>
                        <a:pt x="2608" y="281"/>
                        <a:pt x="2618" y="278"/>
                      </a:cubicBezTo>
                      <a:cubicBezTo>
                        <a:pt x="2617" y="289"/>
                        <a:pt x="2611" y="299"/>
                        <a:pt x="2607" y="309"/>
                      </a:cubicBezTo>
                      <a:cubicBezTo>
                        <a:pt x="2627" y="290"/>
                        <a:pt x="2621" y="261"/>
                        <a:pt x="2636" y="238"/>
                      </a:cubicBezTo>
                      <a:cubicBezTo>
                        <a:pt x="2643" y="229"/>
                        <a:pt x="2641" y="232"/>
                        <a:pt x="2650" y="227"/>
                      </a:cubicBezTo>
                      <a:cubicBezTo>
                        <a:pt x="2655" y="224"/>
                        <a:pt x="2662" y="226"/>
                        <a:pt x="2665" y="218"/>
                      </a:cubicBezTo>
                      <a:cubicBezTo>
                        <a:pt x="2669" y="207"/>
                        <a:pt x="2650" y="197"/>
                        <a:pt x="2642" y="193"/>
                      </a:cubicBezTo>
                      <a:cubicBezTo>
                        <a:pt x="2641" y="195"/>
                        <a:pt x="2641" y="197"/>
                        <a:pt x="2641" y="199"/>
                      </a:cubicBezTo>
                      <a:cubicBezTo>
                        <a:pt x="2622" y="188"/>
                        <a:pt x="2611" y="221"/>
                        <a:pt x="2588" y="211"/>
                      </a:cubicBezTo>
                      <a:cubicBezTo>
                        <a:pt x="2590" y="209"/>
                        <a:pt x="2589" y="208"/>
                        <a:pt x="2590" y="205"/>
                      </a:cubicBezTo>
                      <a:cubicBezTo>
                        <a:pt x="2583" y="214"/>
                        <a:pt x="2568" y="209"/>
                        <a:pt x="2559" y="205"/>
                      </a:cubicBezTo>
                      <a:cubicBezTo>
                        <a:pt x="2567" y="199"/>
                        <a:pt x="2581" y="194"/>
                        <a:pt x="2590" y="193"/>
                      </a:cubicBezTo>
                      <a:cubicBezTo>
                        <a:pt x="2595" y="193"/>
                        <a:pt x="2600" y="195"/>
                        <a:pt x="2605" y="194"/>
                      </a:cubicBezTo>
                      <a:cubicBezTo>
                        <a:pt x="2610" y="193"/>
                        <a:pt x="2611" y="190"/>
                        <a:pt x="2616" y="187"/>
                      </a:cubicBezTo>
                      <a:cubicBezTo>
                        <a:pt x="2631" y="178"/>
                        <a:pt x="2652" y="179"/>
                        <a:pt x="2660" y="159"/>
                      </a:cubicBezTo>
                      <a:cubicBezTo>
                        <a:pt x="2666" y="140"/>
                        <a:pt x="2648" y="138"/>
                        <a:pt x="2636" y="132"/>
                      </a:cubicBezTo>
                      <a:cubicBezTo>
                        <a:pt x="2633" y="131"/>
                        <a:pt x="2629" y="132"/>
                        <a:pt x="2626" y="130"/>
                      </a:cubicBezTo>
                      <a:cubicBezTo>
                        <a:pt x="2622" y="128"/>
                        <a:pt x="2620" y="121"/>
                        <a:pt x="2616" y="119"/>
                      </a:cubicBezTo>
                      <a:cubicBezTo>
                        <a:pt x="2609" y="115"/>
                        <a:pt x="2606" y="116"/>
                        <a:pt x="2603" y="124"/>
                      </a:cubicBezTo>
                      <a:cubicBezTo>
                        <a:pt x="2602" y="119"/>
                        <a:pt x="2606" y="116"/>
                        <a:pt x="2605" y="111"/>
                      </a:cubicBezTo>
                      <a:cubicBezTo>
                        <a:pt x="2605" y="106"/>
                        <a:pt x="2602" y="101"/>
                        <a:pt x="2602" y="97"/>
                      </a:cubicBezTo>
                      <a:cubicBezTo>
                        <a:pt x="2600" y="88"/>
                        <a:pt x="2602" y="80"/>
                        <a:pt x="2601" y="73"/>
                      </a:cubicBezTo>
                      <a:cubicBezTo>
                        <a:pt x="2600" y="61"/>
                        <a:pt x="2595" y="55"/>
                        <a:pt x="2597" y="43"/>
                      </a:cubicBezTo>
                      <a:cubicBezTo>
                        <a:pt x="2598" y="38"/>
                        <a:pt x="2597" y="33"/>
                        <a:pt x="2601" y="29"/>
                      </a:cubicBezTo>
                      <a:cubicBezTo>
                        <a:pt x="2603" y="27"/>
                        <a:pt x="2611" y="31"/>
                        <a:pt x="2613" y="28"/>
                      </a:cubicBezTo>
                      <a:cubicBezTo>
                        <a:pt x="2627" y="15"/>
                        <a:pt x="2608" y="0"/>
                        <a:pt x="2595" y="1"/>
                      </a:cubicBezTo>
                      <a:cubicBezTo>
                        <a:pt x="2584" y="2"/>
                        <a:pt x="2565" y="12"/>
                        <a:pt x="2558" y="23"/>
                      </a:cubicBezTo>
                      <a:cubicBezTo>
                        <a:pt x="2561" y="21"/>
                        <a:pt x="2568" y="14"/>
                        <a:pt x="2572" y="15"/>
                      </a:cubicBezTo>
                      <a:cubicBezTo>
                        <a:pt x="2582" y="17"/>
                        <a:pt x="2568" y="24"/>
                        <a:pt x="2568" y="25"/>
                      </a:cubicBezTo>
                      <a:cubicBezTo>
                        <a:pt x="2568" y="25"/>
                        <a:pt x="2562" y="28"/>
                        <a:pt x="2561" y="30"/>
                      </a:cubicBezTo>
                      <a:cubicBezTo>
                        <a:pt x="2560" y="31"/>
                        <a:pt x="2566" y="37"/>
                        <a:pt x="2565" y="39"/>
                      </a:cubicBezTo>
                      <a:cubicBezTo>
                        <a:pt x="2562" y="47"/>
                        <a:pt x="2550" y="49"/>
                        <a:pt x="2543" y="51"/>
                      </a:cubicBezTo>
                      <a:cubicBezTo>
                        <a:pt x="2547" y="47"/>
                        <a:pt x="2557" y="38"/>
                        <a:pt x="2556" y="33"/>
                      </a:cubicBezTo>
                      <a:cubicBezTo>
                        <a:pt x="2555" y="25"/>
                        <a:pt x="2535" y="25"/>
                        <a:pt x="2529" y="28"/>
                      </a:cubicBezTo>
                      <a:cubicBezTo>
                        <a:pt x="2507" y="38"/>
                        <a:pt x="2536" y="73"/>
                        <a:pt x="2511" y="72"/>
                      </a:cubicBezTo>
                      <a:cubicBezTo>
                        <a:pt x="2527" y="65"/>
                        <a:pt x="2515" y="63"/>
                        <a:pt x="2513" y="56"/>
                      </a:cubicBezTo>
                      <a:cubicBezTo>
                        <a:pt x="2511" y="50"/>
                        <a:pt x="2512" y="44"/>
                        <a:pt x="2511" y="38"/>
                      </a:cubicBezTo>
                      <a:cubicBezTo>
                        <a:pt x="2497" y="45"/>
                        <a:pt x="2493" y="49"/>
                        <a:pt x="2478" y="49"/>
                      </a:cubicBezTo>
                      <a:cubicBezTo>
                        <a:pt x="2469" y="50"/>
                        <a:pt x="2459" y="51"/>
                        <a:pt x="2450" y="53"/>
                      </a:cubicBezTo>
                      <a:cubicBezTo>
                        <a:pt x="2428" y="58"/>
                        <a:pt x="2408" y="73"/>
                        <a:pt x="2383" y="76"/>
                      </a:cubicBezTo>
                      <a:cubicBezTo>
                        <a:pt x="2374" y="78"/>
                        <a:pt x="2370" y="79"/>
                        <a:pt x="2362" y="73"/>
                      </a:cubicBezTo>
                      <a:cubicBezTo>
                        <a:pt x="2357" y="69"/>
                        <a:pt x="2364" y="64"/>
                        <a:pt x="2353" y="64"/>
                      </a:cubicBezTo>
                      <a:cubicBezTo>
                        <a:pt x="2351" y="64"/>
                        <a:pt x="2346" y="71"/>
                        <a:pt x="2343" y="73"/>
                      </a:cubicBezTo>
                      <a:cubicBezTo>
                        <a:pt x="2338" y="76"/>
                        <a:pt x="2330" y="80"/>
                        <a:pt x="2325" y="81"/>
                      </a:cubicBezTo>
                      <a:cubicBezTo>
                        <a:pt x="2307" y="84"/>
                        <a:pt x="2310" y="66"/>
                        <a:pt x="2297" y="70"/>
                      </a:cubicBezTo>
                      <a:cubicBezTo>
                        <a:pt x="2287" y="73"/>
                        <a:pt x="2285" y="85"/>
                        <a:pt x="2274" y="88"/>
                      </a:cubicBezTo>
                      <a:cubicBezTo>
                        <a:pt x="2277" y="90"/>
                        <a:pt x="2275" y="88"/>
                        <a:pt x="2277" y="89"/>
                      </a:cubicBezTo>
                      <a:cubicBezTo>
                        <a:pt x="2272" y="108"/>
                        <a:pt x="2260" y="117"/>
                        <a:pt x="2245" y="130"/>
                      </a:cubicBezTo>
                      <a:cubicBezTo>
                        <a:pt x="2234" y="140"/>
                        <a:pt x="2208" y="156"/>
                        <a:pt x="2203" y="171"/>
                      </a:cubicBezTo>
                      <a:cubicBezTo>
                        <a:pt x="2196" y="191"/>
                        <a:pt x="2210" y="171"/>
                        <a:pt x="2216" y="165"/>
                      </a:cubicBezTo>
                      <a:cubicBezTo>
                        <a:pt x="2230" y="151"/>
                        <a:pt x="2241" y="139"/>
                        <a:pt x="2260" y="133"/>
                      </a:cubicBezTo>
                      <a:cubicBezTo>
                        <a:pt x="2263" y="147"/>
                        <a:pt x="2256" y="151"/>
                        <a:pt x="2248" y="157"/>
                      </a:cubicBezTo>
                      <a:cubicBezTo>
                        <a:pt x="2265" y="161"/>
                        <a:pt x="2241" y="180"/>
                        <a:pt x="2236" y="185"/>
                      </a:cubicBezTo>
                      <a:cubicBezTo>
                        <a:pt x="2224" y="195"/>
                        <a:pt x="2217" y="196"/>
                        <a:pt x="2206" y="188"/>
                      </a:cubicBezTo>
                      <a:cubicBezTo>
                        <a:pt x="2207" y="193"/>
                        <a:pt x="2207" y="198"/>
                        <a:pt x="2209" y="202"/>
                      </a:cubicBezTo>
                      <a:cubicBezTo>
                        <a:pt x="2211" y="208"/>
                        <a:pt x="2221" y="204"/>
                        <a:pt x="2215" y="214"/>
                      </a:cubicBezTo>
                      <a:cubicBezTo>
                        <a:pt x="2217" y="213"/>
                        <a:pt x="2238" y="212"/>
                        <a:pt x="2238" y="212"/>
                      </a:cubicBezTo>
                      <a:cubicBezTo>
                        <a:pt x="2248" y="224"/>
                        <a:pt x="2216" y="245"/>
                        <a:pt x="2220" y="222"/>
                      </a:cubicBezTo>
                      <a:cubicBezTo>
                        <a:pt x="2213" y="224"/>
                        <a:pt x="2210" y="220"/>
                        <a:pt x="2205" y="217"/>
                      </a:cubicBezTo>
                      <a:cubicBezTo>
                        <a:pt x="2196" y="211"/>
                        <a:pt x="2198" y="212"/>
                        <a:pt x="2198" y="203"/>
                      </a:cubicBezTo>
                      <a:cubicBezTo>
                        <a:pt x="2198" y="194"/>
                        <a:pt x="2209" y="196"/>
                        <a:pt x="2194" y="196"/>
                      </a:cubicBezTo>
                      <a:cubicBezTo>
                        <a:pt x="2189" y="196"/>
                        <a:pt x="2188" y="203"/>
                        <a:pt x="2181" y="198"/>
                      </a:cubicBezTo>
                      <a:cubicBezTo>
                        <a:pt x="2186" y="193"/>
                        <a:pt x="2196" y="190"/>
                        <a:pt x="2194" y="181"/>
                      </a:cubicBezTo>
                      <a:cubicBezTo>
                        <a:pt x="2185" y="189"/>
                        <a:pt x="2171" y="198"/>
                        <a:pt x="2169" y="210"/>
                      </a:cubicBezTo>
                      <a:cubicBezTo>
                        <a:pt x="2169" y="209"/>
                        <a:pt x="2183" y="219"/>
                        <a:pt x="2173" y="218"/>
                      </a:cubicBezTo>
                      <a:cubicBezTo>
                        <a:pt x="2167" y="218"/>
                        <a:pt x="2165" y="215"/>
                        <a:pt x="2166" y="210"/>
                      </a:cubicBezTo>
                      <a:cubicBezTo>
                        <a:pt x="2160" y="215"/>
                        <a:pt x="2153" y="219"/>
                        <a:pt x="2145" y="222"/>
                      </a:cubicBezTo>
                      <a:cubicBezTo>
                        <a:pt x="2161" y="229"/>
                        <a:pt x="2124" y="271"/>
                        <a:pt x="2118" y="280"/>
                      </a:cubicBezTo>
                      <a:cubicBezTo>
                        <a:pt x="2115" y="286"/>
                        <a:pt x="2095" y="308"/>
                        <a:pt x="2101" y="316"/>
                      </a:cubicBezTo>
                      <a:cubicBezTo>
                        <a:pt x="2110" y="327"/>
                        <a:pt x="2113" y="298"/>
                        <a:pt x="2116" y="293"/>
                      </a:cubicBezTo>
                      <a:cubicBezTo>
                        <a:pt x="2116" y="299"/>
                        <a:pt x="2116" y="305"/>
                        <a:pt x="2117" y="311"/>
                      </a:cubicBezTo>
                      <a:cubicBezTo>
                        <a:pt x="2122" y="304"/>
                        <a:pt x="2120" y="292"/>
                        <a:pt x="2126" y="287"/>
                      </a:cubicBezTo>
                      <a:cubicBezTo>
                        <a:pt x="2134" y="281"/>
                        <a:pt x="2142" y="285"/>
                        <a:pt x="2141" y="296"/>
                      </a:cubicBezTo>
                      <a:cubicBezTo>
                        <a:pt x="2146" y="282"/>
                        <a:pt x="2152" y="278"/>
                        <a:pt x="2166" y="283"/>
                      </a:cubicBezTo>
                      <a:cubicBezTo>
                        <a:pt x="2176" y="286"/>
                        <a:pt x="2188" y="290"/>
                        <a:pt x="2199" y="295"/>
                      </a:cubicBezTo>
                      <a:cubicBezTo>
                        <a:pt x="2206" y="299"/>
                        <a:pt x="2221" y="304"/>
                        <a:pt x="2226" y="311"/>
                      </a:cubicBezTo>
                      <a:cubicBezTo>
                        <a:pt x="2237" y="323"/>
                        <a:pt x="2228" y="343"/>
                        <a:pt x="2231" y="357"/>
                      </a:cubicBezTo>
                      <a:cubicBezTo>
                        <a:pt x="2234" y="353"/>
                        <a:pt x="2239" y="352"/>
                        <a:pt x="2245" y="353"/>
                      </a:cubicBezTo>
                      <a:cubicBezTo>
                        <a:pt x="2244" y="347"/>
                        <a:pt x="2257" y="336"/>
                        <a:pt x="2263" y="333"/>
                      </a:cubicBezTo>
                      <a:cubicBezTo>
                        <a:pt x="2268" y="329"/>
                        <a:pt x="2270" y="330"/>
                        <a:pt x="2276" y="328"/>
                      </a:cubicBezTo>
                      <a:cubicBezTo>
                        <a:pt x="2279" y="327"/>
                        <a:pt x="2286" y="325"/>
                        <a:pt x="2291" y="325"/>
                      </a:cubicBezTo>
                      <a:cubicBezTo>
                        <a:pt x="2295" y="326"/>
                        <a:pt x="2308" y="335"/>
                        <a:pt x="2309" y="341"/>
                      </a:cubicBezTo>
                      <a:cubicBezTo>
                        <a:pt x="2310" y="345"/>
                        <a:pt x="2300" y="373"/>
                        <a:pt x="2316" y="353"/>
                      </a:cubicBezTo>
                      <a:cubicBezTo>
                        <a:pt x="2318" y="359"/>
                        <a:pt x="2323" y="384"/>
                        <a:pt x="2320" y="385"/>
                      </a:cubicBezTo>
                      <a:cubicBezTo>
                        <a:pt x="2311" y="388"/>
                        <a:pt x="2304" y="369"/>
                        <a:pt x="2300" y="364"/>
                      </a:cubicBezTo>
                      <a:cubicBezTo>
                        <a:pt x="2295" y="357"/>
                        <a:pt x="2291" y="358"/>
                        <a:pt x="2282" y="353"/>
                      </a:cubicBezTo>
                      <a:cubicBezTo>
                        <a:pt x="2274" y="349"/>
                        <a:pt x="2275" y="342"/>
                        <a:pt x="2266" y="350"/>
                      </a:cubicBezTo>
                      <a:cubicBezTo>
                        <a:pt x="2260" y="356"/>
                        <a:pt x="2266" y="364"/>
                        <a:pt x="2255" y="366"/>
                      </a:cubicBezTo>
                      <a:cubicBezTo>
                        <a:pt x="2256" y="368"/>
                        <a:pt x="2258" y="370"/>
                        <a:pt x="2260" y="371"/>
                      </a:cubicBezTo>
                      <a:cubicBezTo>
                        <a:pt x="2264" y="360"/>
                        <a:pt x="2271" y="370"/>
                        <a:pt x="2273" y="375"/>
                      </a:cubicBezTo>
                      <a:cubicBezTo>
                        <a:pt x="2275" y="378"/>
                        <a:pt x="2276" y="396"/>
                        <a:pt x="2275" y="400"/>
                      </a:cubicBezTo>
                      <a:cubicBezTo>
                        <a:pt x="2276" y="398"/>
                        <a:pt x="2278" y="395"/>
                        <a:pt x="2279" y="393"/>
                      </a:cubicBezTo>
                      <a:cubicBezTo>
                        <a:pt x="2286" y="396"/>
                        <a:pt x="2297" y="415"/>
                        <a:pt x="2283" y="417"/>
                      </a:cubicBezTo>
                      <a:cubicBezTo>
                        <a:pt x="2280" y="418"/>
                        <a:pt x="2264" y="406"/>
                        <a:pt x="2274" y="402"/>
                      </a:cubicBezTo>
                      <a:cubicBezTo>
                        <a:pt x="2270" y="401"/>
                        <a:pt x="2234" y="400"/>
                        <a:pt x="2244" y="382"/>
                      </a:cubicBezTo>
                      <a:cubicBezTo>
                        <a:pt x="2236" y="383"/>
                        <a:pt x="2231" y="378"/>
                        <a:pt x="2225" y="379"/>
                      </a:cubicBezTo>
                      <a:cubicBezTo>
                        <a:pt x="2221" y="380"/>
                        <a:pt x="2209" y="386"/>
                        <a:pt x="2205" y="388"/>
                      </a:cubicBezTo>
                      <a:cubicBezTo>
                        <a:pt x="2197" y="392"/>
                        <a:pt x="2196" y="400"/>
                        <a:pt x="2189" y="403"/>
                      </a:cubicBezTo>
                      <a:cubicBezTo>
                        <a:pt x="2187" y="404"/>
                        <a:pt x="2178" y="403"/>
                        <a:pt x="2175" y="403"/>
                      </a:cubicBezTo>
                      <a:cubicBezTo>
                        <a:pt x="2166" y="403"/>
                        <a:pt x="2167" y="408"/>
                        <a:pt x="2164" y="400"/>
                      </a:cubicBezTo>
                      <a:cubicBezTo>
                        <a:pt x="2164" y="399"/>
                        <a:pt x="2166" y="390"/>
                        <a:pt x="2166" y="387"/>
                      </a:cubicBezTo>
                      <a:cubicBezTo>
                        <a:pt x="2165" y="383"/>
                        <a:pt x="2155" y="360"/>
                        <a:pt x="2171" y="375"/>
                      </a:cubicBezTo>
                      <a:cubicBezTo>
                        <a:pt x="2165" y="362"/>
                        <a:pt x="2121" y="357"/>
                        <a:pt x="2128" y="345"/>
                      </a:cubicBezTo>
                      <a:cubicBezTo>
                        <a:pt x="2106" y="360"/>
                        <a:pt x="2081" y="338"/>
                        <a:pt x="2064" y="326"/>
                      </a:cubicBezTo>
                      <a:cubicBezTo>
                        <a:pt x="2053" y="317"/>
                        <a:pt x="2032" y="308"/>
                        <a:pt x="2039" y="293"/>
                      </a:cubicBezTo>
                      <a:cubicBezTo>
                        <a:pt x="2031" y="290"/>
                        <a:pt x="2014" y="282"/>
                        <a:pt x="2013" y="295"/>
                      </a:cubicBezTo>
                      <a:cubicBezTo>
                        <a:pt x="2002" y="286"/>
                        <a:pt x="1992" y="291"/>
                        <a:pt x="1981" y="295"/>
                      </a:cubicBezTo>
                      <a:cubicBezTo>
                        <a:pt x="1994" y="297"/>
                        <a:pt x="1997" y="289"/>
                        <a:pt x="2004" y="302"/>
                      </a:cubicBezTo>
                      <a:cubicBezTo>
                        <a:pt x="2008" y="308"/>
                        <a:pt x="2010" y="316"/>
                        <a:pt x="2007" y="323"/>
                      </a:cubicBezTo>
                      <a:cubicBezTo>
                        <a:pt x="2003" y="334"/>
                        <a:pt x="1992" y="340"/>
                        <a:pt x="1987" y="331"/>
                      </a:cubicBezTo>
                      <a:cubicBezTo>
                        <a:pt x="1986" y="329"/>
                        <a:pt x="1990" y="324"/>
                        <a:pt x="1990" y="322"/>
                      </a:cubicBezTo>
                      <a:cubicBezTo>
                        <a:pt x="1989" y="320"/>
                        <a:pt x="1986" y="320"/>
                        <a:pt x="1985" y="318"/>
                      </a:cubicBezTo>
                      <a:cubicBezTo>
                        <a:pt x="1985" y="315"/>
                        <a:pt x="1984" y="313"/>
                        <a:pt x="1985" y="309"/>
                      </a:cubicBezTo>
                      <a:cubicBezTo>
                        <a:pt x="1977" y="308"/>
                        <a:pt x="1970" y="301"/>
                        <a:pt x="1961" y="300"/>
                      </a:cubicBezTo>
                      <a:cubicBezTo>
                        <a:pt x="1964" y="299"/>
                        <a:pt x="1970" y="298"/>
                        <a:pt x="1974" y="296"/>
                      </a:cubicBezTo>
                      <a:cubicBezTo>
                        <a:pt x="1966" y="297"/>
                        <a:pt x="1928" y="298"/>
                        <a:pt x="1934" y="286"/>
                      </a:cubicBezTo>
                      <a:cubicBezTo>
                        <a:pt x="1921" y="281"/>
                        <a:pt x="1878" y="305"/>
                        <a:pt x="1864" y="309"/>
                      </a:cubicBezTo>
                      <a:cubicBezTo>
                        <a:pt x="1875" y="314"/>
                        <a:pt x="1873" y="328"/>
                        <a:pt x="1872" y="338"/>
                      </a:cubicBezTo>
                      <a:cubicBezTo>
                        <a:pt x="1879" y="331"/>
                        <a:pt x="1880" y="328"/>
                        <a:pt x="1889" y="332"/>
                      </a:cubicBezTo>
                      <a:cubicBezTo>
                        <a:pt x="1891" y="333"/>
                        <a:pt x="1892" y="339"/>
                        <a:pt x="1895" y="339"/>
                      </a:cubicBezTo>
                      <a:cubicBezTo>
                        <a:pt x="1899" y="340"/>
                        <a:pt x="1896" y="336"/>
                        <a:pt x="1899" y="336"/>
                      </a:cubicBezTo>
                      <a:cubicBezTo>
                        <a:pt x="1902" y="334"/>
                        <a:pt x="1909" y="323"/>
                        <a:pt x="1916" y="325"/>
                      </a:cubicBezTo>
                      <a:cubicBezTo>
                        <a:pt x="1920" y="327"/>
                        <a:pt x="1923" y="333"/>
                        <a:pt x="1923" y="337"/>
                      </a:cubicBezTo>
                      <a:cubicBezTo>
                        <a:pt x="1916" y="337"/>
                        <a:pt x="1915" y="350"/>
                        <a:pt x="1908" y="351"/>
                      </a:cubicBezTo>
                      <a:cubicBezTo>
                        <a:pt x="1902" y="352"/>
                        <a:pt x="1907" y="339"/>
                        <a:pt x="1896" y="344"/>
                      </a:cubicBezTo>
                      <a:cubicBezTo>
                        <a:pt x="1890" y="347"/>
                        <a:pt x="1890" y="361"/>
                        <a:pt x="1883" y="365"/>
                      </a:cubicBezTo>
                      <a:cubicBezTo>
                        <a:pt x="1875" y="370"/>
                        <a:pt x="1864" y="365"/>
                        <a:pt x="1859" y="371"/>
                      </a:cubicBezTo>
                      <a:cubicBezTo>
                        <a:pt x="1852" y="364"/>
                        <a:pt x="1859" y="358"/>
                        <a:pt x="1863" y="350"/>
                      </a:cubicBezTo>
                      <a:cubicBezTo>
                        <a:pt x="1867" y="341"/>
                        <a:pt x="1870" y="345"/>
                        <a:pt x="1863" y="340"/>
                      </a:cubicBezTo>
                      <a:cubicBezTo>
                        <a:pt x="1856" y="336"/>
                        <a:pt x="1849" y="343"/>
                        <a:pt x="1845" y="330"/>
                      </a:cubicBezTo>
                      <a:cubicBezTo>
                        <a:pt x="1842" y="320"/>
                        <a:pt x="1845" y="319"/>
                        <a:pt x="1850" y="312"/>
                      </a:cubicBezTo>
                      <a:cubicBezTo>
                        <a:pt x="1830" y="327"/>
                        <a:pt x="1804" y="332"/>
                        <a:pt x="1781" y="341"/>
                      </a:cubicBezTo>
                      <a:cubicBezTo>
                        <a:pt x="1789" y="344"/>
                        <a:pt x="1813" y="333"/>
                        <a:pt x="1822" y="329"/>
                      </a:cubicBezTo>
                      <a:cubicBezTo>
                        <a:pt x="1816" y="347"/>
                        <a:pt x="1808" y="355"/>
                        <a:pt x="1792" y="360"/>
                      </a:cubicBezTo>
                      <a:cubicBezTo>
                        <a:pt x="1784" y="362"/>
                        <a:pt x="1777" y="370"/>
                        <a:pt x="1770" y="365"/>
                      </a:cubicBezTo>
                      <a:cubicBezTo>
                        <a:pt x="1765" y="362"/>
                        <a:pt x="1765" y="356"/>
                        <a:pt x="1762" y="352"/>
                      </a:cubicBezTo>
                      <a:cubicBezTo>
                        <a:pt x="1768" y="350"/>
                        <a:pt x="1775" y="349"/>
                        <a:pt x="1777" y="343"/>
                      </a:cubicBezTo>
                      <a:cubicBezTo>
                        <a:pt x="1759" y="349"/>
                        <a:pt x="1726" y="353"/>
                        <a:pt x="1711" y="365"/>
                      </a:cubicBezTo>
                      <a:cubicBezTo>
                        <a:pt x="1712" y="365"/>
                        <a:pt x="1715" y="364"/>
                        <a:pt x="1716" y="364"/>
                      </a:cubicBezTo>
                      <a:cubicBezTo>
                        <a:pt x="1715" y="384"/>
                        <a:pt x="1703" y="376"/>
                        <a:pt x="1692" y="371"/>
                      </a:cubicBezTo>
                      <a:cubicBezTo>
                        <a:pt x="1695" y="370"/>
                        <a:pt x="1698" y="367"/>
                        <a:pt x="1700" y="366"/>
                      </a:cubicBezTo>
                      <a:cubicBezTo>
                        <a:pt x="1693" y="369"/>
                        <a:pt x="1682" y="369"/>
                        <a:pt x="1677" y="375"/>
                      </a:cubicBezTo>
                      <a:cubicBezTo>
                        <a:pt x="1669" y="384"/>
                        <a:pt x="1679" y="394"/>
                        <a:pt x="1675" y="402"/>
                      </a:cubicBezTo>
                      <a:cubicBezTo>
                        <a:pt x="1674" y="403"/>
                        <a:pt x="1658" y="403"/>
                        <a:pt x="1651" y="405"/>
                      </a:cubicBezTo>
                      <a:cubicBezTo>
                        <a:pt x="1655" y="391"/>
                        <a:pt x="1646" y="385"/>
                        <a:pt x="1661" y="378"/>
                      </a:cubicBezTo>
                      <a:cubicBezTo>
                        <a:pt x="1626" y="391"/>
                        <a:pt x="1587" y="399"/>
                        <a:pt x="1551" y="410"/>
                      </a:cubicBezTo>
                      <a:cubicBezTo>
                        <a:pt x="1562" y="413"/>
                        <a:pt x="1578" y="404"/>
                        <a:pt x="1589" y="401"/>
                      </a:cubicBezTo>
                      <a:cubicBezTo>
                        <a:pt x="1599" y="398"/>
                        <a:pt x="1609" y="396"/>
                        <a:pt x="1618" y="393"/>
                      </a:cubicBezTo>
                      <a:cubicBezTo>
                        <a:pt x="1630" y="390"/>
                        <a:pt x="1636" y="384"/>
                        <a:pt x="1638" y="395"/>
                      </a:cubicBezTo>
                      <a:cubicBezTo>
                        <a:pt x="1638" y="397"/>
                        <a:pt x="1632" y="408"/>
                        <a:pt x="1633" y="412"/>
                      </a:cubicBezTo>
                      <a:cubicBezTo>
                        <a:pt x="1634" y="414"/>
                        <a:pt x="1638" y="422"/>
                        <a:pt x="1638" y="422"/>
                      </a:cubicBezTo>
                      <a:cubicBezTo>
                        <a:pt x="1635" y="445"/>
                        <a:pt x="1627" y="416"/>
                        <a:pt x="1624" y="409"/>
                      </a:cubicBezTo>
                      <a:cubicBezTo>
                        <a:pt x="1617" y="412"/>
                        <a:pt x="1614" y="407"/>
                        <a:pt x="1608" y="406"/>
                      </a:cubicBezTo>
                      <a:cubicBezTo>
                        <a:pt x="1597" y="404"/>
                        <a:pt x="1599" y="404"/>
                        <a:pt x="1588" y="409"/>
                      </a:cubicBezTo>
                      <a:cubicBezTo>
                        <a:pt x="1576" y="414"/>
                        <a:pt x="1568" y="419"/>
                        <a:pt x="1557" y="424"/>
                      </a:cubicBezTo>
                      <a:cubicBezTo>
                        <a:pt x="1543" y="432"/>
                        <a:pt x="1541" y="442"/>
                        <a:pt x="1525" y="435"/>
                      </a:cubicBezTo>
                      <a:cubicBezTo>
                        <a:pt x="1519" y="432"/>
                        <a:pt x="1509" y="424"/>
                        <a:pt x="1505" y="420"/>
                      </a:cubicBezTo>
                      <a:cubicBezTo>
                        <a:pt x="1514" y="419"/>
                        <a:pt x="1534" y="423"/>
                        <a:pt x="1537" y="414"/>
                      </a:cubicBezTo>
                      <a:cubicBezTo>
                        <a:pt x="1508" y="419"/>
                        <a:pt x="1485" y="414"/>
                        <a:pt x="1459" y="431"/>
                      </a:cubicBezTo>
                      <a:cubicBezTo>
                        <a:pt x="1454" y="435"/>
                        <a:pt x="1429" y="458"/>
                        <a:pt x="1429" y="441"/>
                      </a:cubicBezTo>
                      <a:cubicBezTo>
                        <a:pt x="1423" y="441"/>
                        <a:pt x="1399" y="437"/>
                        <a:pt x="1396" y="439"/>
                      </a:cubicBezTo>
                      <a:cubicBezTo>
                        <a:pt x="1389" y="444"/>
                        <a:pt x="1402" y="445"/>
                        <a:pt x="1403" y="446"/>
                      </a:cubicBezTo>
                      <a:cubicBezTo>
                        <a:pt x="1404" y="454"/>
                        <a:pt x="1402" y="455"/>
                        <a:pt x="1393" y="463"/>
                      </a:cubicBezTo>
                      <a:cubicBezTo>
                        <a:pt x="1383" y="467"/>
                        <a:pt x="1372" y="471"/>
                        <a:pt x="1362" y="475"/>
                      </a:cubicBezTo>
                      <a:cubicBezTo>
                        <a:pt x="1364" y="477"/>
                        <a:pt x="1365" y="478"/>
                        <a:pt x="1367" y="479"/>
                      </a:cubicBezTo>
                      <a:cubicBezTo>
                        <a:pt x="1367" y="479"/>
                        <a:pt x="1367" y="479"/>
                        <a:pt x="1367" y="479"/>
                      </a:cubicBezTo>
                      <a:cubicBezTo>
                        <a:pt x="1357" y="477"/>
                        <a:pt x="1360" y="482"/>
                        <a:pt x="1350" y="489"/>
                      </a:cubicBezTo>
                      <a:cubicBezTo>
                        <a:pt x="1341" y="496"/>
                        <a:pt x="1318" y="494"/>
                        <a:pt x="1307" y="491"/>
                      </a:cubicBezTo>
                      <a:cubicBezTo>
                        <a:pt x="1321" y="484"/>
                        <a:pt x="1346" y="489"/>
                        <a:pt x="1357" y="477"/>
                      </a:cubicBezTo>
                      <a:cubicBezTo>
                        <a:pt x="1339" y="479"/>
                        <a:pt x="1321" y="482"/>
                        <a:pt x="1304" y="484"/>
                      </a:cubicBezTo>
                      <a:cubicBezTo>
                        <a:pt x="1288" y="486"/>
                        <a:pt x="1265" y="484"/>
                        <a:pt x="1252" y="491"/>
                      </a:cubicBezTo>
                      <a:cubicBezTo>
                        <a:pt x="1239" y="496"/>
                        <a:pt x="1243" y="501"/>
                        <a:pt x="1236" y="509"/>
                      </a:cubicBezTo>
                      <a:cubicBezTo>
                        <a:pt x="1234" y="511"/>
                        <a:pt x="1230" y="512"/>
                        <a:pt x="1228" y="514"/>
                      </a:cubicBezTo>
                      <a:cubicBezTo>
                        <a:pt x="1227" y="516"/>
                        <a:pt x="1224" y="524"/>
                        <a:pt x="1223" y="525"/>
                      </a:cubicBezTo>
                      <a:cubicBezTo>
                        <a:pt x="1211" y="534"/>
                        <a:pt x="1206" y="523"/>
                        <a:pt x="1196" y="517"/>
                      </a:cubicBezTo>
                      <a:cubicBezTo>
                        <a:pt x="1204" y="518"/>
                        <a:pt x="1205" y="508"/>
                        <a:pt x="1213" y="506"/>
                      </a:cubicBezTo>
                      <a:cubicBezTo>
                        <a:pt x="1227" y="502"/>
                        <a:pt x="1222" y="513"/>
                        <a:pt x="1233" y="495"/>
                      </a:cubicBezTo>
                      <a:cubicBezTo>
                        <a:pt x="1223" y="493"/>
                        <a:pt x="1207" y="500"/>
                        <a:pt x="1198" y="503"/>
                      </a:cubicBezTo>
                      <a:cubicBezTo>
                        <a:pt x="1187" y="508"/>
                        <a:pt x="1153" y="518"/>
                        <a:pt x="1152" y="532"/>
                      </a:cubicBezTo>
                      <a:cubicBezTo>
                        <a:pt x="1161" y="532"/>
                        <a:pt x="1157" y="539"/>
                        <a:pt x="1154" y="543"/>
                      </a:cubicBezTo>
                      <a:cubicBezTo>
                        <a:pt x="1150" y="548"/>
                        <a:pt x="1132" y="555"/>
                        <a:pt x="1125" y="558"/>
                      </a:cubicBezTo>
                      <a:cubicBezTo>
                        <a:pt x="1121" y="560"/>
                        <a:pt x="1116" y="560"/>
                        <a:pt x="1112" y="562"/>
                      </a:cubicBezTo>
                      <a:cubicBezTo>
                        <a:pt x="1109" y="564"/>
                        <a:pt x="1107" y="569"/>
                        <a:pt x="1105" y="570"/>
                      </a:cubicBezTo>
                      <a:cubicBezTo>
                        <a:pt x="1097" y="573"/>
                        <a:pt x="1092" y="571"/>
                        <a:pt x="1101" y="566"/>
                      </a:cubicBezTo>
                      <a:cubicBezTo>
                        <a:pt x="1075" y="563"/>
                        <a:pt x="1060" y="595"/>
                        <a:pt x="1041" y="606"/>
                      </a:cubicBezTo>
                      <a:cubicBezTo>
                        <a:pt x="1033" y="611"/>
                        <a:pt x="1020" y="618"/>
                        <a:pt x="1011" y="620"/>
                      </a:cubicBezTo>
                      <a:cubicBezTo>
                        <a:pt x="1003" y="622"/>
                        <a:pt x="994" y="620"/>
                        <a:pt x="985" y="624"/>
                      </a:cubicBezTo>
                      <a:cubicBezTo>
                        <a:pt x="978" y="627"/>
                        <a:pt x="968" y="640"/>
                        <a:pt x="963" y="639"/>
                      </a:cubicBezTo>
                      <a:cubicBezTo>
                        <a:pt x="958" y="638"/>
                        <a:pt x="963" y="632"/>
                        <a:pt x="962" y="632"/>
                      </a:cubicBezTo>
                      <a:cubicBezTo>
                        <a:pt x="959" y="630"/>
                        <a:pt x="956" y="630"/>
                        <a:pt x="953" y="629"/>
                      </a:cubicBezTo>
                      <a:cubicBezTo>
                        <a:pt x="932" y="623"/>
                        <a:pt x="925" y="641"/>
                        <a:pt x="914" y="656"/>
                      </a:cubicBezTo>
                      <a:cubicBezTo>
                        <a:pt x="926" y="660"/>
                        <a:pt x="928" y="645"/>
                        <a:pt x="936" y="640"/>
                      </a:cubicBezTo>
                      <a:cubicBezTo>
                        <a:pt x="944" y="635"/>
                        <a:pt x="958" y="637"/>
                        <a:pt x="957" y="650"/>
                      </a:cubicBezTo>
                      <a:cubicBezTo>
                        <a:pt x="956" y="660"/>
                        <a:pt x="941" y="666"/>
                        <a:pt x="933" y="668"/>
                      </a:cubicBezTo>
                      <a:cubicBezTo>
                        <a:pt x="922" y="671"/>
                        <a:pt x="914" y="676"/>
                        <a:pt x="904" y="680"/>
                      </a:cubicBezTo>
                      <a:cubicBezTo>
                        <a:pt x="907" y="674"/>
                        <a:pt x="910" y="668"/>
                        <a:pt x="913" y="663"/>
                      </a:cubicBezTo>
                      <a:cubicBezTo>
                        <a:pt x="912" y="662"/>
                        <a:pt x="911" y="662"/>
                        <a:pt x="910" y="662"/>
                      </a:cubicBezTo>
                      <a:cubicBezTo>
                        <a:pt x="900" y="677"/>
                        <a:pt x="893" y="694"/>
                        <a:pt x="882" y="709"/>
                      </a:cubicBezTo>
                      <a:cubicBezTo>
                        <a:pt x="871" y="725"/>
                        <a:pt x="856" y="737"/>
                        <a:pt x="842" y="750"/>
                      </a:cubicBezTo>
                      <a:cubicBezTo>
                        <a:pt x="831" y="759"/>
                        <a:pt x="808" y="773"/>
                        <a:pt x="803" y="787"/>
                      </a:cubicBezTo>
                      <a:cubicBezTo>
                        <a:pt x="802" y="791"/>
                        <a:pt x="806" y="799"/>
                        <a:pt x="804" y="801"/>
                      </a:cubicBezTo>
                      <a:cubicBezTo>
                        <a:pt x="799" y="808"/>
                        <a:pt x="787" y="799"/>
                        <a:pt x="787" y="811"/>
                      </a:cubicBezTo>
                      <a:cubicBezTo>
                        <a:pt x="789" y="811"/>
                        <a:pt x="791" y="811"/>
                        <a:pt x="793" y="812"/>
                      </a:cubicBezTo>
                      <a:cubicBezTo>
                        <a:pt x="790" y="815"/>
                        <a:pt x="786" y="816"/>
                        <a:pt x="781" y="815"/>
                      </a:cubicBezTo>
                      <a:cubicBezTo>
                        <a:pt x="781" y="814"/>
                        <a:pt x="782" y="812"/>
                        <a:pt x="781" y="811"/>
                      </a:cubicBezTo>
                      <a:cubicBezTo>
                        <a:pt x="766" y="815"/>
                        <a:pt x="749" y="816"/>
                        <a:pt x="743" y="833"/>
                      </a:cubicBezTo>
                      <a:cubicBezTo>
                        <a:pt x="740" y="840"/>
                        <a:pt x="740" y="849"/>
                        <a:pt x="748" y="851"/>
                      </a:cubicBezTo>
                      <a:cubicBezTo>
                        <a:pt x="736" y="834"/>
                        <a:pt x="772" y="830"/>
                        <a:pt x="779" y="840"/>
                      </a:cubicBezTo>
                      <a:cubicBezTo>
                        <a:pt x="788" y="853"/>
                        <a:pt x="759" y="876"/>
                        <a:pt x="765" y="858"/>
                      </a:cubicBezTo>
                      <a:cubicBezTo>
                        <a:pt x="753" y="855"/>
                        <a:pt x="743" y="863"/>
                        <a:pt x="733" y="867"/>
                      </a:cubicBezTo>
                      <a:cubicBezTo>
                        <a:pt x="729" y="868"/>
                        <a:pt x="725" y="871"/>
                        <a:pt x="721" y="871"/>
                      </a:cubicBezTo>
                      <a:cubicBezTo>
                        <a:pt x="716" y="871"/>
                        <a:pt x="713" y="867"/>
                        <a:pt x="709" y="867"/>
                      </a:cubicBezTo>
                      <a:cubicBezTo>
                        <a:pt x="695" y="866"/>
                        <a:pt x="684" y="885"/>
                        <a:pt x="673" y="896"/>
                      </a:cubicBezTo>
                      <a:cubicBezTo>
                        <a:pt x="647" y="920"/>
                        <a:pt x="617" y="933"/>
                        <a:pt x="589" y="953"/>
                      </a:cubicBezTo>
                      <a:cubicBezTo>
                        <a:pt x="576" y="962"/>
                        <a:pt x="565" y="974"/>
                        <a:pt x="551" y="984"/>
                      </a:cubicBezTo>
                      <a:cubicBezTo>
                        <a:pt x="543" y="989"/>
                        <a:pt x="513" y="999"/>
                        <a:pt x="521" y="1011"/>
                      </a:cubicBezTo>
                      <a:cubicBezTo>
                        <a:pt x="536" y="994"/>
                        <a:pt x="544" y="1016"/>
                        <a:pt x="555" y="1026"/>
                      </a:cubicBezTo>
                      <a:cubicBezTo>
                        <a:pt x="565" y="1035"/>
                        <a:pt x="575" y="1043"/>
                        <a:pt x="585" y="1052"/>
                      </a:cubicBezTo>
                      <a:cubicBezTo>
                        <a:pt x="596" y="1061"/>
                        <a:pt x="603" y="1059"/>
                        <a:pt x="597" y="1074"/>
                      </a:cubicBezTo>
                      <a:cubicBezTo>
                        <a:pt x="593" y="1087"/>
                        <a:pt x="586" y="1109"/>
                        <a:pt x="601" y="1119"/>
                      </a:cubicBezTo>
                      <a:cubicBezTo>
                        <a:pt x="619" y="1131"/>
                        <a:pt x="621" y="1095"/>
                        <a:pt x="634" y="1091"/>
                      </a:cubicBezTo>
                      <a:cubicBezTo>
                        <a:pt x="645" y="1088"/>
                        <a:pt x="655" y="1101"/>
                        <a:pt x="663" y="1106"/>
                      </a:cubicBezTo>
                      <a:cubicBezTo>
                        <a:pt x="669" y="1109"/>
                        <a:pt x="680" y="1115"/>
                        <a:pt x="686" y="1117"/>
                      </a:cubicBezTo>
                      <a:cubicBezTo>
                        <a:pt x="701" y="1121"/>
                        <a:pt x="712" y="1116"/>
                        <a:pt x="725" y="1130"/>
                      </a:cubicBezTo>
                      <a:cubicBezTo>
                        <a:pt x="732" y="1138"/>
                        <a:pt x="733" y="1141"/>
                        <a:pt x="742" y="1144"/>
                      </a:cubicBezTo>
                      <a:cubicBezTo>
                        <a:pt x="753" y="1148"/>
                        <a:pt x="770" y="1163"/>
                        <a:pt x="780" y="1149"/>
                      </a:cubicBezTo>
                      <a:cubicBezTo>
                        <a:pt x="782" y="1162"/>
                        <a:pt x="767" y="1157"/>
                        <a:pt x="765" y="1162"/>
                      </a:cubicBezTo>
                      <a:cubicBezTo>
                        <a:pt x="764" y="1164"/>
                        <a:pt x="770" y="1171"/>
                        <a:pt x="771" y="1174"/>
                      </a:cubicBezTo>
                      <a:cubicBezTo>
                        <a:pt x="772" y="1179"/>
                        <a:pt x="771" y="1185"/>
                        <a:pt x="770" y="1191"/>
                      </a:cubicBezTo>
                      <a:cubicBezTo>
                        <a:pt x="769" y="1206"/>
                        <a:pt x="768" y="1199"/>
                        <a:pt x="776" y="1207"/>
                      </a:cubicBezTo>
                      <a:cubicBezTo>
                        <a:pt x="782" y="1212"/>
                        <a:pt x="788" y="1216"/>
                        <a:pt x="794" y="1221"/>
                      </a:cubicBezTo>
                      <a:cubicBezTo>
                        <a:pt x="789" y="1220"/>
                        <a:pt x="771" y="1209"/>
                        <a:pt x="770" y="1210"/>
                      </a:cubicBezTo>
                      <a:cubicBezTo>
                        <a:pt x="762" y="1214"/>
                        <a:pt x="764" y="1254"/>
                        <a:pt x="782" y="1233"/>
                      </a:cubicBezTo>
                      <a:cubicBezTo>
                        <a:pt x="783" y="1241"/>
                        <a:pt x="793" y="1240"/>
                        <a:pt x="801" y="1242"/>
                      </a:cubicBezTo>
                      <a:cubicBezTo>
                        <a:pt x="789" y="1244"/>
                        <a:pt x="774" y="1242"/>
                        <a:pt x="765" y="1249"/>
                      </a:cubicBezTo>
                      <a:cubicBezTo>
                        <a:pt x="749" y="1263"/>
                        <a:pt x="744" y="1290"/>
                        <a:pt x="730" y="1305"/>
                      </a:cubicBezTo>
                      <a:cubicBezTo>
                        <a:pt x="697" y="1338"/>
                        <a:pt x="675" y="1265"/>
                        <a:pt x="642" y="1275"/>
                      </a:cubicBezTo>
                      <a:cubicBezTo>
                        <a:pt x="635" y="1278"/>
                        <a:pt x="628" y="1284"/>
                        <a:pt x="620" y="1286"/>
                      </a:cubicBezTo>
                      <a:cubicBezTo>
                        <a:pt x="612" y="1289"/>
                        <a:pt x="603" y="1289"/>
                        <a:pt x="595" y="1291"/>
                      </a:cubicBezTo>
                      <a:cubicBezTo>
                        <a:pt x="577" y="1297"/>
                        <a:pt x="567" y="1315"/>
                        <a:pt x="551" y="1321"/>
                      </a:cubicBezTo>
                      <a:cubicBezTo>
                        <a:pt x="526" y="1329"/>
                        <a:pt x="504" y="1290"/>
                        <a:pt x="490" y="1276"/>
                      </a:cubicBezTo>
                      <a:cubicBezTo>
                        <a:pt x="481" y="1266"/>
                        <a:pt x="476" y="1265"/>
                        <a:pt x="462" y="1268"/>
                      </a:cubicBezTo>
                      <a:cubicBezTo>
                        <a:pt x="454" y="1269"/>
                        <a:pt x="445" y="1275"/>
                        <a:pt x="440" y="1269"/>
                      </a:cubicBezTo>
                      <a:cubicBezTo>
                        <a:pt x="436" y="1264"/>
                        <a:pt x="440" y="1254"/>
                        <a:pt x="441" y="1250"/>
                      </a:cubicBezTo>
                      <a:cubicBezTo>
                        <a:pt x="434" y="1250"/>
                        <a:pt x="436" y="1255"/>
                        <a:pt x="431" y="1257"/>
                      </a:cubicBezTo>
                      <a:cubicBezTo>
                        <a:pt x="425" y="1259"/>
                        <a:pt x="418" y="1255"/>
                        <a:pt x="413" y="1256"/>
                      </a:cubicBezTo>
                      <a:cubicBezTo>
                        <a:pt x="396" y="1261"/>
                        <a:pt x="401" y="1275"/>
                        <a:pt x="402" y="1289"/>
                      </a:cubicBezTo>
                      <a:cubicBezTo>
                        <a:pt x="403" y="1305"/>
                        <a:pt x="402" y="1321"/>
                        <a:pt x="401" y="1338"/>
                      </a:cubicBezTo>
                      <a:cubicBezTo>
                        <a:pt x="400" y="1363"/>
                        <a:pt x="401" y="1370"/>
                        <a:pt x="383" y="1388"/>
                      </a:cubicBezTo>
                      <a:cubicBezTo>
                        <a:pt x="379" y="1371"/>
                        <a:pt x="351" y="1407"/>
                        <a:pt x="346" y="1413"/>
                      </a:cubicBezTo>
                      <a:cubicBezTo>
                        <a:pt x="332" y="1428"/>
                        <a:pt x="316" y="1427"/>
                        <a:pt x="299" y="1437"/>
                      </a:cubicBezTo>
                      <a:cubicBezTo>
                        <a:pt x="262" y="1459"/>
                        <a:pt x="248" y="1508"/>
                        <a:pt x="202" y="1518"/>
                      </a:cubicBezTo>
                      <a:cubicBezTo>
                        <a:pt x="187" y="1521"/>
                        <a:pt x="171" y="1519"/>
                        <a:pt x="156" y="1517"/>
                      </a:cubicBezTo>
                      <a:cubicBezTo>
                        <a:pt x="140" y="1515"/>
                        <a:pt x="141" y="1521"/>
                        <a:pt x="139" y="1538"/>
                      </a:cubicBezTo>
                      <a:cubicBezTo>
                        <a:pt x="137" y="1549"/>
                        <a:pt x="136" y="1555"/>
                        <a:pt x="127" y="1563"/>
                      </a:cubicBezTo>
                      <a:cubicBezTo>
                        <a:pt x="119" y="1570"/>
                        <a:pt x="117" y="1567"/>
                        <a:pt x="110" y="1570"/>
                      </a:cubicBezTo>
                      <a:cubicBezTo>
                        <a:pt x="93" y="1577"/>
                        <a:pt x="91" y="1586"/>
                        <a:pt x="85" y="1601"/>
                      </a:cubicBezTo>
                      <a:cubicBezTo>
                        <a:pt x="83" y="1607"/>
                        <a:pt x="77" y="1621"/>
                        <a:pt x="71" y="1625"/>
                      </a:cubicBezTo>
                      <a:cubicBezTo>
                        <a:pt x="67" y="1628"/>
                        <a:pt x="60" y="1627"/>
                        <a:pt x="56" y="1629"/>
                      </a:cubicBezTo>
                      <a:cubicBezTo>
                        <a:pt x="34" y="1642"/>
                        <a:pt x="51" y="1640"/>
                        <a:pt x="52" y="1649"/>
                      </a:cubicBezTo>
                      <a:cubicBezTo>
                        <a:pt x="52" y="1653"/>
                        <a:pt x="47" y="1656"/>
                        <a:pt x="48" y="1660"/>
                      </a:cubicBezTo>
                      <a:cubicBezTo>
                        <a:pt x="49" y="1661"/>
                        <a:pt x="53" y="1663"/>
                        <a:pt x="53" y="1664"/>
                      </a:cubicBezTo>
                      <a:cubicBezTo>
                        <a:pt x="53" y="1664"/>
                        <a:pt x="58" y="1666"/>
                        <a:pt x="58" y="1667"/>
                      </a:cubicBezTo>
                      <a:cubicBezTo>
                        <a:pt x="59" y="1668"/>
                        <a:pt x="56" y="1671"/>
                        <a:pt x="57" y="1673"/>
                      </a:cubicBezTo>
                      <a:cubicBezTo>
                        <a:pt x="65" y="1681"/>
                        <a:pt x="73" y="1680"/>
                        <a:pt x="82" y="1687"/>
                      </a:cubicBezTo>
                      <a:cubicBezTo>
                        <a:pt x="84" y="1689"/>
                        <a:pt x="82" y="1696"/>
                        <a:pt x="84" y="1697"/>
                      </a:cubicBezTo>
                      <a:cubicBezTo>
                        <a:pt x="88" y="1699"/>
                        <a:pt x="91" y="1694"/>
                        <a:pt x="94" y="1695"/>
                      </a:cubicBezTo>
                      <a:cubicBezTo>
                        <a:pt x="98" y="1696"/>
                        <a:pt x="101" y="1696"/>
                        <a:pt x="105" y="1698"/>
                      </a:cubicBezTo>
                      <a:cubicBezTo>
                        <a:pt x="117" y="1704"/>
                        <a:pt x="117" y="1706"/>
                        <a:pt x="132" y="1708"/>
                      </a:cubicBezTo>
                      <a:cubicBezTo>
                        <a:pt x="149" y="1710"/>
                        <a:pt x="157" y="1710"/>
                        <a:pt x="155" y="1726"/>
                      </a:cubicBezTo>
                      <a:cubicBezTo>
                        <a:pt x="154" y="1733"/>
                        <a:pt x="147" y="1743"/>
                        <a:pt x="151" y="1750"/>
                      </a:cubicBezTo>
                      <a:cubicBezTo>
                        <a:pt x="154" y="1756"/>
                        <a:pt x="157" y="1754"/>
                        <a:pt x="160" y="1757"/>
                      </a:cubicBezTo>
                      <a:cubicBezTo>
                        <a:pt x="160" y="1757"/>
                        <a:pt x="167" y="1764"/>
                        <a:pt x="168" y="1765"/>
                      </a:cubicBezTo>
                      <a:cubicBezTo>
                        <a:pt x="180" y="1771"/>
                        <a:pt x="191" y="1766"/>
                        <a:pt x="203" y="1767"/>
                      </a:cubicBezTo>
                      <a:cubicBezTo>
                        <a:pt x="201" y="1767"/>
                        <a:pt x="215" y="1775"/>
                        <a:pt x="213" y="1773"/>
                      </a:cubicBezTo>
                      <a:cubicBezTo>
                        <a:pt x="219" y="1778"/>
                        <a:pt x="218" y="1773"/>
                        <a:pt x="221" y="1784"/>
                      </a:cubicBezTo>
                      <a:cubicBezTo>
                        <a:pt x="223" y="1794"/>
                        <a:pt x="224" y="1801"/>
                        <a:pt x="211" y="1803"/>
                      </a:cubicBezTo>
                      <a:cubicBezTo>
                        <a:pt x="220" y="1817"/>
                        <a:pt x="231" y="1819"/>
                        <a:pt x="244" y="1825"/>
                      </a:cubicBezTo>
                      <a:cubicBezTo>
                        <a:pt x="263" y="1833"/>
                        <a:pt x="256" y="1851"/>
                        <a:pt x="266" y="1865"/>
                      </a:cubicBezTo>
                      <a:cubicBezTo>
                        <a:pt x="274" y="1878"/>
                        <a:pt x="288" y="1892"/>
                        <a:pt x="285" y="1906"/>
                      </a:cubicBezTo>
                      <a:cubicBezTo>
                        <a:pt x="282" y="1919"/>
                        <a:pt x="275" y="1914"/>
                        <a:pt x="262" y="1920"/>
                      </a:cubicBezTo>
                      <a:cubicBezTo>
                        <a:pt x="247" y="1926"/>
                        <a:pt x="236" y="1941"/>
                        <a:pt x="221" y="1948"/>
                      </a:cubicBezTo>
                      <a:cubicBezTo>
                        <a:pt x="210" y="1953"/>
                        <a:pt x="196" y="1955"/>
                        <a:pt x="187" y="1965"/>
                      </a:cubicBezTo>
                      <a:cubicBezTo>
                        <a:pt x="177" y="1978"/>
                        <a:pt x="184" y="1995"/>
                        <a:pt x="178" y="2009"/>
                      </a:cubicBezTo>
                      <a:cubicBezTo>
                        <a:pt x="173" y="2020"/>
                        <a:pt x="158" y="2030"/>
                        <a:pt x="149" y="2039"/>
                      </a:cubicBezTo>
                      <a:cubicBezTo>
                        <a:pt x="133" y="2055"/>
                        <a:pt x="112" y="2070"/>
                        <a:pt x="98" y="2088"/>
                      </a:cubicBezTo>
                      <a:cubicBezTo>
                        <a:pt x="96" y="2091"/>
                        <a:pt x="92" y="2092"/>
                        <a:pt x="92" y="2096"/>
                      </a:cubicBezTo>
                      <a:cubicBezTo>
                        <a:pt x="91" y="2100"/>
                        <a:pt x="97" y="2103"/>
                        <a:pt x="97" y="2106"/>
                      </a:cubicBezTo>
                      <a:cubicBezTo>
                        <a:pt x="97" y="2117"/>
                        <a:pt x="91" y="2109"/>
                        <a:pt x="81" y="2116"/>
                      </a:cubicBezTo>
                      <a:cubicBezTo>
                        <a:pt x="70" y="2123"/>
                        <a:pt x="58" y="2146"/>
                        <a:pt x="51" y="2158"/>
                      </a:cubicBezTo>
                      <a:cubicBezTo>
                        <a:pt x="46" y="2165"/>
                        <a:pt x="47" y="2175"/>
                        <a:pt x="43" y="2181"/>
                      </a:cubicBezTo>
                      <a:cubicBezTo>
                        <a:pt x="34" y="2197"/>
                        <a:pt x="17" y="2203"/>
                        <a:pt x="9" y="2220"/>
                      </a:cubicBezTo>
                      <a:cubicBezTo>
                        <a:pt x="0" y="2239"/>
                        <a:pt x="3" y="2240"/>
                        <a:pt x="11" y="2256"/>
                      </a:cubicBezTo>
                      <a:cubicBezTo>
                        <a:pt x="18" y="2269"/>
                        <a:pt x="10" y="2272"/>
                        <a:pt x="12" y="2284"/>
                      </a:cubicBezTo>
                      <a:cubicBezTo>
                        <a:pt x="12" y="2290"/>
                        <a:pt x="21" y="2299"/>
                        <a:pt x="27" y="2299"/>
                      </a:cubicBezTo>
                      <a:cubicBezTo>
                        <a:pt x="43" y="2298"/>
                        <a:pt x="34" y="2284"/>
                        <a:pt x="52" y="2296"/>
                      </a:cubicBezTo>
                      <a:cubicBezTo>
                        <a:pt x="61" y="2302"/>
                        <a:pt x="63" y="2300"/>
                        <a:pt x="58" y="2311"/>
                      </a:cubicBezTo>
                      <a:cubicBezTo>
                        <a:pt x="53" y="2324"/>
                        <a:pt x="38" y="2321"/>
                        <a:pt x="31" y="2333"/>
                      </a:cubicBezTo>
                      <a:cubicBezTo>
                        <a:pt x="27" y="2340"/>
                        <a:pt x="27" y="2353"/>
                        <a:pt x="30" y="2359"/>
                      </a:cubicBezTo>
                      <a:cubicBezTo>
                        <a:pt x="35" y="2372"/>
                        <a:pt x="46" y="2390"/>
                        <a:pt x="59" y="2393"/>
                      </a:cubicBezTo>
                      <a:cubicBezTo>
                        <a:pt x="66" y="2395"/>
                        <a:pt x="75" y="2392"/>
                        <a:pt x="81" y="2399"/>
                      </a:cubicBezTo>
                      <a:cubicBezTo>
                        <a:pt x="86" y="2405"/>
                        <a:pt x="81" y="2416"/>
                        <a:pt x="87" y="2422"/>
                      </a:cubicBezTo>
                      <a:cubicBezTo>
                        <a:pt x="96" y="2433"/>
                        <a:pt x="105" y="2428"/>
                        <a:pt x="114" y="2427"/>
                      </a:cubicBezTo>
                      <a:cubicBezTo>
                        <a:pt x="128" y="2427"/>
                        <a:pt x="143" y="2427"/>
                        <a:pt x="156" y="2428"/>
                      </a:cubicBezTo>
                      <a:cubicBezTo>
                        <a:pt x="177" y="2431"/>
                        <a:pt x="194" y="2415"/>
                        <a:pt x="219" y="2423"/>
                      </a:cubicBezTo>
                      <a:cubicBezTo>
                        <a:pt x="232" y="2428"/>
                        <a:pt x="228" y="2431"/>
                        <a:pt x="237" y="2438"/>
                      </a:cubicBezTo>
                      <a:cubicBezTo>
                        <a:pt x="243" y="2443"/>
                        <a:pt x="250" y="2444"/>
                        <a:pt x="256" y="2448"/>
                      </a:cubicBezTo>
                      <a:cubicBezTo>
                        <a:pt x="279" y="2459"/>
                        <a:pt x="264" y="2474"/>
                        <a:pt x="269" y="2493"/>
                      </a:cubicBezTo>
                      <a:cubicBezTo>
                        <a:pt x="270" y="2501"/>
                        <a:pt x="277" y="2507"/>
                        <a:pt x="279" y="2516"/>
                      </a:cubicBezTo>
                      <a:cubicBezTo>
                        <a:pt x="279" y="2520"/>
                        <a:pt x="277" y="2523"/>
                        <a:pt x="278" y="2527"/>
                      </a:cubicBezTo>
                      <a:cubicBezTo>
                        <a:pt x="278" y="2534"/>
                        <a:pt x="284" y="2541"/>
                        <a:pt x="285" y="2548"/>
                      </a:cubicBezTo>
                      <a:cubicBezTo>
                        <a:pt x="286" y="2557"/>
                        <a:pt x="281" y="2561"/>
                        <a:pt x="288" y="2567"/>
                      </a:cubicBezTo>
                      <a:cubicBezTo>
                        <a:pt x="288" y="2568"/>
                        <a:pt x="303" y="2571"/>
                        <a:pt x="303" y="2571"/>
                      </a:cubicBezTo>
                      <a:cubicBezTo>
                        <a:pt x="313" y="2572"/>
                        <a:pt x="313" y="2568"/>
                        <a:pt x="320" y="2568"/>
                      </a:cubicBezTo>
                      <a:cubicBezTo>
                        <a:pt x="334" y="2566"/>
                        <a:pt x="344" y="2574"/>
                        <a:pt x="358" y="2568"/>
                      </a:cubicBezTo>
                      <a:cubicBezTo>
                        <a:pt x="368" y="2563"/>
                        <a:pt x="380" y="2551"/>
                        <a:pt x="392" y="2555"/>
                      </a:cubicBezTo>
                      <a:cubicBezTo>
                        <a:pt x="409" y="2561"/>
                        <a:pt x="406" y="2587"/>
                        <a:pt x="410" y="2600"/>
                      </a:cubicBezTo>
                      <a:cubicBezTo>
                        <a:pt x="412" y="2609"/>
                        <a:pt x="419" y="2616"/>
                        <a:pt x="422" y="2624"/>
                      </a:cubicBezTo>
                      <a:cubicBezTo>
                        <a:pt x="424" y="2632"/>
                        <a:pt x="424" y="2638"/>
                        <a:pt x="429" y="2644"/>
                      </a:cubicBezTo>
                      <a:cubicBezTo>
                        <a:pt x="431" y="2648"/>
                        <a:pt x="435" y="2650"/>
                        <a:pt x="437" y="2653"/>
                      </a:cubicBezTo>
                      <a:cubicBezTo>
                        <a:pt x="439" y="2655"/>
                        <a:pt x="439" y="2662"/>
                        <a:pt x="440" y="2663"/>
                      </a:cubicBezTo>
                      <a:cubicBezTo>
                        <a:pt x="447" y="2672"/>
                        <a:pt x="451" y="2670"/>
                        <a:pt x="461" y="2669"/>
                      </a:cubicBezTo>
                      <a:cubicBezTo>
                        <a:pt x="478" y="2667"/>
                        <a:pt x="491" y="2661"/>
                        <a:pt x="506" y="2656"/>
                      </a:cubicBezTo>
                      <a:cubicBezTo>
                        <a:pt x="524" y="2651"/>
                        <a:pt x="543" y="2654"/>
                        <a:pt x="560" y="2651"/>
                      </a:cubicBezTo>
                      <a:cubicBezTo>
                        <a:pt x="575" y="2647"/>
                        <a:pt x="577" y="2639"/>
                        <a:pt x="594" y="2641"/>
                      </a:cubicBezTo>
                      <a:cubicBezTo>
                        <a:pt x="608" y="2642"/>
                        <a:pt x="605" y="2643"/>
                        <a:pt x="615" y="2652"/>
                      </a:cubicBezTo>
                      <a:cubicBezTo>
                        <a:pt x="629" y="2664"/>
                        <a:pt x="656" y="2662"/>
                        <a:pt x="673" y="2669"/>
                      </a:cubicBezTo>
                      <a:cubicBezTo>
                        <a:pt x="701" y="2680"/>
                        <a:pt x="711" y="2647"/>
                        <a:pt x="731" y="2634"/>
                      </a:cubicBezTo>
                      <a:cubicBezTo>
                        <a:pt x="743" y="2626"/>
                        <a:pt x="755" y="2621"/>
                        <a:pt x="768" y="2622"/>
                      </a:cubicBezTo>
                      <a:cubicBezTo>
                        <a:pt x="771" y="2623"/>
                        <a:pt x="773" y="2626"/>
                        <a:pt x="776" y="2627"/>
                      </a:cubicBezTo>
                      <a:cubicBezTo>
                        <a:pt x="784" y="2628"/>
                        <a:pt x="794" y="2622"/>
                        <a:pt x="802" y="2622"/>
                      </a:cubicBezTo>
                      <a:cubicBezTo>
                        <a:pt x="822" y="2620"/>
                        <a:pt x="828" y="2637"/>
                        <a:pt x="845" y="2643"/>
                      </a:cubicBezTo>
                      <a:cubicBezTo>
                        <a:pt x="857" y="2646"/>
                        <a:pt x="862" y="2643"/>
                        <a:pt x="874" y="2638"/>
                      </a:cubicBezTo>
                      <a:cubicBezTo>
                        <a:pt x="886" y="2632"/>
                        <a:pt x="902" y="2629"/>
                        <a:pt x="912" y="2623"/>
                      </a:cubicBezTo>
                      <a:cubicBezTo>
                        <a:pt x="926" y="2615"/>
                        <a:pt x="924" y="2603"/>
                        <a:pt x="942" y="2604"/>
                      </a:cubicBezTo>
                      <a:cubicBezTo>
                        <a:pt x="953" y="2605"/>
                        <a:pt x="954" y="2611"/>
                        <a:pt x="966" y="2604"/>
                      </a:cubicBezTo>
                      <a:cubicBezTo>
                        <a:pt x="978" y="2598"/>
                        <a:pt x="991" y="2589"/>
                        <a:pt x="987" y="2575"/>
                      </a:cubicBezTo>
                      <a:cubicBezTo>
                        <a:pt x="986" y="2568"/>
                        <a:pt x="978" y="2561"/>
                        <a:pt x="974" y="2556"/>
                      </a:cubicBezTo>
                      <a:cubicBezTo>
                        <a:pt x="973" y="2555"/>
                        <a:pt x="969" y="2559"/>
                        <a:pt x="968" y="2553"/>
                      </a:cubicBezTo>
                      <a:cubicBezTo>
                        <a:pt x="965" y="2539"/>
                        <a:pt x="979" y="2542"/>
                        <a:pt x="983" y="2531"/>
                      </a:cubicBezTo>
                      <a:cubicBezTo>
                        <a:pt x="986" y="2523"/>
                        <a:pt x="979" y="2511"/>
                        <a:pt x="979" y="2504"/>
                      </a:cubicBezTo>
                      <a:cubicBezTo>
                        <a:pt x="979" y="2494"/>
                        <a:pt x="977" y="2494"/>
                        <a:pt x="988" y="2490"/>
                      </a:cubicBezTo>
                      <a:cubicBezTo>
                        <a:pt x="990" y="2490"/>
                        <a:pt x="993" y="2493"/>
                        <a:pt x="997" y="2492"/>
                      </a:cubicBezTo>
                      <a:cubicBezTo>
                        <a:pt x="1001" y="2490"/>
                        <a:pt x="1005" y="2484"/>
                        <a:pt x="1009" y="2482"/>
                      </a:cubicBezTo>
                      <a:cubicBezTo>
                        <a:pt x="1011" y="2481"/>
                        <a:pt x="1016" y="2482"/>
                        <a:pt x="1019" y="2480"/>
                      </a:cubicBezTo>
                      <a:cubicBezTo>
                        <a:pt x="1021" y="2479"/>
                        <a:pt x="1028" y="2471"/>
                        <a:pt x="1029" y="2469"/>
                      </a:cubicBezTo>
                      <a:cubicBezTo>
                        <a:pt x="1030" y="2466"/>
                        <a:pt x="1027" y="2462"/>
                        <a:pt x="1028" y="2459"/>
                      </a:cubicBezTo>
                      <a:cubicBezTo>
                        <a:pt x="1029" y="2456"/>
                        <a:pt x="1032" y="2455"/>
                        <a:pt x="1033" y="2453"/>
                      </a:cubicBezTo>
                      <a:cubicBezTo>
                        <a:pt x="1034" y="2451"/>
                        <a:pt x="1028" y="2448"/>
                        <a:pt x="1031" y="2444"/>
                      </a:cubicBezTo>
                      <a:cubicBezTo>
                        <a:pt x="1033" y="2443"/>
                        <a:pt x="1041" y="2442"/>
                        <a:pt x="1043" y="2441"/>
                      </a:cubicBezTo>
                      <a:cubicBezTo>
                        <a:pt x="1051" y="2439"/>
                        <a:pt x="1059" y="2435"/>
                        <a:pt x="1067" y="2434"/>
                      </a:cubicBezTo>
                      <a:cubicBezTo>
                        <a:pt x="1070" y="2434"/>
                        <a:pt x="1073" y="2437"/>
                        <a:pt x="1077" y="2437"/>
                      </a:cubicBezTo>
                      <a:cubicBezTo>
                        <a:pt x="1094" y="2436"/>
                        <a:pt x="1107" y="2426"/>
                        <a:pt x="1124" y="2432"/>
                      </a:cubicBezTo>
                      <a:cubicBezTo>
                        <a:pt x="1129" y="2434"/>
                        <a:pt x="1141" y="2446"/>
                        <a:pt x="1143" y="2428"/>
                      </a:cubicBezTo>
                      <a:cubicBezTo>
                        <a:pt x="1144" y="2422"/>
                        <a:pt x="1136" y="2418"/>
                        <a:pt x="1132" y="2414"/>
                      </a:cubicBezTo>
                      <a:cubicBezTo>
                        <a:pt x="1128" y="2410"/>
                        <a:pt x="1118" y="2403"/>
                        <a:pt x="1118" y="2396"/>
                      </a:cubicBezTo>
                      <a:cubicBezTo>
                        <a:pt x="1117" y="2384"/>
                        <a:pt x="1135" y="2375"/>
                        <a:pt x="1145" y="2378"/>
                      </a:cubicBezTo>
                      <a:cubicBezTo>
                        <a:pt x="1155" y="2381"/>
                        <a:pt x="1151" y="2385"/>
                        <a:pt x="1162" y="2384"/>
                      </a:cubicBezTo>
                      <a:cubicBezTo>
                        <a:pt x="1168" y="2383"/>
                        <a:pt x="1176" y="2381"/>
                        <a:pt x="1170" y="2372"/>
                      </a:cubicBezTo>
                      <a:cubicBezTo>
                        <a:pt x="1183" y="2374"/>
                        <a:pt x="1181" y="2358"/>
                        <a:pt x="1197" y="2364"/>
                      </a:cubicBezTo>
                      <a:cubicBezTo>
                        <a:pt x="1201" y="2365"/>
                        <a:pt x="1201" y="2370"/>
                        <a:pt x="1204" y="2371"/>
                      </a:cubicBezTo>
                      <a:cubicBezTo>
                        <a:pt x="1209" y="2373"/>
                        <a:pt x="1215" y="2372"/>
                        <a:pt x="1221" y="2373"/>
                      </a:cubicBezTo>
                      <a:cubicBezTo>
                        <a:pt x="1224" y="2374"/>
                        <a:pt x="1227" y="2371"/>
                        <a:pt x="1230" y="2373"/>
                      </a:cubicBezTo>
                      <a:cubicBezTo>
                        <a:pt x="1232" y="2375"/>
                        <a:pt x="1227" y="2382"/>
                        <a:pt x="1228" y="2383"/>
                      </a:cubicBezTo>
                      <a:cubicBezTo>
                        <a:pt x="1231" y="2385"/>
                        <a:pt x="1235" y="2387"/>
                        <a:pt x="1239" y="2386"/>
                      </a:cubicBezTo>
                      <a:cubicBezTo>
                        <a:pt x="1247" y="2383"/>
                        <a:pt x="1251" y="2369"/>
                        <a:pt x="1253" y="2363"/>
                      </a:cubicBezTo>
                      <a:cubicBezTo>
                        <a:pt x="1256" y="2350"/>
                        <a:pt x="1254" y="2355"/>
                        <a:pt x="1264" y="2345"/>
                      </a:cubicBezTo>
                      <a:cubicBezTo>
                        <a:pt x="1268" y="2342"/>
                        <a:pt x="1269" y="2338"/>
                        <a:pt x="1274" y="2334"/>
                      </a:cubicBezTo>
                      <a:cubicBezTo>
                        <a:pt x="1281" y="2330"/>
                        <a:pt x="1291" y="2331"/>
                        <a:pt x="1298" y="2328"/>
                      </a:cubicBezTo>
                      <a:cubicBezTo>
                        <a:pt x="1303" y="2325"/>
                        <a:pt x="1308" y="2320"/>
                        <a:pt x="1311" y="2317"/>
                      </a:cubicBezTo>
                      <a:cubicBezTo>
                        <a:pt x="1313" y="2316"/>
                        <a:pt x="1316" y="2318"/>
                        <a:pt x="1318" y="2316"/>
                      </a:cubicBezTo>
                      <a:cubicBezTo>
                        <a:pt x="1320" y="2314"/>
                        <a:pt x="1319" y="2311"/>
                        <a:pt x="1320" y="2309"/>
                      </a:cubicBezTo>
                      <a:cubicBezTo>
                        <a:pt x="1334" y="2296"/>
                        <a:pt x="1328" y="2294"/>
                        <a:pt x="1330" y="2279"/>
                      </a:cubicBezTo>
                      <a:cubicBezTo>
                        <a:pt x="1333" y="2256"/>
                        <a:pt x="1350" y="2269"/>
                        <a:pt x="1365" y="2273"/>
                      </a:cubicBezTo>
                      <a:cubicBezTo>
                        <a:pt x="1377" y="2276"/>
                        <a:pt x="1378" y="2273"/>
                        <a:pt x="1388" y="2271"/>
                      </a:cubicBezTo>
                      <a:cubicBezTo>
                        <a:pt x="1398" y="2270"/>
                        <a:pt x="1405" y="2275"/>
                        <a:pt x="1413" y="2277"/>
                      </a:cubicBezTo>
                      <a:cubicBezTo>
                        <a:pt x="1415" y="2277"/>
                        <a:pt x="1420" y="2279"/>
                        <a:pt x="1423" y="2279"/>
                      </a:cubicBezTo>
                      <a:cubicBezTo>
                        <a:pt x="1429" y="2277"/>
                        <a:pt x="1428" y="2274"/>
                        <a:pt x="1432" y="2272"/>
                      </a:cubicBezTo>
                      <a:cubicBezTo>
                        <a:pt x="1439" y="2270"/>
                        <a:pt x="1453" y="2269"/>
                        <a:pt x="1462" y="2263"/>
                      </a:cubicBezTo>
                      <a:cubicBezTo>
                        <a:pt x="1475" y="2255"/>
                        <a:pt x="1468" y="2253"/>
                        <a:pt x="1469" y="2243"/>
                      </a:cubicBezTo>
                      <a:cubicBezTo>
                        <a:pt x="1471" y="2231"/>
                        <a:pt x="1473" y="2235"/>
                        <a:pt x="1484" y="2228"/>
                      </a:cubicBezTo>
                      <a:cubicBezTo>
                        <a:pt x="1490" y="2225"/>
                        <a:pt x="1490" y="2219"/>
                        <a:pt x="1498" y="2219"/>
                      </a:cubicBezTo>
                      <a:cubicBezTo>
                        <a:pt x="1505" y="2218"/>
                        <a:pt x="1511" y="2225"/>
                        <a:pt x="1518" y="2226"/>
                      </a:cubicBezTo>
                      <a:cubicBezTo>
                        <a:pt x="1528" y="2227"/>
                        <a:pt x="1534" y="2219"/>
                        <a:pt x="1544" y="2220"/>
                      </a:cubicBezTo>
                      <a:cubicBezTo>
                        <a:pt x="1546" y="2221"/>
                        <a:pt x="1557" y="2230"/>
                        <a:pt x="1560" y="2231"/>
                      </a:cubicBezTo>
                      <a:cubicBezTo>
                        <a:pt x="1567" y="2234"/>
                        <a:pt x="1574" y="2241"/>
                        <a:pt x="1580" y="2242"/>
                      </a:cubicBezTo>
                      <a:cubicBezTo>
                        <a:pt x="1591" y="2245"/>
                        <a:pt x="1611" y="2238"/>
                        <a:pt x="1619" y="2231"/>
                      </a:cubicBezTo>
                      <a:cubicBezTo>
                        <a:pt x="1627" y="2225"/>
                        <a:pt x="1628" y="2217"/>
                        <a:pt x="1637" y="2219"/>
                      </a:cubicBezTo>
                      <a:cubicBezTo>
                        <a:pt x="1641" y="2220"/>
                        <a:pt x="1646" y="2228"/>
                        <a:pt x="1653" y="2228"/>
                      </a:cubicBezTo>
                      <a:cubicBezTo>
                        <a:pt x="1662" y="2228"/>
                        <a:pt x="1666" y="2219"/>
                        <a:pt x="1677" y="2225"/>
                      </a:cubicBezTo>
                      <a:cubicBezTo>
                        <a:pt x="1682" y="2228"/>
                        <a:pt x="1688" y="2235"/>
                        <a:pt x="1693" y="2239"/>
                      </a:cubicBezTo>
                      <a:cubicBezTo>
                        <a:pt x="1699" y="2242"/>
                        <a:pt x="1708" y="2247"/>
                        <a:pt x="1711" y="2252"/>
                      </a:cubicBezTo>
                      <a:cubicBezTo>
                        <a:pt x="1711" y="2253"/>
                        <a:pt x="1709" y="2261"/>
                        <a:pt x="1709" y="2264"/>
                      </a:cubicBezTo>
                      <a:cubicBezTo>
                        <a:pt x="1710" y="2267"/>
                        <a:pt x="1716" y="2267"/>
                        <a:pt x="1717" y="2270"/>
                      </a:cubicBezTo>
                      <a:cubicBezTo>
                        <a:pt x="1718" y="2274"/>
                        <a:pt x="1714" y="2288"/>
                        <a:pt x="1712" y="2294"/>
                      </a:cubicBezTo>
                      <a:cubicBezTo>
                        <a:pt x="1708" y="2305"/>
                        <a:pt x="1704" y="2307"/>
                        <a:pt x="1708" y="2322"/>
                      </a:cubicBezTo>
                      <a:cubicBezTo>
                        <a:pt x="1711" y="2334"/>
                        <a:pt x="1710" y="2345"/>
                        <a:pt x="1711" y="2357"/>
                      </a:cubicBezTo>
                      <a:cubicBezTo>
                        <a:pt x="1712" y="2364"/>
                        <a:pt x="1712" y="2379"/>
                        <a:pt x="1714" y="2384"/>
                      </a:cubicBezTo>
                      <a:cubicBezTo>
                        <a:pt x="1714" y="2387"/>
                        <a:pt x="1722" y="2387"/>
                        <a:pt x="1722" y="2391"/>
                      </a:cubicBezTo>
                      <a:cubicBezTo>
                        <a:pt x="1723" y="2395"/>
                        <a:pt x="1717" y="2399"/>
                        <a:pt x="1717" y="2398"/>
                      </a:cubicBezTo>
                      <a:cubicBezTo>
                        <a:pt x="1718" y="2406"/>
                        <a:pt x="1727" y="2404"/>
                        <a:pt x="1728" y="2410"/>
                      </a:cubicBezTo>
                      <a:cubicBezTo>
                        <a:pt x="1728" y="2413"/>
                        <a:pt x="1720" y="2416"/>
                        <a:pt x="1719" y="2421"/>
                      </a:cubicBezTo>
                      <a:cubicBezTo>
                        <a:pt x="1719" y="2423"/>
                        <a:pt x="1725" y="2429"/>
                        <a:pt x="1725" y="2432"/>
                      </a:cubicBezTo>
                      <a:cubicBezTo>
                        <a:pt x="1729" y="2448"/>
                        <a:pt x="1724" y="2456"/>
                        <a:pt x="1746" y="2449"/>
                      </a:cubicBezTo>
                      <a:cubicBezTo>
                        <a:pt x="1757" y="2446"/>
                        <a:pt x="1766" y="2443"/>
                        <a:pt x="1778" y="2441"/>
                      </a:cubicBezTo>
                      <a:cubicBezTo>
                        <a:pt x="1791" y="2438"/>
                        <a:pt x="1790" y="2436"/>
                        <a:pt x="1795" y="2427"/>
                      </a:cubicBezTo>
                      <a:cubicBezTo>
                        <a:pt x="1803" y="2413"/>
                        <a:pt x="1800" y="2416"/>
                        <a:pt x="1817" y="2416"/>
                      </a:cubicBezTo>
                      <a:cubicBezTo>
                        <a:pt x="1826" y="2415"/>
                        <a:pt x="1837" y="2413"/>
                        <a:pt x="1846" y="2413"/>
                      </a:cubicBezTo>
                      <a:cubicBezTo>
                        <a:pt x="1855" y="2412"/>
                        <a:pt x="1866" y="2409"/>
                        <a:pt x="1877" y="2411"/>
                      </a:cubicBezTo>
                      <a:cubicBezTo>
                        <a:pt x="1894" y="2415"/>
                        <a:pt x="1914" y="2419"/>
                        <a:pt x="1926" y="2403"/>
                      </a:cubicBezTo>
                      <a:cubicBezTo>
                        <a:pt x="1929" y="2399"/>
                        <a:pt x="1932" y="2388"/>
                        <a:pt x="1939" y="2389"/>
                      </a:cubicBezTo>
                      <a:cubicBezTo>
                        <a:pt x="1939" y="2389"/>
                        <a:pt x="1947" y="2403"/>
                        <a:pt x="1949" y="2406"/>
                      </a:cubicBezTo>
                      <a:cubicBezTo>
                        <a:pt x="1961" y="2424"/>
                        <a:pt x="1956" y="2411"/>
                        <a:pt x="1971" y="2419"/>
                      </a:cubicBezTo>
                      <a:cubicBezTo>
                        <a:pt x="1980" y="2423"/>
                        <a:pt x="1975" y="2427"/>
                        <a:pt x="1982" y="2432"/>
                      </a:cubicBezTo>
                      <a:cubicBezTo>
                        <a:pt x="1982" y="2432"/>
                        <a:pt x="1995" y="2434"/>
                        <a:pt x="1995" y="2434"/>
                      </a:cubicBezTo>
                      <a:cubicBezTo>
                        <a:pt x="1999" y="2435"/>
                        <a:pt x="2002" y="2436"/>
                        <a:pt x="2005" y="2437"/>
                      </a:cubicBezTo>
                      <a:cubicBezTo>
                        <a:pt x="2009" y="2438"/>
                        <a:pt x="2026" y="2443"/>
                        <a:pt x="2030" y="2441"/>
                      </a:cubicBezTo>
                      <a:cubicBezTo>
                        <a:pt x="2036" y="2438"/>
                        <a:pt x="2032" y="2428"/>
                        <a:pt x="2035" y="2423"/>
                      </a:cubicBezTo>
                      <a:cubicBezTo>
                        <a:pt x="2036" y="2422"/>
                        <a:pt x="2048" y="2413"/>
                        <a:pt x="2049" y="2412"/>
                      </a:cubicBezTo>
                      <a:cubicBezTo>
                        <a:pt x="2055" y="2408"/>
                        <a:pt x="2062" y="2402"/>
                        <a:pt x="2068" y="2399"/>
                      </a:cubicBezTo>
                      <a:cubicBezTo>
                        <a:pt x="2071" y="2398"/>
                        <a:pt x="2081" y="2399"/>
                        <a:pt x="2083" y="2396"/>
                      </a:cubicBezTo>
                      <a:cubicBezTo>
                        <a:pt x="2086" y="2393"/>
                        <a:pt x="2081" y="2389"/>
                        <a:pt x="2082" y="2385"/>
                      </a:cubicBezTo>
                      <a:cubicBezTo>
                        <a:pt x="2084" y="2381"/>
                        <a:pt x="2096" y="2373"/>
                        <a:pt x="2094" y="2369"/>
                      </a:cubicBezTo>
                      <a:cubicBezTo>
                        <a:pt x="2092" y="2364"/>
                        <a:pt x="2084" y="2369"/>
                        <a:pt x="2082" y="2366"/>
                      </a:cubicBezTo>
                      <a:cubicBezTo>
                        <a:pt x="2078" y="2358"/>
                        <a:pt x="2087" y="2360"/>
                        <a:pt x="2088" y="2355"/>
                      </a:cubicBezTo>
                      <a:cubicBezTo>
                        <a:pt x="2089" y="2354"/>
                        <a:pt x="2090" y="2345"/>
                        <a:pt x="2089" y="2345"/>
                      </a:cubicBezTo>
                      <a:cubicBezTo>
                        <a:pt x="2097" y="2339"/>
                        <a:pt x="2097" y="2350"/>
                        <a:pt x="2103" y="2345"/>
                      </a:cubicBezTo>
                      <a:cubicBezTo>
                        <a:pt x="2106" y="2343"/>
                        <a:pt x="2102" y="2336"/>
                        <a:pt x="2103" y="2335"/>
                      </a:cubicBezTo>
                      <a:cubicBezTo>
                        <a:pt x="2107" y="2332"/>
                        <a:pt x="2106" y="2335"/>
                        <a:pt x="2109" y="2334"/>
                      </a:cubicBezTo>
                      <a:cubicBezTo>
                        <a:pt x="2118" y="2329"/>
                        <a:pt x="2119" y="2332"/>
                        <a:pt x="2124" y="2320"/>
                      </a:cubicBezTo>
                      <a:cubicBezTo>
                        <a:pt x="2127" y="2310"/>
                        <a:pt x="2128" y="2303"/>
                        <a:pt x="2133" y="2293"/>
                      </a:cubicBezTo>
                      <a:cubicBezTo>
                        <a:pt x="2139" y="2281"/>
                        <a:pt x="2137" y="2283"/>
                        <a:pt x="2135" y="2271"/>
                      </a:cubicBezTo>
                      <a:cubicBezTo>
                        <a:pt x="2135" y="2269"/>
                        <a:pt x="2135" y="2256"/>
                        <a:pt x="2136" y="2254"/>
                      </a:cubicBezTo>
                      <a:cubicBezTo>
                        <a:pt x="2141" y="2242"/>
                        <a:pt x="2153" y="2243"/>
                        <a:pt x="2162" y="2241"/>
                      </a:cubicBezTo>
                      <a:cubicBezTo>
                        <a:pt x="2177" y="2236"/>
                        <a:pt x="2166" y="2230"/>
                        <a:pt x="2177" y="2218"/>
                      </a:cubicBezTo>
                      <a:cubicBezTo>
                        <a:pt x="2178" y="2216"/>
                        <a:pt x="2191" y="2211"/>
                        <a:pt x="2194" y="2210"/>
                      </a:cubicBezTo>
                      <a:cubicBezTo>
                        <a:pt x="2203" y="2206"/>
                        <a:pt x="2202" y="2205"/>
                        <a:pt x="2211" y="2205"/>
                      </a:cubicBezTo>
                      <a:cubicBezTo>
                        <a:pt x="2222" y="2204"/>
                        <a:pt x="2228" y="2209"/>
                        <a:pt x="2227" y="2197"/>
                      </a:cubicBezTo>
                      <a:cubicBezTo>
                        <a:pt x="2227" y="2194"/>
                        <a:pt x="2220" y="2194"/>
                        <a:pt x="2220" y="2189"/>
                      </a:cubicBezTo>
                      <a:cubicBezTo>
                        <a:pt x="2221" y="2183"/>
                        <a:pt x="2227" y="2187"/>
                        <a:pt x="2229" y="2183"/>
                      </a:cubicBezTo>
                      <a:cubicBezTo>
                        <a:pt x="2230" y="2181"/>
                        <a:pt x="2233" y="2175"/>
                        <a:pt x="2233" y="2174"/>
                      </a:cubicBezTo>
                      <a:cubicBezTo>
                        <a:pt x="2233" y="2175"/>
                        <a:pt x="2241" y="2161"/>
                        <a:pt x="2240" y="2165"/>
                      </a:cubicBezTo>
                      <a:cubicBezTo>
                        <a:pt x="2241" y="2156"/>
                        <a:pt x="2237" y="2150"/>
                        <a:pt x="2238" y="2140"/>
                      </a:cubicBezTo>
                      <a:cubicBezTo>
                        <a:pt x="2239" y="2134"/>
                        <a:pt x="2238" y="2113"/>
                        <a:pt x="2240" y="2109"/>
                      </a:cubicBezTo>
                      <a:cubicBezTo>
                        <a:pt x="2241" y="2106"/>
                        <a:pt x="2247" y="2108"/>
                        <a:pt x="2248" y="2106"/>
                      </a:cubicBezTo>
                      <a:cubicBezTo>
                        <a:pt x="2250" y="2103"/>
                        <a:pt x="2251" y="2097"/>
                        <a:pt x="2252" y="2095"/>
                      </a:cubicBezTo>
                      <a:cubicBezTo>
                        <a:pt x="2267" y="2078"/>
                        <a:pt x="2280" y="2099"/>
                        <a:pt x="2294" y="2084"/>
                      </a:cubicBezTo>
                      <a:cubicBezTo>
                        <a:pt x="2303" y="2073"/>
                        <a:pt x="2299" y="2070"/>
                        <a:pt x="2312" y="2078"/>
                      </a:cubicBezTo>
                      <a:cubicBezTo>
                        <a:pt x="2315" y="2080"/>
                        <a:pt x="2320" y="2084"/>
                        <a:pt x="2322" y="2087"/>
                      </a:cubicBezTo>
                      <a:cubicBezTo>
                        <a:pt x="2325" y="2091"/>
                        <a:pt x="2323" y="2093"/>
                        <a:pt x="2324" y="2096"/>
                      </a:cubicBezTo>
                      <a:cubicBezTo>
                        <a:pt x="2329" y="2107"/>
                        <a:pt x="2330" y="2107"/>
                        <a:pt x="2342" y="2110"/>
                      </a:cubicBezTo>
                      <a:cubicBezTo>
                        <a:pt x="2354" y="2114"/>
                        <a:pt x="2355" y="2116"/>
                        <a:pt x="2364" y="2122"/>
                      </a:cubicBezTo>
                      <a:cubicBezTo>
                        <a:pt x="2366" y="2124"/>
                        <a:pt x="2380" y="2133"/>
                        <a:pt x="2380" y="2133"/>
                      </a:cubicBezTo>
                      <a:cubicBezTo>
                        <a:pt x="2396" y="2133"/>
                        <a:pt x="2385" y="2113"/>
                        <a:pt x="2394" y="2111"/>
                      </a:cubicBezTo>
                      <a:cubicBezTo>
                        <a:pt x="2397" y="2110"/>
                        <a:pt x="2400" y="2116"/>
                        <a:pt x="2403" y="2117"/>
                      </a:cubicBezTo>
                      <a:cubicBezTo>
                        <a:pt x="2408" y="2118"/>
                        <a:pt x="2412" y="2116"/>
                        <a:pt x="2417" y="2117"/>
                      </a:cubicBezTo>
                      <a:cubicBezTo>
                        <a:pt x="2430" y="2119"/>
                        <a:pt x="2427" y="2125"/>
                        <a:pt x="2439" y="2130"/>
                      </a:cubicBezTo>
                      <a:cubicBezTo>
                        <a:pt x="2446" y="2133"/>
                        <a:pt x="2447" y="2128"/>
                        <a:pt x="2453" y="2136"/>
                      </a:cubicBezTo>
                      <a:cubicBezTo>
                        <a:pt x="2452" y="2135"/>
                        <a:pt x="2450" y="2148"/>
                        <a:pt x="2459" y="2147"/>
                      </a:cubicBezTo>
                      <a:cubicBezTo>
                        <a:pt x="2465" y="2146"/>
                        <a:pt x="2471" y="2115"/>
                        <a:pt x="2465" y="2109"/>
                      </a:cubicBezTo>
                      <a:cubicBezTo>
                        <a:pt x="2459" y="2102"/>
                        <a:pt x="2444" y="2109"/>
                        <a:pt x="2436" y="2104"/>
                      </a:cubicBezTo>
                      <a:cubicBezTo>
                        <a:pt x="2445" y="2100"/>
                        <a:pt x="2457" y="2088"/>
                        <a:pt x="2461" y="2096"/>
                      </a:cubicBezTo>
                      <a:cubicBezTo>
                        <a:pt x="2458" y="2080"/>
                        <a:pt x="2472" y="2061"/>
                        <a:pt x="2473" y="2045"/>
                      </a:cubicBezTo>
                      <a:cubicBezTo>
                        <a:pt x="2474" y="2026"/>
                        <a:pt x="2460" y="2025"/>
                        <a:pt x="2450" y="2012"/>
                      </a:cubicBezTo>
                      <a:cubicBezTo>
                        <a:pt x="2458" y="2014"/>
                        <a:pt x="2470" y="2022"/>
                        <a:pt x="2470" y="2007"/>
                      </a:cubicBezTo>
                      <a:cubicBezTo>
                        <a:pt x="2473" y="2012"/>
                        <a:pt x="2473" y="2018"/>
                        <a:pt x="2473" y="2024"/>
                      </a:cubicBezTo>
                      <a:cubicBezTo>
                        <a:pt x="2476" y="2007"/>
                        <a:pt x="2472" y="1990"/>
                        <a:pt x="2474" y="1973"/>
                      </a:cubicBezTo>
                      <a:cubicBezTo>
                        <a:pt x="2477" y="1958"/>
                        <a:pt x="2484" y="1942"/>
                        <a:pt x="2488" y="1927"/>
                      </a:cubicBezTo>
                      <a:cubicBezTo>
                        <a:pt x="2491" y="1916"/>
                        <a:pt x="2498" y="1904"/>
                        <a:pt x="2498" y="1893"/>
                      </a:cubicBezTo>
                      <a:cubicBezTo>
                        <a:pt x="2498" y="1884"/>
                        <a:pt x="2493" y="1879"/>
                        <a:pt x="2492" y="1870"/>
                      </a:cubicBezTo>
                      <a:cubicBezTo>
                        <a:pt x="2489" y="1859"/>
                        <a:pt x="2498" y="1841"/>
                        <a:pt x="2492" y="1832"/>
                      </a:cubicBezTo>
                      <a:cubicBezTo>
                        <a:pt x="2487" y="1842"/>
                        <a:pt x="2480" y="1821"/>
                        <a:pt x="2486" y="1814"/>
                      </a:cubicBezTo>
                      <a:cubicBezTo>
                        <a:pt x="2489" y="1832"/>
                        <a:pt x="2497" y="1816"/>
                        <a:pt x="2500" y="1805"/>
                      </a:cubicBezTo>
                      <a:cubicBezTo>
                        <a:pt x="2504" y="1795"/>
                        <a:pt x="2521" y="1763"/>
                        <a:pt x="2517" y="1755"/>
                      </a:cubicBezTo>
                      <a:cubicBezTo>
                        <a:pt x="2499" y="1766"/>
                        <a:pt x="2508" y="1780"/>
                        <a:pt x="2483" y="1775"/>
                      </a:cubicBezTo>
                      <a:cubicBezTo>
                        <a:pt x="2468" y="1771"/>
                        <a:pt x="2472" y="1768"/>
                        <a:pt x="2466" y="1755"/>
                      </a:cubicBezTo>
                      <a:cubicBezTo>
                        <a:pt x="2462" y="1746"/>
                        <a:pt x="2464" y="1750"/>
                        <a:pt x="2456" y="1746"/>
                      </a:cubicBezTo>
                      <a:cubicBezTo>
                        <a:pt x="2453" y="1744"/>
                        <a:pt x="2438" y="1740"/>
                        <a:pt x="2438" y="1735"/>
                      </a:cubicBezTo>
                      <a:cubicBezTo>
                        <a:pt x="2438" y="1730"/>
                        <a:pt x="2446" y="1735"/>
                        <a:pt x="2450" y="1735"/>
                      </a:cubicBezTo>
                      <a:cubicBezTo>
                        <a:pt x="2460" y="1733"/>
                        <a:pt x="2462" y="1732"/>
                        <a:pt x="2470" y="1736"/>
                      </a:cubicBezTo>
                      <a:cubicBezTo>
                        <a:pt x="2478" y="1740"/>
                        <a:pt x="2485" y="1750"/>
                        <a:pt x="2491" y="1735"/>
                      </a:cubicBezTo>
                      <a:cubicBezTo>
                        <a:pt x="2481" y="1732"/>
                        <a:pt x="2474" y="1716"/>
                        <a:pt x="2478" y="1706"/>
                      </a:cubicBezTo>
                      <a:cubicBezTo>
                        <a:pt x="2484" y="1693"/>
                        <a:pt x="2484" y="1706"/>
                        <a:pt x="2491" y="1710"/>
                      </a:cubicBezTo>
                      <a:cubicBezTo>
                        <a:pt x="2476" y="1720"/>
                        <a:pt x="2493" y="1725"/>
                        <a:pt x="2499" y="1731"/>
                      </a:cubicBezTo>
                      <a:cubicBezTo>
                        <a:pt x="2509" y="1741"/>
                        <a:pt x="2506" y="1752"/>
                        <a:pt x="2522" y="1748"/>
                      </a:cubicBezTo>
                      <a:cubicBezTo>
                        <a:pt x="2522" y="1750"/>
                        <a:pt x="2521" y="1751"/>
                        <a:pt x="2521" y="1753"/>
                      </a:cubicBezTo>
                      <a:cubicBezTo>
                        <a:pt x="2543" y="1727"/>
                        <a:pt x="2566" y="1697"/>
                        <a:pt x="2598" y="1684"/>
                      </a:cubicBezTo>
                      <a:cubicBezTo>
                        <a:pt x="2628" y="1672"/>
                        <a:pt x="2653" y="1652"/>
                        <a:pt x="2682" y="1638"/>
                      </a:cubicBezTo>
                      <a:cubicBezTo>
                        <a:pt x="2687" y="1636"/>
                        <a:pt x="2713" y="1634"/>
                        <a:pt x="2713" y="1635"/>
                      </a:cubicBezTo>
                      <a:cubicBezTo>
                        <a:pt x="2717" y="1630"/>
                        <a:pt x="2708" y="1620"/>
                        <a:pt x="2705" y="1617"/>
                      </a:cubicBezTo>
                      <a:cubicBezTo>
                        <a:pt x="2698" y="1609"/>
                        <a:pt x="2679" y="1607"/>
                        <a:pt x="2676" y="1597"/>
                      </a:cubicBezTo>
                      <a:cubicBezTo>
                        <a:pt x="2672" y="1583"/>
                        <a:pt x="2693" y="1579"/>
                        <a:pt x="2684" y="1562"/>
                      </a:cubicBezTo>
                      <a:cubicBezTo>
                        <a:pt x="2681" y="1557"/>
                        <a:pt x="2672" y="1554"/>
                        <a:pt x="2671" y="1548"/>
                      </a:cubicBezTo>
                      <a:cubicBezTo>
                        <a:pt x="2670" y="1542"/>
                        <a:pt x="2678" y="1539"/>
                        <a:pt x="2678" y="1534"/>
                      </a:cubicBezTo>
                      <a:cubicBezTo>
                        <a:pt x="2678" y="1534"/>
                        <a:pt x="2667" y="1522"/>
                        <a:pt x="2667" y="1521"/>
                      </a:cubicBezTo>
                      <a:cubicBezTo>
                        <a:pt x="2658" y="1512"/>
                        <a:pt x="2642" y="1503"/>
                        <a:pt x="2629" y="1500"/>
                      </a:cubicBezTo>
                      <a:cubicBezTo>
                        <a:pt x="2614" y="1496"/>
                        <a:pt x="2609" y="1512"/>
                        <a:pt x="2594" y="1510"/>
                      </a:cubicBezTo>
                      <a:cubicBezTo>
                        <a:pt x="2583" y="1509"/>
                        <a:pt x="2566" y="1501"/>
                        <a:pt x="2568" y="1487"/>
                      </a:cubicBezTo>
                      <a:cubicBezTo>
                        <a:pt x="2569" y="1478"/>
                        <a:pt x="2576" y="1484"/>
                        <a:pt x="2573" y="1475"/>
                      </a:cubicBezTo>
                      <a:cubicBezTo>
                        <a:pt x="2569" y="1466"/>
                        <a:pt x="2555" y="1466"/>
                        <a:pt x="2548" y="1465"/>
                      </a:cubicBezTo>
                      <a:cubicBezTo>
                        <a:pt x="2539" y="1464"/>
                        <a:pt x="2531" y="1462"/>
                        <a:pt x="2522" y="1467"/>
                      </a:cubicBezTo>
                      <a:cubicBezTo>
                        <a:pt x="2521" y="1468"/>
                        <a:pt x="2522" y="1473"/>
                        <a:pt x="2520" y="1474"/>
                      </a:cubicBezTo>
                      <a:cubicBezTo>
                        <a:pt x="2514" y="1476"/>
                        <a:pt x="2507" y="1474"/>
                        <a:pt x="2501" y="1476"/>
                      </a:cubicBezTo>
                      <a:cubicBezTo>
                        <a:pt x="2496" y="1478"/>
                        <a:pt x="2492" y="1482"/>
                        <a:pt x="2488" y="1483"/>
                      </a:cubicBezTo>
                      <a:cubicBezTo>
                        <a:pt x="2485" y="1484"/>
                        <a:pt x="2472" y="1487"/>
                        <a:pt x="2469" y="1485"/>
                      </a:cubicBezTo>
                      <a:cubicBezTo>
                        <a:pt x="2444" y="1475"/>
                        <a:pt x="2486" y="1475"/>
                        <a:pt x="2491" y="1473"/>
                      </a:cubicBezTo>
                      <a:cubicBezTo>
                        <a:pt x="2466" y="1468"/>
                        <a:pt x="2438" y="1466"/>
                        <a:pt x="2417" y="1450"/>
                      </a:cubicBezTo>
                      <a:cubicBezTo>
                        <a:pt x="2423" y="1468"/>
                        <a:pt x="2446" y="1460"/>
                        <a:pt x="2455" y="1470"/>
                      </a:cubicBezTo>
                      <a:cubicBezTo>
                        <a:pt x="2459" y="1475"/>
                        <a:pt x="2457" y="1489"/>
                        <a:pt x="2454" y="1493"/>
                      </a:cubicBezTo>
                      <a:cubicBezTo>
                        <a:pt x="2444" y="1502"/>
                        <a:pt x="2444" y="1494"/>
                        <a:pt x="2440" y="1488"/>
                      </a:cubicBezTo>
                      <a:cubicBezTo>
                        <a:pt x="2436" y="1479"/>
                        <a:pt x="2433" y="1459"/>
                        <a:pt x="2418" y="1460"/>
                      </a:cubicBezTo>
                      <a:cubicBezTo>
                        <a:pt x="2417" y="1461"/>
                        <a:pt x="2402" y="1476"/>
                        <a:pt x="2401" y="1481"/>
                      </a:cubicBezTo>
                      <a:cubicBezTo>
                        <a:pt x="2399" y="1488"/>
                        <a:pt x="2408" y="1494"/>
                        <a:pt x="2402" y="1500"/>
                      </a:cubicBezTo>
                      <a:cubicBezTo>
                        <a:pt x="2398" y="1503"/>
                        <a:pt x="2386" y="1503"/>
                        <a:pt x="2383" y="1500"/>
                      </a:cubicBezTo>
                      <a:cubicBezTo>
                        <a:pt x="2376" y="1493"/>
                        <a:pt x="2382" y="1481"/>
                        <a:pt x="2387" y="1477"/>
                      </a:cubicBezTo>
                      <a:cubicBezTo>
                        <a:pt x="2388" y="1476"/>
                        <a:pt x="2396" y="1476"/>
                        <a:pt x="2395" y="1478"/>
                      </a:cubicBezTo>
                      <a:cubicBezTo>
                        <a:pt x="2398" y="1473"/>
                        <a:pt x="2395" y="1466"/>
                        <a:pt x="2389" y="1468"/>
                      </a:cubicBezTo>
                      <a:cubicBezTo>
                        <a:pt x="2391" y="1455"/>
                        <a:pt x="2405" y="1468"/>
                        <a:pt x="2411" y="1460"/>
                      </a:cubicBezTo>
                      <a:cubicBezTo>
                        <a:pt x="2420" y="1449"/>
                        <a:pt x="2394" y="1457"/>
                        <a:pt x="2388" y="1455"/>
                      </a:cubicBezTo>
                      <a:cubicBezTo>
                        <a:pt x="2391" y="1450"/>
                        <a:pt x="2403" y="1444"/>
                        <a:pt x="2410" y="1447"/>
                      </a:cubicBezTo>
                      <a:cubicBezTo>
                        <a:pt x="2388" y="1426"/>
                        <a:pt x="2350" y="1409"/>
                        <a:pt x="2323" y="1396"/>
                      </a:cubicBezTo>
                      <a:cubicBezTo>
                        <a:pt x="2327" y="1399"/>
                        <a:pt x="2334" y="1400"/>
                        <a:pt x="2333" y="1406"/>
                      </a:cubicBezTo>
                      <a:cubicBezTo>
                        <a:pt x="2333" y="1406"/>
                        <a:pt x="2312" y="1420"/>
                        <a:pt x="2309" y="1423"/>
                      </a:cubicBezTo>
                      <a:cubicBezTo>
                        <a:pt x="2309" y="1423"/>
                        <a:pt x="2309" y="1423"/>
                        <a:pt x="2309" y="1423"/>
                      </a:cubicBezTo>
                      <a:cubicBezTo>
                        <a:pt x="2309" y="1423"/>
                        <a:pt x="2309" y="1423"/>
                        <a:pt x="2309" y="1423"/>
                      </a:cubicBezTo>
                      <a:cubicBezTo>
                        <a:pt x="2312" y="1420"/>
                        <a:pt x="2313" y="1416"/>
                        <a:pt x="2315" y="1412"/>
                      </a:cubicBezTo>
                      <a:cubicBezTo>
                        <a:pt x="2305" y="1418"/>
                        <a:pt x="2300" y="1422"/>
                        <a:pt x="2298" y="1408"/>
                      </a:cubicBezTo>
                      <a:cubicBezTo>
                        <a:pt x="2297" y="1397"/>
                        <a:pt x="2300" y="1398"/>
                        <a:pt x="2312" y="1396"/>
                      </a:cubicBezTo>
                      <a:cubicBezTo>
                        <a:pt x="2293" y="1390"/>
                        <a:pt x="2275" y="1387"/>
                        <a:pt x="2256" y="1379"/>
                      </a:cubicBezTo>
                      <a:cubicBezTo>
                        <a:pt x="2240" y="1373"/>
                        <a:pt x="2217" y="1364"/>
                        <a:pt x="2200" y="1364"/>
                      </a:cubicBezTo>
                      <a:cubicBezTo>
                        <a:pt x="2201" y="1366"/>
                        <a:pt x="2203" y="1369"/>
                        <a:pt x="2204" y="1371"/>
                      </a:cubicBezTo>
                      <a:cubicBezTo>
                        <a:pt x="2204" y="1369"/>
                        <a:pt x="2204" y="1367"/>
                        <a:pt x="2204" y="1365"/>
                      </a:cubicBezTo>
                      <a:cubicBezTo>
                        <a:pt x="2216" y="1368"/>
                        <a:pt x="2226" y="1370"/>
                        <a:pt x="2229" y="1384"/>
                      </a:cubicBezTo>
                      <a:cubicBezTo>
                        <a:pt x="2230" y="1389"/>
                        <a:pt x="2225" y="1401"/>
                        <a:pt x="2229" y="1405"/>
                      </a:cubicBezTo>
                      <a:cubicBezTo>
                        <a:pt x="2233" y="1409"/>
                        <a:pt x="2242" y="1403"/>
                        <a:pt x="2247" y="1404"/>
                      </a:cubicBezTo>
                      <a:cubicBezTo>
                        <a:pt x="2222" y="1433"/>
                        <a:pt x="2182" y="1439"/>
                        <a:pt x="2146" y="1433"/>
                      </a:cubicBezTo>
                      <a:cubicBezTo>
                        <a:pt x="2119" y="1429"/>
                        <a:pt x="2111" y="1409"/>
                        <a:pt x="2096" y="1391"/>
                      </a:cubicBezTo>
                      <a:cubicBezTo>
                        <a:pt x="2093" y="1387"/>
                        <a:pt x="2085" y="1374"/>
                        <a:pt x="2081" y="1374"/>
                      </a:cubicBezTo>
                      <a:cubicBezTo>
                        <a:pt x="2073" y="1374"/>
                        <a:pt x="2068" y="1387"/>
                        <a:pt x="2067" y="1392"/>
                      </a:cubicBezTo>
                      <a:cubicBezTo>
                        <a:pt x="2065" y="1401"/>
                        <a:pt x="2068" y="1407"/>
                        <a:pt x="2064" y="1416"/>
                      </a:cubicBezTo>
                      <a:cubicBezTo>
                        <a:pt x="2059" y="1427"/>
                        <a:pt x="2059" y="1425"/>
                        <a:pt x="2061" y="1439"/>
                      </a:cubicBezTo>
                      <a:cubicBezTo>
                        <a:pt x="2062" y="1443"/>
                        <a:pt x="2073" y="1468"/>
                        <a:pt x="2069" y="1471"/>
                      </a:cubicBezTo>
                      <a:cubicBezTo>
                        <a:pt x="2065" y="1475"/>
                        <a:pt x="2039" y="1464"/>
                        <a:pt x="2029" y="1473"/>
                      </a:cubicBezTo>
                      <a:cubicBezTo>
                        <a:pt x="2020" y="1481"/>
                        <a:pt x="2030" y="1491"/>
                        <a:pt x="2026" y="1503"/>
                      </a:cubicBezTo>
                      <a:cubicBezTo>
                        <a:pt x="2024" y="1512"/>
                        <a:pt x="2020" y="1510"/>
                        <a:pt x="2023" y="1523"/>
                      </a:cubicBezTo>
                      <a:cubicBezTo>
                        <a:pt x="2024" y="1527"/>
                        <a:pt x="2027" y="1530"/>
                        <a:pt x="2030" y="1532"/>
                      </a:cubicBezTo>
                      <a:cubicBezTo>
                        <a:pt x="1999" y="1524"/>
                        <a:pt x="2032" y="1486"/>
                        <a:pt x="2014" y="1477"/>
                      </a:cubicBezTo>
                      <a:cubicBezTo>
                        <a:pt x="2009" y="1474"/>
                        <a:pt x="2001" y="1477"/>
                        <a:pt x="1995" y="1476"/>
                      </a:cubicBezTo>
                      <a:cubicBezTo>
                        <a:pt x="1983" y="1473"/>
                        <a:pt x="1975" y="1467"/>
                        <a:pt x="1962" y="1469"/>
                      </a:cubicBezTo>
                      <a:cubicBezTo>
                        <a:pt x="1934" y="1472"/>
                        <a:pt x="1955" y="1496"/>
                        <a:pt x="1955" y="1515"/>
                      </a:cubicBezTo>
                      <a:cubicBezTo>
                        <a:pt x="1955" y="1533"/>
                        <a:pt x="1946" y="1533"/>
                        <a:pt x="1938" y="1543"/>
                      </a:cubicBezTo>
                      <a:cubicBezTo>
                        <a:pt x="1933" y="1551"/>
                        <a:pt x="1932" y="1562"/>
                        <a:pt x="1927" y="1569"/>
                      </a:cubicBezTo>
                      <a:cubicBezTo>
                        <a:pt x="1923" y="1574"/>
                        <a:pt x="1916" y="1577"/>
                        <a:pt x="1912" y="1582"/>
                      </a:cubicBezTo>
                      <a:cubicBezTo>
                        <a:pt x="1903" y="1594"/>
                        <a:pt x="1909" y="1611"/>
                        <a:pt x="1904" y="1625"/>
                      </a:cubicBezTo>
                      <a:cubicBezTo>
                        <a:pt x="1901" y="1634"/>
                        <a:pt x="1889" y="1654"/>
                        <a:pt x="1877" y="1652"/>
                      </a:cubicBezTo>
                      <a:cubicBezTo>
                        <a:pt x="1887" y="1642"/>
                        <a:pt x="1897" y="1634"/>
                        <a:pt x="1901" y="1621"/>
                      </a:cubicBezTo>
                      <a:cubicBezTo>
                        <a:pt x="1905" y="1609"/>
                        <a:pt x="1899" y="1596"/>
                        <a:pt x="1905" y="1585"/>
                      </a:cubicBezTo>
                      <a:cubicBezTo>
                        <a:pt x="1910" y="1577"/>
                        <a:pt x="1919" y="1571"/>
                        <a:pt x="1922" y="1565"/>
                      </a:cubicBezTo>
                      <a:cubicBezTo>
                        <a:pt x="1930" y="1553"/>
                        <a:pt x="1931" y="1541"/>
                        <a:pt x="1940" y="1531"/>
                      </a:cubicBezTo>
                      <a:cubicBezTo>
                        <a:pt x="1947" y="1523"/>
                        <a:pt x="1947" y="1527"/>
                        <a:pt x="1949" y="1516"/>
                      </a:cubicBezTo>
                      <a:cubicBezTo>
                        <a:pt x="1949" y="1511"/>
                        <a:pt x="1950" y="1504"/>
                        <a:pt x="1949" y="1500"/>
                      </a:cubicBezTo>
                      <a:cubicBezTo>
                        <a:pt x="1948" y="1492"/>
                        <a:pt x="1942" y="1488"/>
                        <a:pt x="1940" y="1482"/>
                      </a:cubicBezTo>
                      <a:cubicBezTo>
                        <a:pt x="1939" y="1480"/>
                        <a:pt x="1937" y="1470"/>
                        <a:pt x="1938" y="1468"/>
                      </a:cubicBezTo>
                      <a:cubicBezTo>
                        <a:pt x="1941" y="1465"/>
                        <a:pt x="1944" y="1470"/>
                        <a:pt x="1946" y="1468"/>
                      </a:cubicBezTo>
                      <a:cubicBezTo>
                        <a:pt x="1951" y="1464"/>
                        <a:pt x="1958" y="1463"/>
                        <a:pt x="1964" y="1461"/>
                      </a:cubicBezTo>
                      <a:cubicBezTo>
                        <a:pt x="1969" y="1459"/>
                        <a:pt x="1978" y="1455"/>
                        <a:pt x="1983" y="1455"/>
                      </a:cubicBezTo>
                      <a:cubicBezTo>
                        <a:pt x="1986" y="1455"/>
                        <a:pt x="1993" y="1457"/>
                        <a:pt x="1994" y="1457"/>
                      </a:cubicBezTo>
                      <a:cubicBezTo>
                        <a:pt x="1999" y="1455"/>
                        <a:pt x="2000" y="1459"/>
                        <a:pt x="2002" y="1449"/>
                      </a:cubicBezTo>
                      <a:cubicBezTo>
                        <a:pt x="2005" y="1436"/>
                        <a:pt x="1996" y="1438"/>
                        <a:pt x="2007" y="1426"/>
                      </a:cubicBezTo>
                      <a:cubicBezTo>
                        <a:pt x="2019" y="1414"/>
                        <a:pt x="2024" y="1417"/>
                        <a:pt x="2039" y="1414"/>
                      </a:cubicBezTo>
                      <a:cubicBezTo>
                        <a:pt x="2050" y="1411"/>
                        <a:pt x="2051" y="1410"/>
                        <a:pt x="2055" y="1396"/>
                      </a:cubicBezTo>
                      <a:cubicBezTo>
                        <a:pt x="2058" y="1384"/>
                        <a:pt x="2057" y="1384"/>
                        <a:pt x="2049" y="1379"/>
                      </a:cubicBezTo>
                      <a:cubicBezTo>
                        <a:pt x="2050" y="1379"/>
                        <a:pt x="2041" y="1378"/>
                        <a:pt x="2041" y="1378"/>
                      </a:cubicBezTo>
                      <a:cubicBezTo>
                        <a:pt x="2040" y="1378"/>
                        <a:pt x="2040" y="1376"/>
                        <a:pt x="2040" y="1376"/>
                      </a:cubicBezTo>
                      <a:cubicBezTo>
                        <a:pt x="2037" y="1375"/>
                        <a:pt x="2033" y="1374"/>
                        <a:pt x="2030" y="1373"/>
                      </a:cubicBezTo>
                      <a:cubicBezTo>
                        <a:pt x="2025" y="1372"/>
                        <a:pt x="2018" y="1374"/>
                        <a:pt x="2012" y="1375"/>
                      </a:cubicBezTo>
                      <a:cubicBezTo>
                        <a:pt x="2006" y="1376"/>
                        <a:pt x="1995" y="1373"/>
                        <a:pt x="1991" y="1375"/>
                      </a:cubicBezTo>
                      <a:cubicBezTo>
                        <a:pt x="1980" y="1378"/>
                        <a:pt x="1979" y="1385"/>
                        <a:pt x="1974" y="1397"/>
                      </a:cubicBezTo>
                      <a:cubicBezTo>
                        <a:pt x="1970" y="1408"/>
                        <a:pt x="1969" y="1415"/>
                        <a:pt x="1960" y="1420"/>
                      </a:cubicBezTo>
                      <a:cubicBezTo>
                        <a:pt x="1959" y="1421"/>
                        <a:pt x="1950" y="1423"/>
                        <a:pt x="1949" y="1423"/>
                      </a:cubicBezTo>
                      <a:cubicBezTo>
                        <a:pt x="1944" y="1425"/>
                        <a:pt x="1947" y="1431"/>
                        <a:pt x="1938" y="1429"/>
                      </a:cubicBezTo>
                      <a:cubicBezTo>
                        <a:pt x="1945" y="1424"/>
                        <a:pt x="1944" y="1419"/>
                        <a:pt x="1936" y="1417"/>
                      </a:cubicBezTo>
                      <a:cubicBezTo>
                        <a:pt x="1947" y="1408"/>
                        <a:pt x="1962" y="1415"/>
                        <a:pt x="1968" y="1398"/>
                      </a:cubicBezTo>
                      <a:cubicBezTo>
                        <a:pt x="1971" y="1388"/>
                        <a:pt x="1968" y="1379"/>
                        <a:pt x="1976" y="1372"/>
                      </a:cubicBezTo>
                      <a:cubicBezTo>
                        <a:pt x="1979" y="1368"/>
                        <a:pt x="1995" y="1362"/>
                        <a:pt x="2000" y="1361"/>
                      </a:cubicBezTo>
                      <a:cubicBezTo>
                        <a:pt x="2010" y="1358"/>
                        <a:pt x="2013" y="1366"/>
                        <a:pt x="2023" y="1366"/>
                      </a:cubicBezTo>
                      <a:cubicBezTo>
                        <a:pt x="2032" y="1366"/>
                        <a:pt x="2033" y="1358"/>
                        <a:pt x="2039" y="1356"/>
                      </a:cubicBezTo>
                      <a:cubicBezTo>
                        <a:pt x="2050" y="1350"/>
                        <a:pt x="2052" y="1358"/>
                        <a:pt x="2064" y="1360"/>
                      </a:cubicBezTo>
                      <a:cubicBezTo>
                        <a:pt x="2048" y="1376"/>
                        <a:pt x="2073" y="1363"/>
                        <a:pt x="2077" y="1370"/>
                      </a:cubicBezTo>
                      <a:cubicBezTo>
                        <a:pt x="2082" y="1364"/>
                        <a:pt x="2089" y="1365"/>
                        <a:pt x="2096" y="1363"/>
                      </a:cubicBezTo>
                      <a:cubicBezTo>
                        <a:pt x="2097" y="1366"/>
                        <a:pt x="2098" y="1368"/>
                        <a:pt x="2098" y="1371"/>
                      </a:cubicBezTo>
                      <a:cubicBezTo>
                        <a:pt x="2104" y="1365"/>
                        <a:pt x="2111" y="1360"/>
                        <a:pt x="2118" y="1353"/>
                      </a:cubicBezTo>
                      <a:cubicBezTo>
                        <a:pt x="2122" y="1350"/>
                        <a:pt x="2124" y="1347"/>
                        <a:pt x="2127" y="1344"/>
                      </a:cubicBezTo>
                      <a:cubicBezTo>
                        <a:pt x="2129" y="1343"/>
                        <a:pt x="2132" y="1346"/>
                        <a:pt x="2133" y="1346"/>
                      </a:cubicBezTo>
                      <a:cubicBezTo>
                        <a:pt x="2138" y="1342"/>
                        <a:pt x="2141" y="1326"/>
                        <a:pt x="2149" y="1321"/>
                      </a:cubicBezTo>
                      <a:cubicBezTo>
                        <a:pt x="2155" y="1319"/>
                        <a:pt x="2159" y="1320"/>
                        <a:pt x="2155" y="1327"/>
                      </a:cubicBezTo>
                      <a:cubicBezTo>
                        <a:pt x="2161" y="1317"/>
                        <a:pt x="2170" y="1306"/>
                        <a:pt x="2174" y="1294"/>
                      </a:cubicBezTo>
                      <a:cubicBezTo>
                        <a:pt x="2176" y="1289"/>
                        <a:pt x="2176" y="1278"/>
                        <a:pt x="2182" y="1276"/>
                      </a:cubicBezTo>
                      <a:cubicBezTo>
                        <a:pt x="2201" y="1269"/>
                        <a:pt x="2184" y="1306"/>
                        <a:pt x="2184" y="1311"/>
                      </a:cubicBezTo>
                      <a:cubicBezTo>
                        <a:pt x="2205" y="1315"/>
                        <a:pt x="2192" y="1261"/>
                        <a:pt x="2192" y="1250"/>
                      </a:cubicBezTo>
                      <a:cubicBezTo>
                        <a:pt x="2192" y="1239"/>
                        <a:pt x="2192" y="1227"/>
                        <a:pt x="2195" y="1217"/>
                      </a:cubicBezTo>
                      <a:cubicBezTo>
                        <a:pt x="2197" y="1208"/>
                        <a:pt x="2204" y="1199"/>
                        <a:pt x="2206" y="1192"/>
                      </a:cubicBezTo>
                      <a:cubicBezTo>
                        <a:pt x="2211" y="1170"/>
                        <a:pt x="2192" y="1149"/>
                        <a:pt x="2187" y="1129"/>
                      </a:cubicBezTo>
                      <a:cubicBezTo>
                        <a:pt x="2185" y="1122"/>
                        <a:pt x="2193" y="1109"/>
                        <a:pt x="2191" y="1104"/>
                      </a:cubicBezTo>
                      <a:cubicBezTo>
                        <a:pt x="2191" y="1102"/>
                        <a:pt x="2190" y="1100"/>
                        <a:pt x="2188" y="1099"/>
                      </a:cubicBezTo>
                      <a:cubicBezTo>
                        <a:pt x="2194" y="1101"/>
                        <a:pt x="2198" y="1099"/>
                        <a:pt x="2198" y="1086"/>
                      </a:cubicBezTo>
                      <a:cubicBezTo>
                        <a:pt x="2198" y="1080"/>
                        <a:pt x="2194" y="1076"/>
                        <a:pt x="2194" y="1071"/>
                      </a:cubicBezTo>
                      <a:cubicBezTo>
                        <a:pt x="2194" y="1067"/>
                        <a:pt x="2198" y="1063"/>
                        <a:pt x="2198" y="1061"/>
                      </a:cubicBezTo>
                      <a:cubicBezTo>
                        <a:pt x="2197" y="1055"/>
                        <a:pt x="2192" y="1040"/>
                        <a:pt x="2189" y="1034"/>
                      </a:cubicBezTo>
                      <a:cubicBezTo>
                        <a:pt x="2178" y="1019"/>
                        <a:pt x="2161" y="1013"/>
                        <a:pt x="2153" y="996"/>
                      </a:cubicBezTo>
                      <a:cubicBezTo>
                        <a:pt x="2149" y="987"/>
                        <a:pt x="2151" y="971"/>
                        <a:pt x="2143" y="964"/>
                      </a:cubicBezTo>
                      <a:cubicBezTo>
                        <a:pt x="2140" y="961"/>
                        <a:pt x="2135" y="963"/>
                        <a:pt x="2130" y="961"/>
                      </a:cubicBezTo>
                      <a:cubicBezTo>
                        <a:pt x="2128" y="959"/>
                        <a:pt x="2127" y="956"/>
                        <a:pt x="2123" y="954"/>
                      </a:cubicBezTo>
                      <a:cubicBezTo>
                        <a:pt x="2117" y="951"/>
                        <a:pt x="2124" y="950"/>
                        <a:pt x="2116" y="950"/>
                      </a:cubicBezTo>
                      <a:cubicBezTo>
                        <a:pt x="2113" y="950"/>
                        <a:pt x="2110" y="952"/>
                        <a:pt x="2107" y="953"/>
                      </a:cubicBezTo>
                      <a:cubicBezTo>
                        <a:pt x="2103" y="955"/>
                        <a:pt x="2100" y="956"/>
                        <a:pt x="2096" y="957"/>
                      </a:cubicBezTo>
                      <a:cubicBezTo>
                        <a:pt x="2085" y="960"/>
                        <a:pt x="2069" y="964"/>
                        <a:pt x="2057" y="963"/>
                      </a:cubicBezTo>
                      <a:cubicBezTo>
                        <a:pt x="2023" y="961"/>
                        <a:pt x="1990" y="924"/>
                        <a:pt x="1975" y="895"/>
                      </a:cubicBezTo>
                      <a:cubicBezTo>
                        <a:pt x="1986" y="893"/>
                        <a:pt x="1997" y="888"/>
                        <a:pt x="1984" y="903"/>
                      </a:cubicBezTo>
                      <a:cubicBezTo>
                        <a:pt x="2000" y="903"/>
                        <a:pt x="2020" y="873"/>
                        <a:pt x="2009" y="860"/>
                      </a:cubicBezTo>
                      <a:cubicBezTo>
                        <a:pt x="2000" y="847"/>
                        <a:pt x="1973" y="853"/>
                        <a:pt x="1959" y="848"/>
                      </a:cubicBezTo>
                      <a:cubicBezTo>
                        <a:pt x="1969" y="840"/>
                        <a:pt x="1980" y="846"/>
                        <a:pt x="1987" y="834"/>
                      </a:cubicBezTo>
                      <a:cubicBezTo>
                        <a:pt x="1980" y="830"/>
                        <a:pt x="1961" y="821"/>
                        <a:pt x="1961" y="814"/>
                      </a:cubicBezTo>
                      <a:cubicBezTo>
                        <a:pt x="1987" y="813"/>
                        <a:pt x="2000" y="851"/>
                        <a:pt x="2028" y="837"/>
                      </a:cubicBezTo>
                      <a:cubicBezTo>
                        <a:pt x="2053" y="825"/>
                        <a:pt x="2022" y="784"/>
                        <a:pt x="2008" y="773"/>
                      </a:cubicBezTo>
                      <a:cubicBezTo>
                        <a:pt x="2010" y="773"/>
                        <a:pt x="2012" y="770"/>
                        <a:pt x="2014" y="769"/>
                      </a:cubicBezTo>
                      <a:cubicBezTo>
                        <a:pt x="2010" y="765"/>
                        <a:pt x="2008" y="758"/>
                        <a:pt x="2015" y="760"/>
                      </a:cubicBezTo>
                      <a:cubicBezTo>
                        <a:pt x="2013" y="759"/>
                        <a:pt x="2025" y="772"/>
                        <a:pt x="2026" y="773"/>
                      </a:cubicBezTo>
                      <a:cubicBezTo>
                        <a:pt x="2032" y="779"/>
                        <a:pt x="2033" y="782"/>
                        <a:pt x="2040" y="786"/>
                      </a:cubicBezTo>
                      <a:cubicBezTo>
                        <a:pt x="2043" y="788"/>
                        <a:pt x="2044" y="785"/>
                        <a:pt x="2046" y="787"/>
                      </a:cubicBezTo>
                      <a:cubicBezTo>
                        <a:pt x="2050" y="789"/>
                        <a:pt x="2051" y="794"/>
                        <a:pt x="2053" y="796"/>
                      </a:cubicBezTo>
                      <a:cubicBezTo>
                        <a:pt x="2057" y="800"/>
                        <a:pt x="2061" y="796"/>
                        <a:pt x="2063" y="801"/>
                      </a:cubicBezTo>
                      <a:cubicBezTo>
                        <a:pt x="2067" y="808"/>
                        <a:pt x="2063" y="809"/>
                        <a:pt x="2063" y="813"/>
                      </a:cubicBezTo>
                      <a:cubicBezTo>
                        <a:pt x="2062" y="823"/>
                        <a:pt x="2057" y="817"/>
                        <a:pt x="2064" y="827"/>
                      </a:cubicBezTo>
                      <a:cubicBezTo>
                        <a:pt x="2066" y="830"/>
                        <a:pt x="2073" y="828"/>
                        <a:pt x="2076" y="833"/>
                      </a:cubicBezTo>
                      <a:cubicBezTo>
                        <a:pt x="2088" y="851"/>
                        <a:pt x="2059" y="849"/>
                        <a:pt x="2051" y="855"/>
                      </a:cubicBezTo>
                      <a:cubicBezTo>
                        <a:pt x="2058" y="857"/>
                        <a:pt x="2067" y="857"/>
                        <a:pt x="2074" y="860"/>
                      </a:cubicBezTo>
                      <a:cubicBezTo>
                        <a:pt x="2082" y="865"/>
                        <a:pt x="2082" y="868"/>
                        <a:pt x="2091" y="870"/>
                      </a:cubicBezTo>
                      <a:cubicBezTo>
                        <a:pt x="2099" y="873"/>
                        <a:pt x="2116" y="870"/>
                        <a:pt x="2126" y="872"/>
                      </a:cubicBezTo>
                      <a:cubicBezTo>
                        <a:pt x="2127" y="872"/>
                        <a:pt x="2130" y="869"/>
                        <a:pt x="2132" y="869"/>
                      </a:cubicBezTo>
                      <a:cubicBezTo>
                        <a:pt x="2142" y="870"/>
                        <a:pt x="2137" y="875"/>
                        <a:pt x="2144" y="869"/>
                      </a:cubicBezTo>
                      <a:cubicBezTo>
                        <a:pt x="2149" y="864"/>
                        <a:pt x="2137" y="854"/>
                        <a:pt x="2156" y="859"/>
                      </a:cubicBezTo>
                      <a:cubicBezTo>
                        <a:pt x="2164" y="861"/>
                        <a:pt x="2163" y="863"/>
                        <a:pt x="2168" y="868"/>
                      </a:cubicBezTo>
                      <a:cubicBezTo>
                        <a:pt x="2178" y="880"/>
                        <a:pt x="2189" y="905"/>
                        <a:pt x="2209" y="899"/>
                      </a:cubicBezTo>
                      <a:cubicBezTo>
                        <a:pt x="2234" y="891"/>
                        <a:pt x="2251" y="854"/>
                        <a:pt x="2265" y="834"/>
                      </a:cubicBezTo>
                      <a:cubicBezTo>
                        <a:pt x="2277" y="818"/>
                        <a:pt x="2285" y="812"/>
                        <a:pt x="2278" y="792"/>
                      </a:cubicBezTo>
                      <a:cubicBezTo>
                        <a:pt x="2274" y="779"/>
                        <a:pt x="2270" y="772"/>
                        <a:pt x="2272" y="758"/>
                      </a:cubicBezTo>
                      <a:cubicBezTo>
                        <a:pt x="2275" y="736"/>
                        <a:pt x="2315" y="719"/>
                        <a:pt x="2334" y="707"/>
                      </a:cubicBezTo>
                      <a:cubicBezTo>
                        <a:pt x="2353" y="695"/>
                        <a:pt x="2371" y="676"/>
                        <a:pt x="2394" y="682"/>
                      </a:cubicBezTo>
                      <a:cubicBezTo>
                        <a:pt x="2408" y="685"/>
                        <a:pt x="2416" y="698"/>
                        <a:pt x="2431" y="700"/>
                      </a:cubicBezTo>
                      <a:cubicBezTo>
                        <a:pt x="2437" y="701"/>
                        <a:pt x="2446" y="699"/>
                        <a:pt x="2450" y="700"/>
                      </a:cubicBezTo>
                      <a:cubicBezTo>
                        <a:pt x="2459" y="704"/>
                        <a:pt x="2456" y="709"/>
                        <a:pt x="2460" y="713"/>
                      </a:cubicBezTo>
                      <a:cubicBezTo>
                        <a:pt x="2464" y="717"/>
                        <a:pt x="2470" y="716"/>
                        <a:pt x="2472" y="719"/>
                      </a:cubicBezTo>
                      <a:cubicBezTo>
                        <a:pt x="2476" y="723"/>
                        <a:pt x="2473" y="732"/>
                        <a:pt x="2478" y="736"/>
                      </a:cubicBezTo>
                      <a:cubicBezTo>
                        <a:pt x="2481" y="738"/>
                        <a:pt x="2500" y="732"/>
                        <a:pt x="2502" y="731"/>
                      </a:cubicBezTo>
                      <a:cubicBezTo>
                        <a:pt x="2511" y="728"/>
                        <a:pt x="2515" y="725"/>
                        <a:pt x="2525" y="724"/>
                      </a:cubicBezTo>
                      <a:cubicBezTo>
                        <a:pt x="2526" y="724"/>
                        <a:pt x="2528" y="721"/>
                        <a:pt x="2530" y="720"/>
                      </a:cubicBezTo>
                      <a:cubicBezTo>
                        <a:pt x="2531" y="720"/>
                        <a:pt x="2535" y="724"/>
                        <a:pt x="2536" y="723"/>
                      </a:cubicBezTo>
                      <a:cubicBezTo>
                        <a:pt x="2540" y="721"/>
                        <a:pt x="2543" y="718"/>
                        <a:pt x="2543" y="712"/>
                      </a:cubicBezTo>
                      <a:cubicBezTo>
                        <a:pt x="2550" y="714"/>
                        <a:pt x="2549" y="721"/>
                        <a:pt x="2548" y="728"/>
                      </a:cubicBezTo>
                      <a:cubicBezTo>
                        <a:pt x="2550" y="728"/>
                        <a:pt x="2554" y="728"/>
                        <a:pt x="2556" y="728"/>
                      </a:cubicBezTo>
                      <a:cubicBezTo>
                        <a:pt x="2550" y="709"/>
                        <a:pt x="2598" y="704"/>
                        <a:pt x="2576" y="680"/>
                      </a:cubicBezTo>
                      <a:cubicBezTo>
                        <a:pt x="2574" y="678"/>
                        <a:pt x="2565" y="676"/>
                        <a:pt x="2566" y="671"/>
                      </a:cubicBezTo>
                      <a:cubicBezTo>
                        <a:pt x="2566" y="666"/>
                        <a:pt x="2575" y="674"/>
                        <a:pt x="2577" y="673"/>
                      </a:cubicBezTo>
                      <a:cubicBezTo>
                        <a:pt x="2585" y="671"/>
                        <a:pt x="2582" y="676"/>
                        <a:pt x="2587" y="666"/>
                      </a:cubicBezTo>
                      <a:cubicBezTo>
                        <a:pt x="2590" y="661"/>
                        <a:pt x="2592" y="659"/>
                        <a:pt x="2590" y="654"/>
                      </a:cubicBezTo>
                      <a:cubicBezTo>
                        <a:pt x="2587" y="647"/>
                        <a:pt x="2568" y="644"/>
                        <a:pt x="2578" y="638"/>
                      </a:cubicBezTo>
                      <a:cubicBezTo>
                        <a:pt x="2590" y="631"/>
                        <a:pt x="2601" y="653"/>
                        <a:pt x="2606" y="657"/>
                      </a:cubicBezTo>
                      <a:cubicBezTo>
                        <a:pt x="2615" y="665"/>
                        <a:pt x="2623" y="662"/>
                        <a:pt x="2633" y="656"/>
                      </a:cubicBezTo>
                      <a:cubicBezTo>
                        <a:pt x="2640" y="651"/>
                        <a:pt x="2646" y="639"/>
                        <a:pt x="2654" y="639"/>
                      </a:cubicBezTo>
                      <a:cubicBezTo>
                        <a:pt x="2652" y="642"/>
                        <a:pt x="2653" y="644"/>
                        <a:pt x="2652" y="646"/>
                      </a:cubicBezTo>
                      <a:cubicBezTo>
                        <a:pt x="2671" y="650"/>
                        <a:pt x="2682" y="630"/>
                        <a:pt x="2703" y="638"/>
                      </a:cubicBezTo>
                      <a:cubicBezTo>
                        <a:pt x="2713" y="643"/>
                        <a:pt x="2718" y="647"/>
                        <a:pt x="2729" y="643"/>
                      </a:cubicBezTo>
                      <a:cubicBezTo>
                        <a:pt x="2737" y="641"/>
                        <a:pt x="2747" y="633"/>
                        <a:pt x="2754" y="629"/>
                      </a:cubicBezTo>
                      <a:cubicBezTo>
                        <a:pt x="2770" y="620"/>
                        <a:pt x="2777" y="603"/>
                        <a:pt x="2763" y="587"/>
                      </a:cubicBezTo>
                      <a:cubicBezTo>
                        <a:pt x="2750" y="572"/>
                        <a:pt x="2730" y="573"/>
                        <a:pt x="2716" y="562"/>
                      </a:cubicBezTo>
                      <a:cubicBezTo>
                        <a:pt x="2732" y="557"/>
                        <a:pt x="2745" y="566"/>
                        <a:pt x="2758" y="576"/>
                      </a:cubicBezTo>
                      <a:cubicBezTo>
                        <a:pt x="2766" y="565"/>
                        <a:pt x="2777" y="601"/>
                        <a:pt x="2787" y="603"/>
                      </a:cubicBezTo>
                      <a:cubicBezTo>
                        <a:pt x="2798" y="605"/>
                        <a:pt x="2789" y="601"/>
                        <a:pt x="2798" y="596"/>
                      </a:cubicBezTo>
                      <a:cubicBezTo>
                        <a:pt x="2802" y="593"/>
                        <a:pt x="2807" y="593"/>
                        <a:pt x="2812" y="590"/>
                      </a:cubicBezTo>
                      <a:cubicBezTo>
                        <a:pt x="2816" y="587"/>
                        <a:pt x="2826" y="573"/>
                        <a:pt x="2824" y="567"/>
                      </a:cubicBezTo>
                      <a:cubicBezTo>
                        <a:pt x="2822" y="561"/>
                        <a:pt x="2815" y="564"/>
                        <a:pt x="2811" y="561"/>
                      </a:cubicBezTo>
                      <a:close/>
                      <a:moveTo>
                        <a:pt x="2168" y="1084"/>
                      </a:moveTo>
                      <a:cubicBezTo>
                        <a:pt x="2167" y="1083"/>
                        <a:pt x="2166" y="1082"/>
                        <a:pt x="2165" y="1081"/>
                      </a:cubicBezTo>
                      <a:cubicBezTo>
                        <a:pt x="2166" y="1082"/>
                        <a:pt x="2167" y="1083"/>
                        <a:pt x="2168" y="1084"/>
                      </a:cubicBezTo>
                      <a:cubicBezTo>
                        <a:pt x="2168" y="1084"/>
                        <a:pt x="2168" y="1084"/>
                        <a:pt x="2168" y="1084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3" name="Freeform 80">
                  <a:extLst>
                    <a:ext uri="{FF2B5EF4-FFF2-40B4-BE49-F238E27FC236}">
                      <a16:creationId xmlns:a16="http://schemas.microsoft.com/office/drawing/2014/main" id="{3E0D421C-A4EF-F889-5A63-B9E083DD9D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91375" y="109538"/>
                  <a:ext cx="19050" cy="11113"/>
                </a:xfrm>
                <a:custGeom>
                  <a:avLst/>
                  <a:gdLst>
                    <a:gd name="T0" fmla="*/ 0 w 30"/>
                    <a:gd name="T1" fmla="*/ 19 h 19"/>
                    <a:gd name="T2" fmla="*/ 23 w 30"/>
                    <a:gd name="T3" fmla="*/ 14 h 19"/>
                    <a:gd name="T4" fmla="*/ 0 w 30"/>
                    <a:gd name="T5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0" h="19">
                      <a:moveTo>
                        <a:pt x="0" y="19"/>
                      </a:moveTo>
                      <a:cubicBezTo>
                        <a:pt x="1" y="18"/>
                        <a:pt x="30" y="0"/>
                        <a:pt x="23" y="14"/>
                      </a:cubicBezTo>
                      <a:cubicBezTo>
                        <a:pt x="21" y="17"/>
                        <a:pt x="1" y="19"/>
                        <a:pt x="0" y="1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4" name="Freeform 81">
                  <a:extLst>
                    <a:ext uri="{FF2B5EF4-FFF2-40B4-BE49-F238E27FC236}">
                      <a16:creationId xmlns:a16="http://schemas.microsoft.com/office/drawing/2014/main" id="{9A5CE32E-4005-8059-F1D4-D55830AAE6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37388" y="388938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5" name="Freeform 82">
                  <a:extLst>
                    <a:ext uri="{FF2B5EF4-FFF2-40B4-BE49-F238E27FC236}">
                      <a16:creationId xmlns:a16="http://schemas.microsoft.com/office/drawing/2014/main" id="{2E18C599-C901-C865-1102-AD4D01FC5F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31038" y="212726"/>
                  <a:ext cx="139700" cy="219075"/>
                </a:xfrm>
                <a:custGeom>
                  <a:avLst/>
                  <a:gdLst>
                    <a:gd name="T0" fmla="*/ 226 w 229"/>
                    <a:gd name="T1" fmla="*/ 53 h 358"/>
                    <a:gd name="T2" fmla="*/ 217 w 229"/>
                    <a:gd name="T3" fmla="*/ 8 h 358"/>
                    <a:gd name="T4" fmla="*/ 194 w 229"/>
                    <a:gd name="T5" fmla="*/ 2 h 358"/>
                    <a:gd name="T6" fmla="*/ 184 w 229"/>
                    <a:gd name="T7" fmla="*/ 12 h 358"/>
                    <a:gd name="T8" fmla="*/ 164 w 229"/>
                    <a:gd name="T9" fmla="*/ 16 h 358"/>
                    <a:gd name="T10" fmla="*/ 142 w 229"/>
                    <a:gd name="T11" fmla="*/ 20 h 358"/>
                    <a:gd name="T12" fmla="*/ 136 w 229"/>
                    <a:gd name="T13" fmla="*/ 14 h 358"/>
                    <a:gd name="T14" fmla="*/ 103 w 229"/>
                    <a:gd name="T15" fmla="*/ 28 h 358"/>
                    <a:gd name="T16" fmla="*/ 109 w 229"/>
                    <a:gd name="T17" fmla="*/ 23 h 358"/>
                    <a:gd name="T18" fmla="*/ 92 w 229"/>
                    <a:gd name="T19" fmla="*/ 31 h 358"/>
                    <a:gd name="T20" fmla="*/ 70 w 229"/>
                    <a:gd name="T21" fmla="*/ 50 h 358"/>
                    <a:gd name="T22" fmla="*/ 42 w 229"/>
                    <a:gd name="T23" fmla="*/ 81 h 358"/>
                    <a:gd name="T24" fmla="*/ 35 w 229"/>
                    <a:gd name="T25" fmla="*/ 98 h 358"/>
                    <a:gd name="T26" fmla="*/ 14 w 229"/>
                    <a:gd name="T27" fmla="*/ 121 h 358"/>
                    <a:gd name="T28" fmla="*/ 7 w 229"/>
                    <a:gd name="T29" fmla="*/ 140 h 358"/>
                    <a:gd name="T30" fmla="*/ 14 w 229"/>
                    <a:gd name="T31" fmla="*/ 139 h 358"/>
                    <a:gd name="T32" fmla="*/ 7 w 229"/>
                    <a:gd name="T33" fmla="*/ 150 h 358"/>
                    <a:gd name="T34" fmla="*/ 7 w 229"/>
                    <a:gd name="T35" fmla="*/ 150 h 358"/>
                    <a:gd name="T36" fmla="*/ 2 w 229"/>
                    <a:gd name="T37" fmla="*/ 164 h 358"/>
                    <a:gd name="T38" fmla="*/ 1 w 229"/>
                    <a:gd name="T39" fmla="*/ 206 h 358"/>
                    <a:gd name="T40" fmla="*/ 9 w 229"/>
                    <a:gd name="T41" fmla="*/ 248 h 358"/>
                    <a:gd name="T42" fmla="*/ 10 w 229"/>
                    <a:gd name="T43" fmla="*/ 288 h 358"/>
                    <a:gd name="T44" fmla="*/ 10 w 229"/>
                    <a:gd name="T45" fmla="*/ 287 h 358"/>
                    <a:gd name="T46" fmla="*/ 23 w 229"/>
                    <a:gd name="T47" fmla="*/ 320 h 358"/>
                    <a:gd name="T48" fmla="*/ 44 w 229"/>
                    <a:gd name="T49" fmla="*/ 338 h 358"/>
                    <a:gd name="T50" fmla="*/ 92 w 229"/>
                    <a:gd name="T51" fmla="*/ 358 h 358"/>
                    <a:gd name="T52" fmla="*/ 96 w 229"/>
                    <a:gd name="T53" fmla="*/ 323 h 358"/>
                    <a:gd name="T54" fmla="*/ 114 w 229"/>
                    <a:gd name="T55" fmla="*/ 299 h 358"/>
                    <a:gd name="T56" fmla="*/ 128 w 229"/>
                    <a:gd name="T57" fmla="*/ 270 h 358"/>
                    <a:gd name="T58" fmla="*/ 125 w 229"/>
                    <a:gd name="T59" fmla="*/ 255 h 358"/>
                    <a:gd name="T60" fmla="*/ 122 w 229"/>
                    <a:gd name="T61" fmla="*/ 239 h 358"/>
                    <a:gd name="T62" fmla="*/ 119 w 229"/>
                    <a:gd name="T63" fmla="*/ 235 h 358"/>
                    <a:gd name="T64" fmla="*/ 122 w 229"/>
                    <a:gd name="T65" fmla="*/ 237 h 358"/>
                    <a:gd name="T66" fmla="*/ 150 w 229"/>
                    <a:gd name="T67" fmla="*/ 215 h 358"/>
                    <a:gd name="T68" fmla="*/ 170 w 229"/>
                    <a:gd name="T69" fmla="*/ 205 h 358"/>
                    <a:gd name="T70" fmla="*/ 177 w 229"/>
                    <a:gd name="T71" fmla="*/ 200 h 358"/>
                    <a:gd name="T72" fmla="*/ 190 w 229"/>
                    <a:gd name="T73" fmla="*/ 149 h 358"/>
                    <a:gd name="T74" fmla="*/ 213 w 229"/>
                    <a:gd name="T75" fmla="*/ 99 h 358"/>
                    <a:gd name="T76" fmla="*/ 226 w 229"/>
                    <a:gd name="T77" fmla="*/ 74 h 358"/>
                    <a:gd name="T78" fmla="*/ 226 w 229"/>
                    <a:gd name="T79" fmla="*/ 53 h 3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29" h="358">
                      <a:moveTo>
                        <a:pt x="226" y="53"/>
                      </a:moveTo>
                      <a:cubicBezTo>
                        <a:pt x="225" y="39"/>
                        <a:pt x="229" y="19"/>
                        <a:pt x="217" y="8"/>
                      </a:cubicBezTo>
                      <a:cubicBezTo>
                        <a:pt x="211" y="2"/>
                        <a:pt x="200" y="0"/>
                        <a:pt x="194" y="2"/>
                      </a:cubicBezTo>
                      <a:cubicBezTo>
                        <a:pt x="194" y="3"/>
                        <a:pt x="188" y="11"/>
                        <a:pt x="184" y="12"/>
                      </a:cubicBezTo>
                      <a:cubicBezTo>
                        <a:pt x="179" y="15"/>
                        <a:pt x="171" y="15"/>
                        <a:pt x="164" y="16"/>
                      </a:cubicBezTo>
                      <a:cubicBezTo>
                        <a:pt x="157" y="17"/>
                        <a:pt x="146" y="21"/>
                        <a:pt x="142" y="20"/>
                      </a:cubicBezTo>
                      <a:cubicBezTo>
                        <a:pt x="137" y="19"/>
                        <a:pt x="139" y="14"/>
                        <a:pt x="136" y="14"/>
                      </a:cubicBezTo>
                      <a:cubicBezTo>
                        <a:pt x="122" y="10"/>
                        <a:pt x="119" y="30"/>
                        <a:pt x="103" y="28"/>
                      </a:cubicBezTo>
                      <a:cubicBezTo>
                        <a:pt x="105" y="27"/>
                        <a:pt x="107" y="25"/>
                        <a:pt x="109" y="23"/>
                      </a:cubicBezTo>
                      <a:cubicBezTo>
                        <a:pt x="104" y="27"/>
                        <a:pt x="97" y="28"/>
                        <a:pt x="92" y="31"/>
                      </a:cubicBezTo>
                      <a:cubicBezTo>
                        <a:pt x="84" y="36"/>
                        <a:pt x="77" y="44"/>
                        <a:pt x="70" y="50"/>
                      </a:cubicBezTo>
                      <a:cubicBezTo>
                        <a:pt x="58" y="59"/>
                        <a:pt x="45" y="66"/>
                        <a:pt x="42" y="81"/>
                      </a:cubicBezTo>
                      <a:cubicBezTo>
                        <a:pt x="39" y="93"/>
                        <a:pt x="42" y="90"/>
                        <a:pt x="35" y="98"/>
                      </a:cubicBezTo>
                      <a:cubicBezTo>
                        <a:pt x="27" y="106"/>
                        <a:pt x="19" y="112"/>
                        <a:pt x="14" y="121"/>
                      </a:cubicBezTo>
                      <a:cubicBezTo>
                        <a:pt x="12" y="126"/>
                        <a:pt x="10" y="133"/>
                        <a:pt x="7" y="140"/>
                      </a:cubicBezTo>
                      <a:cubicBezTo>
                        <a:pt x="10" y="140"/>
                        <a:pt x="12" y="140"/>
                        <a:pt x="14" y="139"/>
                      </a:cubicBezTo>
                      <a:cubicBezTo>
                        <a:pt x="11" y="142"/>
                        <a:pt x="9" y="147"/>
                        <a:pt x="7" y="150"/>
                      </a:cubicBezTo>
                      <a:cubicBezTo>
                        <a:pt x="7" y="150"/>
                        <a:pt x="7" y="150"/>
                        <a:pt x="7" y="150"/>
                      </a:cubicBezTo>
                      <a:cubicBezTo>
                        <a:pt x="5" y="155"/>
                        <a:pt x="4" y="159"/>
                        <a:pt x="2" y="164"/>
                      </a:cubicBezTo>
                      <a:cubicBezTo>
                        <a:pt x="13" y="166"/>
                        <a:pt x="0" y="196"/>
                        <a:pt x="1" y="206"/>
                      </a:cubicBezTo>
                      <a:cubicBezTo>
                        <a:pt x="2" y="219"/>
                        <a:pt x="9" y="234"/>
                        <a:pt x="9" y="248"/>
                      </a:cubicBezTo>
                      <a:cubicBezTo>
                        <a:pt x="10" y="261"/>
                        <a:pt x="5" y="275"/>
                        <a:pt x="10" y="288"/>
                      </a:cubicBezTo>
                      <a:cubicBezTo>
                        <a:pt x="10" y="287"/>
                        <a:pt x="10" y="287"/>
                        <a:pt x="10" y="287"/>
                      </a:cubicBezTo>
                      <a:cubicBezTo>
                        <a:pt x="20" y="293"/>
                        <a:pt x="18" y="310"/>
                        <a:pt x="23" y="320"/>
                      </a:cubicBezTo>
                      <a:cubicBezTo>
                        <a:pt x="27" y="330"/>
                        <a:pt x="33" y="334"/>
                        <a:pt x="44" y="338"/>
                      </a:cubicBezTo>
                      <a:cubicBezTo>
                        <a:pt x="59" y="345"/>
                        <a:pt x="78" y="348"/>
                        <a:pt x="92" y="358"/>
                      </a:cubicBezTo>
                      <a:cubicBezTo>
                        <a:pt x="96" y="348"/>
                        <a:pt x="92" y="334"/>
                        <a:pt x="96" y="323"/>
                      </a:cubicBezTo>
                      <a:cubicBezTo>
                        <a:pt x="99" y="313"/>
                        <a:pt x="108" y="307"/>
                        <a:pt x="114" y="299"/>
                      </a:cubicBezTo>
                      <a:cubicBezTo>
                        <a:pt x="122" y="289"/>
                        <a:pt x="128" y="283"/>
                        <a:pt x="128" y="270"/>
                      </a:cubicBezTo>
                      <a:cubicBezTo>
                        <a:pt x="128" y="264"/>
                        <a:pt x="126" y="261"/>
                        <a:pt x="125" y="255"/>
                      </a:cubicBezTo>
                      <a:cubicBezTo>
                        <a:pt x="124" y="252"/>
                        <a:pt x="123" y="242"/>
                        <a:pt x="122" y="239"/>
                      </a:cubicBezTo>
                      <a:cubicBezTo>
                        <a:pt x="121" y="238"/>
                        <a:pt x="121" y="236"/>
                        <a:pt x="119" y="235"/>
                      </a:cubicBezTo>
                      <a:cubicBezTo>
                        <a:pt x="120" y="236"/>
                        <a:pt x="121" y="236"/>
                        <a:pt x="122" y="237"/>
                      </a:cubicBezTo>
                      <a:cubicBezTo>
                        <a:pt x="124" y="229"/>
                        <a:pt x="143" y="218"/>
                        <a:pt x="150" y="215"/>
                      </a:cubicBezTo>
                      <a:cubicBezTo>
                        <a:pt x="158" y="211"/>
                        <a:pt x="164" y="209"/>
                        <a:pt x="170" y="205"/>
                      </a:cubicBezTo>
                      <a:cubicBezTo>
                        <a:pt x="173" y="203"/>
                        <a:pt x="172" y="191"/>
                        <a:pt x="177" y="200"/>
                      </a:cubicBezTo>
                      <a:cubicBezTo>
                        <a:pt x="183" y="183"/>
                        <a:pt x="185" y="165"/>
                        <a:pt x="190" y="149"/>
                      </a:cubicBezTo>
                      <a:cubicBezTo>
                        <a:pt x="195" y="132"/>
                        <a:pt x="207" y="115"/>
                        <a:pt x="213" y="99"/>
                      </a:cubicBezTo>
                      <a:cubicBezTo>
                        <a:pt x="216" y="90"/>
                        <a:pt x="223" y="83"/>
                        <a:pt x="226" y="74"/>
                      </a:cubicBezTo>
                      <a:cubicBezTo>
                        <a:pt x="229" y="66"/>
                        <a:pt x="226" y="61"/>
                        <a:pt x="226" y="53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  <p:sp>
              <p:nvSpPr>
                <p:cNvPr id="56" name="Freeform 83">
                  <a:extLst>
                    <a:ext uri="{FF2B5EF4-FFF2-40B4-BE49-F238E27FC236}">
                      <a16:creationId xmlns:a16="http://schemas.microsoft.com/office/drawing/2014/main" id="{4A15CAAE-3921-537C-FC7B-D8C480321B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3725" y="550863"/>
                  <a:ext cx="19050" cy="17463"/>
                </a:xfrm>
                <a:custGeom>
                  <a:avLst/>
                  <a:gdLst>
                    <a:gd name="T0" fmla="*/ 6 w 30"/>
                    <a:gd name="T1" fmla="*/ 20 h 28"/>
                    <a:gd name="T2" fmla="*/ 22 w 30"/>
                    <a:gd name="T3" fmla="*/ 1 h 28"/>
                    <a:gd name="T4" fmla="*/ 25 w 30"/>
                    <a:gd name="T5" fmla="*/ 15 h 28"/>
                    <a:gd name="T6" fmla="*/ 6 w 30"/>
                    <a:gd name="T7" fmla="*/ 2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" h="28">
                      <a:moveTo>
                        <a:pt x="6" y="20"/>
                      </a:moveTo>
                      <a:cubicBezTo>
                        <a:pt x="11" y="16"/>
                        <a:pt x="16" y="0"/>
                        <a:pt x="22" y="1"/>
                      </a:cubicBezTo>
                      <a:cubicBezTo>
                        <a:pt x="30" y="2"/>
                        <a:pt x="28" y="10"/>
                        <a:pt x="25" y="15"/>
                      </a:cubicBezTo>
                      <a:cubicBezTo>
                        <a:pt x="19" y="28"/>
                        <a:pt x="0" y="26"/>
                        <a:pt x="6" y="2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74295" tIns="37148" rIns="74295" bIns="37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63"/>
                </a:p>
              </p:txBody>
            </p:sp>
          </p:grpSp>
          <p:sp>
            <p:nvSpPr>
              <p:cNvPr id="46" name="Freeform 84">
                <a:extLst>
                  <a:ext uri="{FF2B5EF4-FFF2-40B4-BE49-F238E27FC236}">
                    <a16:creationId xmlns:a16="http://schemas.microsoft.com/office/drawing/2014/main" id="{00E92BA5-7001-6B51-4BE4-7909EACB6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58001" y="4902760"/>
                <a:ext cx="1289247" cy="1097905"/>
              </a:xfrm>
              <a:custGeom>
                <a:avLst/>
                <a:gdLst>
                  <a:gd name="T0" fmla="*/ 2238 w 2536"/>
                  <a:gd name="T1" fmla="*/ 154 h 2156"/>
                  <a:gd name="T2" fmla="*/ 2284 w 2536"/>
                  <a:gd name="T3" fmla="*/ 269 h 2156"/>
                  <a:gd name="T4" fmla="*/ 2329 w 2536"/>
                  <a:gd name="T5" fmla="*/ 358 h 2156"/>
                  <a:gd name="T6" fmla="*/ 2363 w 2536"/>
                  <a:gd name="T7" fmla="*/ 474 h 2156"/>
                  <a:gd name="T8" fmla="*/ 2431 w 2536"/>
                  <a:gd name="T9" fmla="*/ 476 h 2156"/>
                  <a:gd name="T10" fmla="*/ 2533 w 2536"/>
                  <a:gd name="T11" fmla="*/ 594 h 2156"/>
                  <a:gd name="T12" fmla="*/ 2504 w 2536"/>
                  <a:gd name="T13" fmla="*/ 689 h 2156"/>
                  <a:gd name="T14" fmla="*/ 2364 w 2536"/>
                  <a:gd name="T15" fmla="*/ 781 h 2156"/>
                  <a:gd name="T16" fmla="*/ 2286 w 2536"/>
                  <a:gd name="T17" fmla="*/ 890 h 2156"/>
                  <a:gd name="T18" fmla="*/ 2202 w 2536"/>
                  <a:gd name="T19" fmla="*/ 970 h 2156"/>
                  <a:gd name="T20" fmla="*/ 2212 w 2536"/>
                  <a:gd name="T21" fmla="*/ 1101 h 2156"/>
                  <a:gd name="T22" fmla="*/ 2272 w 2536"/>
                  <a:gd name="T23" fmla="*/ 1140 h 2156"/>
                  <a:gd name="T24" fmla="*/ 2200 w 2536"/>
                  <a:gd name="T25" fmla="*/ 1322 h 2156"/>
                  <a:gd name="T26" fmla="*/ 2063 w 2536"/>
                  <a:gd name="T27" fmla="*/ 1376 h 2156"/>
                  <a:gd name="T28" fmla="*/ 1983 w 2536"/>
                  <a:gd name="T29" fmla="*/ 1426 h 2156"/>
                  <a:gd name="T30" fmla="*/ 1859 w 2536"/>
                  <a:gd name="T31" fmla="*/ 1575 h 2156"/>
                  <a:gd name="T32" fmla="*/ 1766 w 2536"/>
                  <a:gd name="T33" fmla="*/ 1638 h 2156"/>
                  <a:gd name="T34" fmla="*/ 1626 w 2536"/>
                  <a:gd name="T35" fmla="*/ 1714 h 2156"/>
                  <a:gd name="T36" fmla="*/ 1532 w 2536"/>
                  <a:gd name="T37" fmla="*/ 1710 h 2156"/>
                  <a:gd name="T38" fmla="*/ 1482 w 2536"/>
                  <a:gd name="T39" fmla="*/ 1868 h 2156"/>
                  <a:gd name="T40" fmla="*/ 1550 w 2536"/>
                  <a:gd name="T41" fmla="*/ 1975 h 2156"/>
                  <a:gd name="T42" fmla="*/ 1482 w 2536"/>
                  <a:gd name="T43" fmla="*/ 2021 h 2156"/>
                  <a:gd name="T44" fmla="*/ 1437 w 2536"/>
                  <a:gd name="T45" fmla="*/ 2121 h 2156"/>
                  <a:gd name="T46" fmla="*/ 1274 w 2536"/>
                  <a:gd name="T47" fmla="*/ 2054 h 2156"/>
                  <a:gd name="T48" fmla="*/ 1021 w 2536"/>
                  <a:gd name="T49" fmla="*/ 2058 h 2156"/>
                  <a:gd name="T50" fmla="*/ 834 w 2536"/>
                  <a:gd name="T51" fmla="*/ 2137 h 2156"/>
                  <a:gd name="T52" fmla="*/ 617 w 2536"/>
                  <a:gd name="T53" fmla="*/ 2071 h 2156"/>
                  <a:gd name="T54" fmla="*/ 543 w 2536"/>
                  <a:gd name="T55" fmla="*/ 1879 h 2156"/>
                  <a:gd name="T56" fmla="*/ 309 w 2536"/>
                  <a:gd name="T57" fmla="*/ 1776 h 2156"/>
                  <a:gd name="T58" fmla="*/ 49 w 2536"/>
                  <a:gd name="T59" fmla="*/ 1664 h 2156"/>
                  <a:gd name="T60" fmla="*/ 7 w 2536"/>
                  <a:gd name="T61" fmla="*/ 1613 h 2156"/>
                  <a:gd name="T62" fmla="*/ 40 w 2536"/>
                  <a:gd name="T63" fmla="*/ 1508 h 2156"/>
                  <a:gd name="T64" fmla="*/ 96 w 2536"/>
                  <a:gd name="T65" fmla="*/ 1438 h 2156"/>
                  <a:gd name="T66" fmla="*/ 174 w 2536"/>
                  <a:gd name="T67" fmla="*/ 1357 h 2156"/>
                  <a:gd name="T68" fmla="*/ 283 w 2536"/>
                  <a:gd name="T69" fmla="*/ 1443 h 2156"/>
                  <a:gd name="T70" fmla="*/ 418 w 2536"/>
                  <a:gd name="T71" fmla="*/ 1526 h 2156"/>
                  <a:gd name="T72" fmla="*/ 505 w 2536"/>
                  <a:gd name="T73" fmla="*/ 1624 h 2156"/>
                  <a:gd name="T74" fmla="*/ 612 w 2536"/>
                  <a:gd name="T75" fmla="*/ 1657 h 2156"/>
                  <a:gd name="T76" fmla="*/ 696 w 2536"/>
                  <a:gd name="T77" fmla="*/ 1753 h 2156"/>
                  <a:gd name="T78" fmla="*/ 831 w 2536"/>
                  <a:gd name="T79" fmla="*/ 1860 h 2156"/>
                  <a:gd name="T80" fmla="*/ 922 w 2536"/>
                  <a:gd name="T81" fmla="*/ 1801 h 2156"/>
                  <a:gd name="T82" fmla="*/ 1120 w 2536"/>
                  <a:gd name="T83" fmla="*/ 1501 h 2156"/>
                  <a:gd name="T84" fmla="*/ 1438 w 2536"/>
                  <a:gd name="T85" fmla="*/ 973 h 2156"/>
                  <a:gd name="T86" fmla="*/ 1385 w 2536"/>
                  <a:gd name="T87" fmla="*/ 776 h 2156"/>
                  <a:gd name="T88" fmla="*/ 1361 w 2536"/>
                  <a:gd name="T89" fmla="*/ 632 h 2156"/>
                  <a:gd name="T90" fmla="*/ 1408 w 2536"/>
                  <a:gd name="T91" fmla="*/ 513 h 2156"/>
                  <a:gd name="T92" fmla="*/ 1341 w 2536"/>
                  <a:gd name="T93" fmla="*/ 454 h 2156"/>
                  <a:gd name="T94" fmla="*/ 1371 w 2536"/>
                  <a:gd name="T95" fmla="*/ 350 h 2156"/>
                  <a:gd name="T96" fmla="*/ 1504 w 2536"/>
                  <a:gd name="T97" fmla="*/ 238 h 2156"/>
                  <a:gd name="T98" fmla="*/ 1595 w 2536"/>
                  <a:gd name="T99" fmla="*/ 248 h 2156"/>
                  <a:gd name="T100" fmla="*/ 1670 w 2536"/>
                  <a:gd name="T101" fmla="*/ 177 h 2156"/>
                  <a:gd name="T102" fmla="*/ 1767 w 2536"/>
                  <a:gd name="T103" fmla="*/ 195 h 2156"/>
                  <a:gd name="T104" fmla="*/ 1897 w 2536"/>
                  <a:gd name="T105" fmla="*/ 241 h 2156"/>
                  <a:gd name="T106" fmla="*/ 2028 w 2536"/>
                  <a:gd name="T107" fmla="*/ 256 h 2156"/>
                  <a:gd name="T108" fmla="*/ 2118 w 2536"/>
                  <a:gd name="T109" fmla="*/ 192 h 2156"/>
                  <a:gd name="T110" fmla="*/ 2176 w 2536"/>
                  <a:gd name="T111" fmla="*/ 65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36" h="2156">
                    <a:moveTo>
                      <a:pt x="2272" y="9"/>
                    </a:moveTo>
                    <a:cubicBezTo>
                      <a:pt x="2284" y="0"/>
                      <a:pt x="2294" y="18"/>
                      <a:pt x="2301" y="26"/>
                    </a:cubicBezTo>
                    <a:cubicBezTo>
                      <a:pt x="2290" y="29"/>
                      <a:pt x="2290" y="36"/>
                      <a:pt x="2284" y="44"/>
                    </a:cubicBezTo>
                    <a:cubicBezTo>
                      <a:pt x="2276" y="54"/>
                      <a:pt x="2263" y="59"/>
                      <a:pt x="2254" y="68"/>
                    </a:cubicBezTo>
                    <a:cubicBezTo>
                      <a:pt x="2246" y="75"/>
                      <a:pt x="2247" y="82"/>
                      <a:pt x="2242" y="90"/>
                    </a:cubicBezTo>
                    <a:cubicBezTo>
                      <a:pt x="2239" y="96"/>
                      <a:pt x="2232" y="98"/>
                      <a:pt x="2231" y="105"/>
                    </a:cubicBezTo>
                    <a:cubicBezTo>
                      <a:pt x="2228" y="121"/>
                      <a:pt x="2247" y="138"/>
                      <a:pt x="2238" y="154"/>
                    </a:cubicBezTo>
                    <a:cubicBezTo>
                      <a:pt x="2234" y="161"/>
                      <a:pt x="2224" y="161"/>
                      <a:pt x="2222" y="169"/>
                    </a:cubicBezTo>
                    <a:cubicBezTo>
                      <a:pt x="2218" y="186"/>
                      <a:pt x="2235" y="184"/>
                      <a:pt x="2244" y="184"/>
                    </a:cubicBezTo>
                    <a:cubicBezTo>
                      <a:pt x="2269" y="186"/>
                      <a:pt x="2254" y="189"/>
                      <a:pt x="2264" y="204"/>
                    </a:cubicBezTo>
                    <a:cubicBezTo>
                      <a:pt x="2270" y="212"/>
                      <a:pt x="2291" y="212"/>
                      <a:pt x="2283" y="225"/>
                    </a:cubicBezTo>
                    <a:cubicBezTo>
                      <a:pt x="2281" y="228"/>
                      <a:pt x="2273" y="221"/>
                      <a:pt x="2271" y="230"/>
                    </a:cubicBezTo>
                    <a:cubicBezTo>
                      <a:pt x="2270" y="235"/>
                      <a:pt x="2275" y="244"/>
                      <a:pt x="2276" y="249"/>
                    </a:cubicBezTo>
                    <a:cubicBezTo>
                      <a:pt x="2279" y="256"/>
                      <a:pt x="2280" y="262"/>
                      <a:pt x="2284" y="269"/>
                    </a:cubicBezTo>
                    <a:cubicBezTo>
                      <a:pt x="2288" y="275"/>
                      <a:pt x="2298" y="281"/>
                      <a:pt x="2301" y="286"/>
                    </a:cubicBezTo>
                    <a:cubicBezTo>
                      <a:pt x="2305" y="291"/>
                      <a:pt x="2303" y="288"/>
                      <a:pt x="2304" y="293"/>
                    </a:cubicBezTo>
                    <a:cubicBezTo>
                      <a:pt x="2304" y="294"/>
                      <a:pt x="2300" y="297"/>
                      <a:pt x="2299" y="298"/>
                    </a:cubicBezTo>
                    <a:cubicBezTo>
                      <a:pt x="2299" y="304"/>
                      <a:pt x="2303" y="305"/>
                      <a:pt x="2304" y="309"/>
                    </a:cubicBezTo>
                    <a:cubicBezTo>
                      <a:pt x="2305" y="314"/>
                      <a:pt x="2303" y="316"/>
                      <a:pt x="2305" y="321"/>
                    </a:cubicBezTo>
                    <a:cubicBezTo>
                      <a:pt x="2308" y="333"/>
                      <a:pt x="2315" y="332"/>
                      <a:pt x="2322" y="339"/>
                    </a:cubicBezTo>
                    <a:cubicBezTo>
                      <a:pt x="2327" y="344"/>
                      <a:pt x="2329" y="350"/>
                      <a:pt x="2329" y="358"/>
                    </a:cubicBezTo>
                    <a:cubicBezTo>
                      <a:pt x="2329" y="363"/>
                      <a:pt x="2326" y="366"/>
                      <a:pt x="2326" y="372"/>
                    </a:cubicBezTo>
                    <a:cubicBezTo>
                      <a:pt x="2326" y="377"/>
                      <a:pt x="2330" y="382"/>
                      <a:pt x="2332" y="387"/>
                    </a:cubicBezTo>
                    <a:cubicBezTo>
                      <a:pt x="2334" y="394"/>
                      <a:pt x="2332" y="405"/>
                      <a:pt x="2335" y="411"/>
                    </a:cubicBezTo>
                    <a:cubicBezTo>
                      <a:pt x="2337" y="414"/>
                      <a:pt x="2344" y="414"/>
                      <a:pt x="2346" y="418"/>
                    </a:cubicBezTo>
                    <a:cubicBezTo>
                      <a:pt x="2350" y="424"/>
                      <a:pt x="2347" y="439"/>
                      <a:pt x="2349" y="446"/>
                    </a:cubicBezTo>
                    <a:cubicBezTo>
                      <a:pt x="2351" y="456"/>
                      <a:pt x="2357" y="455"/>
                      <a:pt x="2361" y="462"/>
                    </a:cubicBezTo>
                    <a:cubicBezTo>
                      <a:pt x="2365" y="468"/>
                      <a:pt x="2362" y="469"/>
                      <a:pt x="2363" y="474"/>
                    </a:cubicBezTo>
                    <a:cubicBezTo>
                      <a:pt x="2365" y="478"/>
                      <a:pt x="2364" y="485"/>
                      <a:pt x="2370" y="487"/>
                    </a:cubicBezTo>
                    <a:cubicBezTo>
                      <a:pt x="2373" y="487"/>
                      <a:pt x="2373" y="484"/>
                      <a:pt x="2376" y="484"/>
                    </a:cubicBezTo>
                    <a:cubicBezTo>
                      <a:pt x="2378" y="484"/>
                      <a:pt x="2378" y="480"/>
                      <a:pt x="2381" y="479"/>
                    </a:cubicBezTo>
                    <a:cubicBezTo>
                      <a:pt x="2384" y="479"/>
                      <a:pt x="2385" y="482"/>
                      <a:pt x="2387" y="482"/>
                    </a:cubicBezTo>
                    <a:cubicBezTo>
                      <a:pt x="2389" y="482"/>
                      <a:pt x="2392" y="486"/>
                      <a:pt x="2395" y="486"/>
                    </a:cubicBezTo>
                    <a:cubicBezTo>
                      <a:pt x="2395" y="486"/>
                      <a:pt x="2405" y="479"/>
                      <a:pt x="2405" y="479"/>
                    </a:cubicBezTo>
                    <a:cubicBezTo>
                      <a:pt x="2417" y="473"/>
                      <a:pt x="2422" y="470"/>
                      <a:pt x="2431" y="476"/>
                    </a:cubicBezTo>
                    <a:cubicBezTo>
                      <a:pt x="2443" y="482"/>
                      <a:pt x="2439" y="496"/>
                      <a:pt x="2446" y="505"/>
                    </a:cubicBezTo>
                    <a:cubicBezTo>
                      <a:pt x="2452" y="511"/>
                      <a:pt x="2474" y="522"/>
                      <a:pt x="2482" y="524"/>
                    </a:cubicBezTo>
                    <a:cubicBezTo>
                      <a:pt x="2494" y="528"/>
                      <a:pt x="2494" y="524"/>
                      <a:pt x="2503" y="534"/>
                    </a:cubicBezTo>
                    <a:cubicBezTo>
                      <a:pt x="2506" y="537"/>
                      <a:pt x="2509" y="545"/>
                      <a:pt x="2512" y="549"/>
                    </a:cubicBezTo>
                    <a:cubicBezTo>
                      <a:pt x="2514" y="553"/>
                      <a:pt x="2512" y="557"/>
                      <a:pt x="2514" y="560"/>
                    </a:cubicBezTo>
                    <a:cubicBezTo>
                      <a:pt x="2514" y="560"/>
                      <a:pt x="2522" y="565"/>
                      <a:pt x="2522" y="565"/>
                    </a:cubicBezTo>
                    <a:cubicBezTo>
                      <a:pt x="2522" y="579"/>
                      <a:pt x="2530" y="583"/>
                      <a:pt x="2533" y="594"/>
                    </a:cubicBezTo>
                    <a:cubicBezTo>
                      <a:pt x="2536" y="600"/>
                      <a:pt x="2533" y="602"/>
                      <a:pt x="2533" y="606"/>
                    </a:cubicBezTo>
                    <a:cubicBezTo>
                      <a:pt x="2533" y="608"/>
                      <a:pt x="2531" y="609"/>
                      <a:pt x="2531" y="611"/>
                    </a:cubicBezTo>
                    <a:cubicBezTo>
                      <a:pt x="2531" y="614"/>
                      <a:pt x="2534" y="618"/>
                      <a:pt x="2534" y="620"/>
                    </a:cubicBezTo>
                    <a:cubicBezTo>
                      <a:pt x="2533" y="629"/>
                      <a:pt x="2533" y="629"/>
                      <a:pt x="2528" y="639"/>
                    </a:cubicBezTo>
                    <a:cubicBezTo>
                      <a:pt x="2524" y="648"/>
                      <a:pt x="2529" y="651"/>
                      <a:pt x="2528" y="659"/>
                    </a:cubicBezTo>
                    <a:cubicBezTo>
                      <a:pt x="2528" y="657"/>
                      <a:pt x="2524" y="677"/>
                      <a:pt x="2525" y="676"/>
                    </a:cubicBezTo>
                    <a:cubicBezTo>
                      <a:pt x="2520" y="685"/>
                      <a:pt x="2511" y="683"/>
                      <a:pt x="2504" y="689"/>
                    </a:cubicBezTo>
                    <a:cubicBezTo>
                      <a:pt x="2503" y="690"/>
                      <a:pt x="2501" y="699"/>
                      <a:pt x="2501" y="699"/>
                    </a:cubicBezTo>
                    <a:cubicBezTo>
                      <a:pt x="2494" y="703"/>
                      <a:pt x="2496" y="699"/>
                      <a:pt x="2488" y="698"/>
                    </a:cubicBezTo>
                    <a:cubicBezTo>
                      <a:pt x="2476" y="698"/>
                      <a:pt x="2461" y="699"/>
                      <a:pt x="2451" y="702"/>
                    </a:cubicBezTo>
                    <a:cubicBezTo>
                      <a:pt x="2443" y="705"/>
                      <a:pt x="2436" y="714"/>
                      <a:pt x="2430" y="717"/>
                    </a:cubicBezTo>
                    <a:cubicBezTo>
                      <a:pt x="2411" y="724"/>
                      <a:pt x="2394" y="734"/>
                      <a:pt x="2378" y="747"/>
                    </a:cubicBezTo>
                    <a:cubicBezTo>
                      <a:pt x="2374" y="751"/>
                      <a:pt x="2368" y="757"/>
                      <a:pt x="2367" y="762"/>
                    </a:cubicBezTo>
                    <a:cubicBezTo>
                      <a:pt x="2364" y="771"/>
                      <a:pt x="2371" y="772"/>
                      <a:pt x="2364" y="781"/>
                    </a:cubicBezTo>
                    <a:cubicBezTo>
                      <a:pt x="2359" y="789"/>
                      <a:pt x="2350" y="794"/>
                      <a:pt x="2344" y="802"/>
                    </a:cubicBezTo>
                    <a:cubicBezTo>
                      <a:pt x="2342" y="805"/>
                      <a:pt x="2334" y="812"/>
                      <a:pt x="2333" y="815"/>
                    </a:cubicBezTo>
                    <a:cubicBezTo>
                      <a:pt x="2329" y="826"/>
                      <a:pt x="2331" y="831"/>
                      <a:pt x="2324" y="841"/>
                    </a:cubicBezTo>
                    <a:cubicBezTo>
                      <a:pt x="2321" y="845"/>
                      <a:pt x="2318" y="849"/>
                      <a:pt x="2316" y="853"/>
                    </a:cubicBezTo>
                    <a:cubicBezTo>
                      <a:pt x="2315" y="856"/>
                      <a:pt x="2315" y="863"/>
                      <a:pt x="2313" y="867"/>
                    </a:cubicBezTo>
                    <a:cubicBezTo>
                      <a:pt x="2311" y="873"/>
                      <a:pt x="2308" y="881"/>
                      <a:pt x="2302" y="885"/>
                    </a:cubicBezTo>
                    <a:cubicBezTo>
                      <a:pt x="2296" y="889"/>
                      <a:pt x="2292" y="887"/>
                      <a:pt x="2286" y="890"/>
                    </a:cubicBezTo>
                    <a:cubicBezTo>
                      <a:pt x="2285" y="891"/>
                      <a:pt x="2276" y="900"/>
                      <a:pt x="2273" y="902"/>
                    </a:cubicBezTo>
                    <a:cubicBezTo>
                      <a:pt x="2262" y="910"/>
                      <a:pt x="2264" y="928"/>
                      <a:pt x="2250" y="937"/>
                    </a:cubicBezTo>
                    <a:cubicBezTo>
                      <a:pt x="2245" y="940"/>
                      <a:pt x="2242" y="936"/>
                      <a:pt x="2238" y="940"/>
                    </a:cubicBezTo>
                    <a:cubicBezTo>
                      <a:pt x="2236" y="942"/>
                      <a:pt x="2238" y="949"/>
                      <a:pt x="2236" y="952"/>
                    </a:cubicBezTo>
                    <a:cubicBezTo>
                      <a:pt x="2234" y="955"/>
                      <a:pt x="2230" y="957"/>
                      <a:pt x="2227" y="958"/>
                    </a:cubicBezTo>
                    <a:cubicBezTo>
                      <a:pt x="2222" y="961"/>
                      <a:pt x="2213" y="960"/>
                      <a:pt x="2213" y="960"/>
                    </a:cubicBezTo>
                    <a:cubicBezTo>
                      <a:pt x="2209" y="962"/>
                      <a:pt x="2207" y="965"/>
                      <a:pt x="2202" y="970"/>
                    </a:cubicBezTo>
                    <a:cubicBezTo>
                      <a:pt x="2197" y="974"/>
                      <a:pt x="2191" y="972"/>
                      <a:pt x="2188" y="978"/>
                    </a:cubicBezTo>
                    <a:cubicBezTo>
                      <a:pt x="2186" y="983"/>
                      <a:pt x="2194" y="985"/>
                      <a:pt x="2192" y="989"/>
                    </a:cubicBezTo>
                    <a:cubicBezTo>
                      <a:pt x="2189" y="998"/>
                      <a:pt x="2173" y="997"/>
                      <a:pt x="2169" y="1006"/>
                    </a:cubicBezTo>
                    <a:cubicBezTo>
                      <a:pt x="2165" y="1017"/>
                      <a:pt x="2188" y="1024"/>
                      <a:pt x="2188" y="1039"/>
                    </a:cubicBezTo>
                    <a:cubicBezTo>
                      <a:pt x="2188" y="1050"/>
                      <a:pt x="2177" y="1064"/>
                      <a:pt x="2190" y="1075"/>
                    </a:cubicBezTo>
                    <a:cubicBezTo>
                      <a:pt x="2200" y="1082"/>
                      <a:pt x="2203" y="1074"/>
                      <a:pt x="2208" y="1086"/>
                    </a:cubicBezTo>
                    <a:cubicBezTo>
                      <a:pt x="2211" y="1091"/>
                      <a:pt x="2206" y="1095"/>
                      <a:pt x="2212" y="1101"/>
                    </a:cubicBezTo>
                    <a:cubicBezTo>
                      <a:pt x="2220" y="1111"/>
                      <a:pt x="2215" y="1100"/>
                      <a:pt x="2222" y="1103"/>
                    </a:cubicBezTo>
                    <a:cubicBezTo>
                      <a:pt x="2221" y="1103"/>
                      <a:pt x="2228" y="1107"/>
                      <a:pt x="2226" y="1106"/>
                    </a:cubicBezTo>
                    <a:cubicBezTo>
                      <a:pt x="2227" y="1106"/>
                      <a:pt x="2231" y="1111"/>
                      <a:pt x="2234" y="1112"/>
                    </a:cubicBezTo>
                    <a:cubicBezTo>
                      <a:pt x="2238" y="1113"/>
                      <a:pt x="2242" y="1108"/>
                      <a:pt x="2246" y="1110"/>
                    </a:cubicBezTo>
                    <a:cubicBezTo>
                      <a:pt x="2260" y="1118"/>
                      <a:pt x="2240" y="1134"/>
                      <a:pt x="2247" y="1145"/>
                    </a:cubicBezTo>
                    <a:cubicBezTo>
                      <a:pt x="2251" y="1140"/>
                      <a:pt x="2251" y="1142"/>
                      <a:pt x="2256" y="1141"/>
                    </a:cubicBezTo>
                    <a:cubicBezTo>
                      <a:pt x="2259" y="1139"/>
                      <a:pt x="2265" y="1130"/>
                      <a:pt x="2272" y="1140"/>
                    </a:cubicBezTo>
                    <a:cubicBezTo>
                      <a:pt x="2274" y="1142"/>
                      <a:pt x="2273" y="1153"/>
                      <a:pt x="2273" y="1158"/>
                    </a:cubicBezTo>
                    <a:cubicBezTo>
                      <a:pt x="2273" y="1160"/>
                      <a:pt x="2278" y="1162"/>
                      <a:pt x="2278" y="1165"/>
                    </a:cubicBezTo>
                    <a:cubicBezTo>
                      <a:pt x="2277" y="1171"/>
                      <a:pt x="2270" y="1166"/>
                      <a:pt x="2268" y="1170"/>
                    </a:cubicBezTo>
                    <a:cubicBezTo>
                      <a:pt x="2264" y="1180"/>
                      <a:pt x="2274" y="1195"/>
                      <a:pt x="2275" y="1204"/>
                    </a:cubicBezTo>
                    <a:cubicBezTo>
                      <a:pt x="2275" y="1220"/>
                      <a:pt x="2261" y="1241"/>
                      <a:pt x="2252" y="1253"/>
                    </a:cubicBezTo>
                    <a:cubicBezTo>
                      <a:pt x="2237" y="1274"/>
                      <a:pt x="2216" y="1285"/>
                      <a:pt x="2204" y="1311"/>
                    </a:cubicBezTo>
                    <a:cubicBezTo>
                      <a:pt x="2203" y="1313"/>
                      <a:pt x="2203" y="1321"/>
                      <a:pt x="2200" y="1322"/>
                    </a:cubicBezTo>
                    <a:cubicBezTo>
                      <a:pt x="2196" y="1324"/>
                      <a:pt x="2195" y="1315"/>
                      <a:pt x="2193" y="1315"/>
                    </a:cubicBezTo>
                    <a:cubicBezTo>
                      <a:pt x="2189" y="1316"/>
                      <a:pt x="2183" y="1321"/>
                      <a:pt x="2178" y="1323"/>
                    </a:cubicBezTo>
                    <a:cubicBezTo>
                      <a:pt x="2172" y="1325"/>
                      <a:pt x="2164" y="1324"/>
                      <a:pt x="2157" y="1326"/>
                    </a:cubicBezTo>
                    <a:cubicBezTo>
                      <a:pt x="2135" y="1333"/>
                      <a:pt x="2132" y="1360"/>
                      <a:pt x="2113" y="1370"/>
                    </a:cubicBezTo>
                    <a:cubicBezTo>
                      <a:pt x="2107" y="1374"/>
                      <a:pt x="2099" y="1373"/>
                      <a:pt x="2092" y="1375"/>
                    </a:cubicBezTo>
                    <a:cubicBezTo>
                      <a:pt x="2088" y="1376"/>
                      <a:pt x="2081" y="1380"/>
                      <a:pt x="2077" y="1380"/>
                    </a:cubicBezTo>
                    <a:cubicBezTo>
                      <a:pt x="2072" y="1381"/>
                      <a:pt x="2068" y="1375"/>
                      <a:pt x="2063" y="1376"/>
                    </a:cubicBezTo>
                    <a:cubicBezTo>
                      <a:pt x="2045" y="1380"/>
                      <a:pt x="2056" y="1403"/>
                      <a:pt x="2045" y="1414"/>
                    </a:cubicBezTo>
                    <a:cubicBezTo>
                      <a:pt x="2035" y="1422"/>
                      <a:pt x="2042" y="1417"/>
                      <a:pt x="2030" y="1416"/>
                    </a:cubicBezTo>
                    <a:cubicBezTo>
                      <a:pt x="2030" y="1416"/>
                      <a:pt x="2019" y="1414"/>
                      <a:pt x="2019" y="1414"/>
                    </a:cubicBezTo>
                    <a:cubicBezTo>
                      <a:pt x="2016" y="1413"/>
                      <a:pt x="2013" y="1417"/>
                      <a:pt x="2009" y="1415"/>
                    </a:cubicBezTo>
                    <a:cubicBezTo>
                      <a:pt x="2007" y="1414"/>
                      <a:pt x="2008" y="1408"/>
                      <a:pt x="2006" y="1407"/>
                    </a:cubicBezTo>
                    <a:cubicBezTo>
                      <a:pt x="1996" y="1403"/>
                      <a:pt x="2004" y="1406"/>
                      <a:pt x="1997" y="1409"/>
                    </a:cubicBezTo>
                    <a:cubicBezTo>
                      <a:pt x="1985" y="1415"/>
                      <a:pt x="1991" y="1415"/>
                      <a:pt x="1983" y="1426"/>
                    </a:cubicBezTo>
                    <a:cubicBezTo>
                      <a:pt x="1980" y="1431"/>
                      <a:pt x="1975" y="1434"/>
                      <a:pt x="1973" y="1439"/>
                    </a:cubicBezTo>
                    <a:cubicBezTo>
                      <a:pt x="1970" y="1443"/>
                      <a:pt x="1970" y="1452"/>
                      <a:pt x="1968" y="1456"/>
                    </a:cubicBezTo>
                    <a:cubicBezTo>
                      <a:pt x="1961" y="1467"/>
                      <a:pt x="1958" y="1472"/>
                      <a:pt x="1953" y="1486"/>
                    </a:cubicBezTo>
                    <a:cubicBezTo>
                      <a:pt x="1950" y="1495"/>
                      <a:pt x="1944" y="1504"/>
                      <a:pt x="1938" y="1511"/>
                    </a:cubicBezTo>
                    <a:cubicBezTo>
                      <a:pt x="1927" y="1524"/>
                      <a:pt x="1916" y="1531"/>
                      <a:pt x="1901" y="1539"/>
                    </a:cubicBezTo>
                    <a:cubicBezTo>
                      <a:pt x="1892" y="1545"/>
                      <a:pt x="1882" y="1550"/>
                      <a:pt x="1874" y="1555"/>
                    </a:cubicBezTo>
                    <a:cubicBezTo>
                      <a:pt x="1863" y="1562"/>
                      <a:pt x="1863" y="1568"/>
                      <a:pt x="1859" y="1575"/>
                    </a:cubicBezTo>
                    <a:cubicBezTo>
                      <a:pt x="1857" y="1578"/>
                      <a:pt x="1858" y="1582"/>
                      <a:pt x="1856" y="1585"/>
                    </a:cubicBezTo>
                    <a:cubicBezTo>
                      <a:pt x="1857" y="1583"/>
                      <a:pt x="1846" y="1593"/>
                      <a:pt x="1846" y="1593"/>
                    </a:cubicBezTo>
                    <a:cubicBezTo>
                      <a:pt x="1834" y="1604"/>
                      <a:pt x="1842" y="1602"/>
                      <a:pt x="1841" y="1613"/>
                    </a:cubicBezTo>
                    <a:cubicBezTo>
                      <a:pt x="1840" y="1625"/>
                      <a:pt x="1841" y="1617"/>
                      <a:pt x="1834" y="1627"/>
                    </a:cubicBezTo>
                    <a:cubicBezTo>
                      <a:pt x="1830" y="1632"/>
                      <a:pt x="1829" y="1641"/>
                      <a:pt x="1824" y="1646"/>
                    </a:cubicBezTo>
                    <a:cubicBezTo>
                      <a:pt x="1813" y="1655"/>
                      <a:pt x="1791" y="1657"/>
                      <a:pt x="1779" y="1650"/>
                    </a:cubicBezTo>
                    <a:cubicBezTo>
                      <a:pt x="1771" y="1645"/>
                      <a:pt x="1777" y="1641"/>
                      <a:pt x="1766" y="1638"/>
                    </a:cubicBezTo>
                    <a:cubicBezTo>
                      <a:pt x="1755" y="1635"/>
                      <a:pt x="1740" y="1638"/>
                      <a:pt x="1728" y="1639"/>
                    </a:cubicBezTo>
                    <a:cubicBezTo>
                      <a:pt x="1721" y="1639"/>
                      <a:pt x="1718" y="1636"/>
                      <a:pt x="1711" y="1641"/>
                    </a:cubicBezTo>
                    <a:cubicBezTo>
                      <a:pt x="1703" y="1647"/>
                      <a:pt x="1696" y="1659"/>
                      <a:pt x="1689" y="1666"/>
                    </a:cubicBezTo>
                    <a:cubicBezTo>
                      <a:pt x="1682" y="1673"/>
                      <a:pt x="1675" y="1683"/>
                      <a:pt x="1667" y="1689"/>
                    </a:cubicBezTo>
                    <a:cubicBezTo>
                      <a:pt x="1656" y="1696"/>
                      <a:pt x="1642" y="1697"/>
                      <a:pt x="1634" y="1709"/>
                    </a:cubicBezTo>
                    <a:cubicBezTo>
                      <a:pt x="1631" y="1714"/>
                      <a:pt x="1634" y="1719"/>
                      <a:pt x="1629" y="1721"/>
                    </a:cubicBezTo>
                    <a:cubicBezTo>
                      <a:pt x="1628" y="1722"/>
                      <a:pt x="1626" y="1714"/>
                      <a:pt x="1626" y="1714"/>
                    </a:cubicBezTo>
                    <a:cubicBezTo>
                      <a:pt x="1627" y="1714"/>
                      <a:pt x="1616" y="1718"/>
                      <a:pt x="1618" y="1718"/>
                    </a:cubicBezTo>
                    <a:cubicBezTo>
                      <a:pt x="1614" y="1718"/>
                      <a:pt x="1615" y="1721"/>
                      <a:pt x="1610" y="1719"/>
                    </a:cubicBezTo>
                    <a:cubicBezTo>
                      <a:pt x="1605" y="1718"/>
                      <a:pt x="1599" y="1709"/>
                      <a:pt x="1596" y="1706"/>
                    </a:cubicBezTo>
                    <a:cubicBezTo>
                      <a:pt x="1594" y="1703"/>
                      <a:pt x="1589" y="1693"/>
                      <a:pt x="1586" y="1691"/>
                    </a:cubicBezTo>
                    <a:cubicBezTo>
                      <a:pt x="1575" y="1685"/>
                      <a:pt x="1579" y="1692"/>
                      <a:pt x="1574" y="1698"/>
                    </a:cubicBezTo>
                    <a:cubicBezTo>
                      <a:pt x="1567" y="1706"/>
                      <a:pt x="1565" y="1710"/>
                      <a:pt x="1552" y="1710"/>
                    </a:cubicBezTo>
                    <a:cubicBezTo>
                      <a:pt x="1546" y="1710"/>
                      <a:pt x="1536" y="1711"/>
                      <a:pt x="1532" y="1710"/>
                    </a:cubicBezTo>
                    <a:cubicBezTo>
                      <a:pt x="1527" y="1708"/>
                      <a:pt x="1520" y="1700"/>
                      <a:pt x="1515" y="1699"/>
                    </a:cubicBezTo>
                    <a:cubicBezTo>
                      <a:pt x="1501" y="1697"/>
                      <a:pt x="1502" y="1715"/>
                      <a:pt x="1501" y="1725"/>
                    </a:cubicBezTo>
                    <a:cubicBezTo>
                      <a:pt x="1500" y="1731"/>
                      <a:pt x="1497" y="1744"/>
                      <a:pt x="1493" y="1750"/>
                    </a:cubicBezTo>
                    <a:cubicBezTo>
                      <a:pt x="1490" y="1756"/>
                      <a:pt x="1481" y="1758"/>
                      <a:pt x="1481" y="1766"/>
                    </a:cubicBezTo>
                    <a:cubicBezTo>
                      <a:pt x="1482" y="1781"/>
                      <a:pt x="1548" y="1797"/>
                      <a:pt x="1509" y="1820"/>
                    </a:cubicBezTo>
                    <a:cubicBezTo>
                      <a:pt x="1494" y="1829"/>
                      <a:pt x="1488" y="1816"/>
                      <a:pt x="1484" y="1838"/>
                    </a:cubicBezTo>
                    <a:cubicBezTo>
                      <a:pt x="1483" y="1847"/>
                      <a:pt x="1482" y="1858"/>
                      <a:pt x="1482" y="1868"/>
                    </a:cubicBezTo>
                    <a:cubicBezTo>
                      <a:pt x="1480" y="1882"/>
                      <a:pt x="1481" y="1881"/>
                      <a:pt x="1472" y="1890"/>
                    </a:cubicBezTo>
                    <a:cubicBezTo>
                      <a:pt x="1466" y="1896"/>
                      <a:pt x="1457" y="1901"/>
                      <a:pt x="1458" y="1910"/>
                    </a:cubicBezTo>
                    <a:cubicBezTo>
                      <a:pt x="1461" y="1928"/>
                      <a:pt x="1493" y="1934"/>
                      <a:pt x="1507" y="1938"/>
                    </a:cubicBezTo>
                    <a:cubicBezTo>
                      <a:pt x="1512" y="1940"/>
                      <a:pt x="1516" y="1938"/>
                      <a:pt x="1522" y="1941"/>
                    </a:cubicBezTo>
                    <a:cubicBezTo>
                      <a:pt x="1531" y="1946"/>
                      <a:pt x="1533" y="1955"/>
                      <a:pt x="1543" y="1956"/>
                    </a:cubicBezTo>
                    <a:cubicBezTo>
                      <a:pt x="1548" y="1957"/>
                      <a:pt x="1554" y="1950"/>
                      <a:pt x="1558" y="1955"/>
                    </a:cubicBezTo>
                    <a:cubicBezTo>
                      <a:pt x="1566" y="1962"/>
                      <a:pt x="1556" y="1972"/>
                      <a:pt x="1550" y="1975"/>
                    </a:cubicBezTo>
                    <a:cubicBezTo>
                      <a:pt x="1549" y="1975"/>
                      <a:pt x="1546" y="1972"/>
                      <a:pt x="1544" y="1973"/>
                    </a:cubicBezTo>
                    <a:cubicBezTo>
                      <a:pt x="1540" y="1974"/>
                      <a:pt x="1535" y="1977"/>
                      <a:pt x="1531" y="1979"/>
                    </a:cubicBezTo>
                    <a:cubicBezTo>
                      <a:pt x="1529" y="1980"/>
                      <a:pt x="1527" y="1976"/>
                      <a:pt x="1523" y="1979"/>
                    </a:cubicBezTo>
                    <a:cubicBezTo>
                      <a:pt x="1521" y="1980"/>
                      <a:pt x="1519" y="1988"/>
                      <a:pt x="1515" y="1990"/>
                    </a:cubicBezTo>
                    <a:cubicBezTo>
                      <a:pt x="1508" y="1996"/>
                      <a:pt x="1502" y="1990"/>
                      <a:pt x="1494" y="1994"/>
                    </a:cubicBezTo>
                    <a:cubicBezTo>
                      <a:pt x="1487" y="1999"/>
                      <a:pt x="1491" y="2000"/>
                      <a:pt x="1489" y="2007"/>
                    </a:cubicBezTo>
                    <a:cubicBezTo>
                      <a:pt x="1488" y="2009"/>
                      <a:pt x="1484" y="2021"/>
                      <a:pt x="1482" y="2021"/>
                    </a:cubicBezTo>
                    <a:cubicBezTo>
                      <a:pt x="1472" y="2025"/>
                      <a:pt x="1478" y="2009"/>
                      <a:pt x="1465" y="2019"/>
                    </a:cubicBezTo>
                    <a:cubicBezTo>
                      <a:pt x="1456" y="2026"/>
                      <a:pt x="1462" y="2050"/>
                      <a:pt x="1451" y="2058"/>
                    </a:cubicBezTo>
                    <a:cubicBezTo>
                      <a:pt x="1450" y="2059"/>
                      <a:pt x="1446" y="2053"/>
                      <a:pt x="1443" y="2056"/>
                    </a:cubicBezTo>
                    <a:cubicBezTo>
                      <a:pt x="1439" y="2059"/>
                      <a:pt x="1442" y="2060"/>
                      <a:pt x="1440" y="2063"/>
                    </a:cubicBezTo>
                    <a:cubicBezTo>
                      <a:pt x="1436" y="2069"/>
                      <a:pt x="1433" y="2075"/>
                      <a:pt x="1435" y="2083"/>
                    </a:cubicBezTo>
                    <a:cubicBezTo>
                      <a:pt x="1436" y="2089"/>
                      <a:pt x="1442" y="2090"/>
                      <a:pt x="1443" y="2100"/>
                    </a:cubicBezTo>
                    <a:cubicBezTo>
                      <a:pt x="1443" y="2105"/>
                      <a:pt x="1442" y="2118"/>
                      <a:pt x="1437" y="2121"/>
                    </a:cubicBezTo>
                    <a:cubicBezTo>
                      <a:pt x="1433" y="2125"/>
                      <a:pt x="1409" y="2124"/>
                      <a:pt x="1401" y="2124"/>
                    </a:cubicBezTo>
                    <a:cubicBezTo>
                      <a:pt x="1395" y="2125"/>
                      <a:pt x="1385" y="2129"/>
                      <a:pt x="1379" y="2127"/>
                    </a:cubicBezTo>
                    <a:cubicBezTo>
                      <a:pt x="1373" y="2125"/>
                      <a:pt x="1370" y="2121"/>
                      <a:pt x="1364" y="2121"/>
                    </a:cubicBezTo>
                    <a:cubicBezTo>
                      <a:pt x="1360" y="2120"/>
                      <a:pt x="1357" y="2124"/>
                      <a:pt x="1351" y="2123"/>
                    </a:cubicBezTo>
                    <a:cubicBezTo>
                      <a:pt x="1346" y="2122"/>
                      <a:pt x="1342" y="2116"/>
                      <a:pt x="1339" y="2114"/>
                    </a:cubicBezTo>
                    <a:cubicBezTo>
                      <a:pt x="1329" y="2107"/>
                      <a:pt x="1328" y="2107"/>
                      <a:pt x="1322" y="2096"/>
                    </a:cubicBezTo>
                    <a:cubicBezTo>
                      <a:pt x="1312" y="2078"/>
                      <a:pt x="1294" y="2062"/>
                      <a:pt x="1274" y="2054"/>
                    </a:cubicBezTo>
                    <a:cubicBezTo>
                      <a:pt x="1263" y="2049"/>
                      <a:pt x="1250" y="2048"/>
                      <a:pt x="1239" y="2049"/>
                    </a:cubicBezTo>
                    <a:cubicBezTo>
                      <a:pt x="1224" y="2051"/>
                      <a:pt x="1210" y="2066"/>
                      <a:pt x="1196" y="2066"/>
                    </a:cubicBezTo>
                    <a:cubicBezTo>
                      <a:pt x="1190" y="2067"/>
                      <a:pt x="1176" y="2062"/>
                      <a:pt x="1171" y="2059"/>
                    </a:cubicBezTo>
                    <a:cubicBezTo>
                      <a:pt x="1163" y="2055"/>
                      <a:pt x="1166" y="2054"/>
                      <a:pt x="1160" y="2048"/>
                    </a:cubicBezTo>
                    <a:cubicBezTo>
                      <a:pt x="1143" y="2034"/>
                      <a:pt x="1115" y="2043"/>
                      <a:pt x="1096" y="2043"/>
                    </a:cubicBezTo>
                    <a:cubicBezTo>
                      <a:pt x="1081" y="2043"/>
                      <a:pt x="1064" y="2032"/>
                      <a:pt x="1049" y="2034"/>
                    </a:cubicBezTo>
                    <a:cubicBezTo>
                      <a:pt x="1035" y="2036"/>
                      <a:pt x="1032" y="2051"/>
                      <a:pt x="1021" y="2058"/>
                    </a:cubicBezTo>
                    <a:cubicBezTo>
                      <a:pt x="1011" y="2066"/>
                      <a:pt x="1002" y="2060"/>
                      <a:pt x="991" y="2063"/>
                    </a:cubicBezTo>
                    <a:cubicBezTo>
                      <a:pt x="985" y="2064"/>
                      <a:pt x="983" y="2068"/>
                      <a:pt x="979" y="2070"/>
                    </a:cubicBezTo>
                    <a:cubicBezTo>
                      <a:pt x="971" y="2074"/>
                      <a:pt x="965" y="2074"/>
                      <a:pt x="958" y="2077"/>
                    </a:cubicBezTo>
                    <a:cubicBezTo>
                      <a:pt x="949" y="2081"/>
                      <a:pt x="946" y="2088"/>
                      <a:pt x="937" y="2091"/>
                    </a:cubicBezTo>
                    <a:cubicBezTo>
                      <a:pt x="919" y="2096"/>
                      <a:pt x="913" y="2094"/>
                      <a:pt x="901" y="2109"/>
                    </a:cubicBezTo>
                    <a:cubicBezTo>
                      <a:pt x="893" y="2119"/>
                      <a:pt x="888" y="2131"/>
                      <a:pt x="878" y="2137"/>
                    </a:cubicBezTo>
                    <a:cubicBezTo>
                      <a:pt x="862" y="2148"/>
                      <a:pt x="851" y="2141"/>
                      <a:pt x="834" y="2137"/>
                    </a:cubicBezTo>
                    <a:cubicBezTo>
                      <a:pt x="816" y="2133"/>
                      <a:pt x="819" y="2145"/>
                      <a:pt x="804" y="2151"/>
                    </a:cubicBezTo>
                    <a:cubicBezTo>
                      <a:pt x="791" y="2156"/>
                      <a:pt x="783" y="2146"/>
                      <a:pt x="772" y="2141"/>
                    </a:cubicBezTo>
                    <a:cubicBezTo>
                      <a:pt x="760" y="2137"/>
                      <a:pt x="748" y="2145"/>
                      <a:pt x="739" y="2138"/>
                    </a:cubicBezTo>
                    <a:cubicBezTo>
                      <a:pt x="728" y="2130"/>
                      <a:pt x="735" y="2116"/>
                      <a:pt x="717" y="2113"/>
                    </a:cubicBezTo>
                    <a:cubicBezTo>
                      <a:pt x="705" y="2111"/>
                      <a:pt x="695" y="2120"/>
                      <a:pt x="681" y="2116"/>
                    </a:cubicBezTo>
                    <a:cubicBezTo>
                      <a:pt x="668" y="2111"/>
                      <a:pt x="658" y="2101"/>
                      <a:pt x="644" y="2097"/>
                    </a:cubicBezTo>
                    <a:cubicBezTo>
                      <a:pt x="626" y="2092"/>
                      <a:pt x="630" y="2083"/>
                      <a:pt x="617" y="2071"/>
                    </a:cubicBezTo>
                    <a:cubicBezTo>
                      <a:pt x="608" y="2061"/>
                      <a:pt x="597" y="2067"/>
                      <a:pt x="587" y="2061"/>
                    </a:cubicBezTo>
                    <a:cubicBezTo>
                      <a:pt x="578" y="2054"/>
                      <a:pt x="576" y="2041"/>
                      <a:pt x="578" y="2032"/>
                    </a:cubicBezTo>
                    <a:cubicBezTo>
                      <a:pt x="579" y="2026"/>
                      <a:pt x="585" y="2021"/>
                      <a:pt x="584" y="2015"/>
                    </a:cubicBezTo>
                    <a:cubicBezTo>
                      <a:pt x="582" y="2007"/>
                      <a:pt x="574" y="2005"/>
                      <a:pt x="570" y="2000"/>
                    </a:cubicBezTo>
                    <a:cubicBezTo>
                      <a:pt x="559" y="1988"/>
                      <a:pt x="565" y="1982"/>
                      <a:pt x="566" y="1968"/>
                    </a:cubicBezTo>
                    <a:cubicBezTo>
                      <a:pt x="566" y="1961"/>
                      <a:pt x="563" y="1950"/>
                      <a:pt x="560" y="1942"/>
                    </a:cubicBezTo>
                    <a:cubicBezTo>
                      <a:pt x="552" y="1923"/>
                      <a:pt x="541" y="1901"/>
                      <a:pt x="543" y="1879"/>
                    </a:cubicBezTo>
                    <a:cubicBezTo>
                      <a:pt x="545" y="1862"/>
                      <a:pt x="557" y="1863"/>
                      <a:pt x="539" y="1850"/>
                    </a:cubicBezTo>
                    <a:cubicBezTo>
                      <a:pt x="530" y="1844"/>
                      <a:pt x="522" y="1842"/>
                      <a:pt x="512" y="1840"/>
                    </a:cubicBezTo>
                    <a:cubicBezTo>
                      <a:pt x="493" y="1835"/>
                      <a:pt x="474" y="1828"/>
                      <a:pt x="453" y="1825"/>
                    </a:cubicBezTo>
                    <a:cubicBezTo>
                      <a:pt x="440" y="1823"/>
                      <a:pt x="429" y="1835"/>
                      <a:pt x="418" y="1831"/>
                    </a:cubicBezTo>
                    <a:cubicBezTo>
                      <a:pt x="412" y="1829"/>
                      <a:pt x="410" y="1821"/>
                      <a:pt x="404" y="1818"/>
                    </a:cubicBezTo>
                    <a:cubicBezTo>
                      <a:pt x="399" y="1815"/>
                      <a:pt x="393" y="1817"/>
                      <a:pt x="387" y="1815"/>
                    </a:cubicBezTo>
                    <a:cubicBezTo>
                      <a:pt x="361" y="1806"/>
                      <a:pt x="336" y="1786"/>
                      <a:pt x="309" y="1776"/>
                    </a:cubicBezTo>
                    <a:cubicBezTo>
                      <a:pt x="284" y="1766"/>
                      <a:pt x="254" y="1767"/>
                      <a:pt x="227" y="1768"/>
                    </a:cubicBezTo>
                    <a:cubicBezTo>
                      <a:pt x="211" y="1769"/>
                      <a:pt x="203" y="1770"/>
                      <a:pt x="191" y="1758"/>
                    </a:cubicBezTo>
                    <a:cubicBezTo>
                      <a:pt x="182" y="1750"/>
                      <a:pt x="174" y="1736"/>
                      <a:pt x="162" y="1732"/>
                    </a:cubicBezTo>
                    <a:cubicBezTo>
                      <a:pt x="150" y="1728"/>
                      <a:pt x="134" y="1730"/>
                      <a:pt x="121" y="1726"/>
                    </a:cubicBezTo>
                    <a:cubicBezTo>
                      <a:pt x="105" y="1721"/>
                      <a:pt x="103" y="1714"/>
                      <a:pt x="91" y="1706"/>
                    </a:cubicBezTo>
                    <a:cubicBezTo>
                      <a:pt x="82" y="1699"/>
                      <a:pt x="66" y="1701"/>
                      <a:pt x="57" y="1692"/>
                    </a:cubicBezTo>
                    <a:cubicBezTo>
                      <a:pt x="49" y="1683"/>
                      <a:pt x="53" y="1673"/>
                      <a:pt x="49" y="1664"/>
                    </a:cubicBezTo>
                    <a:cubicBezTo>
                      <a:pt x="44" y="1653"/>
                      <a:pt x="45" y="1659"/>
                      <a:pt x="38" y="1657"/>
                    </a:cubicBezTo>
                    <a:cubicBezTo>
                      <a:pt x="35" y="1656"/>
                      <a:pt x="33" y="1661"/>
                      <a:pt x="29" y="1658"/>
                    </a:cubicBezTo>
                    <a:cubicBezTo>
                      <a:pt x="26" y="1655"/>
                      <a:pt x="30" y="1649"/>
                      <a:pt x="29" y="1646"/>
                    </a:cubicBezTo>
                    <a:cubicBezTo>
                      <a:pt x="27" y="1639"/>
                      <a:pt x="27" y="1635"/>
                      <a:pt x="19" y="1634"/>
                    </a:cubicBezTo>
                    <a:cubicBezTo>
                      <a:pt x="10" y="1631"/>
                      <a:pt x="11" y="1640"/>
                      <a:pt x="7" y="1640"/>
                    </a:cubicBezTo>
                    <a:cubicBezTo>
                      <a:pt x="0" y="1639"/>
                      <a:pt x="3" y="1632"/>
                      <a:pt x="4" y="1625"/>
                    </a:cubicBezTo>
                    <a:cubicBezTo>
                      <a:pt x="4" y="1621"/>
                      <a:pt x="7" y="1617"/>
                      <a:pt x="7" y="1613"/>
                    </a:cubicBezTo>
                    <a:cubicBezTo>
                      <a:pt x="6" y="1608"/>
                      <a:pt x="0" y="1604"/>
                      <a:pt x="0" y="1600"/>
                    </a:cubicBezTo>
                    <a:cubicBezTo>
                      <a:pt x="0" y="1595"/>
                      <a:pt x="8" y="1592"/>
                      <a:pt x="12" y="1586"/>
                    </a:cubicBezTo>
                    <a:cubicBezTo>
                      <a:pt x="14" y="1583"/>
                      <a:pt x="14" y="1577"/>
                      <a:pt x="16" y="1575"/>
                    </a:cubicBezTo>
                    <a:cubicBezTo>
                      <a:pt x="20" y="1570"/>
                      <a:pt x="25" y="1575"/>
                      <a:pt x="26" y="1564"/>
                    </a:cubicBezTo>
                    <a:cubicBezTo>
                      <a:pt x="26" y="1558"/>
                      <a:pt x="20" y="1555"/>
                      <a:pt x="23" y="1547"/>
                    </a:cubicBezTo>
                    <a:cubicBezTo>
                      <a:pt x="28" y="1533"/>
                      <a:pt x="39" y="1540"/>
                      <a:pt x="42" y="1527"/>
                    </a:cubicBezTo>
                    <a:cubicBezTo>
                      <a:pt x="43" y="1521"/>
                      <a:pt x="41" y="1514"/>
                      <a:pt x="40" y="1508"/>
                    </a:cubicBezTo>
                    <a:cubicBezTo>
                      <a:pt x="40" y="1505"/>
                      <a:pt x="42" y="1499"/>
                      <a:pt x="41" y="1497"/>
                    </a:cubicBezTo>
                    <a:cubicBezTo>
                      <a:pt x="38" y="1493"/>
                      <a:pt x="32" y="1501"/>
                      <a:pt x="30" y="1498"/>
                    </a:cubicBezTo>
                    <a:cubicBezTo>
                      <a:pt x="21" y="1488"/>
                      <a:pt x="34" y="1462"/>
                      <a:pt x="46" y="1463"/>
                    </a:cubicBezTo>
                    <a:cubicBezTo>
                      <a:pt x="47" y="1463"/>
                      <a:pt x="55" y="1471"/>
                      <a:pt x="58" y="1473"/>
                    </a:cubicBezTo>
                    <a:cubicBezTo>
                      <a:pt x="64" y="1476"/>
                      <a:pt x="78" y="1481"/>
                      <a:pt x="81" y="1477"/>
                    </a:cubicBezTo>
                    <a:cubicBezTo>
                      <a:pt x="80" y="1478"/>
                      <a:pt x="84" y="1458"/>
                      <a:pt x="84" y="1457"/>
                    </a:cubicBezTo>
                    <a:cubicBezTo>
                      <a:pt x="88" y="1444"/>
                      <a:pt x="89" y="1448"/>
                      <a:pt x="96" y="1438"/>
                    </a:cubicBezTo>
                    <a:cubicBezTo>
                      <a:pt x="105" y="1426"/>
                      <a:pt x="91" y="1412"/>
                      <a:pt x="110" y="1409"/>
                    </a:cubicBezTo>
                    <a:cubicBezTo>
                      <a:pt x="115" y="1408"/>
                      <a:pt x="121" y="1412"/>
                      <a:pt x="126" y="1410"/>
                    </a:cubicBezTo>
                    <a:cubicBezTo>
                      <a:pt x="130" y="1409"/>
                      <a:pt x="137" y="1404"/>
                      <a:pt x="141" y="1402"/>
                    </a:cubicBezTo>
                    <a:cubicBezTo>
                      <a:pt x="143" y="1401"/>
                      <a:pt x="146" y="1403"/>
                      <a:pt x="149" y="1401"/>
                    </a:cubicBezTo>
                    <a:cubicBezTo>
                      <a:pt x="153" y="1398"/>
                      <a:pt x="156" y="1391"/>
                      <a:pt x="161" y="1388"/>
                    </a:cubicBezTo>
                    <a:cubicBezTo>
                      <a:pt x="175" y="1379"/>
                      <a:pt x="170" y="1386"/>
                      <a:pt x="170" y="1373"/>
                    </a:cubicBezTo>
                    <a:cubicBezTo>
                      <a:pt x="170" y="1365"/>
                      <a:pt x="166" y="1363"/>
                      <a:pt x="174" y="1357"/>
                    </a:cubicBezTo>
                    <a:cubicBezTo>
                      <a:pt x="184" y="1350"/>
                      <a:pt x="192" y="1358"/>
                      <a:pt x="201" y="1355"/>
                    </a:cubicBezTo>
                    <a:cubicBezTo>
                      <a:pt x="205" y="1354"/>
                      <a:pt x="213" y="1347"/>
                      <a:pt x="215" y="1345"/>
                    </a:cubicBezTo>
                    <a:cubicBezTo>
                      <a:pt x="219" y="1341"/>
                      <a:pt x="214" y="1329"/>
                      <a:pt x="226" y="1334"/>
                    </a:cubicBezTo>
                    <a:cubicBezTo>
                      <a:pt x="231" y="1336"/>
                      <a:pt x="231" y="1347"/>
                      <a:pt x="233" y="1351"/>
                    </a:cubicBezTo>
                    <a:cubicBezTo>
                      <a:pt x="238" y="1361"/>
                      <a:pt x="249" y="1371"/>
                      <a:pt x="252" y="1379"/>
                    </a:cubicBezTo>
                    <a:cubicBezTo>
                      <a:pt x="242" y="1393"/>
                      <a:pt x="244" y="1396"/>
                      <a:pt x="255" y="1410"/>
                    </a:cubicBezTo>
                    <a:cubicBezTo>
                      <a:pt x="264" y="1421"/>
                      <a:pt x="273" y="1432"/>
                      <a:pt x="283" y="1443"/>
                    </a:cubicBezTo>
                    <a:cubicBezTo>
                      <a:pt x="289" y="1450"/>
                      <a:pt x="295" y="1451"/>
                      <a:pt x="302" y="1455"/>
                    </a:cubicBezTo>
                    <a:cubicBezTo>
                      <a:pt x="312" y="1461"/>
                      <a:pt x="315" y="1467"/>
                      <a:pt x="321" y="1474"/>
                    </a:cubicBezTo>
                    <a:cubicBezTo>
                      <a:pt x="326" y="1480"/>
                      <a:pt x="327" y="1481"/>
                      <a:pt x="336" y="1484"/>
                    </a:cubicBezTo>
                    <a:cubicBezTo>
                      <a:pt x="349" y="1488"/>
                      <a:pt x="350" y="1493"/>
                      <a:pt x="362" y="1500"/>
                    </a:cubicBezTo>
                    <a:cubicBezTo>
                      <a:pt x="368" y="1504"/>
                      <a:pt x="375" y="1506"/>
                      <a:pt x="382" y="1510"/>
                    </a:cubicBezTo>
                    <a:cubicBezTo>
                      <a:pt x="385" y="1513"/>
                      <a:pt x="392" y="1517"/>
                      <a:pt x="396" y="1518"/>
                    </a:cubicBezTo>
                    <a:cubicBezTo>
                      <a:pt x="406" y="1521"/>
                      <a:pt x="411" y="1517"/>
                      <a:pt x="418" y="1526"/>
                    </a:cubicBezTo>
                    <a:cubicBezTo>
                      <a:pt x="420" y="1530"/>
                      <a:pt x="420" y="1535"/>
                      <a:pt x="423" y="1540"/>
                    </a:cubicBezTo>
                    <a:cubicBezTo>
                      <a:pt x="429" y="1547"/>
                      <a:pt x="443" y="1552"/>
                      <a:pt x="448" y="1560"/>
                    </a:cubicBezTo>
                    <a:cubicBezTo>
                      <a:pt x="451" y="1563"/>
                      <a:pt x="450" y="1571"/>
                      <a:pt x="450" y="1572"/>
                    </a:cubicBezTo>
                    <a:cubicBezTo>
                      <a:pt x="455" y="1580"/>
                      <a:pt x="480" y="1586"/>
                      <a:pt x="488" y="1598"/>
                    </a:cubicBezTo>
                    <a:cubicBezTo>
                      <a:pt x="490" y="1601"/>
                      <a:pt x="485" y="1602"/>
                      <a:pt x="486" y="1604"/>
                    </a:cubicBezTo>
                    <a:cubicBezTo>
                      <a:pt x="487" y="1606"/>
                      <a:pt x="489" y="1609"/>
                      <a:pt x="491" y="1612"/>
                    </a:cubicBezTo>
                    <a:cubicBezTo>
                      <a:pt x="494" y="1618"/>
                      <a:pt x="497" y="1624"/>
                      <a:pt x="505" y="1624"/>
                    </a:cubicBezTo>
                    <a:cubicBezTo>
                      <a:pt x="518" y="1624"/>
                      <a:pt x="513" y="1604"/>
                      <a:pt x="530" y="1605"/>
                    </a:cubicBezTo>
                    <a:cubicBezTo>
                      <a:pt x="537" y="1606"/>
                      <a:pt x="544" y="1617"/>
                      <a:pt x="554" y="1615"/>
                    </a:cubicBezTo>
                    <a:cubicBezTo>
                      <a:pt x="569" y="1611"/>
                      <a:pt x="558" y="1603"/>
                      <a:pt x="575" y="1613"/>
                    </a:cubicBezTo>
                    <a:cubicBezTo>
                      <a:pt x="583" y="1618"/>
                      <a:pt x="582" y="1612"/>
                      <a:pt x="587" y="1621"/>
                    </a:cubicBezTo>
                    <a:cubicBezTo>
                      <a:pt x="589" y="1625"/>
                      <a:pt x="588" y="1630"/>
                      <a:pt x="590" y="1634"/>
                    </a:cubicBezTo>
                    <a:cubicBezTo>
                      <a:pt x="591" y="1637"/>
                      <a:pt x="598" y="1643"/>
                      <a:pt x="600" y="1646"/>
                    </a:cubicBezTo>
                    <a:cubicBezTo>
                      <a:pt x="605" y="1650"/>
                      <a:pt x="607" y="1650"/>
                      <a:pt x="612" y="1657"/>
                    </a:cubicBezTo>
                    <a:cubicBezTo>
                      <a:pt x="616" y="1663"/>
                      <a:pt x="620" y="1671"/>
                      <a:pt x="625" y="1676"/>
                    </a:cubicBezTo>
                    <a:cubicBezTo>
                      <a:pt x="630" y="1679"/>
                      <a:pt x="639" y="1685"/>
                      <a:pt x="645" y="1689"/>
                    </a:cubicBezTo>
                    <a:cubicBezTo>
                      <a:pt x="653" y="1694"/>
                      <a:pt x="663" y="1694"/>
                      <a:pt x="671" y="1699"/>
                    </a:cubicBezTo>
                    <a:cubicBezTo>
                      <a:pt x="674" y="1702"/>
                      <a:pt x="674" y="1707"/>
                      <a:pt x="678" y="1710"/>
                    </a:cubicBezTo>
                    <a:cubicBezTo>
                      <a:pt x="684" y="1714"/>
                      <a:pt x="691" y="1712"/>
                      <a:pt x="695" y="1720"/>
                    </a:cubicBezTo>
                    <a:cubicBezTo>
                      <a:pt x="697" y="1725"/>
                      <a:pt x="693" y="1729"/>
                      <a:pt x="693" y="1734"/>
                    </a:cubicBezTo>
                    <a:cubicBezTo>
                      <a:pt x="693" y="1741"/>
                      <a:pt x="696" y="1746"/>
                      <a:pt x="696" y="1753"/>
                    </a:cubicBezTo>
                    <a:cubicBezTo>
                      <a:pt x="696" y="1759"/>
                      <a:pt x="692" y="1764"/>
                      <a:pt x="694" y="1770"/>
                    </a:cubicBezTo>
                    <a:cubicBezTo>
                      <a:pt x="695" y="1775"/>
                      <a:pt x="702" y="1776"/>
                      <a:pt x="704" y="1780"/>
                    </a:cubicBezTo>
                    <a:cubicBezTo>
                      <a:pt x="706" y="1783"/>
                      <a:pt x="703" y="1786"/>
                      <a:pt x="704" y="1788"/>
                    </a:cubicBezTo>
                    <a:cubicBezTo>
                      <a:pt x="713" y="1807"/>
                      <a:pt x="717" y="1816"/>
                      <a:pt x="735" y="1808"/>
                    </a:cubicBezTo>
                    <a:cubicBezTo>
                      <a:pt x="752" y="1800"/>
                      <a:pt x="779" y="1790"/>
                      <a:pt x="793" y="1813"/>
                    </a:cubicBezTo>
                    <a:cubicBezTo>
                      <a:pt x="803" y="1830"/>
                      <a:pt x="798" y="1866"/>
                      <a:pt x="800" y="1886"/>
                    </a:cubicBezTo>
                    <a:cubicBezTo>
                      <a:pt x="816" y="1882"/>
                      <a:pt x="820" y="1867"/>
                      <a:pt x="831" y="1860"/>
                    </a:cubicBezTo>
                    <a:cubicBezTo>
                      <a:pt x="836" y="1857"/>
                      <a:pt x="839" y="1859"/>
                      <a:pt x="844" y="1855"/>
                    </a:cubicBezTo>
                    <a:cubicBezTo>
                      <a:pt x="853" y="1847"/>
                      <a:pt x="853" y="1843"/>
                      <a:pt x="864" y="1839"/>
                    </a:cubicBezTo>
                    <a:cubicBezTo>
                      <a:pt x="872" y="1836"/>
                      <a:pt x="884" y="1834"/>
                      <a:pt x="893" y="1833"/>
                    </a:cubicBezTo>
                    <a:cubicBezTo>
                      <a:pt x="895" y="1832"/>
                      <a:pt x="895" y="1829"/>
                      <a:pt x="898" y="1829"/>
                    </a:cubicBezTo>
                    <a:cubicBezTo>
                      <a:pt x="900" y="1829"/>
                      <a:pt x="901" y="1833"/>
                      <a:pt x="903" y="1833"/>
                    </a:cubicBezTo>
                    <a:cubicBezTo>
                      <a:pt x="917" y="1836"/>
                      <a:pt x="921" y="1838"/>
                      <a:pt x="924" y="1821"/>
                    </a:cubicBezTo>
                    <a:cubicBezTo>
                      <a:pt x="924" y="1815"/>
                      <a:pt x="924" y="1807"/>
                      <a:pt x="922" y="1801"/>
                    </a:cubicBezTo>
                    <a:cubicBezTo>
                      <a:pt x="921" y="1797"/>
                      <a:pt x="916" y="1795"/>
                      <a:pt x="915" y="1790"/>
                    </a:cubicBezTo>
                    <a:cubicBezTo>
                      <a:pt x="912" y="1782"/>
                      <a:pt x="913" y="1767"/>
                      <a:pt x="913" y="1758"/>
                    </a:cubicBezTo>
                    <a:cubicBezTo>
                      <a:pt x="912" y="1744"/>
                      <a:pt x="913" y="1744"/>
                      <a:pt x="926" y="1738"/>
                    </a:cubicBezTo>
                    <a:cubicBezTo>
                      <a:pt x="938" y="1733"/>
                      <a:pt x="948" y="1728"/>
                      <a:pt x="959" y="1722"/>
                    </a:cubicBezTo>
                    <a:cubicBezTo>
                      <a:pt x="1001" y="1696"/>
                      <a:pt x="1038" y="1660"/>
                      <a:pt x="1066" y="1618"/>
                    </a:cubicBezTo>
                    <a:cubicBezTo>
                      <a:pt x="1078" y="1600"/>
                      <a:pt x="1089" y="1579"/>
                      <a:pt x="1097" y="1559"/>
                    </a:cubicBezTo>
                    <a:cubicBezTo>
                      <a:pt x="1105" y="1541"/>
                      <a:pt x="1109" y="1517"/>
                      <a:pt x="1120" y="1501"/>
                    </a:cubicBezTo>
                    <a:cubicBezTo>
                      <a:pt x="1131" y="1487"/>
                      <a:pt x="1148" y="1475"/>
                      <a:pt x="1161" y="1462"/>
                    </a:cubicBezTo>
                    <a:cubicBezTo>
                      <a:pt x="1186" y="1438"/>
                      <a:pt x="1211" y="1414"/>
                      <a:pt x="1237" y="1390"/>
                    </a:cubicBezTo>
                    <a:cubicBezTo>
                      <a:pt x="1262" y="1365"/>
                      <a:pt x="1288" y="1340"/>
                      <a:pt x="1314" y="1315"/>
                    </a:cubicBezTo>
                    <a:cubicBezTo>
                      <a:pt x="1328" y="1302"/>
                      <a:pt x="1347" y="1288"/>
                      <a:pt x="1359" y="1272"/>
                    </a:cubicBezTo>
                    <a:cubicBezTo>
                      <a:pt x="1367" y="1261"/>
                      <a:pt x="1368" y="1250"/>
                      <a:pt x="1370" y="1236"/>
                    </a:cubicBezTo>
                    <a:cubicBezTo>
                      <a:pt x="1377" y="1201"/>
                      <a:pt x="1383" y="1166"/>
                      <a:pt x="1390" y="1131"/>
                    </a:cubicBezTo>
                    <a:cubicBezTo>
                      <a:pt x="1400" y="1077"/>
                      <a:pt x="1421" y="1025"/>
                      <a:pt x="1438" y="973"/>
                    </a:cubicBezTo>
                    <a:cubicBezTo>
                      <a:pt x="1441" y="963"/>
                      <a:pt x="1461" y="922"/>
                      <a:pt x="1455" y="910"/>
                    </a:cubicBezTo>
                    <a:cubicBezTo>
                      <a:pt x="1448" y="897"/>
                      <a:pt x="1399" y="901"/>
                      <a:pt x="1385" y="904"/>
                    </a:cubicBezTo>
                    <a:cubicBezTo>
                      <a:pt x="1394" y="883"/>
                      <a:pt x="1401" y="865"/>
                      <a:pt x="1397" y="840"/>
                    </a:cubicBezTo>
                    <a:cubicBezTo>
                      <a:pt x="1396" y="832"/>
                      <a:pt x="1396" y="825"/>
                      <a:pt x="1395" y="817"/>
                    </a:cubicBezTo>
                    <a:cubicBezTo>
                      <a:pt x="1394" y="813"/>
                      <a:pt x="1390" y="813"/>
                      <a:pt x="1391" y="808"/>
                    </a:cubicBezTo>
                    <a:cubicBezTo>
                      <a:pt x="1391" y="804"/>
                      <a:pt x="1398" y="802"/>
                      <a:pt x="1398" y="799"/>
                    </a:cubicBezTo>
                    <a:cubicBezTo>
                      <a:pt x="1398" y="795"/>
                      <a:pt x="1386" y="783"/>
                      <a:pt x="1385" y="776"/>
                    </a:cubicBezTo>
                    <a:cubicBezTo>
                      <a:pt x="1381" y="762"/>
                      <a:pt x="1386" y="764"/>
                      <a:pt x="1389" y="754"/>
                    </a:cubicBezTo>
                    <a:cubicBezTo>
                      <a:pt x="1392" y="745"/>
                      <a:pt x="1390" y="737"/>
                      <a:pt x="1388" y="729"/>
                    </a:cubicBezTo>
                    <a:cubicBezTo>
                      <a:pt x="1386" y="718"/>
                      <a:pt x="1386" y="718"/>
                      <a:pt x="1376" y="711"/>
                    </a:cubicBezTo>
                    <a:cubicBezTo>
                      <a:pt x="1365" y="703"/>
                      <a:pt x="1367" y="685"/>
                      <a:pt x="1363" y="670"/>
                    </a:cubicBezTo>
                    <a:cubicBezTo>
                      <a:pt x="1360" y="662"/>
                      <a:pt x="1358" y="661"/>
                      <a:pt x="1361" y="652"/>
                    </a:cubicBezTo>
                    <a:cubicBezTo>
                      <a:pt x="1362" y="649"/>
                      <a:pt x="1365" y="647"/>
                      <a:pt x="1365" y="643"/>
                    </a:cubicBezTo>
                    <a:cubicBezTo>
                      <a:pt x="1365" y="639"/>
                      <a:pt x="1361" y="636"/>
                      <a:pt x="1361" y="632"/>
                    </a:cubicBezTo>
                    <a:cubicBezTo>
                      <a:pt x="1361" y="619"/>
                      <a:pt x="1367" y="626"/>
                      <a:pt x="1371" y="619"/>
                    </a:cubicBezTo>
                    <a:cubicBezTo>
                      <a:pt x="1376" y="611"/>
                      <a:pt x="1373" y="595"/>
                      <a:pt x="1372" y="586"/>
                    </a:cubicBezTo>
                    <a:cubicBezTo>
                      <a:pt x="1372" y="575"/>
                      <a:pt x="1369" y="564"/>
                      <a:pt x="1373" y="553"/>
                    </a:cubicBezTo>
                    <a:cubicBezTo>
                      <a:pt x="1374" y="550"/>
                      <a:pt x="1384" y="530"/>
                      <a:pt x="1386" y="529"/>
                    </a:cubicBezTo>
                    <a:cubicBezTo>
                      <a:pt x="1395" y="523"/>
                      <a:pt x="1427" y="545"/>
                      <a:pt x="1424" y="517"/>
                    </a:cubicBezTo>
                    <a:cubicBezTo>
                      <a:pt x="1423" y="504"/>
                      <a:pt x="1421" y="512"/>
                      <a:pt x="1417" y="511"/>
                    </a:cubicBezTo>
                    <a:cubicBezTo>
                      <a:pt x="1417" y="511"/>
                      <a:pt x="1410" y="513"/>
                      <a:pt x="1408" y="513"/>
                    </a:cubicBezTo>
                    <a:cubicBezTo>
                      <a:pt x="1405" y="513"/>
                      <a:pt x="1405" y="507"/>
                      <a:pt x="1403" y="506"/>
                    </a:cubicBezTo>
                    <a:cubicBezTo>
                      <a:pt x="1398" y="504"/>
                      <a:pt x="1391" y="506"/>
                      <a:pt x="1386" y="504"/>
                    </a:cubicBezTo>
                    <a:cubicBezTo>
                      <a:pt x="1383" y="502"/>
                      <a:pt x="1384" y="497"/>
                      <a:pt x="1382" y="494"/>
                    </a:cubicBezTo>
                    <a:cubicBezTo>
                      <a:pt x="1379" y="491"/>
                      <a:pt x="1374" y="493"/>
                      <a:pt x="1372" y="488"/>
                    </a:cubicBezTo>
                    <a:cubicBezTo>
                      <a:pt x="1370" y="485"/>
                      <a:pt x="1373" y="480"/>
                      <a:pt x="1372" y="477"/>
                    </a:cubicBezTo>
                    <a:cubicBezTo>
                      <a:pt x="1371" y="473"/>
                      <a:pt x="1366" y="466"/>
                      <a:pt x="1362" y="461"/>
                    </a:cubicBezTo>
                    <a:cubicBezTo>
                      <a:pt x="1350" y="447"/>
                      <a:pt x="1354" y="454"/>
                      <a:pt x="1341" y="454"/>
                    </a:cubicBezTo>
                    <a:cubicBezTo>
                      <a:pt x="1299" y="454"/>
                      <a:pt x="1323" y="413"/>
                      <a:pt x="1329" y="390"/>
                    </a:cubicBezTo>
                    <a:cubicBezTo>
                      <a:pt x="1332" y="380"/>
                      <a:pt x="1321" y="377"/>
                      <a:pt x="1322" y="373"/>
                    </a:cubicBezTo>
                    <a:cubicBezTo>
                      <a:pt x="1322" y="367"/>
                      <a:pt x="1333" y="363"/>
                      <a:pt x="1338" y="362"/>
                    </a:cubicBezTo>
                    <a:cubicBezTo>
                      <a:pt x="1346" y="361"/>
                      <a:pt x="1352" y="362"/>
                      <a:pt x="1357" y="357"/>
                    </a:cubicBezTo>
                    <a:cubicBezTo>
                      <a:pt x="1360" y="354"/>
                      <a:pt x="1357" y="348"/>
                      <a:pt x="1362" y="345"/>
                    </a:cubicBezTo>
                    <a:cubicBezTo>
                      <a:pt x="1366" y="343"/>
                      <a:pt x="1367" y="349"/>
                      <a:pt x="1367" y="349"/>
                    </a:cubicBezTo>
                    <a:cubicBezTo>
                      <a:pt x="1367" y="349"/>
                      <a:pt x="1369" y="351"/>
                      <a:pt x="1371" y="350"/>
                    </a:cubicBezTo>
                    <a:cubicBezTo>
                      <a:pt x="1374" y="348"/>
                      <a:pt x="1371" y="343"/>
                      <a:pt x="1373" y="341"/>
                    </a:cubicBezTo>
                    <a:cubicBezTo>
                      <a:pt x="1384" y="331"/>
                      <a:pt x="1386" y="340"/>
                      <a:pt x="1398" y="334"/>
                    </a:cubicBezTo>
                    <a:cubicBezTo>
                      <a:pt x="1410" y="327"/>
                      <a:pt x="1406" y="315"/>
                      <a:pt x="1421" y="312"/>
                    </a:cubicBezTo>
                    <a:cubicBezTo>
                      <a:pt x="1444" y="306"/>
                      <a:pt x="1456" y="329"/>
                      <a:pt x="1470" y="296"/>
                    </a:cubicBezTo>
                    <a:cubicBezTo>
                      <a:pt x="1475" y="285"/>
                      <a:pt x="1472" y="290"/>
                      <a:pt x="1470" y="278"/>
                    </a:cubicBezTo>
                    <a:cubicBezTo>
                      <a:pt x="1470" y="272"/>
                      <a:pt x="1470" y="262"/>
                      <a:pt x="1472" y="257"/>
                    </a:cubicBezTo>
                    <a:cubicBezTo>
                      <a:pt x="1478" y="244"/>
                      <a:pt x="1486" y="231"/>
                      <a:pt x="1504" y="238"/>
                    </a:cubicBezTo>
                    <a:cubicBezTo>
                      <a:pt x="1507" y="239"/>
                      <a:pt x="1509" y="243"/>
                      <a:pt x="1512" y="244"/>
                    </a:cubicBezTo>
                    <a:cubicBezTo>
                      <a:pt x="1517" y="244"/>
                      <a:pt x="1519" y="241"/>
                      <a:pt x="1522" y="241"/>
                    </a:cubicBezTo>
                    <a:cubicBezTo>
                      <a:pt x="1532" y="240"/>
                      <a:pt x="1535" y="243"/>
                      <a:pt x="1543" y="246"/>
                    </a:cubicBezTo>
                    <a:cubicBezTo>
                      <a:pt x="1545" y="247"/>
                      <a:pt x="1557" y="249"/>
                      <a:pt x="1556" y="248"/>
                    </a:cubicBezTo>
                    <a:cubicBezTo>
                      <a:pt x="1560" y="251"/>
                      <a:pt x="1556" y="256"/>
                      <a:pt x="1560" y="258"/>
                    </a:cubicBezTo>
                    <a:cubicBezTo>
                      <a:pt x="1565" y="261"/>
                      <a:pt x="1572" y="261"/>
                      <a:pt x="1578" y="259"/>
                    </a:cubicBezTo>
                    <a:cubicBezTo>
                      <a:pt x="1589" y="253"/>
                      <a:pt x="1582" y="247"/>
                      <a:pt x="1595" y="248"/>
                    </a:cubicBezTo>
                    <a:cubicBezTo>
                      <a:pt x="1601" y="249"/>
                      <a:pt x="1603" y="253"/>
                      <a:pt x="1610" y="252"/>
                    </a:cubicBezTo>
                    <a:cubicBezTo>
                      <a:pt x="1614" y="251"/>
                      <a:pt x="1616" y="245"/>
                      <a:pt x="1622" y="245"/>
                    </a:cubicBezTo>
                    <a:cubicBezTo>
                      <a:pt x="1645" y="243"/>
                      <a:pt x="1637" y="260"/>
                      <a:pt x="1652" y="240"/>
                    </a:cubicBezTo>
                    <a:cubicBezTo>
                      <a:pt x="1659" y="231"/>
                      <a:pt x="1667" y="229"/>
                      <a:pt x="1668" y="218"/>
                    </a:cubicBezTo>
                    <a:cubicBezTo>
                      <a:pt x="1668" y="216"/>
                      <a:pt x="1663" y="212"/>
                      <a:pt x="1662" y="209"/>
                    </a:cubicBezTo>
                    <a:cubicBezTo>
                      <a:pt x="1663" y="211"/>
                      <a:pt x="1666" y="198"/>
                      <a:pt x="1666" y="198"/>
                    </a:cubicBezTo>
                    <a:cubicBezTo>
                      <a:pt x="1668" y="191"/>
                      <a:pt x="1667" y="183"/>
                      <a:pt x="1670" y="177"/>
                    </a:cubicBezTo>
                    <a:cubicBezTo>
                      <a:pt x="1673" y="170"/>
                      <a:pt x="1683" y="158"/>
                      <a:pt x="1693" y="166"/>
                    </a:cubicBezTo>
                    <a:cubicBezTo>
                      <a:pt x="1698" y="171"/>
                      <a:pt x="1694" y="185"/>
                      <a:pt x="1700" y="190"/>
                    </a:cubicBezTo>
                    <a:cubicBezTo>
                      <a:pt x="1702" y="192"/>
                      <a:pt x="1708" y="191"/>
                      <a:pt x="1712" y="193"/>
                    </a:cubicBezTo>
                    <a:cubicBezTo>
                      <a:pt x="1714" y="195"/>
                      <a:pt x="1719" y="200"/>
                      <a:pt x="1722" y="202"/>
                    </a:cubicBezTo>
                    <a:cubicBezTo>
                      <a:pt x="1723" y="204"/>
                      <a:pt x="1725" y="211"/>
                      <a:pt x="1727" y="211"/>
                    </a:cubicBezTo>
                    <a:cubicBezTo>
                      <a:pt x="1735" y="212"/>
                      <a:pt x="1730" y="207"/>
                      <a:pt x="1735" y="205"/>
                    </a:cubicBezTo>
                    <a:cubicBezTo>
                      <a:pt x="1743" y="200"/>
                      <a:pt x="1755" y="192"/>
                      <a:pt x="1767" y="195"/>
                    </a:cubicBezTo>
                    <a:cubicBezTo>
                      <a:pt x="1775" y="197"/>
                      <a:pt x="1779" y="206"/>
                      <a:pt x="1787" y="209"/>
                    </a:cubicBezTo>
                    <a:cubicBezTo>
                      <a:pt x="1801" y="214"/>
                      <a:pt x="1813" y="209"/>
                      <a:pt x="1819" y="200"/>
                    </a:cubicBezTo>
                    <a:cubicBezTo>
                      <a:pt x="1824" y="194"/>
                      <a:pt x="1827" y="180"/>
                      <a:pt x="1837" y="177"/>
                    </a:cubicBezTo>
                    <a:cubicBezTo>
                      <a:pt x="1857" y="172"/>
                      <a:pt x="1847" y="188"/>
                      <a:pt x="1848" y="197"/>
                    </a:cubicBezTo>
                    <a:cubicBezTo>
                      <a:pt x="1848" y="202"/>
                      <a:pt x="1853" y="213"/>
                      <a:pt x="1855" y="218"/>
                    </a:cubicBezTo>
                    <a:cubicBezTo>
                      <a:pt x="1862" y="230"/>
                      <a:pt x="1866" y="225"/>
                      <a:pt x="1878" y="232"/>
                    </a:cubicBezTo>
                    <a:cubicBezTo>
                      <a:pt x="1888" y="237"/>
                      <a:pt x="1880" y="241"/>
                      <a:pt x="1897" y="241"/>
                    </a:cubicBezTo>
                    <a:cubicBezTo>
                      <a:pt x="1909" y="241"/>
                      <a:pt x="1915" y="244"/>
                      <a:pt x="1926" y="245"/>
                    </a:cubicBezTo>
                    <a:cubicBezTo>
                      <a:pt x="1928" y="246"/>
                      <a:pt x="1931" y="242"/>
                      <a:pt x="1933" y="242"/>
                    </a:cubicBezTo>
                    <a:cubicBezTo>
                      <a:pt x="1937" y="242"/>
                      <a:pt x="1942" y="245"/>
                      <a:pt x="1946" y="245"/>
                    </a:cubicBezTo>
                    <a:cubicBezTo>
                      <a:pt x="1952" y="243"/>
                      <a:pt x="1948" y="242"/>
                      <a:pt x="1953" y="239"/>
                    </a:cubicBezTo>
                    <a:cubicBezTo>
                      <a:pt x="1962" y="233"/>
                      <a:pt x="1964" y="229"/>
                      <a:pt x="1974" y="229"/>
                    </a:cubicBezTo>
                    <a:cubicBezTo>
                      <a:pt x="1985" y="229"/>
                      <a:pt x="2005" y="237"/>
                      <a:pt x="2012" y="244"/>
                    </a:cubicBezTo>
                    <a:cubicBezTo>
                      <a:pt x="2018" y="249"/>
                      <a:pt x="2019" y="256"/>
                      <a:pt x="2028" y="256"/>
                    </a:cubicBezTo>
                    <a:cubicBezTo>
                      <a:pt x="2047" y="255"/>
                      <a:pt x="2035" y="244"/>
                      <a:pt x="2036" y="241"/>
                    </a:cubicBezTo>
                    <a:cubicBezTo>
                      <a:pt x="2038" y="237"/>
                      <a:pt x="2042" y="235"/>
                      <a:pt x="2044" y="231"/>
                    </a:cubicBezTo>
                    <a:cubicBezTo>
                      <a:pt x="2046" y="227"/>
                      <a:pt x="2046" y="221"/>
                      <a:pt x="2048" y="217"/>
                    </a:cubicBezTo>
                    <a:cubicBezTo>
                      <a:pt x="2053" y="205"/>
                      <a:pt x="2065" y="201"/>
                      <a:pt x="2079" y="203"/>
                    </a:cubicBezTo>
                    <a:cubicBezTo>
                      <a:pt x="2094" y="206"/>
                      <a:pt x="2089" y="207"/>
                      <a:pt x="2098" y="198"/>
                    </a:cubicBezTo>
                    <a:cubicBezTo>
                      <a:pt x="2102" y="195"/>
                      <a:pt x="2096" y="196"/>
                      <a:pt x="2103" y="193"/>
                    </a:cubicBezTo>
                    <a:cubicBezTo>
                      <a:pt x="2105" y="192"/>
                      <a:pt x="2115" y="193"/>
                      <a:pt x="2118" y="192"/>
                    </a:cubicBezTo>
                    <a:cubicBezTo>
                      <a:pt x="2130" y="189"/>
                      <a:pt x="2135" y="187"/>
                      <a:pt x="2137" y="176"/>
                    </a:cubicBezTo>
                    <a:cubicBezTo>
                      <a:pt x="2139" y="168"/>
                      <a:pt x="2136" y="162"/>
                      <a:pt x="2137" y="154"/>
                    </a:cubicBezTo>
                    <a:cubicBezTo>
                      <a:pt x="2137" y="147"/>
                      <a:pt x="2140" y="137"/>
                      <a:pt x="2143" y="130"/>
                    </a:cubicBezTo>
                    <a:cubicBezTo>
                      <a:pt x="2145" y="124"/>
                      <a:pt x="2147" y="118"/>
                      <a:pt x="2150" y="111"/>
                    </a:cubicBezTo>
                    <a:cubicBezTo>
                      <a:pt x="2153" y="102"/>
                      <a:pt x="2150" y="101"/>
                      <a:pt x="2149" y="94"/>
                    </a:cubicBezTo>
                    <a:cubicBezTo>
                      <a:pt x="2149" y="91"/>
                      <a:pt x="2148" y="76"/>
                      <a:pt x="2151" y="72"/>
                    </a:cubicBezTo>
                    <a:cubicBezTo>
                      <a:pt x="2154" y="67"/>
                      <a:pt x="2168" y="65"/>
                      <a:pt x="2176" y="65"/>
                    </a:cubicBezTo>
                    <a:cubicBezTo>
                      <a:pt x="2187" y="65"/>
                      <a:pt x="2192" y="67"/>
                      <a:pt x="2201" y="63"/>
                    </a:cubicBezTo>
                    <a:cubicBezTo>
                      <a:pt x="2205" y="60"/>
                      <a:pt x="2209" y="57"/>
                      <a:pt x="2213" y="55"/>
                    </a:cubicBezTo>
                    <a:cubicBezTo>
                      <a:pt x="2214" y="54"/>
                      <a:pt x="2227" y="48"/>
                      <a:pt x="2227" y="48"/>
                    </a:cubicBezTo>
                    <a:cubicBezTo>
                      <a:pt x="2247" y="31"/>
                      <a:pt x="2236" y="7"/>
                      <a:pt x="2272" y="9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47" name="Freeform 85">
                <a:extLst>
                  <a:ext uri="{FF2B5EF4-FFF2-40B4-BE49-F238E27FC236}">
                    <a16:creationId xmlns:a16="http://schemas.microsoft.com/office/drawing/2014/main" id="{3312A69A-C4A1-CDC4-8B19-617539238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8651" y="4747047"/>
                <a:ext cx="1223267" cy="917120"/>
              </a:xfrm>
              <a:custGeom>
                <a:avLst/>
                <a:gdLst>
                  <a:gd name="T0" fmla="*/ 277 w 2405"/>
                  <a:gd name="T1" fmla="*/ 243 h 1804"/>
                  <a:gd name="T2" fmla="*/ 429 w 2405"/>
                  <a:gd name="T3" fmla="*/ 266 h 1804"/>
                  <a:gd name="T4" fmla="*/ 638 w 2405"/>
                  <a:gd name="T5" fmla="*/ 287 h 1804"/>
                  <a:gd name="T6" fmla="*/ 814 w 2405"/>
                  <a:gd name="T7" fmla="*/ 317 h 1804"/>
                  <a:gd name="T8" fmla="*/ 953 w 2405"/>
                  <a:gd name="T9" fmla="*/ 345 h 1804"/>
                  <a:gd name="T10" fmla="*/ 1058 w 2405"/>
                  <a:gd name="T11" fmla="*/ 284 h 1804"/>
                  <a:gd name="T12" fmla="*/ 1278 w 2405"/>
                  <a:gd name="T13" fmla="*/ 247 h 1804"/>
                  <a:gd name="T14" fmla="*/ 1390 w 2405"/>
                  <a:gd name="T15" fmla="*/ 138 h 1804"/>
                  <a:gd name="T16" fmla="*/ 1577 w 2405"/>
                  <a:gd name="T17" fmla="*/ 93 h 1804"/>
                  <a:gd name="T18" fmla="*/ 1695 w 2405"/>
                  <a:gd name="T19" fmla="*/ 38 h 1804"/>
                  <a:gd name="T20" fmla="*/ 1814 w 2405"/>
                  <a:gd name="T21" fmla="*/ 45 h 1804"/>
                  <a:gd name="T22" fmla="*/ 1812 w 2405"/>
                  <a:gd name="T23" fmla="*/ 159 h 1804"/>
                  <a:gd name="T24" fmla="*/ 1717 w 2405"/>
                  <a:gd name="T25" fmla="*/ 301 h 1804"/>
                  <a:gd name="T26" fmla="*/ 1677 w 2405"/>
                  <a:gd name="T27" fmla="*/ 449 h 1804"/>
                  <a:gd name="T28" fmla="*/ 1732 w 2405"/>
                  <a:gd name="T29" fmla="*/ 545 h 1804"/>
                  <a:gd name="T30" fmla="*/ 1880 w 2405"/>
                  <a:gd name="T31" fmla="*/ 632 h 1804"/>
                  <a:gd name="T32" fmla="*/ 1964 w 2405"/>
                  <a:gd name="T33" fmla="*/ 630 h 1804"/>
                  <a:gd name="T34" fmla="*/ 2072 w 2405"/>
                  <a:gd name="T35" fmla="*/ 560 h 1804"/>
                  <a:gd name="T36" fmla="*/ 2143 w 2405"/>
                  <a:gd name="T37" fmla="*/ 458 h 1804"/>
                  <a:gd name="T38" fmla="*/ 2237 w 2405"/>
                  <a:gd name="T39" fmla="*/ 415 h 1804"/>
                  <a:gd name="T40" fmla="*/ 2322 w 2405"/>
                  <a:gd name="T41" fmla="*/ 408 h 1804"/>
                  <a:gd name="T42" fmla="*/ 2351 w 2405"/>
                  <a:gd name="T43" fmla="*/ 556 h 1804"/>
                  <a:gd name="T44" fmla="*/ 2382 w 2405"/>
                  <a:gd name="T45" fmla="*/ 645 h 1804"/>
                  <a:gd name="T46" fmla="*/ 2276 w 2405"/>
                  <a:gd name="T47" fmla="*/ 687 h 1804"/>
                  <a:gd name="T48" fmla="*/ 2191 w 2405"/>
                  <a:gd name="T49" fmla="*/ 718 h 1804"/>
                  <a:gd name="T50" fmla="*/ 2219 w 2405"/>
                  <a:gd name="T51" fmla="*/ 817 h 1804"/>
                  <a:gd name="T52" fmla="*/ 2151 w 2405"/>
                  <a:gd name="T53" fmla="*/ 931 h 1804"/>
                  <a:gd name="T54" fmla="*/ 2073 w 2405"/>
                  <a:gd name="T55" fmla="*/ 1022 h 1804"/>
                  <a:gd name="T56" fmla="*/ 2027 w 2405"/>
                  <a:gd name="T57" fmla="*/ 1168 h 1804"/>
                  <a:gd name="T58" fmla="*/ 2031 w 2405"/>
                  <a:gd name="T59" fmla="*/ 1322 h 1804"/>
                  <a:gd name="T60" fmla="*/ 2091 w 2405"/>
                  <a:gd name="T61" fmla="*/ 1378 h 1804"/>
                  <a:gd name="T62" fmla="*/ 2189 w 2405"/>
                  <a:gd name="T63" fmla="*/ 1419 h 1804"/>
                  <a:gd name="T64" fmla="*/ 2258 w 2405"/>
                  <a:gd name="T65" fmla="*/ 1546 h 1804"/>
                  <a:gd name="T66" fmla="*/ 2208 w 2405"/>
                  <a:gd name="T67" fmla="*/ 1753 h 1804"/>
                  <a:gd name="T68" fmla="*/ 2064 w 2405"/>
                  <a:gd name="T69" fmla="*/ 1761 h 1804"/>
                  <a:gd name="T70" fmla="*/ 1948 w 2405"/>
                  <a:gd name="T71" fmla="*/ 1728 h 1804"/>
                  <a:gd name="T72" fmla="*/ 1842 w 2405"/>
                  <a:gd name="T73" fmla="*/ 1715 h 1804"/>
                  <a:gd name="T74" fmla="*/ 1698 w 2405"/>
                  <a:gd name="T75" fmla="*/ 1746 h 1804"/>
                  <a:gd name="T76" fmla="*/ 1567 w 2405"/>
                  <a:gd name="T77" fmla="*/ 1571 h 1804"/>
                  <a:gd name="T78" fmla="*/ 1433 w 2405"/>
                  <a:gd name="T79" fmla="*/ 1373 h 1804"/>
                  <a:gd name="T80" fmla="*/ 1370 w 2405"/>
                  <a:gd name="T81" fmla="*/ 1287 h 1804"/>
                  <a:gd name="T82" fmla="*/ 1257 w 2405"/>
                  <a:gd name="T83" fmla="*/ 1138 h 1804"/>
                  <a:gd name="T84" fmla="*/ 1184 w 2405"/>
                  <a:gd name="T85" fmla="*/ 1067 h 1804"/>
                  <a:gd name="T86" fmla="*/ 1085 w 2405"/>
                  <a:gd name="T87" fmla="*/ 1013 h 1804"/>
                  <a:gd name="T88" fmla="*/ 955 w 2405"/>
                  <a:gd name="T89" fmla="*/ 1015 h 1804"/>
                  <a:gd name="T90" fmla="*/ 777 w 2405"/>
                  <a:gd name="T91" fmla="*/ 971 h 1804"/>
                  <a:gd name="T92" fmla="*/ 617 w 2405"/>
                  <a:gd name="T93" fmla="*/ 1053 h 1804"/>
                  <a:gd name="T94" fmla="*/ 523 w 2405"/>
                  <a:gd name="T95" fmla="*/ 983 h 1804"/>
                  <a:gd name="T96" fmla="*/ 448 w 2405"/>
                  <a:gd name="T97" fmla="*/ 838 h 1804"/>
                  <a:gd name="T98" fmla="*/ 446 w 2405"/>
                  <a:gd name="T99" fmla="*/ 738 h 1804"/>
                  <a:gd name="T100" fmla="*/ 409 w 2405"/>
                  <a:gd name="T101" fmla="*/ 584 h 1804"/>
                  <a:gd name="T102" fmla="*/ 288 w 2405"/>
                  <a:gd name="T103" fmla="*/ 494 h 1804"/>
                  <a:gd name="T104" fmla="*/ 125 w 2405"/>
                  <a:gd name="T105" fmla="*/ 519 h 1804"/>
                  <a:gd name="T106" fmla="*/ 130 w 2405"/>
                  <a:gd name="T107" fmla="*/ 398 h 1804"/>
                  <a:gd name="T108" fmla="*/ 29 w 2405"/>
                  <a:gd name="T109" fmla="*/ 329 h 1804"/>
                  <a:gd name="T110" fmla="*/ 107 w 2405"/>
                  <a:gd name="T111" fmla="*/ 220 h 1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405" h="1804">
                    <a:moveTo>
                      <a:pt x="150" y="202"/>
                    </a:moveTo>
                    <a:cubicBezTo>
                      <a:pt x="160" y="194"/>
                      <a:pt x="159" y="206"/>
                      <a:pt x="166" y="207"/>
                    </a:cubicBezTo>
                    <a:cubicBezTo>
                      <a:pt x="172" y="209"/>
                      <a:pt x="175" y="206"/>
                      <a:pt x="183" y="204"/>
                    </a:cubicBezTo>
                    <a:cubicBezTo>
                      <a:pt x="192" y="201"/>
                      <a:pt x="208" y="197"/>
                      <a:pt x="218" y="199"/>
                    </a:cubicBezTo>
                    <a:cubicBezTo>
                      <a:pt x="233" y="203"/>
                      <a:pt x="229" y="213"/>
                      <a:pt x="237" y="222"/>
                    </a:cubicBezTo>
                    <a:cubicBezTo>
                      <a:pt x="242" y="228"/>
                      <a:pt x="250" y="228"/>
                      <a:pt x="253" y="235"/>
                    </a:cubicBezTo>
                    <a:cubicBezTo>
                      <a:pt x="257" y="243"/>
                      <a:pt x="252" y="248"/>
                      <a:pt x="260" y="250"/>
                    </a:cubicBezTo>
                    <a:cubicBezTo>
                      <a:pt x="260" y="250"/>
                      <a:pt x="275" y="244"/>
                      <a:pt x="277" y="243"/>
                    </a:cubicBezTo>
                    <a:cubicBezTo>
                      <a:pt x="284" y="241"/>
                      <a:pt x="293" y="241"/>
                      <a:pt x="301" y="239"/>
                    </a:cubicBezTo>
                    <a:cubicBezTo>
                      <a:pt x="310" y="235"/>
                      <a:pt x="318" y="225"/>
                      <a:pt x="332" y="230"/>
                    </a:cubicBezTo>
                    <a:cubicBezTo>
                      <a:pt x="339" y="233"/>
                      <a:pt x="344" y="244"/>
                      <a:pt x="354" y="247"/>
                    </a:cubicBezTo>
                    <a:cubicBezTo>
                      <a:pt x="359" y="249"/>
                      <a:pt x="365" y="247"/>
                      <a:pt x="370" y="249"/>
                    </a:cubicBezTo>
                    <a:cubicBezTo>
                      <a:pt x="379" y="251"/>
                      <a:pt x="378" y="255"/>
                      <a:pt x="384" y="258"/>
                    </a:cubicBezTo>
                    <a:cubicBezTo>
                      <a:pt x="389" y="261"/>
                      <a:pt x="396" y="265"/>
                      <a:pt x="400" y="268"/>
                    </a:cubicBezTo>
                    <a:cubicBezTo>
                      <a:pt x="407" y="273"/>
                      <a:pt x="401" y="278"/>
                      <a:pt x="416" y="274"/>
                    </a:cubicBezTo>
                    <a:cubicBezTo>
                      <a:pt x="414" y="274"/>
                      <a:pt x="431" y="263"/>
                      <a:pt x="429" y="266"/>
                    </a:cubicBezTo>
                    <a:cubicBezTo>
                      <a:pt x="431" y="262"/>
                      <a:pt x="428" y="255"/>
                      <a:pt x="429" y="250"/>
                    </a:cubicBezTo>
                    <a:cubicBezTo>
                      <a:pt x="429" y="242"/>
                      <a:pt x="429" y="237"/>
                      <a:pt x="439" y="239"/>
                    </a:cubicBezTo>
                    <a:cubicBezTo>
                      <a:pt x="440" y="239"/>
                      <a:pt x="443" y="246"/>
                      <a:pt x="445" y="247"/>
                    </a:cubicBezTo>
                    <a:cubicBezTo>
                      <a:pt x="449" y="250"/>
                      <a:pt x="456" y="249"/>
                      <a:pt x="460" y="251"/>
                    </a:cubicBezTo>
                    <a:cubicBezTo>
                      <a:pt x="482" y="261"/>
                      <a:pt x="500" y="265"/>
                      <a:pt x="525" y="261"/>
                    </a:cubicBezTo>
                    <a:cubicBezTo>
                      <a:pt x="539" y="258"/>
                      <a:pt x="554" y="253"/>
                      <a:pt x="567" y="251"/>
                    </a:cubicBezTo>
                    <a:cubicBezTo>
                      <a:pt x="587" y="247"/>
                      <a:pt x="592" y="251"/>
                      <a:pt x="605" y="265"/>
                    </a:cubicBezTo>
                    <a:cubicBezTo>
                      <a:pt x="615" y="277"/>
                      <a:pt x="625" y="279"/>
                      <a:pt x="638" y="287"/>
                    </a:cubicBezTo>
                    <a:cubicBezTo>
                      <a:pt x="644" y="291"/>
                      <a:pt x="647" y="295"/>
                      <a:pt x="651" y="300"/>
                    </a:cubicBezTo>
                    <a:cubicBezTo>
                      <a:pt x="661" y="312"/>
                      <a:pt x="655" y="306"/>
                      <a:pt x="670" y="311"/>
                    </a:cubicBezTo>
                    <a:cubicBezTo>
                      <a:pt x="685" y="315"/>
                      <a:pt x="686" y="332"/>
                      <a:pt x="695" y="343"/>
                    </a:cubicBezTo>
                    <a:cubicBezTo>
                      <a:pt x="712" y="362"/>
                      <a:pt x="715" y="335"/>
                      <a:pt x="730" y="336"/>
                    </a:cubicBezTo>
                    <a:cubicBezTo>
                      <a:pt x="734" y="336"/>
                      <a:pt x="736" y="339"/>
                      <a:pt x="738" y="339"/>
                    </a:cubicBezTo>
                    <a:cubicBezTo>
                      <a:pt x="740" y="340"/>
                      <a:pt x="748" y="341"/>
                      <a:pt x="747" y="341"/>
                    </a:cubicBezTo>
                    <a:cubicBezTo>
                      <a:pt x="751" y="342"/>
                      <a:pt x="759" y="344"/>
                      <a:pt x="764" y="343"/>
                    </a:cubicBezTo>
                    <a:cubicBezTo>
                      <a:pt x="785" y="341"/>
                      <a:pt x="790" y="318"/>
                      <a:pt x="814" y="317"/>
                    </a:cubicBezTo>
                    <a:cubicBezTo>
                      <a:pt x="831" y="316"/>
                      <a:pt x="827" y="318"/>
                      <a:pt x="837" y="328"/>
                    </a:cubicBezTo>
                    <a:cubicBezTo>
                      <a:pt x="838" y="330"/>
                      <a:pt x="852" y="339"/>
                      <a:pt x="855" y="338"/>
                    </a:cubicBezTo>
                    <a:cubicBezTo>
                      <a:pt x="861" y="337"/>
                      <a:pt x="870" y="317"/>
                      <a:pt x="878" y="314"/>
                    </a:cubicBezTo>
                    <a:cubicBezTo>
                      <a:pt x="889" y="308"/>
                      <a:pt x="899" y="313"/>
                      <a:pt x="910" y="316"/>
                    </a:cubicBezTo>
                    <a:cubicBezTo>
                      <a:pt x="919" y="318"/>
                      <a:pt x="921" y="321"/>
                      <a:pt x="928" y="326"/>
                    </a:cubicBezTo>
                    <a:cubicBezTo>
                      <a:pt x="931" y="329"/>
                      <a:pt x="939" y="333"/>
                      <a:pt x="940" y="338"/>
                    </a:cubicBezTo>
                    <a:cubicBezTo>
                      <a:pt x="933" y="336"/>
                      <a:pt x="932" y="338"/>
                      <a:pt x="933" y="345"/>
                    </a:cubicBezTo>
                    <a:cubicBezTo>
                      <a:pt x="935" y="359"/>
                      <a:pt x="944" y="349"/>
                      <a:pt x="953" y="345"/>
                    </a:cubicBezTo>
                    <a:cubicBezTo>
                      <a:pt x="961" y="343"/>
                      <a:pt x="968" y="341"/>
                      <a:pt x="976" y="340"/>
                    </a:cubicBezTo>
                    <a:cubicBezTo>
                      <a:pt x="983" y="340"/>
                      <a:pt x="982" y="346"/>
                      <a:pt x="989" y="340"/>
                    </a:cubicBezTo>
                    <a:cubicBezTo>
                      <a:pt x="1000" y="333"/>
                      <a:pt x="989" y="312"/>
                      <a:pt x="1006" y="308"/>
                    </a:cubicBezTo>
                    <a:cubicBezTo>
                      <a:pt x="1018" y="304"/>
                      <a:pt x="1008" y="313"/>
                      <a:pt x="1014" y="316"/>
                    </a:cubicBezTo>
                    <a:cubicBezTo>
                      <a:pt x="1023" y="320"/>
                      <a:pt x="1024" y="315"/>
                      <a:pt x="1030" y="312"/>
                    </a:cubicBezTo>
                    <a:cubicBezTo>
                      <a:pt x="1035" y="309"/>
                      <a:pt x="1038" y="312"/>
                      <a:pt x="1042" y="306"/>
                    </a:cubicBezTo>
                    <a:cubicBezTo>
                      <a:pt x="1047" y="298"/>
                      <a:pt x="1040" y="294"/>
                      <a:pt x="1041" y="291"/>
                    </a:cubicBezTo>
                    <a:cubicBezTo>
                      <a:pt x="1045" y="283"/>
                      <a:pt x="1050" y="286"/>
                      <a:pt x="1058" y="284"/>
                    </a:cubicBezTo>
                    <a:cubicBezTo>
                      <a:pt x="1067" y="282"/>
                      <a:pt x="1069" y="275"/>
                      <a:pt x="1076" y="273"/>
                    </a:cubicBezTo>
                    <a:cubicBezTo>
                      <a:pt x="1095" y="267"/>
                      <a:pt x="1108" y="299"/>
                      <a:pt x="1127" y="291"/>
                    </a:cubicBezTo>
                    <a:cubicBezTo>
                      <a:pt x="1143" y="284"/>
                      <a:pt x="1125" y="239"/>
                      <a:pt x="1154" y="251"/>
                    </a:cubicBezTo>
                    <a:cubicBezTo>
                      <a:pt x="1160" y="253"/>
                      <a:pt x="1154" y="257"/>
                      <a:pt x="1161" y="259"/>
                    </a:cubicBezTo>
                    <a:cubicBezTo>
                      <a:pt x="1168" y="261"/>
                      <a:pt x="1186" y="249"/>
                      <a:pt x="1192" y="246"/>
                    </a:cubicBezTo>
                    <a:cubicBezTo>
                      <a:pt x="1202" y="240"/>
                      <a:pt x="1208" y="227"/>
                      <a:pt x="1222" y="230"/>
                    </a:cubicBezTo>
                    <a:cubicBezTo>
                      <a:pt x="1236" y="234"/>
                      <a:pt x="1245" y="246"/>
                      <a:pt x="1257" y="250"/>
                    </a:cubicBezTo>
                    <a:cubicBezTo>
                      <a:pt x="1266" y="253"/>
                      <a:pt x="1268" y="249"/>
                      <a:pt x="1278" y="247"/>
                    </a:cubicBezTo>
                    <a:cubicBezTo>
                      <a:pt x="1282" y="246"/>
                      <a:pt x="1282" y="243"/>
                      <a:pt x="1287" y="243"/>
                    </a:cubicBezTo>
                    <a:cubicBezTo>
                      <a:pt x="1289" y="243"/>
                      <a:pt x="1288" y="248"/>
                      <a:pt x="1288" y="248"/>
                    </a:cubicBezTo>
                    <a:cubicBezTo>
                      <a:pt x="1303" y="251"/>
                      <a:pt x="1339" y="246"/>
                      <a:pt x="1337" y="222"/>
                    </a:cubicBezTo>
                    <a:cubicBezTo>
                      <a:pt x="1337" y="207"/>
                      <a:pt x="1322" y="206"/>
                      <a:pt x="1320" y="196"/>
                    </a:cubicBezTo>
                    <a:cubicBezTo>
                      <a:pt x="1317" y="182"/>
                      <a:pt x="1358" y="168"/>
                      <a:pt x="1366" y="160"/>
                    </a:cubicBezTo>
                    <a:cubicBezTo>
                      <a:pt x="1368" y="159"/>
                      <a:pt x="1367" y="155"/>
                      <a:pt x="1368" y="154"/>
                    </a:cubicBezTo>
                    <a:cubicBezTo>
                      <a:pt x="1369" y="153"/>
                      <a:pt x="1373" y="152"/>
                      <a:pt x="1374" y="151"/>
                    </a:cubicBezTo>
                    <a:cubicBezTo>
                      <a:pt x="1378" y="147"/>
                      <a:pt x="1385" y="140"/>
                      <a:pt x="1390" y="138"/>
                    </a:cubicBezTo>
                    <a:cubicBezTo>
                      <a:pt x="1391" y="137"/>
                      <a:pt x="1402" y="135"/>
                      <a:pt x="1404" y="135"/>
                    </a:cubicBezTo>
                    <a:cubicBezTo>
                      <a:pt x="1404" y="135"/>
                      <a:pt x="1413" y="137"/>
                      <a:pt x="1412" y="138"/>
                    </a:cubicBezTo>
                    <a:cubicBezTo>
                      <a:pt x="1417" y="136"/>
                      <a:pt x="1418" y="129"/>
                      <a:pt x="1422" y="128"/>
                    </a:cubicBezTo>
                    <a:cubicBezTo>
                      <a:pt x="1429" y="126"/>
                      <a:pt x="1435" y="134"/>
                      <a:pt x="1442" y="133"/>
                    </a:cubicBezTo>
                    <a:cubicBezTo>
                      <a:pt x="1444" y="133"/>
                      <a:pt x="1453" y="127"/>
                      <a:pt x="1455" y="126"/>
                    </a:cubicBezTo>
                    <a:cubicBezTo>
                      <a:pt x="1470" y="118"/>
                      <a:pt x="1489" y="112"/>
                      <a:pt x="1505" y="102"/>
                    </a:cubicBezTo>
                    <a:cubicBezTo>
                      <a:pt x="1523" y="91"/>
                      <a:pt x="1536" y="86"/>
                      <a:pt x="1558" y="89"/>
                    </a:cubicBezTo>
                    <a:cubicBezTo>
                      <a:pt x="1565" y="90"/>
                      <a:pt x="1570" y="92"/>
                      <a:pt x="1577" y="93"/>
                    </a:cubicBezTo>
                    <a:cubicBezTo>
                      <a:pt x="1593" y="96"/>
                      <a:pt x="1585" y="89"/>
                      <a:pt x="1596" y="85"/>
                    </a:cubicBezTo>
                    <a:cubicBezTo>
                      <a:pt x="1602" y="83"/>
                      <a:pt x="1609" y="85"/>
                      <a:pt x="1616" y="83"/>
                    </a:cubicBezTo>
                    <a:cubicBezTo>
                      <a:pt x="1622" y="81"/>
                      <a:pt x="1623" y="74"/>
                      <a:pt x="1627" y="72"/>
                    </a:cubicBezTo>
                    <a:cubicBezTo>
                      <a:pt x="1632" y="69"/>
                      <a:pt x="1632" y="72"/>
                      <a:pt x="1637" y="71"/>
                    </a:cubicBezTo>
                    <a:cubicBezTo>
                      <a:pt x="1641" y="70"/>
                      <a:pt x="1648" y="72"/>
                      <a:pt x="1650" y="69"/>
                    </a:cubicBezTo>
                    <a:cubicBezTo>
                      <a:pt x="1653" y="67"/>
                      <a:pt x="1648" y="61"/>
                      <a:pt x="1650" y="60"/>
                    </a:cubicBezTo>
                    <a:cubicBezTo>
                      <a:pt x="1662" y="51"/>
                      <a:pt x="1677" y="62"/>
                      <a:pt x="1689" y="50"/>
                    </a:cubicBezTo>
                    <a:cubicBezTo>
                      <a:pt x="1692" y="47"/>
                      <a:pt x="1691" y="41"/>
                      <a:pt x="1695" y="38"/>
                    </a:cubicBezTo>
                    <a:cubicBezTo>
                      <a:pt x="1701" y="33"/>
                      <a:pt x="1712" y="37"/>
                      <a:pt x="1718" y="31"/>
                    </a:cubicBezTo>
                    <a:cubicBezTo>
                      <a:pt x="1720" y="29"/>
                      <a:pt x="1723" y="19"/>
                      <a:pt x="1724" y="17"/>
                    </a:cubicBezTo>
                    <a:cubicBezTo>
                      <a:pt x="1728" y="13"/>
                      <a:pt x="1735" y="5"/>
                      <a:pt x="1744" y="4"/>
                    </a:cubicBezTo>
                    <a:cubicBezTo>
                      <a:pt x="1747" y="3"/>
                      <a:pt x="1764" y="0"/>
                      <a:pt x="1766" y="1"/>
                    </a:cubicBezTo>
                    <a:cubicBezTo>
                      <a:pt x="1771" y="3"/>
                      <a:pt x="1777" y="11"/>
                      <a:pt x="1782" y="14"/>
                    </a:cubicBezTo>
                    <a:cubicBezTo>
                      <a:pt x="1788" y="19"/>
                      <a:pt x="1793" y="20"/>
                      <a:pt x="1795" y="25"/>
                    </a:cubicBezTo>
                    <a:cubicBezTo>
                      <a:pt x="1796" y="28"/>
                      <a:pt x="1792" y="32"/>
                      <a:pt x="1794" y="35"/>
                    </a:cubicBezTo>
                    <a:cubicBezTo>
                      <a:pt x="1797" y="42"/>
                      <a:pt x="1808" y="43"/>
                      <a:pt x="1814" y="45"/>
                    </a:cubicBezTo>
                    <a:cubicBezTo>
                      <a:pt x="1819" y="47"/>
                      <a:pt x="1820" y="51"/>
                      <a:pt x="1825" y="51"/>
                    </a:cubicBezTo>
                    <a:cubicBezTo>
                      <a:pt x="1834" y="52"/>
                      <a:pt x="1835" y="44"/>
                      <a:pt x="1845" y="49"/>
                    </a:cubicBezTo>
                    <a:cubicBezTo>
                      <a:pt x="1859" y="56"/>
                      <a:pt x="1838" y="65"/>
                      <a:pt x="1828" y="70"/>
                    </a:cubicBezTo>
                    <a:cubicBezTo>
                      <a:pt x="1823" y="73"/>
                      <a:pt x="1821" y="64"/>
                      <a:pt x="1818" y="71"/>
                    </a:cubicBezTo>
                    <a:cubicBezTo>
                      <a:pt x="1816" y="76"/>
                      <a:pt x="1821" y="80"/>
                      <a:pt x="1823" y="83"/>
                    </a:cubicBezTo>
                    <a:cubicBezTo>
                      <a:pt x="1829" y="97"/>
                      <a:pt x="1833" y="108"/>
                      <a:pt x="1818" y="117"/>
                    </a:cubicBezTo>
                    <a:cubicBezTo>
                      <a:pt x="1806" y="125"/>
                      <a:pt x="1792" y="121"/>
                      <a:pt x="1797" y="138"/>
                    </a:cubicBezTo>
                    <a:cubicBezTo>
                      <a:pt x="1799" y="144"/>
                      <a:pt x="1814" y="148"/>
                      <a:pt x="1812" y="159"/>
                    </a:cubicBezTo>
                    <a:cubicBezTo>
                      <a:pt x="1811" y="168"/>
                      <a:pt x="1796" y="172"/>
                      <a:pt x="1789" y="175"/>
                    </a:cubicBezTo>
                    <a:cubicBezTo>
                      <a:pt x="1775" y="180"/>
                      <a:pt x="1776" y="178"/>
                      <a:pt x="1770" y="189"/>
                    </a:cubicBezTo>
                    <a:cubicBezTo>
                      <a:pt x="1760" y="207"/>
                      <a:pt x="1779" y="205"/>
                      <a:pt x="1777" y="222"/>
                    </a:cubicBezTo>
                    <a:cubicBezTo>
                      <a:pt x="1777" y="226"/>
                      <a:pt x="1769" y="235"/>
                      <a:pt x="1767" y="238"/>
                    </a:cubicBezTo>
                    <a:cubicBezTo>
                      <a:pt x="1762" y="245"/>
                      <a:pt x="1761" y="246"/>
                      <a:pt x="1758" y="253"/>
                    </a:cubicBezTo>
                    <a:cubicBezTo>
                      <a:pt x="1757" y="257"/>
                      <a:pt x="1750" y="279"/>
                      <a:pt x="1742" y="269"/>
                    </a:cubicBezTo>
                    <a:cubicBezTo>
                      <a:pt x="1739" y="275"/>
                      <a:pt x="1741" y="283"/>
                      <a:pt x="1737" y="289"/>
                    </a:cubicBezTo>
                    <a:cubicBezTo>
                      <a:pt x="1732" y="295"/>
                      <a:pt x="1722" y="295"/>
                      <a:pt x="1717" y="301"/>
                    </a:cubicBezTo>
                    <a:cubicBezTo>
                      <a:pt x="1713" y="306"/>
                      <a:pt x="1708" y="323"/>
                      <a:pt x="1707" y="329"/>
                    </a:cubicBezTo>
                    <a:cubicBezTo>
                      <a:pt x="1704" y="342"/>
                      <a:pt x="1712" y="344"/>
                      <a:pt x="1716" y="357"/>
                    </a:cubicBezTo>
                    <a:cubicBezTo>
                      <a:pt x="1720" y="370"/>
                      <a:pt x="1726" y="403"/>
                      <a:pt x="1720" y="416"/>
                    </a:cubicBezTo>
                    <a:cubicBezTo>
                      <a:pt x="1716" y="424"/>
                      <a:pt x="1719" y="422"/>
                      <a:pt x="1710" y="423"/>
                    </a:cubicBezTo>
                    <a:cubicBezTo>
                      <a:pt x="1695" y="424"/>
                      <a:pt x="1702" y="416"/>
                      <a:pt x="1691" y="428"/>
                    </a:cubicBezTo>
                    <a:cubicBezTo>
                      <a:pt x="1689" y="430"/>
                      <a:pt x="1691" y="434"/>
                      <a:pt x="1689" y="436"/>
                    </a:cubicBezTo>
                    <a:cubicBezTo>
                      <a:pt x="1687" y="437"/>
                      <a:pt x="1683" y="435"/>
                      <a:pt x="1681" y="437"/>
                    </a:cubicBezTo>
                    <a:cubicBezTo>
                      <a:pt x="1678" y="442"/>
                      <a:pt x="1679" y="443"/>
                      <a:pt x="1677" y="449"/>
                    </a:cubicBezTo>
                    <a:cubicBezTo>
                      <a:pt x="1673" y="461"/>
                      <a:pt x="1663" y="478"/>
                      <a:pt x="1662" y="493"/>
                    </a:cubicBezTo>
                    <a:cubicBezTo>
                      <a:pt x="1661" y="507"/>
                      <a:pt x="1674" y="519"/>
                      <a:pt x="1672" y="532"/>
                    </a:cubicBezTo>
                    <a:cubicBezTo>
                      <a:pt x="1671" y="539"/>
                      <a:pt x="1663" y="541"/>
                      <a:pt x="1667" y="548"/>
                    </a:cubicBezTo>
                    <a:cubicBezTo>
                      <a:pt x="1672" y="559"/>
                      <a:pt x="1678" y="552"/>
                      <a:pt x="1683" y="551"/>
                    </a:cubicBezTo>
                    <a:cubicBezTo>
                      <a:pt x="1684" y="551"/>
                      <a:pt x="1684" y="547"/>
                      <a:pt x="1685" y="547"/>
                    </a:cubicBezTo>
                    <a:cubicBezTo>
                      <a:pt x="1688" y="546"/>
                      <a:pt x="1691" y="549"/>
                      <a:pt x="1693" y="548"/>
                    </a:cubicBezTo>
                    <a:cubicBezTo>
                      <a:pt x="1698" y="546"/>
                      <a:pt x="1702" y="544"/>
                      <a:pt x="1708" y="543"/>
                    </a:cubicBezTo>
                    <a:cubicBezTo>
                      <a:pt x="1710" y="543"/>
                      <a:pt x="1730" y="544"/>
                      <a:pt x="1732" y="545"/>
                    </a:cubicBezTo>
                    <a:cubicBezTo>
                      <a:pt x="1737" y="547"/>
                      <a:pt x="1738" y="553"/>
                      <a:pt x="1742" y="555"/>
                    </a:cubicBezTo>
                    <a:cubicBezTo>
                      <a:pt x="1755" y="561"/>
                      <a:pt x="1750" y="552"/>
                      <a:pt x="1756" y="546"/>
                    </a:cubicBezTo>
                    <a:cubicBezTo>
                      <a:pt x="1763" y="539"/>
                      <a:pt x="1769" y="537"/>
                      <a:pt x="1778" y="536"/>
                    </a:cubicBezTo>
                    <a:cubicBezTo>
                      <a:pt x="1787" y="534"/>
                      <a:pt x="1810" y="528"/>
                      <a:pt x="1819" y="533"/>
                    </a:cubicBezTo>
                    <a:cubicBezTo>
                      <a:pt x="1827" y="537"/>
                      <a:pt x="1829" y="550"/>
                      <a:pt x="1835" y="557"/>
                    </a:cubicBezTo>
                    <a:cubicBezTo>
                      <a:pt x="1840" y="563"/>
                      <a:pt x="1849" y="568"/>
                      <a:pt x="1852" y="577"/>
                    </a:cubicBezTo>
                    <a:cubicBezTo>
                      <a:pt x="1855" y="588"/>
                      <a:pt x="1853" y="594"/>
                      <a:pt x="1860" y="604"/>
                    </a:cubicBezTo>
                    <a:cubicBezTo>
                      <a:pt x="1867" y="613"/>
                      <a:pt x="1876" y="621"/>
                      <a:pt x="1880" y="632"/>
                    </a:cubicBezTo>
                    <a:cubicBezTo>
                      <a:pt x="1882" y="635"/>
                      <a:pt x="1883" y="642"/>
                      <a:pt x="1883" y="645"/>
                    </a:cubicBezTo>
                    <a:cubicBezTo>
                      <a:pt x="1883" y="648"/>
                      <a:pt x="1878" y="656"/>
                      <a:pt x="1878" y="658"/>
                    </a:cubicBezTo>
                    <a:cubicBezTo>
                      <a:pt x="1882" y="671"/>
                      <a:pt x="1912" y="646"/>
                      <a:pt x="1920" y="641"/>
                    </a:cubicBezTo>
                    <a:cubicBezTo>
                      <a:pt x="1923" y="639"/>
                      <a:pt x="1926" y="631"/>
                      <a:pt x="1933" y="635"/>
                    </a:cubicBezTo>
                    <a:cubicBezTo>
                      <a:pt x="1939" y="638"/>
                      <a:pt x="1934" y="648"/>
                      <a:pt x="1937" y="652"/>
                    </a:cubicBezTo>
                    <a:cubicBezTo>
                      <a:pt x="1941" y="658"/>
                      <a:pt x="1946" y="657"/>
                      <a:pt x="1950" y="657"/>
                    </a:cubicBezTo>
                    <a:cubicBezTo>
                      <a:pt x="1949" y="657"/>
                      <a:pt x="1965" y="648"/>
                      <a:pt x="1964" y="649"/>
                    </a:cubicBezTo>
                    <a:cubicBezTo>
                      <a:pt x="1968" y="644"/>
                      <a:pt x="1962" y="636"/>
                      <a:pt x="1964" y="630"/>
                    </a:cubicBezTo>
                    <a:cubicBezTo>
                      <a:pt x="1967" y="622"/>
                      <a:pt x="1969" y="624"/>
                      <a:pt x="1977" y="620"/>
                    </a:cubicBezTo>
                    <a:cubicBezTo>
                      <a:pt x="1985" y="615"/>
                      <a:pt x="1991" y="608"/>
                      <a:pt x="1999" y="605"/>
                    </a:cubicBezTo>
                    <a:cubicBezTo>
                      <a:pt x="2004" y="603"/>
                      <a:pt x="2008" y="603"/>
                      <a:pt x="2013" y="602"/>
                    </a:cubicBezTo>
                    <a:cubicBezTo>
                      <a:pt x="2022" y="599"/>
                      <a:pt x="2029" y="592"/>
                      <a:pt x="2035" y="588"/>
                    </a:cubicBezTo>
                    <a:cubicBezTo>
                      <a:pt x="2035" y="588"/>
                      <a:pt x="2040" y="584"/>
                      <a:pt x="2041" y="583"/>
                    </a:cubicBezTo>
                    <a:cubicBezTo>
                      <a:pt x="2042" y="583"/>
                      <a:pt x="2046" y="584"/>
                      <a:pt x="2048" y="583"/>
                    </a:cubicBezTo>
                    <a:cubicBezTo>
                      <a:pt x="2050" y="583"/>
                      <a:pt x="2068" y="578"/>
                      <a:pt x="2069" y="577"/>
                    </a:cubicBezTo>
                    <a:cubicBezTo>
                      <a:pt x="2076" y="571"/>
                      <a:pt x="2069" y="566"/>
                      <a:pt x="2072" y="560"/>
                    </a:cubicBezTo>
                    <a:cubicBezTo>
                      <a:pt x="2074" y="556"/>
                      <a:pt x="2081" y="558"/>
                      <a:pt x="2084" y="555"/>
                    </a:cubicBezTo>
                    <a:cubicBezTo>
                      <a:pt x="2087" y="553"/>
                      <a:pt x="2088" y="548"/>
                      <a:pt x="2092" y="546"/>
                    </a:cubicBezTo>
                    <a:cubicBezTo>
                      <a:pt x="2093" y="545"/>
                      <a:pt x="2100" y="548"/>
                      <a:pt x="2101" y="546"/>
                    </a:cubicBezTo>
                    <a:cubicBezTo>
                      <a:pt x="2104" y="539"/>
                      <a:pt x="2095" y="529"/>
                      <a:pt x="2095" y="521"/>
                    </a:cubicBezTo>
                    <a:cubicBezTo>
                      <a:pt x="2094" y="504"/>
                      <a:pt x="2102" y="499"/>
                      <a:pt x="2111" y="488"/>
                    </a:cubicBezTo>
                    <a:cubicBezTo>
                      <a:pt x="2113" y="485"/>
                      <a:pt x="2116" y="477"/>
                      <a:pt x="2119" y="474"/>
                    </a:cubicBezTo>
                    <a:cubicBezTo>
                      <a:pt x="2121" y="472"/>
                      <a:pt x="2124" y="480"/>
                      <a:pt x="2129" y="474"/>
                    </a:cubicBezTo>
                    <a:cubicBezTo>
                      <a:pt x="2134" y="466"/>
                      <a:pt x="2124" y="451"/>
                      <a:pt x="2143" y="458"/>
                    </a:cubicBezTo>
                    <a:cubicBezTo>
                      <a:pt x="2150" y="461"/>
                      <a:pt x="2152" y="468"/>
                      <a:pt x="2160" y="468"/>
                    </a:cubicBezTo>
                    <a:cubicBezTo>
                      <a:pt x="2163" y="468"/>
                      <a:pt x="2163" y="462"/>
                      <a:pt x="2164" y="462"/>
                    </a:cubicBezTo>
                    <a:cubicBezTo>
                      <a:pt x="2165" y="462"/>
                      <a:pt x="2170" y="463"/>
                      <a:pt x="2169" y="463"/>
                    </a:cubicBezTo>
                    <a:cubicBezTo>
                      <a:pt x="2182" y="459"/>
                      <a:pt x="2199" y="465"/>
                      <a:pt x="2209" y="453"/>
                    </a:cubicBezTo>
                    <a:cubicBezTo>
                      <a:pt x="2212" y="449"/>
                      <a:pt x="2215" y="442"/>
                      <a:pt x="2216" y="440"/>
                    </a:cubicBezTo>
                    <a:cubicBezTo>
                      <a:pt x="2216" y="439"/>
                      <a:pt x="2222" y="441"/>
                      <a:pt x="2222" y="439"/>
                    </a:cubicBezTo>
                    <a:cubicBezTo>
                      <a:pt x="2223" y="436"/>
                      <a:pt x="2218" y="431"/>
                      <a:pt x="2219" y="429"/>
                    </a:cubicBezTo>
                    <a:cubicBezTo>
                      <a:pt x="2221" y="424"/>
                      <a:pt x="2232" y="418"/>
                      <a:pt x="2237" y="415"/>
                    </a:cubicBezTo>
                    <a:cubicBezTo>
                      <a:pt x="2241" y="413"/>
                      <a:pt x="2245" y="419"/>
                      <a:pt x="2247" y="411"/>
                    </a:cubicBezTo>
                    <a:cubicBezTo>
                      <a:pt x="2248" y="405"/>
                      <a:pt x="2238" y="402"/>
                      <a:pt x="2239" y="397"/>
                    </a:cubicBezTo>
                    <a:cubicBezTo>
                      <a:pt x="2239" y="400"/>
                      <a:pt x="2252" y="383"/>
                      <a:pt x="2250" y="384"/>
                    </a:cubicBezTo>
                    <a:cubicBezTo>
                      <a:pt x="2255" y="381"/>
                      <a:pt x="2262" y="383"/>
                      <a:pt x="2268" y="385"/>
                    </a:cubicBezTo>
                    <a:cubicBezTo>
                      <a:pt x="2274" y="386"/>
                      <a:pt x="2284" y="389"/>
                      <a:pt x="2288" y="393"/>
                    </a:cubicBezTo>
                    <a:cubicBezTo>
                      <a:pt x="2292" y="396"/>
                      <a:pt x="2288" y="402"/>
                      <a:pt x="2294" y="405"/>
                    </a:cubicBezTo>
                    <a:cubicBezTo>
                      <a:pt x="2295" y="405"/>
                      <a:pt x="2304" y="402"/>
                      <a:pt x="2305" y="402"/>
                    </a:cubicBezTo>
                    <a:cubicBezTo>
                      <a:pt x="2305" y="402"/>
                      <a:pt x="2319" y="406"/>
                      <a:pt x="2322" y="408"/>
                    </a:cubicBezTo>
                    <a:cubicBezTo>
                      <a:pt x="2337" y="423"/>
                      <a:pt x="2301" y="422"/>
                      <a:pt x="2317" y="435"/>
                    </a:cubicBezTo>
                    <a:cubicBezTo>
                      <a:pt x="2320" y="437"/>
                      <a:pt x="2329" y="436"/>
                      <a:pt x="2332" y="437"/>
                    </a:cubicBezTo>
                    <a:cubicBezTo>
                      <a:pt x="2334" y="438"/>
                      <a:pt x="2344" y="444"/>
                      <a:pt x="2344" y="445"/>
                    </a:cubicBezTo>
                    <a:cubicBezTo>
                      <a:pt x="2352" y="458"/>
                      <a:pt x="2334" y="467"/>
                      <a:pt x="2342" y="483"/>
                    </a:cubicBezTo>
                    <a:cubicBezTo>
                      <a:pt x="2344" y="485"/>
                      <a:pt x="2352" y="489"/>
                      <a:pt x="2352" y="491"/>
                    </a:cubicBezTo>
                    <a:cubicBezTo>
                      <a:pt x="2353" y="498"/>
                      <a:pt x="2348" y="495"/>
                      <a:pt x="2347" y="500"/>
                    </a:cubicBezTo>
                    <a:cubicBezTo>
                      <a:pt x="2344" y="510"/>
                      <a:pt x="2340" y="527"/>
                      <a:pt x="2341" y="537"/>
                    </a:cubicBezTo>
                    <a:cubicBezTo>
                      <a:pt x="2342" y="546"/>
                      <a:pt x="2350" y="550"/>
                      <a:pt x="2351" y="556"/>
                    </a:cubicBezTo>
                    <a:cubicBezTo>
                      <a:pt x="2351" y="557"/>
                      <a:pt x="2345" y="558"/>
                      <a:pt x="2345" y="560"/>
                    </a:cubicBezTo>
                    <a:cubicBezTo>
                      <a:pt x="2346" y="563"/>
                      <a:pt x="2347" y="564"/>
                      <a:pt x="2348" y="567"/>
                    </a:cubicBezTo>
                    <a:cubicBezTo>
                      <a:pt x="2350" y="576"/>
                      <a:pt x="2355" y="575"/>
                      <a:pt x="2359" y="579"/>
                    </a:cubicBezTo>
                    <a:cubicBezTo>
                      <a:pt x="2361" y="581"/>
                      <a:pt x="2365" y="578"/>
                      <a:pt x="2367" y="580"/>
                    </a:cubicBezTo>
                    <a:cubicBezTo>
                      <a:pt x="2368" y="582"/>
                      <a:pt x="2360" y="587"/>
                      <a:pt x="2363" y="590"/>
                    </a:cubicBezTo>
                    <a:cubicBezTo>
                      <a:pt x="2370" y="596"/>
                      <a:pt x="2371" y="587"/>
                      <a:pt x="2379" y="590"/>
                    </a:cubicBezTo>
                    <a:cubicBezTo>
                      <a:pt x="2388" y="592"/>
                      <a:pt x="2389" y="607"/>
                      <a:pt x="2387" y="615"/>
                    </a:cubicBezTo>
                    <a:cubicBezTo>
                      <a:pt x="2384" y="623"/>
                      <a:pt x="2375" y="633"/>
                      <a:pt x="2382" y="645"/>
                    </a:cubicBezTo>
                    <a:cubicBezTo>
                      <a:pt x="2387" y="653"/>
                      <a:pt x="2405" y="661"/>
                      <a:pt x="2387" y="670"/>
                    </a:cubicBezTo>
                    <a:cubicBezTo>
                      <a:pt x="2380" y="673"/>
                      <a:pt x="2379" y="669"/>
                      <a:pt x="2372" y="669"/>
                    </a:cubicBezTo>
                    <a:cubicBezTo>
                      <a:pt x="2363" y="670"/>
                      <a:pt x="2355" y="676"/>
                      <a:pt x="2347" y="677"/>
                    </a:cubicBezTo>
                    <a:cubicBezTo>
                      <a:pt x="2340" y="678"/>
                      <a:pt x="2334" y="674"/>
                      <a:pt x="2327" y="676"/>
                    </a:cubicBezTo>
                    <a:cubicBezTo>
                      <a:pt x="2319" y="678"/>
                      <a:pt x="2319" y="684"/>
                      <a:pt x="2310" y="683"/>
                    </a:cubicBezTo>
                    <a:cubicBezTo>
                      <a:pt x="2304" y="682"/>
                      <a:pt x="2300" y="677"/>
                      <a:pt x="2295" y="678"/>
                    </a:cubicBezTo>
                    <a:cubicBezTo>
                      <a:pt x="2291" y="679"/>
                      <a:pt x="2288" y="687"/>
                      <a:pt x="2284" y="688"/>
                    </a:cubicBezTo>
                    <a:cubicBezTo>
                      <a:pt x="2281" y="689"/>
                      <a:pt x="2278" y="687"/>
                      <a:pt x="2276" y="687"/>
                    </a:cubicBezTo>
                    <a:cubicBezTo>
                      <a:pt x="2276" y="687"/>
                      <a:pt x="2274" y="683"/>
                      <a:pt x="2272" y="683"/>
                    </a:cubicBezTo>
                    <a:cubicBezTo>
                      <a:pt x="2269" y="683"/>
                      <a:pt x="2268" y="686"/>
                      <a:pt x="2266" y="686"/>
                    </a:cubicBezTo>
                    <a:cubicBezTo>
                      <a:pt x="2259" y="686"/>
                      <a:pt x="2252" y="690"/>
                      <a:pt x="2246" y="690"/>
                    </a:cubicBezTo>
                    <a:cubicBezTo>
                      <a:pt x="2243" y="689"/>
                      <a:pt x="2241" y="686"/>
                      <a:pt x="2237" y="685"/>
                    </a:cubicBezTo>
                    <a:cubicBezTo>
                      <a:pt x="2224" y="683"/>
                      <a:pt x="2214" y="682"/>
                      <a:pt x="2202" y="683"/>
                    </a:cubicBezTo>
                    <a:cubicBezTo>
                      <a:pt x="2192" y="683"/>
                      <a:pt x="2181" y="681"/>
                      <a:pt x="2183" y="700"/>
                    </a:cubicBezTo>
                    <a:cubicBezTo>
                      <a:pt x="2183" y="702"/>
                      <a:pt x="2188" y="710"/>
                      <a:pt x="2189" y="711"/>
                    </a:cubicBezTo>
                    <a:cubicBezTo>
                      <a:pt x="2190" y="713"/>
                      <a:pt x="2190" y="716"/>
                      <a:pt x="2191" y="718"/>
                    </a:cubicBezTo>
                    <a:cubicBezTo>
                      <a:pt x="2192" y="720"/>
                      <a:pt x="2196" y="718"/>
                      <a:pt x="2198" y="720"/>
                    </a:cubicBezTo>
                    <a:cubicBezTo>
                      <a:pt x="2204" y="729"/>
                      <a:pt x="2201" y="739"/>
                      <a:pt x="2207" y="747"/>
                    </a:cubicBezTo>
                    <a:cubicBezTo>
                      <a:pt x="2209" y="749"/>
                      <a:pt x="2215" y="747"/>
                      <a:pt x="2217" y="749"/>
                    </a:cubicBezTo>
                    <a:cubicBezTo>
                      <a:pt x="2220" y="751"/>
                      <a:pt x="2218" y="756"/>
                      <a:pt x="2221" y="759"/>
                    </a:cubicBezTo>
                    <a:cubicBezTo>
                      <a:pt x="2226" y="766"/>
                      <a:pt x="2226" y="764"/>
                      <a:pt x="2234" y="767"/>
                    </a:cubicBezTo>
                    <a:cubicBezTo>
                      <a:pt x="2248" y="773"/>
                      <a:pt x="2252" y="776"/>
                      <a:pt x="2244" y="793"/>
                    </a:cubicBezTo>
                    <a:cubicBezTo>
                      <a:pt x="2240" y="800"/>
                      <a:pt x="2238" y="801"/>
                      <a:pt x="2232" y="807"/>
                    </a:cubicBezTo>
                    <a:cubicBezTo>
                      <a:pt x="2226" y="813"/>
                      <a:pt x="2224" y="813"/>
                      <a:pt x="2219" y="817"/>
                    </a:cubicBezTo>
                    <a:cubicBezTo>
                      <a:pt x="2211" y="822"/>
                      <a:pt x="2205" y="827"/>
                      <a:pt x="2197" y="831"/>
                    </a:cubicBezTo>
                    <a:cubicBezTo>
                      <a:pt x="2192" y="833"/>
                      <a:pt x="2177" y="833"/>
                      <a:pt x="2176" y="835"/>
                    </a:cubicBezTo>
                    <a:cubicBezTo>
                      <a:pt x="2175" y="835"/>
                      <a:pt x="2175" y="844"/>
                      <a:pt x="2174" y="846"/>
                    </a:cubicBezTo>
                    <a:cubicBezTo>
                      <a:pt x="2168" y="858"/>
                      <a:pt x="2156" y="866"/>
                      <a:pt x="2152" y="877"/>
                    </a:cubicBezTo>
                    <a:cubicBezTo>
                      <a:pt x="2149" y="883"/>
                      <a:pt x="2151" y="887"/>
                      <a:pt x="2153" y="893"/>
                    </a:cubicBezTo>
                    <a:cubicBezTo>
                      <a:pt x="2155" y="906"/>
                      <a:pt x="2158" y="903"/>
                      <a:pt x="2151" y="909"/>
                    </a:cubicBezTo>
                    <a:cubicBezTo>
                      <a:pt x="2148" y="911"/>
                      <a:pt x="2142" y="906"/>
                      <a:pt x="2139" y="913"/>
                    </a:cubicBezTo>
                    <a:cubicBezTo>
                      <a:pt x="2137" y="919"/>
                      <a:pt x="2150" y="926"/>
                      <a:pt x="2151" y="931"/>
                    </a:cubicBezTo>
                    <a:cubicBezTo>
                      <a:pt x="2153" y="938"/>
                      <a:pt x="2145" y="957"/>
                      <a:pt x="2139" y="961"/>
                    </a:cubicBezTo>
                    <a:cubicBezTo>
                      <a:pt x="2135" y="964"/>
                      <a:pt x="2131" y="958"/>
                      <a:pt x="2125" y="964"/>
                    </a:cubicBezTo>
                    <a:cubicBezTo>
                      <a:pt x="2122" y="966"/>
                      <a:pt x="2118" y="978"/>
                      <a:pt x="2116" y="978"/>
                    </a:cubicBezTo>
                    <a:cubicBezTo>
                      <a:pt x="2111" y="980"/>
                      <a:pt x="2112" y="970"/>
                      <a:pt x="2107" y="972"/>
                    </a:cubicBezTo>
                    <a:cubicBezTo>
                      <a:pt x="2101" y="976"/>
                      <a:pt x="2106" y="990"/>
                      <a:pt x="2102" y="994"/>
                    </a:cubicBezTo>
                    <a:cubicBezTo>
                      <a:pt x="2097" y="998"/>
                      <a:pt x="2092" y="991"/>
                      <a:pt x="2088" y="994"/>
                    </a:cubicBezTo>
                    <a:cubicBezTo>
                      <a:pt x="2085" y="996"/>
                      <a:pt x="2085" y="1004"/>
                      <a:pt x="2083" y="1007"/>
                    </a:cubicBezTo>
                    <a:cubicBezTo>
                      <a:pt x="2081" y="1013"/>
                      <a:pt x="2078" y="1018"/>
                      <a:pt x="2073" y="1022"/>
                    </a:cubicBezTo>
                    <a:cubicBezTo>
                      <a:pt x="2062" y="1032"/>
                      <a:pt x="2046" y="1029"/>
                      <a:pt x="2037" y="1036"/>
                    </a:cubicBezTo>
                    <a:cubicBezTo>
                      <a:pt x="2027" y="1043"/>
                      <a:pt x="2037" y="1037"/>
                      <a:pt x="2037" y="1045"/>
                    </a:cubicBezTo>
                    <a:cubicBezTo>
                      <a:pt x="2037" y="1050"/>
                      <a:pt x="2036" y="1055"/>
                      <a:pt x="2037" y="1060"/>
                    </a:cubicBezTo>
                    <a:cubicBezTo>
                      <a:pt x="2040" y="1069"/>
                      <a:pt x="2048" y="1073"/>
                      <a:pt x="2054" y="1078"/>
                    </a:cubicBezTo>
                    <a:cubicBezTo>
                      <a:pt x="2061" y="1083"/>
                      <a:pt x="2075" y="1098"/>
                      <a:pt x="2076" y="1108"/>
                    </a:cubicBezTo>
                    <a:cubicBezTo>
                      <a:pt x="2078" y="1128"/>
                      <a:pt x="2067" y="1114"/>
                      <a:pt x="2056" y="1117"/>
                    </a:cubicBezTo>
                    <a:cubicBezTo>
                      <a:pt x="2037" y="1121"/>
                      <a:pt x="2049" y="1150"/>
                      <a:pt x="2040" y="1159"/>
                    </a:cubicBezTo>
                    <a:cubicBezTo>
                      <a:pt x="2036" y="1163"/>
                      <a:pt x="2029" y="1159"/>
                      <a:pt x="2027" y="1168"/>
                    </a:cubicBezTo>
                    <a:cubicBezTo>
                      <a:pt x="2025" y="1173"/>
                      <a:pt x="2029" y="1181"/>
                      <a:pt x="2029" y="1186"/>
                    </a:cubicBezTo>
                    <a:cubicBezTo>
                      <a:pt x="2030" y="1195"/>
                      <a:pt x="2032" y="1212"/>
                      <a:pt x="2030" y="1221"/>
                    </a:cubicBezTo>
                    <a:cubicBezTo>
                      <a:pt x="2027" y="1234"/>
                      <a:pt x="2016" y="1232"/>
                      <a:pt x="2013" y="1242"/>
                    </a:cubicBezTo>
                    <a:cubicBezTo>
                      <a:pt x="2007" y="1261"/>
                      <a:pt x="2029" y="1253"/>
                      <a:pt x="2032" y="1267"/>
                    </a:cubicBezTo>
                    <a:cubicBezTo>
                      <a:pt x="2033" y="1274"/>
                      <a:pt x="2028" y="1272"/>
                      <a:pt x="2028" y="1277"/>
                    </a:cubicBezTo>
                    <a:cubicBezTo>
                      <a:pt x="2027" y="1284"/>
                      <a:pt x="2029" y="1292"/>
                      <a:pt x="2028" y="1298"/>
                    </a:cubicBezTo>
                    <a:cubicBezTo>
                      <a:pt x="2028" y="1303"/>
                      <a:pt x="2024" y="1306"/>
                      <a:pt x="2025" y="1313"/>
                    </a:cubicBezTo>
                    <a:cubicBezTo>
                      <a:pt x="2025" y="1317"/>
                      <a:pt x="2030" y="1317"/>
                      <a:pt x="2031" y="1322"/>
                    </a:cubicBezTo>
                    <a:cubicBezTo>
                      <a:pt x="2031" y="1326"/>
                      <a:pt x="2025" y="1328"/>
                      <a:pt x="2027" y="1333"/>
                    </a:cubicBezTo>
                    <a:cubicBezTo>
                      <a:pt x="2028" y="1339"/>
                      <a:pt x="2041" y="1342"/>
                      <a:pt x="2045" y="1344"/>
                    </a:cubicBezTo>
                    <a:cubicBezTo>
                      <a:pt x="2045" y="1341"/>
                      <a:pt x="2042" y="1334"/>
                      <a:pt x="2043" y="1332"/>
                    </a:cubicBezTo>
                    <a:cubicBezTo>
                      <a:pt x="2046" y="1323"/>
                      <a:pt x="2042" y="1331"/>
                      <a:pt x="2051" y="1326"/>
                    </a:cubicBezTo>
                    <a:cubicBezTo>
                      <a:pt x="2061" y="1321"/>
                      <a:pt x="2061" y="1316"/>
                      <a:pt x="2069" y="1317"/>
                    </a:cubicBezTo>
                    <a:cubicBezTo>
                      <a:pt x="2082" y="1319"/>
                      <a:pt x="2087" y="1333"/>
                      <a:pt x="2087" y="1343"/>
                    </a:cubicBezTo>
                    <a:cubicBezTo>
                      <a:pt x="2087" y="1354"/>
                      <a:pt x="2073" y="1362"/>
                      <a:pt x="2080" y="1372"/>
                    </a:cubicBezTo>
                    <a:cubicBezTo>
                      <a:pt x="2080" y="1373"/>
                      <a:pt x="2090" y="1378"/>
                      <a:pt x="2091" y="1378"/>
                    </a:cubicBezTo>
                    <a:cubicBezTo>
                      <a:pt x="2094" y="1380"/>
                      <a:pt x="2095" y="1388"/>
                      <a:pt x="2103" y="1383"/>
                    </a:cubicBezTo>
                    <a:cubicBezTo>
                      <a:pt x="2110" y="1378"/>
                      <a:pt x="2104" y="1370"/>
                      <a:pt x="2115" y="1366"/>
                    </a:cubicBezTo>
                    <a:cubicBezTo>
                      <a:pt x="2121" y="1364"/>
                      <a:pt x="2114" y="1362"/>
                      <a:pt x="2122" y="1366"/>
                    </a:cubicBezTo>
                    <a:cubicBezTo>
                      <a:pt x="2126" y="1368"/>
                      <a:pt x="2129" y="1381"/>
                      <a:pt x="2133" y="1382"/>
                    </a:cubicBezTo>
                    <a:cubicBezTo>
                      <a:pt x="2139" y="1384"/>
                      <a:pt x="2143" y="1368"/>
                      <a:pt x="2148" y="1368"/>
                    </a:cubicBezTo>
                    <a:cubicBezTo>
                      <a:pt x="2156" y="1368"/>
                      <a:pt x="2161" y="1387"/>
                      <a:pt x="2166" y="1391"/>
                    </a:cubicBezTo>
                    <a:cubicBezTo>
                      <a:pt x="2171" y="1397"/>
                      <a:pt x="2184" y="1399"/>
                      <a:pt x="2189" y="1404"/>
                    </a:cubicBezTo>
                    <a:cubicBezTo>
                      <a:pt x="2200" y="1413"/>
                      <a:pt x="2191" y="1411"/>
                      <a:pt x="2189" y="1419"/>
                    </a:cubicBezTo>
                    <a:cubicBezTo>
                      <a:pt x="2187" y="1423"/>
                      <a:pt x="2188" y="1431"/>
                      <a:pt x="2187" y="1436"/>
                    </a:cubicBezTo>
                    <a:cubicBezTo>
                      <a:pt x="2187" y="1438"/>
                      <a:pt x="2182" y="1439"/>
                      <a:pt x="2182" y="1441"/>
                    </a:cubicBezTo>
                    <a:cubicBezTo>
                      <a:pt x="2182" y="1444"/>
                      <a:pt x="2185" y="1446"/>
                      <a:pt x="2186" y="1448"/>
                    </a:cubicBezTo>
                    <a:cubicBezTo>
                      <a:pt x="2188" y="1474"/>
                      <a:pt x="2202" y="1450"/>
                      <a:pt x="2218" y="1459"/>
                    </a:cubicBezTo>
                    <a:cubicBezTo>
                      <a:pt x="2226" y="1464"/>
                      <a:pt x="2229" y="1479"/>
                      <a:pt x="2231" y="1487"/>
                    </a:cubicBezTo>
                    <a:cubicBezTo>
                      <a:pt x="2232" y="1491"/>
                      <a:pt x="2241" y="1507"/>
                      <a:pt x="2240" y="1510"/>
                    </a:cubicBezTo>
                    <a:cubicBezTo>
                      <a:pt x="2238" y="1519"/>
                      <a:pt x="2213" y="1521"/>
                      <a:pt x="2231" y="1533"/>
                    </a:cubicBezTo>
                    <a:cubicBezTo>
                      <a:pt x="2240" y="1540"/>
                      <a:pt x="2250" y="1533"/>
                      <a:pt x="2258" y="1546"/>
                    </a:cubicBezTo>
                    <a:cubicBezTo>
                      <a:pt x="2275" y="1572"/>
                      <a:pt x="2276" y="1606"/>
                      <a:pt x="2278" y="1636"/>
                    </a:cubicBezTo>
                    <a:cubicBezTo>
                      <a:pt x="2270" y="1635"/>
                      <a:pt x="2271" y="1641"/>
                      <a:pt x="2265" y="1643"/>
                    </a:cubicBezTo>
                    <a:cubicBezTo>
                      <a:pt x="2263" y="1644"/>
                      <a:pt x="2257" y="1640"/>
                      <a:pt x="2255" y="1640"/>
                    </a:cubicBezTo>
                    <a:cubicBezTo>
                      <a:pt x="2241" y="1646"/>
                      <a:pt x="2246" y="1658"/>
                      <a:pt x="2246" y="1670"/>
                    </a:cubicBezTo>
                    <a:cubicBezTo>
                      <a:pt x="2245" y="1681"/>
                      <a:pt x="2239" y="1694"/>
                      <a:pt x="2240" y="1705"/>
                    </a:cubicBezTo>
                    <a:cubicBezTo>
                      <a:pt x="2241" y="1715"/>
                      <a:pt x="2253" y="1724"/>
                      <a:pt x="2239" y="1732"/>
                    </a:cubicBezTo>
                    <a:cubicBezTo>
                      <a:pt x="2234" y="1734"/>
                      <a:pt x="2229" y="1730"/>
                      <a:pt x="2224" y="1732"/>
                    </a:cubicBezTo>
                    <a:cubicBezTo>
                      <a:pt x="2218" y="1735"/>
                      <a:pt x="2211" y="1747"/>
                      <a:pt x="2208" y="1753"/>
                    </a:cubicBezTo>
                    <a:cubicBezTo>
                      <a:pt x="2202" y="1763"/>
                      <a:pt x="2205" y="1781"/>
                      <a:pt x="2190" y="1784"/>
                    </a:cubicBezTo>
                    <a:cubicBezTo>
                      <a:pt x="2182" y="1785"/>
                      <a:pt x="2181" y="1778"/>
                      <a:pt x="2173" y="1779"/>
                    </a:cubicBezTo>
                    <a:cubicBezTo>
                      <a:pt x="2163" y="1779"/>
                      <a:pt x="2161" y="1790"/>
                      <a:pt x="2154" y="1794"/>
                    </a:cubicBezTo>
                    <a:cubicBezTo>
                      <a:pt x="2137" y="1804"/>
                      <a:pt x="2114" y="1784"/>
                      <a:pt x="2096" y="1778"/>
                    </a:cubicBezTo>
                    <a:cubicBezTo>
                      <a:pt x="2087" y="1775"/>
                      <a:pt x="2087" y="1776"/>
                      <a:pt x="2079" y="1770"/>
                    </a:cubicBezTo>
                    <a:cubicBezTo>
                      <a:pt x="2078" y="1769"/>
                      <a:pt x="2080" y="1765"/>
                      <a:pt x="2079" y="1764"/>
                    </a:cubicBezTo>
                    <a:cubicBezTo>
                      <a:pt x="2077" y="1762"/>
                      <a:pt x="2074" y="1763"/>
                      <a:pt x="2072" y="1762"/>
                    </a:cubicBezTo>
                    <a:cubicBezTo>
                      <a:pt x="2070" y="1760"/>
                      <a:pt x="2066" y="1762"/>
                      <a:pt x="2064" y="1761"/>
                    </a:cubicBezTo>
                    <a:cubicBezTo>
                      <a:pt x="2057" y="1754"/>
                      <a:pt x="2062" y="1751"/>
                      <a:pt x="2053" y="1747"/>
                    </a:cubicBezTo>
                    <a:cubicBezTo>
                      <a:pt x="2051" y="1746"/>
                      <a:pt x="2047" y="1749"/>
                      <a:pt x="2043" y="1748"/>
                    </a:cubicBezTo>
                    <a:cubicBezTo>
                      <a:pt x="2039" y="1745"/>
                      <a:pt x="2040" y="1741"/>
                      <a:pt x="2037" y="1738"/>
                    </a:cubicBezTo>
                    <a:cubicBezTo>
                      <a:pt x="2026" y="1728"/>
                      <a:pt x="2030" y="1731"/>
                      <a:pt x="2016" y="1733"/>
                    </a:cubicBezTo>
                    <a:cubicBezTo>
                      <a:pt x="2007" y="1735"/>
                      <a:pt x="2004" y="1735"/>
                      <a:pt x="1998" y="1727"/>
                    </a:cubicBezTo>
                    <a:cubicBezTo>
                      <a:pt x="1994" y="1722"/>
                      <a:pt x="1981" y="1690"/>
                      <a:pt x="1967" y="1709"/>
                    </a:cubicBezTo>
                    <a:cubicBezTo>
                      <a:pt x="1963" y="1716"/>
                      <a:pt x="1975" y="1726"/>
                      <a:pt x="1969" y="1732"/>
                    </a:cubicBezTo>
                    <a:cubicBezTo>
                      <a:pt x="1963" y="1738"/>
                      <a:pt x="1956" y="1726"/>
                      <a:pt x="1948" y="1728"/>
                    </a:cubicBezTo>
                    <a:cubicBezTo>
                      <a:pt x="1930" y="1732"/>
                      <a:pt x="1940" y="1754"/>
                      <a:pt x="1919" y="1737"/>
                    </a:cubicBezTo>
                    <a:cubicBezTo>
                      <a:pt x="1909" y="1730"/>
                      <a:pt x="1910" y="1730"/>
                      <a:pt x="1898" y="1728"/>
                    </a:cubicBezTo>
                    <a:cubicBezTo>
                      <a:pt x="1895" y="1728"/>
                      <a:pt x="1891" y="1725"/>
                      <a:pt x="1887" y="1726"/>
                    </a:cubicBezTo>
                    <a:cubicBezTo>
                      <a:pt x="1883" y="1727"/>
                      <a:pt x="1881" y="1732"/>
                      <a:pt x="1877" y="1733"/>
                    </a:cubicBezTo>
                    <a:cubicBezTo>
                      <a:pt x="1858" y="1736"/>
                      <a:pt x="1874" y="1720"/>
                      <a:pt x="1869" y="1712"/>
                    </a:cubicBezTo>
                    <a:cubicBezTo>
                      <a:pt x="1865" y="1705"/>
                      <a:pt x="1864" y="1710"/>
                      <a:pt x="1858" y="1708"/>
                    </a:cubicBezTo>
                    <a:cubicBezTo>
                      <a:pt x="1857" y="1708"/>
                      <a:pt x="1848" y="1705"/>
                      <a:pt x="1847" y="1706"/>
                    </a:cubicBezTo>
                    <a:cubicBezTo>
                      <a:pt x="1842" y="1707"/>
                      <a:pt x="1846" y="1713"/>
                      <a:pt x="1842" y="1715"/>
                    </a:cubicBezTo>
                    <a:cubicBezTo>
                      <a:pt x="1837" y="1718"/>
                      <a:pt x="1826" y="1719"/>
                      <a:pt x="1819" y="1722"/>
                    </a:cubicBezTo>
                    <a:cubicBezTo>
                      <a:pt x="1816" y="1723"/>
                      <a:pt x="1808" y="1726"/>
                      <a:pt x="1805" y="1729"/>
                    </a:cubicBezTo>
                    <a:cubicBezTo>
                      <a:pt x="1804" y="1730"/>
                      <a:pt x="1804" y="1736"/>
                      <a:pt x="1803" y="1737"/>
                    </a:cubicBezTo>
                    <a:cubicBezTo>
                      <a:pt x="1798" y="1740"/>
                      <a:pt x="1794" y="1740"/>
                      <a:pt x="1788" y="1743"/>
                    </a:cubicBezTo>
                    <a:cubicBezTo>
                      <a:pt x="1781" y="1746"/>
                      <a:pt x="1776" y="1754"/>
                      <a:pt x="1766" y="1754"/>
                    </a:cubicBezTo>
                    <a:cubicBezTo>
                      <a:pt x="1758" y="1754"/>
                      <a:pt x="1753" y="1745"/>
                      <a:pt x="1746" y="1746"/>
                    </a:cubicBezTo>
                    <a:cubicBezTo>
                      <a:pt x="1737" y="1746"/>
                      <a:pt x="1742" y="1752"/>
                      <a:pt x="1737" y="1754"/>
                    </a:cubicBezTo>
                    <a:cubicBezTo>
                      <a:pt x="1728" y="1758"/>
                      <a:pt x="1706" y="1752"/>
                      <a:pt x="1698" y="1746"/>
                    </a:cubicBezTo>
                    <a:cubicBezTo>
                      <a:pt x="1691" y="1741"/>
                      <a:pt x="1692" y="1731"/>
                      <a:pt x="1685" y="1727"/>
                    </a:cubicBezTo>
                    <a:cubicBezTo>
                      <a:pt x="1675" y="1719"/>
                      <a:pt x="1664" y="1727"/>
                      <a:pt x="1655" y="1717"/>
                    </a:cubicBezTo>
                    <a:cubicBezTo>
                      <a:pt x="1649" y="1711"/>
                      <a:pt x="1653" y="1701"/>
                      <a:pt x="1650" y="1694"/>
                    </a:cubicBezTo>
                    <a:cubicBezTo>
                      <a:pt x="1647" y="1685"/>
                      <a:pt x="1638" y="1681"/>
                      <a:pt x="1635" y="1671"/>
                    </a:cubicBezTo>
                    <a:cubicBezTo>
                      <a:pt x="1629" y="1656"/>
                      <a:pt x="1643" y="1629"/>
                      <a:pt x="1631" y="1616"/>
                    </a:cubicBezTo>
                    <a:cubicBezTo>
                      <a:pt x="1619" y="1604"/>
                      <a:pt x="1591" y="1618"/>
                      <a:pt x="1582" y="1599"/>
                    </a:cubicBezTo>
                    <a:cubicBezTo>
                      <a:pt x="1580" y="1595"/>
                      <a:pt x="1583" y="1590"/>
                      <a:pt x="1582" y="1586"/>
                    </a:cubicBezTo>
                    <a:cubicBezTo>
                      <a:pt x="1578" y="1576"/>
                      <a:pt x="1572" y="1578"/>
                      <a:pt x="1567" y="1571"/>
                    </a:cubicBezTo>
                    <a:cubicBezTo>
                      <a:pt x="1560" y="1559"/>
                      <a:pt x="1571" y="1543"/>
                      <a:pt x="1561" y="1530"/>
                    </a:cubicBezTo>
                    <a:cubicBezTo>
                      <a:pt x="1557" y="1524"/>
                      <a:pt x="1549" y="1522"/>
                      <a:pt x="1545" y="1516"/>
                    </a:cubicBezTo>
                    <a:cubicBezTo>
                      <a:pt x="1542" y="1512"/>
                      <a:pt x="1543" y="1508"/>
                      <a:pt x="1541" y="1505"/>
                    </a:cubicBezTo>
                    <a:cubicBezTo>
                      <a:pt x="1537" y="1498"/>
                      <a:pt x="1534" y="1499"/>
                      <a:pt x="1529" y="1494"/>
                    </a:cubicBezTo>
                    <a:cubicBezTo>
                      <a:pt x="1520" y="1487"/>
                      <a:pt x="1513" y="1477"/>
                      <a:pt x="1505" y="1469"/>
                    </a:cubicBezTo>
                    <a:cubicBezTo>
                      <a:pt x="1492" y="1458"/>
                      <a:pt x="1475" y="1454"/>
                      <a:pt x="1462" y="1442"/>
                    </a:cubicBezTo>
                    <a:cubicBezTo>
                      <a:pt x="1453" y="1433"/>
                      <a:pt x="1441" y="1414"/>
                      <a:pt x="1441" y="1400"/>
                    </a:cubicBezTo>
                    <a:cubicBezTo>
                      <a:pt x="1440" y="1396"/>
                      <a:pt x="1449" y="1361"/>
                      <a:pt x="1433" y="1373"/>
                    </a:cubicBezTo>
                    <a:cubicBezTo>
                      <a:pt x="1426" y="1379"/>
                      <a:pt x="1439" y="1395"/>
                      <a:pt x="1429" y="1396"/>
                    </a:cubicBezTo>
                    <a:cubicBezTo>
                      <a:pt x="1422" y="1397"/>
                      <a:pt x="1417" y="1382"/>
                      <a:pt x="1418" y="1377"/>
                    </a:cubicBezTo>
                    <a:cubicBezTo>
                      <a:pt x="1419" y="1372"/>
                      <a:pt x="1426" y="1369"/>
                      <a:pt x="1426" y="1366"/>
                    </a:cubicBezTo>
                    <a:cubicBezTo>
                      <a:pt x="1428" y="1348"/>
                      <a:pt x="1409" y="1362"/>
                      <a:pt x="1403" y="1350"/>
                    </a:cubicBezTo>
                    <a:cubicBezTo>
                      <a:pt x="1399" y="1341"/>
                      <a:pt x="1407" y="1334"/>
                      <a:pt x="1398" y="1328"/>
                    </a:cubicBezTo>
                    <a:cubicBezTo>
                      <a:pt x="1391" y="1323"/>
                      <a:pt x="1379" y="1330"/>
                      <a:pt x="1375" y="1321"/>
                    </a:cubicBezTo>
                    <a:cubicBezTo>
                      <a:pt x="1373" y="1319"/>
                      <a:pt x="1375" y="1305"/>
                      <a:pt x="1375" y="1302"/>
                    </a:cubicBezTo>
                    <a:cubicBezTo>
                      <a:pt x="1374" y="1300"/>
                      <a:pt x="1371" y="1288"/>
                      <a:pt x="1370" y="1287"/>
                    </a:cubicBezTo>
                    <a:cubicBezTo>
                      <a:pt x="1366" y="1284"/>
                      <a:pt x="1361" y="1286"/>
                      <a:pt x="1356" y="1284"/>
                    </a:cubicBezTo>
                    <a:cubicBezTo>
                      <a:pt x="1345" y="1277"/>
                      <a:pt x="1335" y="1262"/>
                      <a:pt x="1326" y="1253"/>
                    </a:cubicBezTo>
                    <a:cubicBezTo>
                      <a:pt x="1321" y="1248"/>
                      <a:pt x="1309" y="1240"/>
                      <a:pt x="1306" y="1233"/>
                    </a:cubicBezTo>
                    <a:cubicBezTo>
                      <a:pt x="1302" y="1221"/>
                      <a:pt x="1309" y="1224"/>
                      <a:pt x="1311" y="1216"/>
                    </a:cubicBezTo>
                    <a:cubicBezTo>
                      <a:pt x="1319" y="1188"/>
                      <a:pt x="1299" y="1189"/>
                      <a:pt x="1281" y="1187"/>
                    </a:cubicBezTo>
                    <a:cubicBezTo>
                      <a:pt x="1262" y="1185"/>
                      <a:pt x="1265" y="1172"/>
                      <a:pt x="1280" y="1161"/>
                    </a:cubicBezTo>
                    <a:cubicBezTo>
                      <a:pt x="1274" y="1158"/>
                      <a:pt x="1265" y="1162"/>
                      <a:pt x="1260" y="1158"/>
                    </a:cubicBezTo>
                    <a:cubicBezTo>
                      <a:pt x="1257" y="1154"/>
                      <a:pt x="1260" y="1143"/>
                      <a:pt x="1257" y="1138"/>
                    </a:cubicBezTo>
                    <a:cubicBezTo>
                      <a:pt x="1256" y="1136"/>
                      <a:pt x="1245" y="1126"/>
                      <a:pt x="1243" y="1125"/>
                    </a:cubicBezTo>
                    <a:cubicBezTo>
                      <a:pt x="1240" y="1124"/>
                      <a:pt x="1230" y="1126"/>
                      <a:pt x="1229" y="1125"/>
                    </a:cubicBezTo>
                    <a:cubicBezTo>
                      <a:pt x="1224" y="1120"/>
                      <a:pt x="1227" y="1112"/>
                      <a:pt x="1220" y="1107"/>
                    </a:cubicBezTo>
                    <a:cubicBezTo>
                      <a:pt x="1215" y="1103"/>
                      <a:pt x="1204" y="1100"/>
                      <a:pt x="1200" y="1101"/>
                    </a:cubicBezTo>
                    <a:cubicBezTo>
                      <a:pt x="1200" y="1101"/>
                      <a:pt x="1200" y="1109"/>
                      <a:pt x="1196" y="1109"/>
                    </a:cubicBezTo>
                    <a:cubicBezTo>
                      <a:pt x="1191" y="1110"/>
                      <a:pt x="1184" y="1101"/>
                      <a:pt x="1183" y="1095"/>
                    </a:cubicBezTo>
                    <a:cubicBezTo>
                      <a:pt x="1182" y="1086"/>
                      <a:pt x="1190" y="1086"/>
                      <a:pt x="1191" y="1081"/>
                    </a:cubicBezTo>
                    <a:cubicBezTo>
                      <a:pt x="1192" y="1074"/>
                      <a:pt x="1185" y="1073"/>
                      <a:pt x="1184" y="1067"/>
                    </a:cubicBezTo>
                    <a:cubicBezTo>
                      <a:pt x="1183" y="1061"/>
                      <a:pt x="1197" y="1058"/>
                      <a:pt x="1186" y="1054"/>
                    </a:cubicBezTo>
                    <a:cubicBezTo>
                      <a:pt x="1177" y="1050"/>
                      <a:pt x="1176" y="1061"/>
                      <a:pt x="1171" y="1061"/>
                    </a:cubicBezTo>
                    <a:cubicBezTo>
                      <a:pt x="1159" y="1062"/>
                      <a:pt x="1152" y="1043"/>
                      <a:pt x="1146" y="1038"/>
                    </a:cubicBezTo>
                    <a:cubicBezTo>
                      <a:pt x="1132" y="1029"/>
                      <a:pt x="1131" y="1049"/>
                      <a:pt x="1120" y="1048"/>
                    </a:cubicBezTo>
                    <a:cubicBezTo>
                      <a:pt x="1106" y="1047"/>
                      <a:pt x="1121" y="1032"/>
                      <a:pt x="1120" y="1025"/>
                    </a:cubicBezTo>
                    <a:cubicBezTo>
                      <a:pt x="1119" y="1018"/>
                      <a:pt x="1110" y="1015"/>
                      <a:pt x="1103" y="1012"/>
                    </a:cubicBezTo>
                    <a:cubicBezTo>
                      <a:pt x="1101" y="1011"/>
                      <a:pt x="1099" y="1005"/>
                      <a:pt x="1097" y="1005"/>
                    </a:cubicBezTo>
                    <a:cubicBezTo>
                      <a:pt x="1092" y="1004"/>
                      <a:pt x="1089" y="1013"/>
                      <a:pt x="1085" y="1013"/>
                    </a:cubicBezTo>
                    <a:cubicBezTo>
                      <a:pt x="1079" y="1014"/>
                      <a:pt x="1077" y="1008"/>
                      <a:pt x="1071" y="1005"/>
                    </a:cubicBezTo>
                    <a:cubicBezTo>
                      <a:pt x="1066" y="1003"/>
                      <a:pt x="1055" y="1003"/>
                      <a:pt x="1049" y="1001"/>
                    </a:cubicBezTo>
                    <a:cubicBezTo>
                      <a:pt x="1032" y="996"/>
                      <a:pt x="1016" y="988"/>
                      <a:pt x="1000" y="996"/>
                    </a:cubicBezTo>
                    <a:cubicBezTo>
                      <a:pt x="995" y="999"/>
                      <a:pt x="986" y="1004"/>
                      <a:pt x="985" y="1010"/>
                    </a:cubicBezTo>
                    <a:cubicBezTo>
                      <a:pt x="984" y="1017"/>
                      <a:pt x="993" y="1022"/>
                      <a:pt x="990" y="1027"/>
                    </a:cubicBezTo>
                    <a:cubicBezTo>
                      <a:pt x="986" y="1033"/>
                      <a:pt x="980" y="1021"/>
                      <a:pt x="976" y="1020"/>
                    </a:cubicBezTo>
                    <a:cubicBezTo>
                      <a:pt x="969" y="1019"/>
                      <a:pt x="968" y="1025"/>
                      <a:pt x="959" y="1022"/>
                    </a:cubicBezTo>
                    <a:cubicBezTo>
                      <a:pt x="958" y="1022"/>
                      <a:pt x="958" y="1016"/>
                      <a:pt x="955" y="1015"/>
                    </a:cubicBezTo>
                    <a:cubicBezTo>
                      <a:pt x="947" y="1012"/>
                      <a:pt x="942" y="1017"/>
                      <a:pt x="934" y="1018"/>
                    </a:cubicBezTo>
                    <a:cubicBezTo>
                      <a:pt x="918" y="1021"/>
                      <a:pt x="908" y="1017"/>
                      <a:pt x="898" y="1006"/>
                    </a:cubicBezTo>
                    <a:cubicBezTo>
                      <a:pt x="886" y="994"/>
                      <a:pt x="884" y="988"/>
                      <a:pt x="869" y="994"/>
                    </a:cubicBezTo>
                    <a:cubicBezTo>
                      <a:pt x="858" y="999"/>
                      <a:pt x="870" y="1001"/>
                      <a:pt x="855" y="996"/>
                    </a:cubicBezTo>
                    <a:cubicBezTo>
                      <a:pt x="852" y="995"/>
                      <a:pt x="847" y="994"/>
                      <a:pt x="844" y="992"/>
                    </a:cubicBezTo>
                    <a:cubicBezTo>
                      <a:pt x="835" y="986"/>
                      <a:pt x="834" y="981"/>
                      <a:pt x="823" y="980"/>
                    </a:cubicBezTo>
                    <a:cubicBezTo>
                      <a:pt x="814" y="978"/>
                      <a:pt x="806" y="982"/>
                      <a:pt x="798" y="981"/>
                    </a:cubicBezTo>
                    <a:cubicBezTo>
                      <a:pt x="792" y="981"/>
                      <a:pt x="780" y="970"/>
                      <a:pt x="777" y="971"/>
                    </a:cubicBezTo>
                    <a:cubicBezTo>
                      <a:pt x="769" y="974"/>
                      <a:pt x="777" y="987"/>
                      <a:pt x="767" y="987"/>
                    </a:cubicBezTo>
                    <a:cubicBezTo>
                      <a:pt x="773" y="975"/>
                      <a:pt x="755" y="973"/>
                      <a:pt x="762" y="989"/>
                    </a:cubicBezTo>
                    <a:cubicBezTo>
                      <a:pt x="756" y="987"/>
                      <a:pt x="738" y="983"/>
                      <a:pt x="732" y="984"/>
                    </a:cubicBezTo>
                    <a:cubicBezTo>
                      <a:pt x="721" y="987"/>
                      <a:pt x="723" y="999"/>
                      <a:pt x="715" y="1005"/>
                    </a:cubicBezTo>
                    <a:cubicBezTo>
                      <a:pt x="710" y="1009"/>
                      <a:pt x="701" y="1010"/>
                      <a:pt x="695" y="1013"/>
                    </a:cubicBezTo>
                    <a:cubicBezTo>
                      <a:pt x="689" y="1017"/>
                      <a:pt x="685" y="1024"/>
                      <a:pt x="679" y="1027"/>
                    </a:cubicBezTo>
                    <a:cubicBezTo>
                      <a:pt x="664" y="1036"/>
                      <a:pt x="645" y="1037"/>
                      <a:pt x="629" y="1045"/>
                    </a:cubicBezTo>
                    <a:cubicBezTo>
                      <a:pt x="626" y="1047"/>
                      <a:pt x="621" y="1053"/>
                      <a:pt x="617" y="1053"/>
                    </a:cubicBezTo>
                    <a:cubicBezTo>
                      <a:pt x="612" y="1053"/>
                      <a:pt x="609" y="1045"/>
                      <a:pt x="604" y="1045"/>
                    </a:cubicBezTo>
                    <a:cubicBezTo>
                      <a:pt x="595" y="1045"/>
                      <a:pt x="586" y="1059"/>
                      <a:pt x="579" y="1065"/>
                    </a:cubicBezTo>
                    <a:cubicBezTo>
                      <a:pt x="564" y="1078"/>
                      <a:pt x="570" y="1072"/>
                      <a:pt x="560" y="1056"/>
                    </a:cubicBezTo>
                    <a:cubicBezTo>
                      <a:pt x="556" y="1049"/>
                      <a:pt x="551" y="1045"/>
                      <a:pt x="547" y="1038"/>
                    </a:cubicBezTo>
                    <a:cubicBezTo>
                      <a:pt x="543" y="1032"/>
                      <a:pt x="541" y="1028"/>
                      <a:pt x="539" y="1020"/>
                    </a:cubicBezTo>
                    <a:cubicBezTo>
                      <a:pt x="539" y="1017"/>
                      <a:pt x="540" y="1011"/>
                      <a:pt x="538" y="1008"/>
                    </a:cubicBezTo>
                    <a:cubicBezTo>
                      <a:pt x="537" y="1005"/>
                      <a:pt x="532" y="1007"/>
                      <a:pt x="530" y="1004"/>
                    </a:cubicBezTo>
                    <a:cubicBezTo>
                      <a:pt x="526" y="998"/>
                      <a:pt x="526" y="990"/>
                      <a:pt x="523" y="983"/>
                    </a:cubicBezTo>
                    <a:cubicBezTo>
                      <a:pt x="519" y="973"/>
                      <a:pt x="510" y="966"/>
                      <a:pt x="502" y="957"/>
                    </a:cubicBezTo>
                    <a:cubicBezTo>
                      <a:pt x="491" y="945"/>
                      <a:pt x="492" y="951"/>
                      <a:pt x="479" y="947"/>
                    </a:cubicBezTo>
                    <a:cubicBezTo>
                      <a:pt x="470" y="943"/>
                      <a:pt x="470" y="941"/>
                      <a:pt x="467" y="933"/>
                    </a:cubicBezTo>
                    <a:cubicBezTo>
                      <a:pt x="464" y="927"/>
                      <a:pt x="458" y="918"/>
                      <a:pt x="462" y="912"/>
                    </a:cubicBezTo>
                    <a:cubicBezTo>
                      <a:pt x="464" y="908"/>
                      <a:pt x="473" y="909"/>
                      <a:pt x="474" y="904"/>
                    </a:cubicBezTo>
                    <a:cubicBezTo>
                      <a:pt x="475" y="901"/>
                      <a:pt x="469" y="894"/>
                      <a:pt x="467" y="891"/>
                    </a:cubicBezTo>
                    <a:cubicBezTo>
                      <a:pt x="462" y="877"/>
                      <a:pt x="464" y="870"/>
                      <a:pt x="454" y="859"/>
                    </a:cubicBezTo>
                    <a:cubicBezTo>
                      <a:pt x="447" y="851"/>
                      <a:pt x="440" y="853"/>
                      <a:pt x="448" y="838"/>
                    </a:cubicBezTo>
                    <a:cubicBezTo>
                      <a:pt x="453" y="829"/>
                      <a:pt x="461" y="826"/>
                      <a:pt x="470" y="831"/>
                    </a:cubicBezTo>
                    <a:cubicBezTo>
                      <a:pt x="478" y="835"/>
                      <a:pt x="470" y="842"/>
                      <a:pt x="484" y="837"/>
                    </a:cubicBezTo>
                    <a:cubicBezTo>
                      <a:pt x="492" y="834"/>
                      <a:pt x="506" y="824"/>
                      <a:pt x="504" y="814"/>
                    </a:cubicBezTo>
                    <a:cubicBezTo>
                      <a:pt x="502" y="800"/>
                      <a:pt x="472" y="797"/>
                      <a:pt x="464" y="786"/>
                    </a:cubicBezTo>
                    <a:cubicBezTo>
                      <a:pt x="462" y="783"/>
                      <a:pt x="465" y="779"/>
                      <a:pt x="464" y="777"/>
                    </a:cubicBezTo>
                    <a:cubicBezTo>
                      <a:pt x="462" y="775"/>
                      <a:pt x="457" y="772"/>
                      <a:pt x="456" y="771"/>
                    </a:cubicBezTo>
                    <a:cubicBezTo>
                      <a:pt x="453" y="765"/>
                      <a:pt x="456" y="762"/>
                      <a:pt x="455" y="754"/>
                    </a:cubicBezTo>
                    <a:cubicBezTo>
                      <a:pt x="454" y="752"/>
                      <a:pt x="447" y="739"/>
                      <a:pt x="446" y="738"/>
                    </a:cubicBezTo>
                    <a:cubicBezTo>
                      <a:pt x="440" y="733"/>
                      <a:pt x="444" y="732"/>
                      <a:pt x="435" y="739"/>
                    </a:cubicBezTo>
                    <a:cubicBezTo>
                      <a:pt x="426" y="747"/>
                      <a:pt x="422" y="771"/>
                      <a:pt x="414" y="751"/>
                    </a:cubicBezTo>
                    <a:cubicBezTo>
                      <a:pt x="407" y="734"/>
                      <a:pt x="420" y="717"/>
                      <a:pt x="426" y="701"/>
                    </a:cubicBezTo>
                    <a:cubicBezTo>
                      <a:pt x="429" y="695"/>
                      <a:pt x="434" y="689"/>
                      <a:pt x="436" y="682"/>
                    </a:cubicBezTo>
                    <a:cubicBezTo>
                      <a:pt x="438" y="673"/>
                      <a:pt x="429" y="663"/>
                      <a:pt x="427" y="655"/>
                    </a:cubicBezTo>
                    <a:cubicBezTo>
                      <a:pt x="426" y="647"/>
                      <a:pt x="433" y="632"/>
                      <a:pt x="431" y="628"/>
                    </a:cubicBezTo>
                    <a:cubicBezTo>
                      <a:pt x="431" y="629"/>
                      <a:pt x="420" y="625"/>
                      <a:pt x="418" y="623"/>
                    </a:cubicBezTo>
                    <a:cubicBezTo>
                      <a:pt x="412" y="616"/>
                      <a:pt x="411" y="594"/>
                      <a:pt x="409" y="584"/>
                    </a:cubicBezTo>
                    <a:cubicBezTo>
                      <a:pt x="406" y="567"/>
                      <a:pt x="405" y="561"/>
                      <a:pt x="394" y="548"/>
                    </a:cubicBezTo>
                    <a:cubicBezTo>
                      <a:pt x="384" y="537"/>
                      <a:pt x="383" y="524"/>
                      <a:pt x="367" y="530"/>
                    </a:cubicBezTo>
                    <a:cubicBezTo>
                      <a:pt x="350" y="536"/>
                      <a:pt x="357" y="555"/>
                      <a:pt x="344" y="565"/>
                    </a:cubicBezTo>
                    <a:cubicBezTo>
                      <a:pt x="335" y="573"/>
                      <a:pt x="322" y="585"/>
                      <a:pt x="313" y="567"/>
                    </a:cubicBezTo>
                    <a:cubicBezTo>
                      <a:pt x="310" y="561"/>
                      <a:pt x="312" y="555"/>
                      <a:pt x="310" y="549"/>
                    </a:cubicBezTo>
                    <a:cubicBezTo>
                      <a:pt x="307" y="543"/>
                      <a:pt x="302" y="534"/>
                      <a:pt x="299" y="528"/>
                    </a:cubicBezTo>
                    <a:cubicBezTo>
                      <a:pt x="295" y="518"/>
                      <a:pt x="295" y="517"/>
                      <a:pt x="294" y="507"/>
                    </a:cubicBezTo>
                    <a:cubicBezTo>
                      <a:pt x="293" y="497"/>
                      <a:pt x="293" y="501"/>
                      <a:pt x="288" y="494"/>
                    </a:cubicBezTo>
                    <a:cubicBezTo>
                      <a:pt x="283" y="487"/>
                      <a:pt x="282" y="485"/>
                      <a:pt x="279" y="477"/>
                    </a:cubicBezTo>
                    <a:cubicBezTo>
                      <a:pt x="275" y="470"/>
                      <a:pt x="273" y="462"/>
                      <a:pt x="266" y="457"/>
                    </a:cubicBezTo>
                    <a:cubicBezTo>
                      <a:pt x="253" y="447"/>
                      <a:pt x="259" y="457"/>
                      <a:pt x="244" y="460"/>
                    </a:cubicBezTo>
                    <a:cubicBezTo>
                      <a:pt x="231" y="463"/>
                      <a:pt x="225" y="457"/>
                      <a:pt x="213" y="468"/>
                    </a:cubicBezTo>
                    <a:cubicBezTo>
                      <a:pt x="201" y="481"/>
                      <a:pt x="184" y="496"/>
                      <a:pt x="173" y="509"/>
                    </a:cubicBezTo>
                    <a:cubicBezTo>
                      <a:pt x="168" y="515"/>
                      <a:pt x="168" y="521"/>
                      <a:pt x="157" y="518"/>
                    </a:cubicBezTo>
                    <a:cubicBezTo>
                      <a:pt x="151" y="516"/>
                      <a:pt x="151" y="506"/>
                      <a:pt x="141" y="512"/>
                    </a:cubicBezTo>
                    <a:cubicBezTo>
                      <a:pt x="135" y="516"/>
                      <a:pt x="134" y="534"/>
                      <a:pt x="125" y="519"/>
                    </a:cubicBezTo>
                    <a:cubicBezTo>
                      <a:pt x="121" y="513"/>
                      <a:pt x="126" y="507"/>
                      <a:pt x="124" y="500"/>
                    </a:cubicBezTo>
                    <a:cubicBezTo>
                      <a:pt x="120" y="486"/>
                      <a:pt x="91" y="479"/>
                      <a:pt x="100" y="461"/>
                    </a:cubicBezTo>
                    <a:cubicBezTo>
                      <a:pt x="101" y="458"/>
                      <a:pt x="107" y="460"/>
                      <a:pt x="109" y="458"/>
                    </a:cubicBezTo>
                    <a:cubicBezTo>
                      <a:pt x="111" y="454"/>
                      <a:pt x="110" y="449"/>
                      <a:pt x="113" y="446"/>
                    </a:cubicBezTo>
                    <a:cubicBezTo>
                      <a:pt x="116" y="441"/>
                      <a:pt x="123" y="438"/>
                      <a:pt x="127" y="436"/>
                    </a:cubicBezTo>
                    <a:cubicBezTo>
                      <a:pt x="135" y="432"/>
                      <a:pt x="159" y="424"/>
                      <a:pt x="153" y="412"/>
                    </a:cubicBezTo>
                    <a:cubicBezTo>
                      <a:pt x="150" y="405"/>
                      <a:pt x="137" y="411"/>
                      <a:pt x="130" y="405"/>
                    </a:cubicBezTo>
                    <a:cubicBezTo>
                      <a:pt x="128" y="403"/>
                      <a:pt x="130" y="398"/>
                      <a:pt x="130" y="398"/>
                    </a:cubicBezTo>
                    <a:cubicBezTo>
                      <a:pt x="127" y="395"/>
                      <a:pt x="125" y="396"/>
                      <a:pt x="121" y="394"/>
                    </a:cubicBezTo>
                    <a:cubicBezTo>
                      <a:pt x="117" y="393"/>
                      <a:pt x="111" y="394"/>
                      <a:pt x="108" y="391"/>
                    </a:cubicBezTo>
                    <a:cubicBezTo>
                      <a:pt x="104" y="387"/>
                      <a:pt x="109" y="387"/>
                      <a:pt x="108" y="384"/>
                    </a:cubicBezTo>
                    <a:cubicBezTo>
                      <a:pt x="104" y="378"/>
                      <a:pt x="107" y="376"/>
                      <a:pt x="101" y="374"/>
                    </a:cubicBezTo>
                    <a:cubicBezTo>
                      <a:pt x="94" y="372"/>
                      <a:pt x="77" y="376"/>
                      <a:pt x="69" y="376"/>
                    </a:cubicBezTo>
                    <a:cubicBezTo>
                      <a:pt x="56" y="375"/>
                      <a:pt x="60" y="371"/>
                      <a:pt x="49" y="363"/>
                    </a:cubicBezTo>
                    <a:cubicBezTo>
                      <a:pt x="39" y="357"/>
                      <a:pt x="32" y="360"/>
                      <a:pt x="32" y="347"/>
                    </a:cubicBezTo>
                    <a:cubicBezTo>
                      <a:pt x="31" y="335"/>
                      <a:pt x="39" y="337"/>
                      <a:pt x="29" y="329"/>
                    </a:cubicBezTo>
                    <a:cubicBezTo>
                      <a:pt x="31" y="330"/>
                      <a:pt x="21" y="328"/>
                      <a:pt x="21" y="328"/>
                    </a:cubicBezTo>
                    <a:cubicBezTo>
                      <a:pt x="22" y="328"/>
                      <a:pt x="16" y="322"/>
                      <a:pt x="16" y="322"/>
                    </a:cubicBezTo>
                    <a:cubicBezTo>
                      <a:pt x="12" y="320"/>
                      <a:pt x="4" y="324"/>
                      <a:pt x="2" y="314"/>
                    </a:cubicBezTo>
                    <a:cubicBezTo>
                      <a:pt x="0" y="303"/>
                      <a:pt x="17" y="292"/>
                      <a:pt x="22" y="285"/>
                    </a:cubicBezTo>
                    <a:cubicBezTo>
                      <a:pt x="25" y="281"/>
                      <a:pt x="23" y="278"/>
                      <a:pt x="27" y="275"/>
                    </a:cubicBezTo>
                    <a:cubicBezTo>
                      <a:pt x="31" y="271"/>
                      <a:pt x="39" y="270"/>
                      <a:pt x="44" y="266"/>
                    </a:cubicBezTo>
                    <a:cubicBezTo>
                      <a:pt x="55" y="257"/>
                      <a:pt x="58" y="242"/>
                      <a:pt x="68" y="233"/>
                    </a:cubicBezTo>
                    <a:cubicBezTo>
                      <a:pt x="80" y="223"/>
                      <a:pt x="94" y="226"/>
                      <a:pt x="107" y="220"/>
                    </a:cubicBezTo>
                    <a:cubicBezTo>
                      <a:pt x="109" y="219"/>
                      <a:pt x="110" y="215"/>
                      <a:pt x="111" y="214"/>
                    </a:cubicBezTo>
                    <a:cubicBezTo>
                      <a:pt x="117" y="212"/>
                      <a:pt x="125" y="213"/>
                      <a:pt x="131" y="211"/>
                    </a:cubicBezTo>
                    <a:cubicBezTo>
                      <a:pt x="139" y="207"/>
                      <a:pt x="138" y="199"/>
                      <a:pt x="150" y="202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</p:grpSp>
        <p:sp>
          <p:nvSpPr>
            <p:cNvPr id="21" name="Полилиния 209">
              <a:extLst>
                <a:ext uri="{FF2B5EF4-FFF2-40B4-BE49-F238E27FC236}">
                  <a16:creationId xmlns:a16="http://schemas.microsoft.com/office/drawing/2014/main" id="{7FC4FC1A-07E6-9534-EA7D-494A138BA74F}"/>
                </a:ext>
              </a:extLst>
            </p:cNvPr>
            <p:cNvSpPr/>
            <p:nvPr/>
          </p:nvSpPr>
          <p:spPr>
            <a:xfrm>
              <a:off x="1763778" y="1017266"/>
              <a:ext cx="3170259" cy="4137112"/>
            </a:xfrm>
            <a:custGeom>
              <a:avLst/>
              <a:gdLst>
                <a:gd name="connsiteX0" fmla="*/ 2536520 w 3901857"/>
                <a:gd name="connsiteY0" fmla="*/ 4997885 h 5091830"/>
                <a:gd name="connsiteX1" fmla="*/ 2536520 w 3901857"/>
                <a:gd name="connsiteY1" fmla="*/ 4997885 h 5091830"/>
                <a:gd name="connsiteX2" fmla="*/ 2536520 w 3901857"/>
                <a:gd name="connsiteY2" fmla="*/ 5073041 h 5091830"/>
                <a:gd name="connsiteX3" fmla="*/ 2549047 w 3901857"/>
                <a:gd name="connsiteY3" fmla="*/ 5085567 h 5091830"/>
                <a:gd name="connsiteX4" fmla="*/ 2567836 w 3901857"/>
                <a:gd name="connsiteY4" fmla="*/ 5091830 h 5091830"/>
                <a:gd name="connsiteX5" fmla="*/ 2642992 w 3901857"/>
                <a:gd name="connsiteY5" fmla="*/ 5073041 h 5091830"/>
                <a:gd name="connsiteX6" fmla="*/ 2649255 w 3901857"/>
                <a:gd name="connsiteY6" fmla="*/ 5054252 h 5091830"/>
                <a:gd name="connsiteX7" fmla="*/ 2649255 w 3901857"/>
                <a:gd name="connsiteY7" fmla="*/ 5035463 h 5091830"/>
                <a:gd name="connsiteX8" fmla="*/ 2649255 w 3901857"/>
                <a:gd name="connsiteY8" fmla="*/ 5029200 h 5091830"/>
                <a:gd name="connsiteX9" fmla="*/ 2699359 w 3901857"/>
                <a:gd name="connsiteY9" fmla="*/ 5047989 h 5091830"/>
                <a:gd name="connsiteX10" fmla="*/ 2787041 w 3901857"/>
                <a:gd name="connsiteY10" fmla="*/ 5041726 h 5091830"/>
                <a:gd name="connsiteX11" fmla="*/ 2805830 w 3901857"/>
                <a:gd name="connsiteY11" fmla="*/ 5035463 h 5091830"/>
                <a:gd name="connsiteX12" fmla="*/ 2837145 w 3901857"/>
                <a:gd name="connsiteY12" fmla="*/ 5029200 h 5091830"/>
                <a:gd name="connsiteX13" fmla="*/ 2880986 w 3901857"/>
                <a:gd name="connsiteY13" fmla="*/ 4997885 h 5091830"/>
                <a:gd name="connsiteX14" fmla="*/ 2918564 w 3901857"/>
                <a:gd name="connsiteY14" fmla="*/ 4972833 h 5091830"/>
                <a:gd name="connsiteX15" fmla="*/ 2937353 w 3901857"/>
                <a:gd name="connsiteY15" fmla="*/ 4947781 h 5091830"/>
                <a:gd name="connsiteX16" fmla="*/ 2949879 w 3901857"/>
                <a:gd name="connsiteY16" fmla="*/ 4928992 h 5091830"/>
                <a:gd name="connsiteX17" fmla="*/ 2987457 w 3901857"/>
                <a:gd name="connsiteY17" fmla="*/ 4885151 h 5091830"/>
                <a:gd name="connsiteX18" fmla="*/ 2993720 w 3901857"/>
                <a:gd name="connsiteY18" fmla="*/ 4860099 h 5091830"/>
                <a:gd name="connsiteX19" fmla="*/ 3006247 w 3901857"/>
                <a:gd name="connsiteY19" fmla="*/ 4847573 h 5091830"/>
                <a:gd name="connsiteX20" fmla="*/ 3025036 w 3901857"/>
                <a:gd name="connsiteY20" fmla="*/ 4822521 h 5091830"/>
                <a:gd name="connsiteX21" fmla="*/ 3043825 w 3901857"/>
                <a:gd name="connsiteY21" fmla="*/ 4803732 h 5091830"/>
                <a:gd name="connsiteX22" fmla="*/ 3081403 w 3901857"/>
                <a:gd name="connsiteY22" fmla="*/ 4759891 h 5091830"/>
                <a:gd name="connsiteX23" fmla="*/ 3087666 w 3901857"/>
                <a:gd name="connsiteY23" fmla="*/ 4741102 h 5091830"/>
                <a:gd name="connsiteX24" fmla="*/ 3112718 w 3901857"/>
                <a:gd name="connsiteY24" fmla="*/ 4703523 h 5091830"/>
                <a:gd name="connsiteX25" fmla="*/ 3118981 w 3901857"/>
                <a:gd name="connsiteY25" fmla="*/ 4678471 h 5091830"/>
                <a:gd name="connsiteX26" fmla="*/ 3131507 w 3901857"/>
                <a:gd name="connsiteY26" fmla="*/ 4659682 h 5091830"/>
                <a:gd name="connsiteX27" fmla="*/ 3137770 w 3901857"/>
                <a:gd name="connsiteY27" fmla="*/ 4640893 h 5091830"/>
                <a:gd name="connsiteX28" fmla="*/ 3150296 w 3901857"/>
                <a:gd name="connsiteY28" fmla="*/ 4615841 h 5091830"/>
                <a:gd name="connsiteX29" fmla="*/ 3169085 w 3901857"/>
                <a:gd name="connsiteY29" fmla="*/ 4553211 h 5091830"/>
                <a:gd name="connsiteX30" fmla="*/ 3187874 w 3901857"/>
                <a:gd name="connsiteY30" fmla="*/ 4496844 h 5091830"/>
                <a:gd name="connsiteX31" fmla="*/ 3194137 w 3901857"/>
                <a:gd name="connsiteY31" fmla="*/ 4478055 h 5091830"/>
                <a:gd name="connsiteX32" fmla="*/ 3200400 w 3901857"/>
                <a:gd name="connsiteY32" fmla="*/ 4434214 h 5091830"/>
                <a:gd name="connsiteX33" fmla="*/ 3206663 w 3901857"/>
                <a:gd name="connsiteY33" fmla="*/ 4409162 h 5091830"/>
                <a:gd name="connsiteX34" fmla="*/ 3219189 w 3901857"/>
                <a:gd name="connsiteY34" fmla="*/ 4321480 h 5091830"/>
                <a:gd name="connsiteX35" fmla="*/ 3225452 w 3901857"/>
                <a:gd name="connsiteY35" fmla="*/ 4246323 h 5091830"/>
                <a:gd name="connsiteX36" fmla="*/ 3225452 w 3901857"/>
                <a:gd name="connsiteY36" fmla="*/ 4152378 h 5091830"/>
                <a:gd name="connsiteX37" fmla="*/ 3200400 w 3901857"/>
                <a:gd name="connsiteY37" fmla="*/ 4152378 h 5091830"/>
                <a:gd name="connsiteX38" fmla="*/ 3851753 w 3901857"/>
                <a:gd name="connsiteY38" fmla="*/ 3382028 h 5091830"/>
                <a:gd name="connsiteX39" fmla="*/ 3864279 w 3901857"/>
                <a:gd name="connsiteY39" fmla="*/ 3325660 h 5091830"/>
                <a:gd name="connsiteX40" fmla="*/ 3876805 w 3901857"/>
                <a:gd name="connsiteY40" fmla="*/ 3306871 h 5091830"/>
                <a:gd name="connsiteX41" fmla="*/ 3883068 w 3901857"/>
                <a:gd name="connsiteY41" fmla="*/ 3281819 h 5091830"/>
                <a:gd name="connsiteX42" fmla="*/ 3876805 w 3901857"/>
                <a:gd name="connsiteY42" fmla="*/ 2799567 h 5091830"/>
                <a:gd name="connsiteX43" fmla="*/ 3864279 w 3901857"/>
                <a:gd name="connsiteY43" fmla="*/ 2780778 h 5091830"/>
                <a:gd name="connsiteX44" fmla="*/ 3839227 w 3901857"/>
                <a:gd name="connsiteY44" fmla="*/ 2768252 h 5091830"/>
                <a:gd name="connsiteX45" fmla="*/ 3757808 w 3901857"/>
                <a:gd name="connsiteY45" fmla="*/ 2761989 h 5091830"/>
                <a:gd name="connsiteX46" fmla="*/ 3757808 w 3901857"/>
                <a:gd name="connsiteY46" fmla="*/ 2761989 h 5091830"/>
                <a:gd name="connsiteX47" fmla="*/ 3832964 w 3901857"/>
                <a:gd name="connsiteY47" fmla="*/ 2711885 h 5091830"/>
                <a:gd name="connsiteX48" fmla="*/ 3839227 w 3901857"/>
                <a:gd name="connsiteY48" fmla="*/ 2693096 h 5091830"/>
                <a:gd name="connsiteX49" fmla="*/ 3851753 w 3901857"/>
                <a:gd name="connsiteY49" fmla="*/ 2674307 h 5091830"/>
                <a:gd name="connsiteX50" fmla="*/ 3851753 w 3901857"/>
                <a:gd name="connsiteY50" fmla="*/ 2586625 h 5091830"/>
                <a:gd name="connsiteX51" fmla="*/ 3851753 w 3901857"/>
                <a:gd name="connsiteY51" fmla="*/ 2542784 h 5091830"/>
                <a:gd name="connsiteX52" fmla="*/ 3864279 w 3901857"/>
                <a:gd name="connsiteY52" fmla="*/ 745299 h 5091830"/>
                <a:gd name="connsiteX53" fmla="*/ 3801649 w 3901857"/>
                <a:gd name="connsiteY53" fmla="*/ 695195 h 5091830"/>
                <a:gd name="connsiteX54" fmla="*/ 3764071 w 3901857"/>
                <a:gd name="connsiteY54" fmla="*/ 682669 h 5091830"/>
                <a:gd name="connsiteX55" fmla="*/ 3563655 w 3901857"/>
                <a:gd name="connsiteY55" fmla="*/ 688932 h 5091830"/>
                <a:gd name="connsiteX56" fmla="*/ 3507288 w 3901857"/>
                <a:gd name="connsiteY56" fmla="*/ 707721 h 5091830"/>
                <a:gd name="connsiteX57" fmla="*/ 3488499 w 3901857"/>
                <a:gd name="connsiteY57" fmla="*/ 713984 h 5091830"/>
                <a:gd name="connsiteX58" fmla="*/ 3469710 w 3901857"/>
                <a:gd name="connsiteY58" fmla="*/ 726510 h 5091830"/>
                <a:gd name="connsiteX59" fmla="*/ 3895594 w 3901857"/>
                <a:gd name="connsiteY59" fmla="*/ 369518 h 5091830"/>
                <a:gd name="connsiteX60" fmla="*/ 3901857 w 3901857"/>
                <a:gd name="connsiteY60" fmla="*/ 313151 h 5091830"/>
                <a:gd name="connsiteX61" fmla="*/ 3895594 w 3901857"/>
                <a:gd name="connsiteY61" fmla="*/ 118997 h 5091830"/>
                <a:gd name="connsiteX62" fmla="*/ 3889331 w 3901857"/>
                <a:gd name="connsiteY62" fmla="*/ 87682 h 5091830"/>
                <a:gd name="connsiteX63" fmla="*/ 3851753 w 3901857"/>
                <a:gd name="connsiteY63" fmla="*/ 12526 h 5091830"/>
                <a:gd name="connsiteX64" fmla="*/ 3764071 w 3901857"/>
                <a:gd name="connsiteY64" fmla="*/ 0 h 5091830"/>
                <a:gd name="connsiteX65" fmla="*/ 3638811 w 3901857"/>
                <a:gd name="connsiteY65" fmla="*/ 6263 h 5091830"/>
                <a:gd name="connsiteX66" fmla="*/ 3613759 w 3901857"/>
                <a:gd name="connsiteY66" fmla="*/ 12526 h 5091830"/>
                <a:gd name="connsiteX67" fmla="*/ 3557392 w 3901857"/>
                <a:gd name="connsiteY67" fmla="*/ 31315 h 5091830"/>
                <a:gd name="connsiteX68" fmla="*/ 3519814 w 3901857"/>
                <a:gd name="connsiteY68" fmla="*/ 50104 h 5091830"/>
                <a:gd name="connsiteX69" fmla="*/ 3501025 w 3901857"/>
                <a:gd name="connsiteY69" fmla="*/ 56367 h 5091830"/>
                <a:gd name="connsiteX70" fmla="*/ 3482236 w 3901857"/>
                <a:gd name="connsiteY70" fmla="*/ 68893 h 5091830"/>
                <a:gd name="connsiteX71" fmla="*/ 3457183 w 3901857"/>
                <a:gd name="connsiteY71" fmla="*/ 75156 h 5091830"/>
                <a:gd name="connsiteX72" fmla="*/ 2855934 w 3901857"/>
                <a:gd name="connsiteY72" fmla="*/ 269310 h 5091830"/>
                <a:gd name="connsiteX73" fmla="*/ 2586625 w 3901857"/>
                <a:gd name="connsiteY73" fmla="*/ 438411 h 5091830"/>
                <a:gd name="connsiteX74" fmla="*/ 2567836 w 3901857"/>
                <a:gd name="connsiteY74" fmla="*/ 488515 h 5091830"/>
                <a:gd name="connsiteX75" fmla="*/ 2586625 w 3901857"/>
                <a:gd name="connsiteY75" fmla="*/ 563671 h 5091830"/>
                <a:gd name="connsiteX76" fmla="*/ 2605414 w 3901857"/>
                <a:gd name="connsiteY76" fmla="*/ 569934 h 5091830"/>
                <a:gd name="connsiteX77" fmla="*/ 2624203 w 3901857"/>
                <a:gd name="connsiteY77" fmla="*/ 582460 h 5091830"/>
                <a:gd name="connsiteX78" fmla="*/ 2668044 w 3901857"/>
                <a:gd name="connsiteY78" fmla="*/ 594986 h 5091830"/>
                <a:gd name="connsiteX79" fmla="*/ 2705622 w 3901857"/>
                <a:gd name="connsiteY79" fmla="*/ 607512 h 5091830"/>
                <a:gd name="connsiteX80" fmla="*/ 2430049 w 3901857"/>
                <a:gd name="connsiteY80" fmla="*/ 594986 h 5091830"/>
                <a:gd name="connsiteX81" fmla="*/ 1252603 w 3901857"/>
                <a:gd name="connsiteY81" fmla="*/ 933189 h 5091830"/>
                <a:gd name="connsiteX82" fmla="*/ 1164920 w 3901857"/>
                <a:gd name="connsiteY82" fmla="*/ 989556 h 5091830"/>
                <a:gd name="connsiteX83" fmla="*/ 1146131 w 3901857"/>
                <a:gd name="connsiteY83" fmla="*/ 1058449 h 5091830"/>
                <a:gd name="connsiteX84" fmla="*/ 1033397 w 3901857"/>
                <a:gd name="connsiteY84" fmla="*/ 1321496 h 5091830"/>
                <a:gd name="connsiteX85" fmla="*/ 926926 w 3901857"/>
                <a:gd name="connsiteY85" fmla="*/ 1515649 h 5091830"/>
                <a:gd name="connsiteX86" fmla="*/ 933189 w 3901857"/>
                <a:gd name="connsiteY86" fmla="*/ 1515649 h 5091830"/>
                <a:gd name="connsiteX87" fmla="*/ 951978 w 3901857"/>
                <a:gd name="connsiteY87" fmla="*/ 1459282 h 5091830"/>
                <a:gd name="connsiteX88" fmla="*/ 951978 w 3901857"/>
                <a:gd name="connsiteY88" fmla="*/ 1315233 h 5091830"/>
                <a:gd name="connsiteX89" fmla="*/ 939452 w 3901857"/>
                <a:gd name="connsiteY89" fmla="*/ 1296444 h 5091830"/>
                <a:gd name="connsiteX90" fmla="*/ 920663 w 3901857"/>
                <a:gd name="connsiteY90" fmla="*/ 1271392 h 5091830"/>
                <a:gd name="connsiteX91" fmla="*/ 876822 w 3901857"/>
                <a:gd name="connsiteY91" fmla="*/ 1246340 h 5091830"/>
                <a:gd name="connsiteX92" fmla="*/ 839244 w 3901857"/>
                <a:gd name="connsiteY92" fmla="*/ 1221288 h 5091830"/>
                <a:gd name="connsiteX93" fmla="*/ 820455 w 3901857"/>
                <a:gd name="connsiteY93" fmla="*/ 1215025 h 5091830"/>
                <a:gd name="connsiteX94" fmla="*/ 801666 w 3901857"/>
                <a:gd name="connsiteY94" fmla="*/ 1202499 h 5091830"/>
                <a:gd name="connsiteX95" fmla="*/ 751562 w 3901857"/>
                <a:gd name="connsiteY95" fmla="*/ 1189973 h 5091830"/>
                <a:gd name="connsiteX96" fmla="*/ 732773 w 3901857"/>
                <a:gd name="connsiteY96" fmla="*/ 1183710 h 5091830"/>
                <a:gd name="connsiteX97" fmla="*/ 707720 w 3901857"/>
                <a:gd name="connsiteY97" fmla="*/ 1177447 h 5091830"/>
                <a:gd name="connsiteX98" fmla="*/ 688931 w 3901857"/>
                <a:gd name="connsiteY98" fmla="*/ 1171184 h 5091830"/>
                <a:gd name="connsiteX99" fmla="*/ 626301 w 3901857"/>
                <a:gd name="connsiteY99" fmla="*/ 1164921 h 5091830"/>
                <a:gd name="connsiteX100" fmla="*/ 263047 w 3901857"/>
                <a:gd name="connsiteY100" fmla="*/ 1171184 h 5091830"/>
                <a:gd name="connsiteX101" fmla="*/ 75156 w 3901857"/>
                <a:gd name="connsiteY101" fmla="*/ 1177447 h 5091830"/>
                <a:gd name="connsiteX102" fmla="*/ 0 w 3901857"/>
                <a:gd name="connsiteY102" fmla="*/ 1183710 h 5091830"/>
                <a:gd name="connsiteX0" fmla="*/ 2536520 w 3901857"/>
                <a:gd name="connsiteY0" fmla="*/ 4997885 h 5091830"/>
                <a:gd name="connsiteX1" fmla="*/ 2536520 w 3901857"/>
                <a:gd name="connsiteY1" fmla="*/ 4997885 h 5091830"/>
                <a:gd name="connsiteX2" fmla="*/ 2536520 w 3901857"/>
                <a:gd name="connsiteY2" fmla="*/ 5073041 h 5091830"/>
                <a:gd name="connsiteX3" fmla="*/ 2549047 w 3901857"/>
                <a:gd name="connsiteY3" fmla="*/ 5085567 h 5091830"/>
                <a:gd name="connsiteX4" fmla="*/ 2567836 w 3901857"/>
                <a:gd name="connsiteY4" fmla="*/ 5091830 h 5091830"/>
                <a:gd name="connsiteX5" fmla="*/ 2642992 w 3901857"/>
                <a:gd name="connsiteY5" fmla="*/ 5073041 h 5091830"/>
                <a:gd name="connsiteX6" fmla="*/ 2649255 w 3901857"/>
                <a:gd name="connsiteY6" fmla="*/ 5054252 h 5091830"/>
                <a:gd name="connsiteX7" fmla="*/ 2649255 w 3901857"/>
                <a:gd name="connsiteY7" fmla="*/ 5035463 h 5091830"/>
                <a:gd name="connsiteX8" fmla="*/ 2649255 w 3901857"/>
                <a:gd name="connsiteY8" fmla="*/ 5029200 h 5091830"/>
                <a:gd name="connsiteX9" fmla="*/ 2699359 w 3901857"/>
                <a:gd name="connsiteY9" fmla="*/ 5047989 h 5091830"/>
                <a:gd name="connsiteX10" fmla="*/ 2787041 w 3901857"/>
                <a:gd name="connsiteY10" fmla="*/ 5041726 h 5091830"/>
                <a:gd name="connsiteX11" fmla="*/ 2805830 w 3901857"/>
                <a:gd name="connsiteY11" fmla="*/ 5035463 h 5091830"/>
                <a:gd name="connsiteX12" fmla="*/ 2837145 w 3901857"/>
                <a:gd name="connsiteY12" fmla="*/ 5029200 h 5091830"/>
                <a:gd name="connsiteX13" fmla="*/ 2880986 w 3901857"/>
                <a:gd name="connsiteY13" fmla="*/ 4997885 h 5091830"/>
                <a:gd name="connsiteX14" fmla="*/ 2918564 w 3901857"/>
                <a:gd name="connsiteY14" fmla="*/ 4972833 h 5091830"/>
                <a:gd name="connsiteX15" fmla="*/ 2937353 w 3901857"/>
                <a:gd name="connsiteY15" fmla="*/ 4947781 h 5091830"/>
                <a:gd name="connsiteX16" fmla="*/ 2949879 w 3901857"/>
                <a:gd name="connsiteY16" fmla="*/ 4928992 h 5091830"/>
                <a:gd name="connsiteX17" fmla="*/ 2987457 w 3901857"/>
                <a:gd name="connsiteY17" fmla="*/ 4885151 h 5091830"/>
                <a:gd name="connsiteX18" fmla="*/ 2993720 w 3901857"/>
                <a:gd name="connsiteY18" fmla="*/ 4860099 h 5091830"/>
                <a:gd name="connsiteX19" fmla="*/ 3006247 w 3901857"/>
                <a:gd name="connsiteY19" fmla="*/ 4847573 h 5091830"/>
                <a:gd name="connsiteX20" fmla="*/ 3025036 w 3901857"/>
                <a:gd name="connsiteY20" fmla="*/ 4822521 h 5091830"/>
                <a:gd name="connsiteX21" fmla="*/ 3043825 w 3901857"/>
                <a:gd name="connsiteY21" fmla="*/ 4803732 h 5091830"/>
                <a:gd name="connsiteX22" fmla="*/ 3081403 w 3901857"/>
                <a:gd name="connsiteY22" fmla="*/ 4759891 h 5091830"/>
                <a:gd name="connsiteX23" fmla="*/ 3087666 w 3901857"/>
                <a:gd name="connsiteY23" fmla="*/ 4741102 h 5091830"/>
                <a:gd name="connsiteX24" fmla="*/ 3112718 w 3901857"/>
                <a:gd name="connsiteY24" fmla="*/ 4703523 h 5091830"/>
                <a:gd name="connsiteX25" fmla="*/ 3118981 w 3901857"/>
                <a:gd name="connsiteY25" fmla="*/ 4678471 h 5091830"/>
                <a:gd name="connsiteX26" fmla="*/ 3131507 w 3901857"/>
                <a:gd name="connsiteY26" fmla="*/ 4659682 h 5091830"/>
                <a:gd name="connsiteX27" fmla="*/ 3137770 w 3901857"/>
                <a:gd name="connsiteY27" fmla="*/ 4640893 h 5091830"/>
                <a:gd name="connsiteX28" fmla="*/ 3150296 w 3901857"/>
                <a:gd name="connsiteY28" fmla="*/ 4615841 h 5091830"/>
                <a:gd name="connsiteX29" fmla="*/ 3169085 w 3901857"/>
                <a:gd name="connsiteY29" fmla="*/ 4553211 h 5091830"/>
                <a:gd name="connsiteX30" fmla="*/ 3187874 w 3901857"/>
                <a:gd name="connsiteY30" fmla="*/ 4496844 h 5091830"/>
                <a:gd name="connsiteX31" fmla="*/ 3194137 w 3901857"/>
                <a:gd name="connsiteY31" fmla="*/ 4478055 h 5091830"/>
                <a:gd name="connsiteX32" fmla="*/ 3200400 w 3901857"/>
                <a:gd name="connsiteY32" fmla="*/ 4434214 h 5091830"/>
                <a:gd name="connsiteX33" fmla="*/ 3206663 w 3901857"/>
                <a:gd name="connsiteY33" fmla="*/ 4409162 h 5091830"/>
                <a:gd name="connsiteX34" fmla="*/ 3219189 w 3901857"/>
                <a:gd name="connsiteY34" fmla="*/ 4321480 h 5091830"/>
                <a:gd name="connsiteX35" fmla="*/ 3225452 w 3901857"/>
                <a:gd name="connsiteY35" fmla="*/ 4246323 h 5091830"/>
                <a:gd name="connsiteX36" fmla="*/ 3225452 w 3901857"/>
                <a:gd name="connsiteY36" fmla="*/ 4152378 h 5091830"/>
                <a:gd name="connsiteX37" fmla="*/ 3156559 w 3901857"/>
                <a:gd name="connsiteY37" fmla="*/ 4152378 h 5091830"/>
                <a:gd name="connsiteX38" fmla="*/ 3851753 w 3901857"/>
                <a:gd name="connsiteY38" fmla="*/ 3382028 h 5091830"/>
                <a:gd name="connsiteX39" fmla="*/ 3864279 w 3901857"/>
                <a:gd name="connsiteY39" fmla="*/ 3325660 h 5091830"/>
                <a:gd name="connsiteX40" fmla="*/ 3876805 w 3901857"/>
                <a:gd name="connsiteY40" fmla="*/ 3306871 h 5091830"/>
                <a:gd name="connsiteX41" fmla="*/ 3883068 w 3901857"/>
                <a:gd name="connsiteY41" fmla="*/ 3281819 h 5091830"/>
                <a:gd name="connsiteX42" fmla="*/ 3876805 w 3901857"/>
                <a:gd name="connsiteY42" fmla="*/ 2799567 h 5091830"/>
                <a:gd name="connsiteX43" fmla="*/ 3864279 w 3901857"/>
                <a:gd name="connsiteY43" fmla="*/ 2780778 h 5091830"/>
                <a:gd name="connsiteX44" fmla="*/ 3839227 w 3901857"/>
                <a:gd name="connsiteY44" fmla="*/ 2768252 h 5091830"/>
                <a:gd name="connsiteX45" fmla="*/ 3757808 w 3901857"/>
                <a:gd name="connsiteY45" fmla="*/ 2761989 h 5091830"/>
                <a:gd name="connsiteX46" fmla="*/ 3757808 w 3901857"/>
                <a:gd name="connsiteY46" fmla="*/ 2761989 h 5091830"/>
                <a:gd name="connsiteX47" fmla="*/ 3832964 w 3901857"/>
                <a:gd name="connsiteY47" fmla="*/ 2711885 h 5091830"/>
                <a:gd name="connsiteX48" fmla="*/ 3839227 w 3901857"/>
                <a:gd name="connsiteY48" fmla="*/ 2693096 h 5091830"/>
                <a:gd name="connsiteX49" fmla="*/ 3851753 w 3901857"/>
                <a:gd name="connsiteY49" fmla="*/ 2674307 h 5091830"/>
                <a:gd name="connsiteX50" fmla="*/ 3851753 w 3901857"/>
                <a:gd name="connsiteY50" fmla="*/ 2586625 h 5091830"/>
                <a:gd name="connsiteX51" fmla="*/ 3851753 w 3901857"/>
                <a:gd name="connsiteY51" fmla="*/ 2542784 h 5091830"/>
                <a:gd name="connsiteX52" fmla="*/ 3864279 w 3901857"/>
                <a:gd name="connsiteY52" fmla="*/ 745299 h 5091830"/>
                <a:gd name="connsiteX53" fmla="*/ 3801649 w 3901857"/>
                <a:gd name="connsiteY53" fmla="*/ 695195 h 5091830"/>
                <a:gd name="connsiteX54" fmla="*/ 3764071 w 3901857"/>
                <a:gd name="connsiteY54" fmla="*/ 682669 h 5091830"/>
                <a:gd name="connsiteX55" fmla="*/ 3563655 w 3901857"/>
                <a:gd name="connsiteY55" fmla="*/ 688932 h 5091830"/>
                <a:gd name="connsiteX56" fmla="*/ 3507288 w 3901857"/>
                <a:gd name="connsiteY56" fmla="*/ 707721 h 5091830"/>
                <a:gd name="connsiteX57" fmla="*/ 3488499 w 3901857"/>
                <a:gd name="connsiteY57" fmla="*/ 713984 h 5091830"/>
                <a:gd name="connsiteX58" fmla="*/ 3469710 w 3901857"/>
                <a:gd name="connsiteY58" fmla="*/ 726510 h 5091830"/>
                <a:gd name="connsiteX59" fmla="*/ 3895594 w 3901857"/>
                <a:gd name="connsiteY59" fmla="*/ 369518 h 5091830"/>
                <a:gd name="connsiteX60" fmla="*/ 3901857 w 3901857"/>
                <a:gd name="connsiteY60" fmla="*/ 313151 h 5091830"/>
                <a:gd name="connsiteX61" fmla="*/ 3895594 w 3901857"/>
                <a:gd name="connsiteY61" fmla="*/ 118997 h 5091830"/>
                <a:gd name="connsiteX62" fmla="*/ 3889331 w 3901857"/>
                <a:gd name="connsiteY62" fmla="*/ 87682 h 5091830"/>
                <a:gd name="connsiteX63" fmla="*/ 3851753 w 3901857"/>
                <a:gd name="connsiteY63" fmla="*/ 12526 h 5091830"/>
                <a:gd name="connsiteX64" fmla="*/ 3764071 w 3901857"/>
                <a:gd name="connsiteY64" fmla="*/ 0 h 5091830"/>
                <a:gd name="connsiteX65" fmla="*/ 3638811 w 3901857"/>
                <a:gd name="connsiteY65" fmla="*/ 6263 h 5091830"/>
                <a:gd name="connsiteX66" fmla="*/ 3613759 w 3901857"/>
                <a:gd name="connsiteY66" fmla="*/ 12526 h 5091830"/>
                <a:gd name="connsiteX67" fmla="*/ 3557392 w 3901857"/>
                <a:gd name="connsiteY67" fmla="*/ 31315 h 5091830"/>
                <a:gd name="connsiteX68" fmla="*/ 3519814 w 3901857"/>
                <a:gd name="connsiteY68" fmla="*/ 50104 h 5091830"/>
                <a:gd name="connsiteX69" fmla="*/ 3501025 w 3901857"/>
                <a:gd name="connsiteY69" fmla="*/ 56367 h 5091830"/>
                <a:gd name="connsiteX70" fmla="*/ 3482236 w 3901857"/>
                <a:gd name="connsiteY70" fmla="*/ 68893 h 5091830"/>
                <a:gd name="connsiteX71" fmla="*/ 3457183 w 3901857"/>
                <a:gd name="connsiteY71" fmla="*/ 75156 h 5091830"/>
                <a:gd name="connsiteX72" fmla="*/ 2855934 w 3901857"/>
                <a:gd name="connsiteY72" fmla="*/ 269310 h 5091830"/>
                <a:gd name="connsiteX73" fmla="*/ 2586625 w 3901857"/>
                <a:gd name="connsiteY73" fmla="*/ 438411 h 5091830"/>
                <a:gd name="connsiteX74" fmla="*/ 2567836 w 3901857"/>
                <a:gd name="connsiteY74" fmla="*/ 488515 h 5091830"/>
                <a:gd name="connsiteX75" fmla="*/ 2586625 w 3901857"/>
                <a:gd name="connsiteY75" fmla="*/ 563671 h 5091830"/>
                <a:gd name="connsiteX76" fmla="*/ 2605414 w 3901857"/>
                <a:gd name="connsiteY76" fmla="*/ 569934 h 5091830"/>
                <a:gd name="connsiteX77" fmla="*/ 2624203 w 3901857"/>
                <a:gd name="connsiteY77" fmla="*/ 582460 h 5091830"/>
                <a:gd name="connsiteX78" fmla="*/ 2668044 w 3901857"/>
                <a:gd name="connsiteY78" fmla="*/ 594986 h 5091830"/>
                <a:gd name="connsiteX79" fmla="*/ 2705622 w 3901857"/>
                <a:gd name="connsiteY79" fmla="*/ 607512 h 5091830"/>
                <a:gd name="connsiteX80" fmla="*/ 2430049 w 3901857"/>
                <a:gd name="connsiteY80" fmla="*/ 594986 h 5091830"/>
                <a:gd name="connsiteX81" fmla="*/ 1252603 w 3901857"/>
                <a:gd name="connsiteY81" fmla="*/ 933189 h 5091830"/>
                <a:gd name="connsiteX82" fmla="*/ 1164920 w 3901857"/>
                <a:gd name="connsiteY82" fmla="*/ 989556 h 5091830"/>
                <a:gd name="connsiteX83" fmla="*/ 1146131 w 3901857"/>
                <a:gd name="connsiteY83" fmla="*/ 1058449 h 5091830"/>
                <a:gd name="connsiteX84" fmla="*/ 1033397 w 3901857"/>
                <a:gd name="connsiteY84" fmla="*/ 1321496 h 5091830"/>
                <a:gd name="connsiteX85" fmla="*/ 926926 w 3901857"/>
                <a:gd name="connsiteY85" fmla="*/ 1515649 h 5091830"/>
                <a:gd name="connsiteX86" fmla="*/ 933189 w 3901857"/>
                <a:gd name="connsiteY86" fmla="*/ 1515649 h 5091830"/>
                <a:gd name="connsiteX87" fmla="*/ 951978 w 3901857"/>
                <a:gd name="connsiteY87" fmla="*/ 1459282 h 5091830"/>
                <a:gd name="connsiteX88" fmla="*/ 951978 w 3901857"/>
                <a:gd name="connsiteY88" fmla="*/ 1315233 h 5091830"/>
                <a:gd name="connsiteX89" fmla="*/ 939452 w 3901857"/>
                <a:gd name="connsiteY89" fmla="*/ 1296444 h 5091830"/>
                <a:gd name="connsiteX90" fmla="*/ 920663 w 3901857"/>
                <a:gd name="connsiteY90" fmla="*/ 1271392 h 5091830"/>
                <a:gd name="connsiteX91" fmla="*/ 876822 w 3901857"/>
                <a:gd name="connsiteY91" fmla="*/ 1246340 h 5091830"/>
                <a:gd name="connsiteX92" fmla="*/ 839244 w 3901857"/>
                <a:gd name="connsiteY92" fmla="*/ 1221288 h 5091830"/>
                <a:gd name="connsiteX93" fmla="*/ 820455 w 3901857"/>
                <a:gd name="connsiteY93" fmla="*/ 1215025 h 5091830"/>
                <a:gd name="connsiteX94" fmla="*/ 801666 w 3901857"/>
                <a:gd name="connsiteY94" fmla="*/ 1202499 h 5091830"/>
                <a:gd name="connsiteX95" fmla="*/ 751562 w 3901857"/>
                <a:gd name="connsiteY95" fmla="*/ 1189973 h 5091830"/>
                <a:gd name="connsiteX96" fmla="*/ 732773 w 3901857"/>
                <a:gd name="connsiteY96" fmla="*/ 1183710 h 5091830"/>
                <a:gd name="connsiteX97" fmla="*/ 707720 w 3901857"/>
                <a:gd name="connsiteY97" fmla="*/ 1177447 h 5091830"/>
                <a:gd name="connsiteX98" fmla="*/ 688931 w 3901857"/>
                <a:gd name="connsiteY98" fmla="*/ 1171184 h 5091830"/>
                <a:gd name="connsiteX99" fmla="*/ 626301 w 3901857"/>
                <a:gd name="connsiteY99" fmla="*/ 1164921 h 5091830"/>
                <a:gd name="connsiteX100" fmla="*/ 263047 w 3901857"/>
                <a:gd name="connsiteY100" fmla="*/ 1171184 h 5091830"/>
                <a:gd name="connsiteX101" fmla="*/ 75156 w 3901857"/>
                <a:gd name="connsiteY101" fmla="*/ 1177447 h 5091830"/>
                <a:gd name="connsiteX102" fmla="*/ 0 w 3901857"/>
                <a:gd name="connsiteY102" fmla="*/ 1183710 h 5091830"/>
                <a:gd name="connsiteX0" fmla="*/ 2536520 w 3901857"/>
                <a:gd name="connsiteY0" fmla="*/ 4997885 h 5091830"/>
                <a:gd name="connsiteX1" fmla="*/ 2536520 w 3901857"/>
                <a:gd name="connsiteY1" fmla="*/ 4997885 h 5091830"/>
                <a:gd name="connsiteX2" fmla="*/ 2536520 w 3901857"/>
                <a:gd name="connsiteY2" fmla="*/ 5073041 h 5091830"/>
                <a:gd name="connsiteX3" fmla="*/ 2549047 w 3901857"/>
                <a:gd name="connsiteY3" fmla="*/ 5085567 h 5091830"/>
                <a:gd name="connsiteX4" fmla="*/ 2567836 w 3901857"/>
                <a:gd name="connsiteY4" fmla="*/ 5091830 h 5091830"/>
                <a:gd name="connsiteX5" fmla="*/ 2642992 w 3901857"/>
                <a:gd name="connsiteY5" fmla="*/ 5073041 h 5091830"/>
                <a:gd name="connsiteX6" fmla="*/ 2649255 w 3901857"/>
                <a:gd name="connsiteY6" fmla="*/ 5054252 h 5091830"/>
                <a:gd name="connsiteX7" fmla="*/ 2649255 w 3901857"/>
                <a:gd name="connsiteY7" fmla="*/ 5035463 h 5091830"/>
                <a:gd name="connsiteX8" fmla="*/ 2649255 w 3901857"/>
                <a:gd name="connsiteY8" fmla="*/ 5029200 h 5091830"/>
                <a:gd name="connsiteX9" fmla="*/ 2699359 w 3901857"/>
                <a:gd name="connsiteY9" fmla="*/ 5047989 h 5091830"/>
                <a:gd name="connsiteX10" fmla="*/ 2787041 w 3901857"/>
                <a:gd name="connsiteY10" fmla="*/ 5041726 h 5091830"/>
                <a:gd name="connsiteX11" fmla="*/ 2805830 w 3901857"/>
                <a:gd name="connsiteY11" fmla="*/ 5035463 h 5091830"/>
                <a:gd name="connsiteX12" fmla="*/ 2837145 w 3901857"/>
                <a:gd name="connsiteY12" fmla="*/ 5029200 h 5091830"/>
                <a:gd name="connsiteX13" fmla="*/ 2880986 w 3901857"/>
                <a:gd name="connsiteY13" fmla="*/ 4997885 h 5091830"/>
                <a:gd name="connsiteX14" fmla="*/ 2918564 w 3901857"/>
                <a:gd name="connsiteY14" fmla="*/ 4972833 h 5091830"/>
                <a:gd name="connsiteX15" fmla="*/ 2937353 w 3901857"/>
                <a:gd name="connsiteY15" fmla="*/ 4947781 h 5091830"/>
                <a:gd name="connsiteX16" fmla="*/ 2949879 w 3901857"/>
                <a:gd name="connsiteY16" fmla="*/ 4928992 h 5091830"/>
                <a:gd name="connsiteX17" fmla="*/ 2987457 w 3901857"/>
                <a:gd name="connsiteY17" fmla="*/ 4885151 h 5091830"/>
                <a:gd name="connsiteX18" fmla="*/ 2993720 w 3901857"/>
                <a:gd name="connsiteY18" fmla="*/ 4860099 h 5091830"/>
                <a:gd name="connsiteX19" fmla="*/ 3006247 w 3901857"/>
                <a:gd name="connsiteY19" fmla="*/ 4847573 h 5091830"/>
                <a:gd name="connsiteX20" fmla="*/ 3025036 w 3901857"/>
                <a:gd name="connsiteY20" fmla="*/ 4822521 h 5091830"/>
                <a:gd name="connsiteX21" fmla="*/ 3043825 w 3901857"/>
                <a:gd name="connsiteY21" fmla="*/ 4803732 h 5091830"/>
                <a:gd name="connsiteX22" fmla="*/ 3081403 w 3901857"/>
                <a:gd name="connsiteY22" fmla="*/ 4759891 h 5091830"/>
                <a:gd name="connsiteX23" fmla="*/ 3087666 w 3901857"/>
                <a:gd name="connsiteY23" fmla="*/ 4741102 h 5091830"/>
                <a:gd name="connsiteX24" fmla="*/ 3112718 w 3901857"/>
                <a:gd name="connsiteY24" fmla="*/ 4703523 h 5091830"/>
                <a:gd name="connsiteX25" fmla="*/ 3118981 w 3901857"/>
                <a:gd name="connsiteY25" fmla="*/ 4678471 h 5091830"/>
                <a:gd name="connsiteX26" fmla="*/ 3131507 w 3901857"/>
                <a:gd name="connsiteY26" fmla="*/ 4659682 h 5091830"/>
                <a:gd name="connsiteX27" fmla="*/ 3137770 w 3901857"/>
                <a:gd name="connsiteY27" fmla="*/ 4640893 h 5091830"/>
                <a:gd name="connsiteX28" fmla="*/ 3150296 w 3901857"/>
                <a:gd name="connsiteY28" fmla="*/ 4615841 h 5091830"/>
                <a:gd name="connsiteX29" fmla="*/ 3169085 w 3901857"/>
                <a:gd name="connsiteY29" fmla="*/ 4553211 h 5091830"/>
                <a:gd name="connsiteX30" fmla="*/ 3187874 w 3901857"/>
                <a:gd name="connsiteY30" fmla="*/ 4496844 h 5091830"/>
                <a:gd name="connsiteX31" fmla="*/ 3194137 w 3901857"/>
                <a:gd name="connsiteY31" fmla="*/ 4478055 h 5091830"/>
                <a:gd name="connsiteX32" fmla="*/ 3200400 w 3901857"/>
                <a:gd name="connsiteY32" fmla="*/ 4434214 h 5091830"/>
                <a:gd name="connsiteX33" fmla="*/ 3206663 w 3901857"/>
                <a:gd name="connsiteY33" fmla="*/ 4409162 h 5091830"/>
                <a:gd name="connsiteX34" fmla="*/ 3219189 w 3901857"/>
                <a:gd name="connsiteY34" fmla="*/ 4321480 h 5091830"/>
                <a:gd name="connsiteX35" fmla="*/ 3225452 w 3901857"/>
                <a:gd name="connsiteY35" fmla="*/ 4246323 h 5091830"/>
                <a:gd name="connsiteX36" fmla="*/ 3219189 w 3901857"/>
                <a:gd name="connsiteY36" fmla="*/ 4183693 h 5091830"/>
                <a:gd name="connsiteX37" fmla="*/ 3156559 w 3901857"/>
                <a:gd name="connsiteY37" fmla="*/ 4152378 h 5091830"/>
                <a:gd name="connsiteX38" fmla="*/ 3851753 w 3901857"/>
                <a:gd name="connsiteY38" fmla="*/ 3382028 h 5091830"/>
                <a:gd name="connsiteX39" fmla="*/ 3864279 w 3901857"/>
                <a:gd name="connsiteY39" fmla="*/ 3325660 h 5091830"/>
                <a:gd name="connsiteX40" fmla="*/ 3876805 w 3901857"/>
                <a:gd name="connsiteY40" fmla="*/ 3306871 h 5091830"/>
                <a:gd name="connsiteX41" fmla="*/ 3883068 w 3901857"/>
                <a:gd name="connsiteY41" fmla="*/ 3281819 h 5091830"/>
                <a:gd name="connsiteX42" fmla="*/ 3876805 w 3901857"/>
                <a:gd name="connsiteY42" fmla="*/ 2799567 h 5091830"/>
                <a:gd name="connsiteX43" fmla="*/ 3864279 w 3901857"/>
                <a:gd name="connsiteY43" fmla="*/ 2780778 h 5091830"/>
                <a:gd name="connsiteX44" fmla="*/ 3839227 w 3901857"/>
                <a:gd name="connsiteY44" fmla="*/ 2768252 h 5091830"/>
                <a:gd name="connsiteX45" fmla="*/ 3757808 w 3901857"/>
                <a:gd name="connsiteY45" fmla="*/ 2761989 h 5091830"/>
                <a:gd name="connsiteX46" fmla="*/ 3757808 w 3901857"/>
                <a:gd name="connsiteY46" fmla="*/ 2761989 h 5091830"/>
                <a:gd name="connsiteX47" fmla="*/ 3832964 w 3901857"/>
                <a:gd name="connsiteY47" fmla="*/ 2711885 h 5091830"/>
                <a:gd name="connsiteX48" fmla="*/ 3839227 w 3901857"/>
                <a:gd name="connsiteY48" fmla="*/ 2693096 h 5091830"/>
                <a:gd name="connsiteX49" fmla="*/ 3851753 w 3901857"/>
                <a:gd name="connsiteY49" fmla="*/ 2674307 h 5091830"/>
                <a:gd name="connsiteX50" fmla="*/ 3851753 w 3901857"/>
                <a:gd name="connsiteY50" fmla="*/ 2586625 h 5091830"/>
                <a:gd name="connsiteX51" fmla="*/ 3851753 w 3901857"/>
                <a:gd name="connsiteY51" fmla="*/ 2542784 h 5091830"/>
                <a:gd name="connsiteX52" fmla="*/ 3864279 w 3901857"/>
                <a:gd name="connsiteY52" fmla="*/ 745299 h 5091830"/>
                <a:gd name="connsiteX53" fmla="*/ 3801649 w 3901857"/>
                <a:gd name="connsiteY53" fmla="*/ 695195 h 5091830"/>
                <a:gd name="connsiteX54" fmla="*/ 3764071 w 3901857"/>
                <a:gd name="connsiteY54" fmla="*/ 682669 h 5091830"/>
                <a:gd name="connsiteX55" fmla="*/ 3563655 w 3901857"/>
                <a:gd name="connsiteY55" fmla="*/ 688932 h 5091830"/>
                <a:gd name="connsiteX56" fmla="*/ 3507288 w 3901857"/>
                <a:gd name="connsiteY56" fmla="*/ 707721 h 5091830"/>
                <a:gd name="connsiteX57" fmla="*/ 3488499 w 3901857"/>
                <a:gd name="connsiteY57" fmla="*/ 713984 h 5091830"/>
                <a:gd name="connsiteX58" fmla="*/ 3469710 w 3901857"/>
                <a:gd name="connsiteY58" fmla="*/ 726510 h 5091830"/>
                <a:gd name="connsiteX59" fmla="*/ 3895594 w 3901857"/>
                <a:gd name="connsiteY59" fmla="*/ 369518 h 5091830"/>
                <a:gd name="connsiteX60" fmla="*/ 3901857 w 3901857"/>
                <a:gd name="connsiteY60" fmla="*/ 313151 h 5091830"/>
                <a:gd name="connsiteX61" fmla="*/ 3895594 w 3901857"/>
                <a:gd name="connsiteY61" fmla="*/ 118997 h 5091830"/>
                <a:gd name="connsiteX62" fmla="*/ 3889331 w 3901857"/>
                <a:gd name="connsiteY62" fmla="*/ 87682 h 5091830"/>
                <a:gd name="connsiteX63" fmla="*/ 3851753 w 3901857"/>
                <a:gd name="connsiteY63" fmla="*/ 12526 h 5091830"/>
                <a:gd name="connsiteX64" fmla="*/ 3764071 w 3901857"/>
                <a:gd name="connsiteY64" fmla="*/ 0 h 5091830"/>
                <a:gd name="connsiteX65" fmla="*/ 3638811 w 3901857"/>
                <a:gd name="connsiteY65" fmla="*/ 6263 h 5091830"/>
                <a:gd name="connsiteX66" fmla="*/ 3613759 w 3901857"/>
                <a:gd name="connsiteY66" fmla="*/ 12526 h 5091830"/>
                <a:gd name="connsiteX67" fmla="*/ 3557392 w 3901857"/>
                <a:gd name="connsiteY67" fmla="*/ 31315 h 5091830"/>
                <a:gd name="connsiteX68" fmla="*/ 3519814 w 3901857"/>
                <a:gd name="connsiteY68" fmla="*/ 50104 h 5091830"/>
                <a:gd name="connsiteX69" fmla="*/ 3501025 w 3901857"/>
                <a:gd name="connsiteY69" fmla="*/ 56367 h 5091830"/>
                <a:gd name="connsiteX70" fmla="*/ 3482236 w 3901857"/>
                <a:gd name="connsiteY70" fmla="*/ 68893 h 5091830"/>
                <a:gd name="connsiteX71" fmla="*/ 3457183 w 3901857"/>
                <a:gd name="connsiteY71" fmla="*/ 75156 h 5091830"/>
                <a:gd name="connsiteX72" fmla="*/ 2855934 w 3901857"/>
                <a:gd name="connsiteY72" fmla="*/ 269310 h 5091830"/>
                <a:gd name="connsiteX73" fmla="*/ 2586625 w 3901857"/>
                <a:gd name="connsiteY73" fmla="*/ 438411 h 5091830"/>
                <a:gd name="connsiteX74" fmla="*/ 2567836 w 3901857"/>
                <a:gd name="connsiteY74" fmla="*/ 488515 h 5091830"/>
                <a:gd name="connsiteX75" fmla="*/ 2586625 w 3901857"/>
                <a:gd name="connsiteY75" fmla="*/ 563671 h 5091830"/>
                <a:gd name="connsiteX76" fmla="*/ 2605414 w 3901857"/>
                <a:gd name="connsiteY76" fmla="*/ 569934 h 5091830"/>
                <a:gd name="connsiteX77" fmla="*/ 2624203 w 3901857"/>
                <a:gd name="connsiteY77" fmla="*/ 582460 h 5091830"/>
                <a:gd name="connsiteX78" fmla="*/ 2668044 w 3901857"/>
                <a:gd name="connsiteY78" fmla="*/ 594986 h 5091830"/>
                <a:gd name="connsiteX79" fmla="*/ 2705622 w 3901857"/>
                <a:gd name="connsiteY79" fmla="*/ 607512 h 5091830"/>
                <a:gd name="connsiteX80" fmla="*/ 2430049 w 3901857"/>
                <a:gd name="connsiteY80" fmla="*/ 594986 h 5091830"/>
                <a:gd name="connsiteX81" fmla="*/ 1252603 w 3901857"/>
                <a:gd name="connsiteY81" fmla="*/ 933189 h 5091830"/>
                <a:gd name="connsiteX82" fmla="*/ 1164920 w 3901857"/>
                <a:gd name="connsiteY82" fmla="*/ 989556 h 5091830"/>
                <a:gd name="connsiteX83" fmla="*/ 1146131 w 3901857"/>
                <a:gd name="connsiteY83" fmla="*/ 1058449 h 5091830"/>
                <a:gd name="connsiteX84" fmla="*/ 1033397 w 3901857"/>
                <a:gd name="connsiteY84" fmla="*/ 1321496 h 5091830"/>
                <a:gd name="connsiteX85" fmla="*/ 926926 w 3901857"/>
                <a:gd name="connsiteY85" fmla="*/ 1515649 h 5091830"/>
                <a:gd name="connsiteX86" fmla="*/ 933189 w 3901857"/>
                <a:gd name="connsiteY86" fmla="*/ 1515649 h 5091830"/>
                <a:gd name="connsiteX87" fmla="*/ 951978 w 3901857"/>
                <a:gd name="connsiteY87" fmla="*/ 1459282 h 5091830"/>
                <a:gd name="connsiteX88" fmla="*/ 951978 w 3901857"/>
                <a:gd name="connsiteY88" fmla="*/ 1315233 h 5091830"/>
                <a:gd name="connsiteX89" fmla="*/ 939452 w 3901857"/>
                <a:gd name="connsiteY89" fmla="*/ 1296444 h 5091830"/>
                <a:gd name="connsiteX90" fmla="*/ 920663 w 3901857"/>
                <a:gd name="connsiteY90" fmla="*/ 1271392 h 5091830"/>
                <a:gd name="connsiteX91" fmla="*/ 876822 w 3901857"/>
                <a:gd name="connsiteY91" fmla="*/ 1246340 h 5091830"/>
                <a:gd name="connsiteX92" fmla="*/ 839244 w 3901857"/>
                <a:gd name="connsiteY92" fmla="*/ 1221288 h 5091830"/>
                <a:gd name="connsiteX93" fmla="*/ 820455 w 3901857"/>
                <a:gd name="connsiteY93" fmla="*/ 1215025 h 5091830"/>
                <a:gd name="connsiteX94" fmla="*/ 801666 w 3901857"/>
                <a:gd name="connsiteY94" fmla="*/ 1202499 h 5091830"/>
                <a:gd name="connsiteX95" fmla="*/ 751562 w 3901857"/>
                <a:gd name="connsiteY95" fmla="*/ 1189973 h 5091830"/>
                <a:gd name="connsiteX96" fmla="*/ 732773 w 3901857"/>
                <a:gd name="connsiteY96" fmla="*/ 1183710 h 5091830"/>
                <a:gd name="connsiteX97" fmla="*/ 707720 w 3901857"/>
                <a:gd name="connsiteY97" fmla="*/ 1177447 h 5091830"/>
                <a:gd name="connsiteX98" fmla="*/ 688931 w 3901857"/>
                <a:gd name="connsiteY98" fmla="*/ 1171184 h 5091830"/>
                <a:gd name="connsiteX99" fmla="*/ 626301 w 3901857"/>
                <a:gd name="connsiteY99" fmla="*/ 1164921 h 5091830"/>
                <a:gd name="connsiteX100" fmla="*/ 263047 w 3901857"/>
                <a:gd name="connsiteY100" fmla="*/ 1171184 h 5091830"/>
                <a:gd name="connsiteX101" fmla="*/ 75156 w 3901857"/>
                <a:gd name="connsiteY101" fmla="*/ 1177447 h 5091830"/>
                <a:gd name="connsiteX102" fmla="*/ 0 w 3901857"/>
                <a:gd name="connsiteY102" fmla="*/ 1183710 h 5091830"/>
                <a:gd name="connsiteX0" fmla="*/ 2536520 w 3901857"/>
                <a:gd name="connsiteY0" fmla="*/ 4997885 h 5091830"/>
                <a:gd name="connsiteX1" fmla="*/ 2536520 w 3901857"/>
                <a:gd name="connsiteY1" fmla="*/ 4997885 h 5091830"/>
                <a:gd name="connsiteX2" fmla="*/ 2536520 w 3901857"/>
                <a:gd name="connsiteY2" fmla="*/ 5073041 h 5091830"/>
                <a:gd name="connsiteX3" fmla="*/ 2549047 w 3901857"/>
                <a:gd name="connsiteY3" fmla="*/ 5085567 h 5091830"/>
                <a:gd name="connsiteX4" fmla="*/ 2567836 w 3901857"/>
                <a:gd name="connsiteY4" fmla="*/ 5091830 h 5091830"/>
                <a:gd name="connsiteX5" fmla="*/ 2642992 w 3901857"/>
                <a:gd name="connsiteY5" fmla="*/ 5073041 h 5091830"/>
                <a:gd name="connsiteX6" fmla="*/ 2649255 w 3901857"/>
                <a:gd name="connsiteY6" fmla="*/ 5054252 h 5091830"/>
                <a:gd name="connsiteX7" fmla="*/ 2649255 w 3901857"/>
                <a:gd name="connsiteY7" fmla="*/ 5035463 h 5091830"/>
                <a:gd name="connsiteX8" fmla="*/ 2649255 w 3901857"/>
                <a:gd name="connsiteY8" fmla="*/ 5029200 h 5091830"/>
                <a:gd name="connsiteX9" fmla="*/ 2699359 w 3901857"/>
                <a:gd name="connsiteY9" fmla="*/ 5047989 h 5091830"/>
                <a:gd name="connsiteX10" fmla="*/ 2787041 w 3901857"/>
                <a:gd name="connsiteY10" fmla="*/ 5041726 h 5091830"/>
                <a:gd name="connsiteX11" fmla="*/ 2805830 w 3901857"/>
                <a:gd name="connsiteY11" fmla="*/ 5035463 h 5091830"/>
                <a:gd name="connsiteX12" fmla="*/ 2837145 w 3901857"/>
                <a:gd name="connsiteY12" fmla="*/ 5029200 h 5091830"/>
                <a:gd name="connsiteX13" fmla="*/ 2880986 w 3901857"/>
                <a:gd name="connsiteY13" fmla="*/ 4997885 h 5091830"/>
                <a:gd name="connsiteX14" fmla="*/ 2918564 w 3901857"/>
                <a:gd name="connsiteY14" fmla="*/ 4972833 h 5091830"/>
                <a:gd name="connsiteX15" fmla="*/ 2937353 w 3901857"/>
                <a:gd name="connsiteY15" fmla="*/ 4947781 h 5091830"/>
                <a:gd name="connsiteX16" fmla="*/ 2949879 w 3901857"/>
                <a:gd name="connsiteY16" fmla="*/ 4928992 h 5091830"/>
                <a:gd name="connsiteX17" fmla="*/ 2987457 w 3901857"/>
                <a:gd name="connsiteY17" fmla="*/ 4885151 h 5091830"/>
                <a:gd name="connsiteX18" fmla="*/ 2993720 w 3901857"/>
                <a:gd name="connsiteY18" fmla="*/ 4860099 h 5091830"/>
                <a:gd name="connsiteX19" fmla="*/ 3006247 w 3901857"/>
                <a:gd name="connsiteY19" fmla="*/ 4847573 h 5091830"/>
                <a:gd name="connsiteX20" fmla="*/ 3025036 w 3901857"/>
                <a:gd name="connsiteY20" fmla="*/ 4822521 h 5091830"/>
                <a:gd name="connsiteX21" fmla="*/ 3043825 w 3901857"/>
                <a:gd name="connsiteY21" fmla="*/ 4803732 h 5091830"/>
                <a:gd name="connsiteX22" fmla="*/ 3081403 w 3901857"/>
                <a:gd name="connsiteY22" fmla="*/ 4759891 h 5091830"/>
                <a:gd name="connsiteX23" fmla="*/ 3087666 w 3901857"/>
                <a:gd name="connsiteY23" fmla="*/ 4741102 h 5091830"/>
                <a:gd name="connsiteX24" fmla="*/ 3112718 w 3901857"/>
                <a:gd name="connsiteY24" fmla="*/ 4703523 h 5091830"/>
                <a:gd name="connsiteX25" fmla="*/ 3118981 w 3901857"/>
                <a:gd name="connsiteY25" fmla="*/ 4678471 h 5091830"/>
                <a:gd name="connsiteX26" fmla="*/ 3131507 w 3901857"/>
                <a:gd name="connsiteY26" fmla="*/ 4659682 h 5091830"/>
                <a:gd name="connsiteX27" fmla="*/ 3137770 w 3901857"/>
                <a:gd name="connsiteY27" fmla="*/ 4640893 h 5091830"/>
                <a:gd name="connsiteX28" fmla="*/ 3150296 w 3901857"/>
                <a:gd name="connsiteY28" fmla="*/ 4615841 h 5091830"/>
                <a:gd name="connsiteX29" fmla="*/ 3169085 w 3901857"/>
                <a:gd name="connsiteY29" fmla="*/ 4553211 h 5091830"/>
                <a:gd name="connsiteX30" fmla="*/ 3187874 w 3901857"/>
                <a:gd name="connsiteY30" fmla="*/ 4496844 h 5091830"/>
                <a:gd name="connsiteX31" fmla="*/ 3194137 w 3901857"/>
                <a:gd name="connsiteY31" fmla="*/ 4478055 h 5091830"/>
                <a:gd name="connsiteX32" fmla="*/ 3200400 w 3901857"/>
                <a:gd name="connsiteY32" fmla="*/ 4434214 h 5091830"/>
                <a:gd name="connsiteX33" fmla="*/ 3206663 w 3901857"/>
                <a:gd name="connsiteY33" fmla="*/ 4409162 h 5091830"/>
                <a:gd name="connsiteX34" fmla="*/ 3219189 w 3901857"/>
                <a:gd name="connsiteY34" fmla="*/ 4321480 h 5091830"/>
                <a:gd name="connsiteX35" fmla="*/ 3225452 w 3901857"/>
                <a:gd name="connsiteY35" fmla="*/ 4246323 h 5091830"/>
                <a:gd name="connsiteX36" fmla="*/ 3219189 w 3901857"/>
                <a:gd name="connsiteY36" fmla="*/ 4183693 h 5091830"/>
                <a:gd name="connsiteX37" fmla="*/ 3156559 w 3901857"/>
                <a:gd name="connsiteY37" fmla="*/ 4152378 h 5091830"/>
                <a:gd name="connsiteX38" fmla="*/ 3851753 w 3901857"/>
                <a:gd name="connsiteY38" fmla="*/ 3382028 h 5091830"/>
                <a:gd name="connsiteX39" fmla="*/ 3864279 w 3901857"/>
                <a:gd name="connsiteY39" fmla="*/ 3325660 h 5091830"/>
                <a:gd name="connsiteX40" fmla="*/ 3876805 w 3901857"/>
                <a:gd name="connsiteY40" fmla="*/ 3306871 h 5091830"/>
                <a:gd name="connsiteX41" fmla="*/ 3883068 w 3901857"/>
                <a:gd name="connsiteY41" fmla="*/ 3281819 h 5091830"/>
                <a:gd name="connsiteX42" fmla="*/ 3876805 w 3901857"/>
                <a:gd name="connsiteY42" fmla="*/ 2799567 h 5091830"/>
                <a:gd name="connsiteX43" fmla="*/ 3864279 w 3901857"/>
                <a:gd name="connsiteY43" fmla="*/ 2780778 h 5091830"/>
                <a:gd name="connsiteX44" fmla="*/ 3839227 w 3901857"/>
                <a:gd name="connsiteY44" fmla="*/ 2768252 h 5091830"/>
                <a:gd name="connsiteX45" fmla="*/ 3757808 w 3901857"/>
                <a:gd name="connsiteY45" fmla="*/ 2761989 h 5091830"/>
                <a:gd name="connsiteX46" fmla="*/ 3732756 w 3901857"/>
                <a:gd name="connsiteY46" fmla="*/ 2736937 h 5091830"/>
                <a:gd name="connsiteX47" fmla="*/ 3832964 w 3901857"/>
                <a:gd name="connsiteY47" fmla="*/ 2711885 h 5091830"/>
                <a:gd name="connsiteX48" fmla="*/ 3839227 w 3901857"/>
                <a:gd name="connsiteY48" fmla="*/ 2693096 h 5091830"/>
                <a:gd name="connsiteX49" fmla="*/ 3851753 w 3901857"/>
                <a:gd name="connsiteY49" fmla="*/ 2674307 h 5091830"/>
                <a:gd name="connsiteX50" fmla="*/ 3851753 w 3901857"/>
                <a:gd name="connsiteY50" fmla="*/ 2586625 h 5091830"/>
                <a:gd name="connsiteX51" fmla="*/ 3851753 w 3901857"/>
                <a:gd name="connsiteY51" fmla="*/ 2542784 h 5091830"/>
                <a:gd name="connsiteX52" fmla="*/ 3864279 w 3901857"/>
                <a:gd name="connsiteY52" fmla="*/ 745299 h 5091830"/>
                <a:gd name="connsiteX53" fmla="*/ 3801649 w 3901857"/>
                <a:gd name="connsiteY53" fmla="*/ 695195 h 5091830"/>
                <a:gd name="connsiteX54" fmla="*/ 3764071 w 3901857"/>
                <a:gd name="connsiteY54" fmla="*/ 682669 h 5091830"/>
                <a:gd name="connsiteX55" fmla="*/ 3563655 w 3901857"/>
                <a:gd name="connsiteY55" fmla="*/ 688932 h 5091830"/>
                <a:gd name="connsiteX56" fmla="*/ 3507288 w 3901857"/>
                <a:gd name="connsiteY56" fmla="*/ 707721 h 5091830"/>
                <a:gd name="connsiteX57" fmla="*/ 3488499 w 3901857"/>
                <a:gd name="connsiteY57" fmla="*/ 713984 h 5091830"/>
                <a:gd name="connsiteX58" fmla="*/ 3469710 w 3901857"/>
                <a:gd name="connsiteY58" fmla="*/ 726510 h 5091830"/>
                <a:gd name="connsiteX59" fmla="*/ 3895594 w 3901857"/>
                <a:gd name="connsiteY59" fmla="*/ 369518 h 5091830"/>
                <a:gd name="connsiteX60" fmla="*/ 3901857 w 3901857"/>
                <a:gd name="connsiteY60" fmla="*/ 313151 h 5091830"/>
                <a:gd name="connsiteX61" fmla="*/ 3895594 w 3901857"/>
                <a:gd name="connsiteY61" fmla="*/ 118997 h 5091830"/>
                <a:gd name="connsiteX62" fmla="*/ 3889331 w 3901857"/>
                <a:gd name="connsiteY62" fmla="*/ 87682 h 5091830"/>
                <a:gd name="connsiteX63" fmla="*/ 3851753 w 3901857"/>
                <a:gd name="connsiteY63" fmla="*/ 12526 h 5091830"/>
                <a:gd name="connsiteX64" fmla="*/ 3764071 w 3901857"/>
                <a:gd name="connsiteY64" fmla="*/ 0 h 5091830"/>
                <a:gd name="connsiteX65" fmla="*/ 3638811 w 3901857"/>
                <a:gd name="connsiteY65" fmla="*/ 6263 h 5091830"/>
                <a:gd name="connsiteX66" fmla="*/ 3613759 w 3901857"/>
                <a:gd name="connsiteY66" fmla="*/ 12526 h 5091830"/>
                <a:gd name="connsiteX67" fmla="*/ 3557392 w 3901857"/>
                <a:gd name="connsiteY67" fmla="*/ 31315 h 5091830"/>
                <a:gd name="connsiteX68" fmla="*/ 3519814 w 3901857"/>
                <a:gd name="connsiteY68" fmla="*/ 50104 h 5091830"/>
                <a:gd name="connsiteX69" fmla="*/ 3501025 w 3901857"/>
                <a:gd name="connsiteY69" fmla="*/ 56367 h 5091830"/>
                <a:gd name="connsiteX70" fmla="*/ 3482236 w 3901857"/>
                <a:gd name="connsiteY70" fmla="*/ 68893 h 5091830"/>
                <a:gd name="connsiteX71" fmla="*/ 3457183 w 3901857"/>
                <a:gd name="connsiteY71" fmla="*/ 75156 h 5091830"/>
                <a:gd name="connsiteX72" fmla="*/ 2855934 w 3901857"/>
                <a:gd name="connsiteY72" fmla="*/ 269310 h 5091830"/>
                <a:gd name="connsiteX73" fmla="*/ 2586625 w 3901857"/>
                <a:gd name="connsiteY73" fmla="*/ 438411 h 5091830"/>
                <a:gd name="connsiteX74" fmla="*/ 2567836 w 3901857"/>
                <a:gd name="connsiteY74" fmla="*/ 488515 h 5091830"/>
                <a:gd name="connsiteX75" fmla="*/ 2586625 w 3901857"/>
                <a:gd name="connsiteY75" fmla="*/ 563671 h 5091830"/>
                <a:gd name="connsiteX76" fmla="*/ 2605414 w 3901857"/>
                <a:gd name="connsiteY76" fmla="*/ 569934 h 5091830"/>
                <a:gd name="connsiteX77" fmla="*/ 2624203 w 3901857"/>
                <a:gd name="connsiteY77" fmla="*/ 582460 h 5091830"/>
                <a:gd name="connsiteX78" fmla="*/ 2668044 w 3901857"/>
                <a:gd name="connsiteY78" fmla="*/ 594986 h 5091830"/>
                <a:gd name="connsiteX79" fmla="*/ 2705622 w 3901857"/>
                <a:gd name="connsiteY79" fmla="*/ 607512 h 5091830"/>
                <a:gd name="connsiteX80" fmla="*/ 2430049 w 3901857"/>
                <a:gd name="connsiteY80" fmla="*/ 594986 h 5091830"/>
                <a:gd name="connsiteX81" fmla="*/ 1252603 w 3901857"/>
                <a:gd name="connsiteY81" fmla="*/ 933189 h 5091830"/>
                <a:gd name="connsiteX82" fmla="*/ 1164920 w 3901857"/>
                <a:gd name="connsiteY82" fmla="*/ 989556 h 5091830"/>
                <a:gd name="connsiteX83" fmla="*/ 1146131 w 3901857"/>
                <a:gd name="connsiteY83" fmla="*/ 1058449 h 5091830"/>
                <a:gd name="connsiteX84" fmla="*/ 1033397 w 3901857"/>
                <a:gd name="connsiteY84" fmla="*/ 1321496 h 5091830"/>
                <a:gd name="connsiteX85" fmla="*/ 926926 w 3901857"/>
                <a:gd name="connsiteY85" fmla="*/ 1515649 h 5091830"/>
                <a:gd name="connsiteX86" fmla="*/ 933189 w 3901857"/>
                <a:gd name="connsiteY86" fmla="*/ 1515649 h 5091830"/>
                <a:gd name="connsiteX87" fmla="*/ 951978 w 3901857"/>
                <a:gd name="connsiteY87" fmla="*/ 1459282 h 5091830"/>
                <a:gd name="connsiteX88" fmla="*/ 951978 w 3901857"/>
                <a:gd name="connsiteY88" fmla="*/ 1315233 h 5091830"/>
                <a:gd name="connsiteX89" fmla="*/ 939452 w 3901857"/>
                <a:gd name="connsiteY89" fmla="*/ 1296444 h 5091830"/>
                <a:gd name="connsiteX90" fmla="*/ 920663 w 3901857"/>
                <a:gd name="connsiteY90" fmla="*/ 1271392 h 5091830"/>
                <a:gd name="connsiteX91" fmla="*/ 876822 w 3901857"/>
                <a:gd name="connsiteY91" fmla="*/ 1246340 h 5091830"/>
                <a:gd name="connsiteX92" fmla="*/ 839244 w 3901857"/>
                <a:gd name="connsiteY92" fmla="*/ 1221288 h 5091830"/>
                <a:gd name="connsiteX93" fmla="*/ 820455 w 3901857"/>
                <a:gd name="connsiteY93" fmla="*/ 1215025 h 5091830"/>
                <a:gd name="connsiteX94" fmla="*/ 801666 w 3901857"/>
                <a:gd name="connsiteY94" fmla="*/ 1202499 h 5091830"/>
                <a:gd name="connsiteX95" fmla="*/ 751562 w 3901857"/>
                <a:gd name="connsiteY95" fmla="*/ 1189973 h 5091830"/>
                <a:gd name="connsiteX96" fmla="*/ 732773 w 3901857"/>
                <a:gd name="connsiteY96" fmla="*/ 1183710 h 5091830"/>
                <a:gd name="connsiteX97" fmla="*/ 707720 w 3901857"/>
                <a:gd name="connsiteY97" fmla="*/ 1177447 h 5091830"/>
                <a:gd name="connsiteX98" fmla="*/ 688931 w 3901857"/>
                <a:gd name="connsiteY98" fmla="*/ 1171184 h 5091830"/>
                <a:gd name="connsiteX99" fmla="*/ 626301 w 3901857"/>
                <a:gd name="connsiteY99" fmla="*/ 1164921 h 5091830"/>
                <a:gd name="connsiteX100" fmla="*/ 263047 w 3901857"/>
                <a:gd name="connsiteY100" fmla="*/ 1171184 h 5091830"/>
                <a:gd name="connsiteX101" fmla="*/ 75156 w 3901857"/>
                <a:gd name="connsiteY101" fmla="*/ 1177447 h 5091830"/>
                <a:gd name="connsiteX102" fmla="*/ 0 w 3901857"/>
                <a:gd name="connsiteY102" fmla="*/ 1183710 h 5091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901857" h="5091830">
                  <a:moveTo>
                    <a:pt x="2536520" y="4997885"/>
                  </a:moveTo>
                  <a:lnTo>
                    <a:pt x="2536520" y="4997885"/>
                  </a:lnTo>
                  <a:cubicBezTo>
                    <a:pt x="2533910" y="5021375"/>
                    <a:pt x="2522749" y="5050090"/>
                    <a:pt x="2536520" y="5073041"/>
                  </a:cubicBezTo>
                  <a:cubicBezTo>
                    <a:pt x="2539558" y="5078104"/>
                    <a:pt x="2543983" y="5082529"/>
                    <a:pt x="2549047" y="5085567"/>
                  </a:cubicBezTo>
                  <a:cubicBezTo>
                    <a:pt x="2554708" y="5088964"/>
                    <a:pt x="2561573" y="5089742"/>
                    <a:pt x="2567836" y="5091830"/>
                  </a:cubicBezTo>
                  <a:cubicBezTo>
                    <a:pt x="2587280" y="5089670"/>
                    <a:pt x="2626154" y="5094089"/>
                    <a:pt x="2642992" y="5073041"/>
                  </a:cubicBezTo>
                  <a:cubicBezTo>
                    <a:pt x="2647116" y="5067886"/>
                    <a:pt x="2648170" y="5060764"/>
                    <a:pt x="2649255" y="5054252"/>
                  </a:cubicBezTo>
                  <a:cubicBezTo>
                    <a:pt x="2650285" y="5048074"/>
                    <a:pt x="2649255" y="5041726"/>
                    <a:pt x="2649255" y="5035463"/>
                  </a:cubicBezTo>
                  <a:lnTo>
                    <a:pt x="2649255" y="5029200"/>
                  </a:lnTo>
                  <a:cubicBezTo>
                    <a:pt x="2665956" y="5035463"/>
                    <a:pt x="2681595" y="5046374"/>
                    <a:pt x="2699359" y="5047989"/>
                  </a:cubicBezTo>
                  <a:cubicBezTo>
                    <a:pt x="2728540" y="5050642"/>
                    <a:pt x="2757940" y="5045150"/>
                    <a:pt x="2787041" y="5041726"/>
                  </a:cubicBezTo>
                  <a:cubicBezTo>
                    <a:pt x="2793598" y="5040955"/>
                    <a:pt x="2799425" y="5037064"/>
                    <a:pt x="2805830" y="5035463"/>
                  </a:cubicBezTo>
                  <a:cubicBezTo>
                    <a:pt x="2816157" y="5032881"/>
                    <a:pt x="2826707" y="5031288"/>
                    <a:pt x="2837145" y="5029200"/>
                  </a:cubicBezTo>
                  <a:cubicBezTo>
                    <a:pt x="2898231" y="4988476"/>
                    <a:pt x="2803302" y="5052264"/>
                    <a:pt x="2880986" y="4997885"/>
                  </a:cubicBezTo>
                  <a:cubicBezTo>
                    <a:pt x="2893319" y="4989252"/>
                    <a:pt x="2909531" y="4984877"/>
                    <a:pt x="2918564" y="4972833"/>
                  </a:cubicBezTo>
                  <a:cubicBezTo>
                    <a:pt x="2924827" y="4964482"/>
                    <a:pt x="2931286" y="4956275"/>
                    <a:pt x="2937353" y="4947781"/>
                  </a:cubicBezTo>
                  <a:cubicBezTo>
                    <a:pt x="2941728" y="4941656"/>
                    <a:pt x="2944980" y="4934707"/>
                    <a:pt x="2949879" y="4928992"/>
                  </a:cubicBezTo>
                  <a:cubicBezTo>
                    <a:pt x="2995441" y="4875837"/>
                    <a:pt x="2958700" y="4928286"/>
                    <a:pt x="2987457" y="4885151"/>
                  </a:cubicBezTo>
                  <a:cubicBezTo>
                    <a:pt x="2989545" y="4876800"/>
                    <a:pt x="2989870" y="4867798"/>
                    <a:pt x="2993720" y="4860099"/>
                  </a:cubicBezTo>
                  <a:cubicBezTo>
                    <a:pt x="2996361" y="4854817"/>
                    <a:pt x="3002467" y="4852109"/>
                    <a:pt x="3006247" y="4847573"/>
                  </a:cubicBezTo>
                  <a:cubicBezTo>
                    <a:pt x="3012930" y="4839554"/>
                    <a:pt x="3018243" y="4830446"/>
                    <a:pt x="3025036" y="4822521"/>
                  </a:cubicBezTo>
                  <a:cubicBezTo>
                    <a:pt x="3030800" y="4815796"/>
                    <a:pt x="3038061" y="4810457"/>
                    <a:pt x="3043825" y="4803732"/>
                  </a:cubicBezTo>
                  <a:cubicBezTo>
                    <a:pt x="3092032" y="4747491"/>
                    <a:pt x="3034781" y="4806513"/>
                    <a:pt x="3081403" y="4759891"/>
                  </a:cubicBezTo>
                  <a:cubicBezTo>
                    <a:pt x="3083491" y="4753628"/>
                    <a:pt x="3084460" y="4746873"/>
                    <a:pt x="3087666" y="4741102"/>
                  </a:cubicBezTo>
                  <a:cubicBezTo>
                    <a:pt x="3094977" y="4727942"/>
                    <a:pt x="3112718" y="4703523"/>
                    <a:pt x="3112718" y="4703523"/>
                  </a:cubicBezTo>
                  <a:cubicBezTo>
                    <a:pt x="3114806" y="4695172"/>
                    <a:pt x="3115590" y="4686383"/>
                    <a:pt x="3118981" y="4678471"/>
                  </a:cubicBezTo>
                  <a:cubicBezTo>
                    <a:pt x="3121946" y="4671552"/>
                    <a:pt x="3128141" y="4666415"/>
                    <a:pt x="3131507" y="4659682"/>
                  </a:cubicBezTo>
                  <a:cubicBezTo>
                    <a:pt x="3134459" y="4653777"/>
                    <a:pt x="3135169" y="4646961"/>
                    <a:pt x="3137770" y="4640893"/>
                  </a:cubicBezTo>
                  <a:cubicBezTo>
                    <a:pt x="3141448" y="4632312"/>
                    <a:pt x="3146829" y="4624510"/>
                    <a:pt x="3150296" y="4615841"/>
                  </a:cubicBezTo>
                  <a:cubicBezTo>
                    <a:pt x="3168011" y="4571555"/>
                    <a:pt x="3158012" y="4590122"/>
                    <a:pt x="3169085" y="4553211"/>
                  </a:cubicBezTo>
                  <a:lnTo>
                    <a:pt x="3187874" y="4496844"/>
                  </a:lnTo>
                  <a:lnTo>
                    <a:pt x="3194137" y="4478055"/>
                  </a:lnTo>
                  <a:cubicBezTo>
                    <a:pt x="3196225" y="4463441"/>
                    <a:pt x="3197759" y="4448738"/>
                    <a:pt x="3200400" y="4434214"/>
                  </a:cubicBezTo>
                  <a:cubicBezTo>
                    <a:pt x="3201940" y="4425745"/>
                    <a:pt x="3205446" y="4417683"/>
                    <a:pt x="3206663" y="4409162"/>
                  </a:cubicBezTo>
                  <a:cubicBezTo>
                    <a:pt x="3220902" y="4309489"/>
                    <a:pt x="3204917" y="4378570"/>
                    <a:pt x="3219189" y="4321480"/>
                  </a:cubicBezTo>
                  <a:cubicBezTo>
                    <a:pt x="3221277" y="4296428"/>
                    <a:pt x="3225452" y="4269287"/>
                    <a:pt x="3225452" y="4246323"/>
                  </a:cubicBezTo>
                  <a:cubicBezTo>
                    <a:pt x="3225452" y="4223359"/>
                    <a:pt x="3230671" y="4199351"/>
                    <a:pt x="3219189" y="4183693"/>
                  </a:cubicBezTo>
                  <a:cubicBezTo>
                    <a:pt x="3207707" y="4168035"/>
                    <a:pt x="3164910" y="4152378"/>
                    <a:pt x="3156559" y="4152378"/>
                  </a:cubicBezTo>
                  <a:lnTo>
                    <a:pt x="3851753" y="3382028"/>
                  </a:lnTo>
                  <a:cubicBezTo>
                    <a:pt x="3855928" y="3363239"/>
                    <a:pt x="3858192" y="3343920"/>
                    <a:pt x="3864279" y="3325660"/>
                  </a:cubicBezTo>
                  <a:cubicBezTo>
                    <a:pt x="3866659" y="3318519"/>
                    <a:pt x="3873840" y="3313790"/>
                    <a:pt x="3876805" y="3306871"/>
                  </a:cubicBezTo>
                  <a:cubicBezTo>
                    <a:pt x="3880196" y="3298959"/>
                    <a:pt x="3880980" y="3290170"/>
                    <a:pt x="3883068" y="3281819"/>
                  </a:cubicBezTo>
                  <a:cubicBezTo>
                    <a:pt x="3880980" y="3121068"/>
                    <a:pt x="3882829" y="2960218"/>
                    <a:pt x="3876805" y="2799567"/>
                  </a:cubicBezTo>
                  <a:cubicBezTo>
                    <a:pt x="3876523" y="2792045"/>
                    <a:pt x="3870062" y="2785597"/>
                    <a:pt x="3864279" y="2780778"/>
                  </a:cubicBezTo>
                  <a:cubicBezTo>
                    <a:pt x="3857107" y="2774801"/>
                    <a:pt x="3848421" y="2769875"/>
                    <a:pt x="3839227" y="2768252"/>
                  </a:cubicBezTo>
                  <a:cubicBezTo>
                    <a:pt x="3812421" y="2763522"/>
                    <a:pt x="3775553" y="2767208"/>
                    <a:pt x="3757808" y="2761989"/>
                  </a:cubicBezTo>
                  <a:cubicBezTo>
                    <a:pt x="3740063" y="2756770"/>
                    <a:pt x="3741107" y="2745288"/>
                    <a:pt x="3732756" y="2736937"/>
                  </a:cubicBezTo>
                  <a:cubicBezTo>
                    <a:pt x="3766540" y="2720045"/>
                    <a:pt x="3815219" y="2719192"/>
                    <a:pt x="3832964" y="2711885"/>
                  </a:cubicBezTo>
                  <a:cubicBezTo>
                    <a:pt x="3850709" y="2704578"/>
                    <a:pt x="3836275" y="2699001"/>
                    <a:pt x="3839227" y="2693096"/>
                  </a:cubicBezTo>
                  <a:cubicBezTo>
                    <a:pt x="3842593" y="2686363"/>
                    <a:pt x="3847578" y="2680570"/>
                    <a:pt x="3851753" y="2674307"/>
                  </a:cubicBezTo>
                  <a:cubicBezTo>
                    <a:pt x="3864078" y="2625006"/>
                    <a:pt x="3856499" y="2667313"/>
                    <a:pt x="3851753" y="2586625"/>
                  </a:cubicBezTo>
                  <a:cubicBezTo>
                    <a:pt x="3850895" y="2572037"/>
                    <a:pt x="3851753" y="2557398"/>
                    <a:pt x="3851753" y="2542784"/>
                  </a:cubicBezTo>
                  <a:cubicBezTo>
                    <a:pt x="3855928" y="1943622"/>
                    <a:pt x="3860104" y="1344461"/>
                    <a:pt x="3864279" y="745299"/>
                  </a:cubicBezTo>
                  <a:cubicBezTo>
                    <a:pt x="3862643" y="743897"/>
                    <a:pt x="3817712" y="702334"/>
                    <a:pt x="3801649" y="695195"/>
                  </a:cubicBezTo>
                  <a:cubicBezTo>
                    <a:pt x="3789583" y="689833"/>
                    <a:pt x="3764071" y="682669"/>
                    <a:pt x="3764071" y="682669"/>
                  </a:cubicBezTo>
                  <a:cubicBezTo>
                    <a:pt x="3697266" y="684757"/>
                    <a:pt x="3630286" y="683672"/>
                    <a:pt x="3563655" y="688932"/>
                  </a:cubicBezTo>
                  <a:lnTo>
                    <a:pt x="3507288" y="707721"/>
                  </a:lnTo>
                  <a:cubicBezTo>
                    <a:pt x="3501025" y="709809"/>
                    <a:pt x="3493992" y="710322"/>
                    <a:pt x="3488499" y="713984"/>
                  </a:cubicBezTo>
                  <a:lnTo>
                    <a:pt x="3469710" y="726510"/>
                  </a:lnTo>
                  <a:lnTo>
                    <a:pt x="3895594" y="369518"/>
                  </a:lnTo>
                  <a:cubicBezTo>
                    <a:pt x="3897682" y="350729"/>
                    <a:pt x="3901857" y="332056"/>
                    <a:pt x="3901857" y="313151"/>
                  </a:cubicBezTo>
                  <a:cubicBezTo>
                    <a:pt x="3901857" y="248399"/>
                    <a:pt x="3899186" y="183649"/>
                    <a:pt x="3895594" y="118997"/>
                  </a:cubicBezTo>
                  <a:cubicBezTo>
                    <a:pt x="3895004" y="108368"/>
                    <a:pt x="3892132" y="97952"/>
                    <a:pt x="3889331" y="87682"/>
                  </a:cubicBezTo>
                  <a:cubicBezTo>
                    <a:pt x="3885806" y="74757"/>
                    <a:pt x="3868438" y="16697"/>
                    <a:pt x="3851753" y="12526"/>
                  </a:cubicBezTo>
                  <a:cubicBezTo>
                    <a:pt x="3806347" y="1174"/>
                    <a:pt x="3835266" y="7119"/>
                    <a:pt x="3764071" y="0"/>
                  </a:cubicBezTo>
                  <a:cubicBezTo>
                    <a:pt x="3722318" y="2088"/>
                    <a:pt x="3680472" y="2791"/>
                    <a:pt x="3638811" y="6263"/>
                  </a:cubicBezTo>
                  <a:cubicBezTo>
                    <a:pt x="3630233" y="6978"/>
                    <a:pt x="3622004" y="10053"/>
                    <a:pt x="3613759" y="12526"/>
                  </a:cubicBezTo>
                  <a:cubicBezTo>
                    <a:pt x="3594789" y="18217"/>
                    <a:pt x="3576181" y="25052"/>
                    <a:pt x="3557392" y="31315"/>
                  </a:cubicBezTo>
                  <a:cubicBezTo>
                    <a:pt x="3510165" y="47057"/>
                    <a:pt x="3568378" y="25822"/>
                    <a:pt x="3519814" y="50104"/>
                  </a:cubicBezTo>
                  <a:cubicBezTo>
                    <a:pt x="3513909" y="53056"/>
                    <a:pt x="3506930" y="53415"/>
                    <a:pt x="3501025" y="56367"/>
                  </a:cubicBezTo>
                  <a:cubicBezTo>
                    <a:pt x="3494292" y="59733"/>
                    <a:pt x="3489155" y="65928"/>
                    <a:pt x="3482236" y="68893"/>
                  </a:cubicBezTo>
                  <a:cubicBezTo>
                    <a:pt x="3474324" y="72284"/>
                    <a:pt x="3457183" y="75156"/>
                    <a:pt x="3457183" y="75156"/>
                  </a:cubicBezTo>
                  <a:lnTo>
                    <a:pt x="2855934" y="269310"/>
                  </a:lnTo>
                  <a:lnTo>
                    <a:pt x="2586625" y="438411"/>
                  </a:lnTo>
                  <a:cubicBezTo>
                    <a:pt x="2580362" y="455112"/>
                    <a:pt x="2569920" y="470800"/>
                    <a:pt x="2567836" y="488515"/>
                  </a:cubicBezTo>
                  <a:cubicBezTo>
                    <a:pt x="2565931" y="504707"/>
                    <a:pt x="2567196" y="548128"/>
                    <a:pt x="2586625" y="563671"/>
                  </a:cubicBezTo>
                  <a:cubicBezTo>
                    <a:pt x="2591780" y="567795"/>
                    <a:pt x="2599509" y="566982"/>
                    <a:pt x="2605414" y="569934"/>
                  </a:cubicBezTo>
                  <a:cubicBezTo>
                    <a:pt x="2612147" y="573300"/>
                    <a:pt x="2617470" y="579094"/>
                    <a:pt x="2624203" y="582460"/>
                  </a:cubicBezTo>
                  <a:cubicBezTo>
                    <a:pt x="2633188" y="586952"/>
                    <a:pt x="2660017" y="592979"/>
                    <a:pt x="2668044" y="594986"/>
                  </a:cubicBezTo>
                  <a:cubicBezTo>
                    <a:pt x="2692044" y="610986"/>
                    <a:pt x="2679306" y="607512"/>
                    <a:pt x="2705622" y="607512"/>
                  </a:cubicBezTo>
                  <a:lnTo>
                    <a:pt x="2430049" y="594986"/>
                  </a:lnTo>
                  <a:lnTo>
                    <a:pt x="1252603" y="933189"/>
                  </a:lnTo>
                  <a:lnTo>
                    <a:pt x="1164920" y="989556"/>
                  </a:lnTo>
                  <a:lnTo>
                    <a:pt x="1146131" y="1058449"/>
                  </a:lnTo>
                  <a:lnTo>
                    <a:pt x="1033397" y="1321496"/>
                  </a:lnTo>
                  <a:lnTo>
                    <a:pt x="926926" y="1515649"/>
                  </a:lnTo>
                  <a:lnTo>
                    <a:pt x="933189" y="1515649"/>
                  </a:lnTo>
                  <a:cubicBezTo>
                    <a:pt x="939452" y="1496860"/>
                    <a:pt x="946537" y="1478325"/>
                    <a:pt x="951978" y="1459282"/>
                  </a:cubicBezTo>
                  <a:cubicBezTo>
                    <a:pt x="965540" y="1411814"/>
                    <a:pt x="959120" y="1365227"/>
                    <a:pt x="951978" y="1315233"/>
                  </a:cubicBezTo>
                  <a:cubicBezTo>
                    <a:pt x="950913" y="1307781"/>
                    <a:pt x="943827" y="1302569"/>
                    <a:pt x="939452" y="1296444"/>
                  </a:cubicBezTo>
                  <a:cubicBezTo>
                    <a:pt x="933385" y="1287950"/>
                    <a:pt x="928044" y="1278773"/>
                    <a:pt x="920663" y="1271392"/>
                  </a:cubicBezTo>
                  <a:cubicBezTo>
                    <a:pt x="909830" y="1260559"/>
                    <a:pt x="889102" y="1253708"/>
                    <a:pt x="876822" y="1246340"/>
                  </a:cubicBezTo>
                  <a:cubicBezTo>
                    <a:pt x="863913" y="1238595"/>
                    <a:pt x="853526" y="1226049"/>
                    <a:pt x="839244" y="1221288"/>
                  </a:cubicBezTo>
                  <a:cubicBezTo>
                    <a:pt x="832981" y="1219200"/>
                    <a:pt x="826360" y="1217977"/>
                    <a:pt x="820455" y="1215025"/>
                  </a:cubicBezTo>
                  <a:cubicBezTo>
                    <a:pt x="813722" y="1211659"/>
                    <a:pt x="808399" y="1205865"/>
                    <a:pt x="801666" y="1202499"/>
                  </a:cubicBezTo>
                  <a:cubicBezTo>
                    <a:pt x="787350" y="1195341"/>
                    <a:pt x="765855" y="1193546"/>
                    <a:pt x="751562" y="1189973"/>
                  </a:cubicBezTo>
                  <a:cubicBezTo>
                    <a:pt x="745157" y="1188372"/>
                    <a:pt x="739121" y="1185524"/>
                    <a:pt x="732773" y="1183710"/>
                  </a:cubicBezTo>
                  <a:cubicBezTo>
                    <a:pt x="724496" y="1181345"/>
                    <a:pt x="715997" y="1179812"/>
                    <a:pt x="707720" y="1177447"/>
                  </a:cubicBezTo>
                  <a:cubicBezTo>
                    <a:pt x="701372" y="1175633"/>
                    <a:pt x="695456" y="1172188"/>
                    <a:pt x="688931" y="1171184"/>
                  </a:cubicBezTo>
                  <a:cubicBezTo>
                    <a:pt x="668194" y="1167994"/>
                    <a:pt x="647178" y="1167009"/>
                    <a:pt x="626301" y="1164921"/>
                  </a:cubicBezTo>
                  <a:lnTo>
                    <a:pt x="263047" y="1171184"/>
                  </a:lnTo>
                  <a:cubicBezTo>
                    <a:pt x="200398" y="1172608"/>
                    <a:pt x="137730" y="1174065"/>
                    <a:pt x="75156" y="1177447"/>
                  </a:cubicBezTo>
                  <a:cubicBezTo>
                    <a:pt x="-68020" y="1185186"/>
                    <a:pt x="109011" y="1183710"/>
                    <a:pt x="0" y="1183710"/>
                  </a:cubicBezTo>
                </a:path>
              </a:pathLst>
            </a:custGeom>
            <a:noFill/>
            <a:ln w="3175">
              <a:solidFill>
                <a:schemeClr val="accent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22" name="Freeform 29">
              <a:extLst>
                <a:ext uri="{FF2B5EF4-FFF2-40B4-BE49-F238E27FC236}">
                  <a16:creationId xmlns:a16="http://schemas.microsoft.com/office/drawing/2014/main" id="{DCF39AF6-E272-E240-0FE4-EBCB44362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085" y="1774820"/>
              <a:ext cx="58970" cy="52537"/>
            </a:xfrm>
            <a:custGeom>
              <a:avLst/>
              <a:gdLst>
                <a:gd name="T0" fmla="*/ 11 w 145"/>
                <a:gd name="T1" fmla="*/ 0 h 127"/>
                <a:gd name="T2" fmla="*/ 26 w 145"/>
                <a:gd name="T3" fmla="*/ 15 h 127"/>
                <a:gd name="T4" fmla="*/ 28 w 145"/>
                <a:gd name="T5" fmla="*/ 32 h 127"/>
                <a:gd name="T6" fmla="*/ 45 w 145"/>
                <a:gd name="T7" fmla="*/ 42 h 127"/>
                <a:gd name="T8" fmla="*/ 59 w 145"/>
                <a:gd name="T9" fmla="*/ 62 h 127"/>
                <a:gd name="T10" fmla="*/ 76 w 145"/>
                <a:gd name="T11" fmla="*/ 73 h 127"/>
                <a:gd name="T12" fmla="*/ 95 w 145"/>
                <a:gd name="T13" fmla="*/ 90 h 127"/>
                <a:gd name="T14" fmla="*/ 128 w 145"/>
                <a:gd name="T15" fmla="*/ 127 h 127"/>
                <a:gd name="T16" fmla="*/ 106 w 145"/>
                <a:gd name="T17" fmla="*/ 101 h 127"/>
                <a:gd name="T18" fmla="*/ 73 w 145"/>
                <a:gd name="T19" fmla="*/ 106 h 127"/>
                <a:gd name="T20" fmla="*/ 47 w 145"/>
                <a:gd name="T21" fmla="*/ 78 h 127"/>
                <a:gd name="T22" fmla="*/ 34 w 145"/>
                <a:gd name="T23" fmla="*/ 57 h 127"/>
                <a:gd name="T24" fmla="*/ 7 w 145"/>
                <a:gd name="T25" fmla="*/ 41 h 127"/>
                <a:gd name="T26" fmla="*/ 11 w 145"/>
                <a:gd name="T2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5" h="127">
                  <a:moveTo>
                    <a:pt x="11" y="0"/>
                  </a:moveTo>
                  <a:cubicBezTo>
                    <a:pt x="14" y="2"/>
                    <a:pt x="24" y="10"/>
                    <a:pt x="26" y="15"/>
                  </a:cubicBezTo>
                  <a:cubicBezTo>
                    <a:pt x="28" y="21"/>
                    <a:pt x="23" y="26"/>
                    <a:pt x="28" y="32"/>
                  </a:cubicBezTo>
                  <a:cubicBezTo>
                    <a:pt x="31" y="35"/>
                    <a:pt x="41" y="38"/>
                    <a:pt x="45" y="42"/>
                  </a:cubicBezTo>
                  <a:cubicBezTo>
                    <a:pt x="53" y="49"/>
                    <a:pt x="53" y="56"/>
                    <a:pt x="59" y="62"/>
                  </a:cubicBezTo>
                  <a:cubicBezTo>
                    <a:pt x="63" y="67"/>
                    <a:pt x="71" y="69"/>
                    <a:pt x="76" y="73"/>
                  </a:cubicBezTo>
                  <a:cubicBezTo>
                    <a:pt x="83" y="78"/>
                    <a:pt x="87" y="85"/>
                    <a:pt x="95" y="90"/>
                  </a:cubicBezTo>
                  <a:cubicBezTo>
                    <a:pt x="104" y="95"/>
                    <a:pt x="145" y="110"/>
                    <a:pt x="128" y="127"/>
                  </a:cubicBezTo>
                  <a:cubicBezTo>
                    <a:pt x="121" y="116"/>
                    <a:pt x="121" y="104"/>
                    <a:pt x="106" y="101"/>
                  </a:cubicBezTo>
                  <a:cubicBezTo>
                    <a:pt x="96" y="99"/>
                    <a:pt x="82" y="109"/>
                    <a:pt x="73" y="106"/>
                  </a:cubicBezTo>
                  <a:cubicBezTo>
                    <a:pt x="66" y="104"/>
                    <a:pt x="52" y="85"/>
                    <a:pt x="47" y="78"/>
                  </a:cubicBezTo>
                  <a:cubicBezTo>
                    <a:pt x="42" y="72"/>
                    <a:pt x="40" y="62"/>
                    <a:pt x="34" y="57"/>
                  </a:cubicBezTo>
                  <a:cubicBezTo>
                    <a:pt x="25" y="49"/>
                    <a:pt x="13" y="52"/>
                    <a:pt x="7" y="41"/>
                  </a:cubicBezTo>
                  <a:cubicBezTo>
                    <a:pt x="0" y="30"/>
                    <a:pt x="2" y="6"/>
                    <a:pt x="1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2C78245E-C460-A627-9A7D-F69B64812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446" y="1748014"/>
              <a:ext cx="13938" cy="16083"/>
            </a:xfrm>
            <a:custGeom>
              <a:avLst/>
              <a:gdLst>
                <a:gd name="T0" fmla="*/ 28 w 34"/>
                <a:gd name="T1" fmla="*/ 34 h 40"/>
                <a:gd name="T2" fmla="*/ 9 w 34"/>
                <a:gd name="T3" fmla="*/ 34 h 40"/>
                <a:gd name="T4" fmla="*/ 8 w 34"/>
                <a:gd name="T5" fmla="*/ 19 h 40"/>
                <a:gd name="T6" fmla="*/ 28 w 34"/>
                <a:gd name="T7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0">
                  <a:moveTo>
                    <a:pt x="28" y="34"/>
                  </a:moveTo>
                  <a:cubicBezTo>
                    <a:pt x="24" y="40"/>
                    <a:pt x="15" y="38"/>
                    <a:pt x="9" y="34"/>
                  </a:cubicBezTo>
                  <a:cubicBezTo>
                    <a:pt x="0" y="27"/>
                    <a:pt x="2" y="28"/>
                    <a:pt x="8" y="19"/>
                  </a:cubicBezTo>
                  <a:cubicBezTo>
                    <a:pt x="19" y="0"/>
                    <a:pt x="34" y="25"/>
                    <a:pt x="28" y="3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6350">
              <a:noFill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id="{DD681351-BAA0-335A-7B72-26DF90E631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727" y="3673638"/>
              <a:ext cx="2144" cy="3217"/>
            </a:xfrm>
            <a:custGeom>
              <a:avLst/>
              <a:gdLst>
                <a:gd name="T0" fmla="*/ 6 w 6"/>
                <a:gd name="T1" fmla="*/ 3 h 8"/>
                <a:gd name="T2" fmla="*/ 0 w 6"/>
                <a:gd name="T3" fmla="*/ 8 h 8"/>
                <a:gd name="T4" fmla="*/ 6 w 6"/>
                <a:gd name="T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6" y="3"/>
                  </a:moveTo>
                  <a:cubicBezTo>
                    <a:pt x="4" y="5"/>
                    <a:pt x="2" y="6"/>
                    <a:pt x="0" y="8"/>
                  </a:cubicBezTo>
                  <a:cubicBezTo>
                    <a:pt x="4" y="0"/>
                    <a:pt x="5" y="3"/>
                    <a:pt x="6" y="3"/>
                  </a:cubicBezTo>
                  <a:close/>
                </a:path>
              </a:pathLst>
            </a:custGeom>
            <a:solidFill>
              <a:srgbClr val="18294C"/>
            </a:solidFill>
            <a:ln w="6350">
              <a:solidFill>
                <a:schemeClr val="accent5"/>
              </a:solidFill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30" name="Freeform 79">
              <a:extLst>
                <a:ext uri="{FF2B5EF4-FFF2-40B4-BE49-F238E27FC236}">
                  <a16:creationId xmlns:a16="http://schemas.microsoft.com/office/drawing/2014/main" id="{890368D6-F256-773A-3C4C-8639751FB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155" y="1922780"/>
              <a:ext cx="1073" cy="2144"/>
            </a:xfrm>
            <a:custGeom>
              <a:avLst/>
              <a:gdLst>
                <a:gd name="T0" fmla="*/ 0 w 2"/>
                <a:gd name="T1" fmla="*/ 0 h 5"/>
                <a:gd name="T2" fmla="*/ 2 w 2"/>
                <a:gd name="T3" fmla="*/ 5 h 5"/>
                <a:gd name="T4" fmla="*/ 0 w 2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1" y="2"/>
                    <a:pt x="1" y="3"/>
                    <a:pt x="2" y="5"/>
                  </a:cubicBezTo>
                  <a:cubicBezTo>
                    <a:pt x="1" y="3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18294C"/>
            </a:solidFill>
            <a:ln w="6350">
              <a:solidFill>
                <a:schemeClr val="accent5"/>
              </a:solidFill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FA6E6D96-108D-26E8-F500-746EB0644732}"/>
                </a:ext>
              </a:extLst>
            </p:cNvPr>
            <p:cNvSpPr/>
            <p:nvPr/>
          </p:nvSpPr>
          <p:spPr>
            <a:xfrm>
              <a:off x="4747536" y="3215698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17BE41A7-54A5-191F-5A07-0BBDEBCB4857}"/>
                </a:ext>
              </a:extLst>
            </p:cNvPr>
            <p:cNvSpPr/>
            <p:nvPr/>
          </p:nvSpPr>
          <p:spPr>
            <a:xfrm>
              <a:off x="4294564" y="4381626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33" name="Овал 32">
              <a:extLst>
                <a:ext uri="{FF2B5EF4-FFF2-40B4-BE49-F238E27FC236}">
                  <a16:creationId xmlns:a16="http://schemas.microsoft.com/office/drawing/2014/main" id="{832E8E2B-A909-ADFA-CA47-5D0F9BDAFE87}"/>
                </a:ext>
              </a:extLst>
            </p:cNvPr>
            <p:cNvSpPr/>
            <p:nvPr/>
          </p:nvSpPr>
          <p:spPr>
            <a:xfrm>
              <a:off x="3932267" y="1474386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F31F1BE6-54F2-C136-719A-0B7018B0A9EA}"/>
                </a:ext>
              </a:extLst>
            </p:cNvPr>
            <p:cNvSpPr/>
            <p:nvPr/>
          </p:nvSpPr>
          <p:spPr>
            <a:xfrm>
              <a:off x="3792929" y="5010842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DBF01717-6520-45BF-9BE5-5E9252682F2E}"/>
                </a:ext>
              </a:extLst>
            </p:cNvPr>
            <p:cNvSpPr/>
            <p:nvPr/>
          </p:nvSpPr>
          <p:spPr>
            <a:xfrm>
              <a:off x="4525733" y="1596463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D35FC173-59E2-273C-3201-470AF23057EB}"/>
                </a:ext>
              </a:extLst>
            </p:cNvPr>
            <p:cNvSpPr/>
            <p:nvPr/>
          </p:nvSpPr>
          <p:spPr>
            <a:xfrm>
              <a:off x="3884853" y="5038018"/>
              <a:ext cx="59478" cy="59478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C3DA2BFE-417F-30F9-5AB3-1EC4289A9116}"/>
              </a:ext>
            </a:extLst>
          </p:cNvPr>
          <p:cNvGrpSpPr/>
          <p:nvPr/>
        </p:nvGrpSpPr>
        <p:grpSpPr>
          <a:xfrm>
            <a:off x="164148" y="2384803"/>
            <a:ext cx="2303160" cy="2338901"/>
            <a:chOff x="948099" y="2471460"/>
            <a:chExt cx="2518300" cy="2518300"/>
          </a:xfrm>
        </p:grpSpPr>
        <p:sp>
          <p:nvSpPr>
            <p:cNvPr id="121" name="Овальная выноска 285">
              <a:extLst>
                <a:ext uri="{FF2B5EF4-FFF2-40B4-BE49-F238E27FC236}">
                  <a16:creationId xmlns:a16="http://schemas.microsoft.com/office/drawing/2014/main" id="{382EEA4F-9882-2F13-2A07-7E49D5C7E832}"/>
                </a:ext>
              </a:extLst>
            </p:cNvPr>
            <p:cNvSpPr/>
            <p:nvPr/>
          </p:nvSpPr>
          <p:spPr>
            <a:xfrm>
              <a:off x="948099" y="2471460"/>
              <a:ext cx="2518300" cy="2518300"/>
            </a:xfrm>
            <a:prstGeom prst="wedgeEllipseCallout">
              <a:avLst>
                <a:gd name="adj1" fmla="val 77923"/>
                <a:gd name="adj2" fmla="val 47075"/>
              </a:avLst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>
                  <a:lumMod val="75000"/>
                  <a:lumOff val="25000"/>
                  <a:alpha val="50000"/>
                </a:schemeClr>
              </a:solidFill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122" name="Прямоугольник 121">
              <a:extLst>
                <a:ext uri="{FF2B5EF4-FFF2-40B4-BE49-F238E27FC236}">
                  <a16:creationId xmlns:a16="http://schemas.microsoft.com/office/drawing/2014/main" id="{33212B86-D622-C215-1781-72AE5A0D7F0C}"/>
                </a:ext>
              </a:extLst>
            </p:cNvPr>
            <p:cNvSpPr/>
            <p:nvPr/>
          </p:nvSpPr>
          <p:spPr>
            <a:xfrm>
              <a:off x="1597080" y="2675837"/>
              <a:ext cx="1310616" cy="21352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74295" tIns="37148" rIns="74295" bIns="37148">
              <a:spAutoFit/>
            </a:bodyPr>
            <a:lstStyle/>
            <a:p>
              <a:pPr algn="ctr"/>
              <a:r>
                <a:rPr lang="ru-RU" sz="900" dirty="0">
                  <a:ln w="10160">
                    <a:noFill/>
                    <a:prstDash val="solid"/>
                  </a:ln>
                  <a:latin typeface="+mj-lt"/>
                  <a:cs typeface="Arial" panose="020B0604020202020204" pitchFamily="34" charset="0"/>
                </a:rPr>
                <a:t>ПРИМОРСКИЙ КРАЙ</a:t>
              </a:r>
            </a:p>
          </p:txBody>
        </p:sp>
        <p:grpSp>
          <p:nvGrpSpPr>
            <p:cNvPr id="123" name="Группа 122">
              <a:extLst>
                <a:ext uri="{FF2B5EF4-FFF2-40B4-BE49-F238E27FC236}">
                  <a16:creationId xmlns:a16="http://schemas.microsoft.com/office/drawing/2014/main" id="{91F75AC2-E3C5-C8CD-9EB1-5EC4A40C7645}"/>
                </a:ext>
              </a:extLst>
            </p:cNvPr>
            <p:cNvGrpSpPr/>
            <p:nvPr/>
          </p:nvGrpSpPr>
          <p:grpSpPr>
            <a:xfrm>
              <a:off x="1325230" y="2919273"/>
              <a:ext cx="2046180" cy="1704395"/>
              <a:chOff x="1325230" y="2919273"/>
              <a:chExt cx="2046180" cy="1704395"/>
            </a:xfrm>
          </p:grpSpPr>
          <p:sp>
            <p:nvSpPr>
              <p:cNvPr id="128" name="Freeform 5">
                <a:extLst>
                  <a:ext uri="{FF2B5EF4-FFF2-40B4-BE49-F238E27FC236}">
                    <a16:creationId xmlns:a16="http://schemas.microsoft.com/office/drawing/2014/main" id="{E4E8D39A-AD02-9826-A37B-7089A7D866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5230" y="3962734"/>
                <a:ext cx="547761" cy="660934"/>
              </a:xfrm>
              <a:custGeom>
                <a:avLst/>
                <a:gdLst>
                  <a:gd name="T0" fmla="*/ 157 w 242"/>
                  <a:gd name="T1" fmla="*/ 16 h 292"/>
                  <a:gd name="T2" fmla="*/ 146 w 242"/>
                  <a:gd name="T3" fmla="*/ 46 h 292"/>
                  <a:gd name="T4" fmla="*/ 132 w 242"/>
                  <a:gd name="T5" fmla="*/ 94 h 292"/>
                  <a:gd name="T6" fmla="*/ 117 w 242"/>
                  <a:gd name="T7" fmla="*/ 121 h 292"/>
                  <a:gd name="T8" fmla="*/ 114 w 242"/>
                  <a:gd name="T9" fmla="*/ 137 h 292"/>
                  <a:gd name="T10" fmla="*/ 101 w 242"/>
                  <a:gd name="T11" fmla="*/ 145 h 292"/>
                  <a:gd name="T12" fmla="*/ 82 w 242"/>
                  <a:gd name="T13" fmla="*/ 152 h 292"/>
                  <a:gd name="T14" fmla="*/ 59 w 242"/>
                  <a:gd name="T15" fmla="*/ 150 h 292"/>
                  <a:gd name="T16" fmla="*/ 34 w 242"/>
                  <a:gd name="T17" fmla="*/ 156 h 292"/>
                  <a:gd name="T18" fmla="*/ 1 w 242"/>
                  <a:gd name="T19" fmla="*/ 177 h 292"/>
                  <a:gd name="T20" fmla="*/ 26 w 242"/>
                  <a:gd name="T21" fmla="*/ 190 h 292"/>
                  <a:gd name="T22" fmla="*/ 40 w 242"/>
                  <a:gd name="T23" fmla="*/ 213 h 292"/>
                  <a:gd name="T24" fmla="*/ 34 w 242"/>
                  <a:gd name="T25" fmla="*/ 240 h 292"/>
                  <a:gd name="T26" fmla="*/ 46 w 242"/>
                  <a:gd name="T27" fmla="*/ 272 h 292"/>
                  <a:gd name="T28" fmla="*/ 45 w 242"/>
                  <a:gd name="T29" fmla="*/ 292 h 292"/>
                  <a:gd name="T30" fmla="*/ 63 w 242"/>
                  <a:gd name="T31" fmla="*/ 264 h 292"/>
                  <a:gd name="T32" fmla="*/ 71 w 242"/>
                  <a:gd name="T33" fmla="*/ 240 h 292"/>
                  <a:gd name="T34" fmla="*/ 79 w 242"/>
                  <a:gd name="T35" fmla="*/ 228 h 292"/>
                  <a:gd name="T36" fmla="*/ 63 w 242"/>
                  <a:gd name="T37" fmla="*/ 212 h 292"/>
                  <a:gd name="T38" fmla="*/ 48 w 242"/>
                  <a:gd name="T39" fmla="*/ 212 h 292"/>
                  <a:gd name="T40" fmla="*/ 47 w 242"/>
                  <a:gd name="T41" fmla="*/ 199 h 292"/>
                  <a:gd name="T42" fmla="*/ 70 w 242"/>
                  <a:gd name="T43" fmla="*/ 193 h 292"/>
                  <a:gd name="T44" fmla="*/ 89 w 242"/>
                  <a:gd name="T45" fmla="*/ 196 h 292"/>
                  <a:gd name="T46" fmla="*/ 80 w 242"/>
                  <a:gd name="T47" fmla="*/ 200 h 292"/>
                  <a:gd name="T48" fmla="*/ 80 w 242"/>
                  <a:gd name="T49" fmla="*/ 208 h 292"/>
                  <a:gd name="T50" fmla="*/ 100 w 242"/>
                  <a:gd name="T51" fmla="*/ 202 h 292"/>
                  <a:gd name="T52" fmla="*/ 116 w 242"/>
                  <a:gd name="T53" fmla="*/ 192 h 292"/>
                  <a:gd name="T54" fmla="*/ 126 w 242"/>
                  <a:gd name="T55" fmla="*/ 207 h 292"/>
                  <a:gd name="T56" fmla="*/ 138 w 242"/>
                  <a:gd name="T57" fmla="*/ 219 h 292"/>
                  <a:gd name="T58" fmla="*/ 142 w 242"/>
                  <a:gd name="T59" fmla="*/ 203 h 292"/>
                  <a:gd name="T60" fmla="*/ 147 w 242"/>
                  <a:gd name="T61" fmla="*/ 184 h 292"/>
                  <a:gd name="T62" fmla="*/ 155 w 242"/>
                  <a:gd name="T63" fmla="*/ 164 h 292"/>
                  <a:gd name="T64" fmla="*/ 167 w 242"/>
                  <a:gd name="T65" fmla="*/ 159 h 292"/>
                  <a:gd name="T66" fmla="*/ 180 w 242"/>
                  <a:gd name="T67" fmla="*/ 143 h 292"/>
                  <a:gd name="T68" fmla="*/ 168 w 242"/>
                  <a:gd name="T69" fmla="*/ 132 h 292"/>
                  <a:gd name="T70" fmla="*/ 176 w 242"/>
                  <a:gd name="T71" fmla="*/ 133 h 292"/>
                  <a:gd name="T72" fmla="*/ 185 w 242"/>
                  <a:gd name="T73" fmla="*/ 118 h 292"/>
                  <a:gd name="T74" fmla="*/ 202 w 242"/>
                  <a:gd name="T75" fmla="*/ 109 h 292"/>
                  <a:gd name="T76" fmla="*/ 222 w 242"/>
                  <a:gd name="T77" fmla="*/ 74 h 292"/>
                  <a:gd name="T78" fmla="*/ 204 w 242"/>
                  <a:gd name="T79" fmla="*/ 60 h 292"/>
                  <a:gd name="T80" fmla="*/ 220 w 242"/>
                  <a:gd name="T81" fmla="*/ 56 h 292"/>
                  <a:gd name="T82" fmla="*/ 229 w 242"/>
                  <a:gd name="T83" fmla="*/ 74 h 292"/>
                  <a:gd name="T84" fmla="*/ 232 w 242"/>
                  <a:gd name="T85" fmla="*/ 64 h 292"/>
                  <a:gd name="T86" fmla="*/ 239 w 242"/>
                  <a:gd name="T87" fmla="*/ 44 h 292"/>
                  <a:gd name="T88" fmla="*/ 229 w 242"/>
                  <a:gd name="T89" fmla="*/ 24 h 292"/>
                  <a:gd name="T90" fmla="*/ 161 w 242"/>
                  <a:gd name="T91" fmla="*/ 0 h 292"/>
                  <a:gd name="T92" fmla="*/ 163 w 242"/>
                  <a:gd name="T93" fmla="*/ 188 h 292"/>
                  <a:gd name="T94" fmla="*/ 166 w 242"/>
                  <a:gd name="T95" fmla="*/ 185 h 292"/>
                  <a:gd name="T96" fmla="*/ 166 w 242"/>
                  <a:gd name="T97" fmla="*/ 195 h 292"/>
                  <a:gd name="T98" fmla="*/ 183 w 242"/>
                  <a:gd name="T99" fmla="*/ 193 h 292"/>
                  <a:gd name="T100" fmla="*/ 180 w 242"/>
                  <a:gd name="T101" fmla="*/ 200 h 292"/>
                  <a:gd name="T102" fmla="*/ 183 w 242"/>
                  <a:gd name="T103" fmla="*/ 193 h 292"/>
                  <a:gd name="T104" fmla="*/ 85 w 242"/>
                  <a:gd name="T105" fmla="*/ 248 h 292"/>
                  <a:gd name="T106" fmla="*/ 87 w 242"/>
                  <a:gd name="T107" fmla="*/ 243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42" h="292">
                    <a:moveTo>
                      <a:pt x="161" y="0"/>
                    </a:moveTo>
                    <a:lnTo>
                      <a:pt x="161" y="0"/>
                    </a:lnTo>
                    <a:lnTo>
                      <a:pt x="156" y="10"/>
                    </a:lnTo>
                    <a:lnTo>
                      <a:pt x="157" y="16"/>
                    </a:lnTo>
                    <a:lnTo>
                      <a:pt x="159" y="22"/>
                    </a:lnTo>
                    <a:lnTo>
                      <a:pt x="157" y="29"/>
                    </a:lnTo>
                    <a:lnTo>
                      <a:pt x="152" y="32"/>
                    </a:lnTo>
                    <a:lnTo>
                      <a:pt x="146" y="46"/>
                    </a:lnTo>
                    <a:lnTo>
                      <a:pt x="139" y="60"/>
                    </a:lnTo>
                    <a:lnTo>
                      <a:pt x="138" y="68"/>
                    </a:lnTo>
                    <a:lnTo>
                      <a:pt x="137" y="84"/>
                    </a:lnTo>
                    <a:lnTo>
                      <a:pt x="132" y="94"/>
                    </a:lnTo>
                    <a:lnTo>
                      <a:pt x="123" y="99"/>
                    </a:lnTo>
                    <a:lnTo>
                      <a:pt x="118" y="104"/>
                    </a:lnTo>
                    <a:lnTo>
                      <a:pt x="116" y="113"/>
                    </a:lnTo>
                    <a:lnTo>
                      <a:pt x="117" y="121"/>
                    </a:lnTo>
                    <a:lnTo>
                      <a:pt x="124" y="128"/>
                    </a:lnTo>
                    <a:lnTo>
                      <a:pt x="125" y="132"/>
                    </a:lnTo>
                    <a:lnTo>
                      <a:pt x="121" y="137"/>
                    </a:lnTo>
                    <a:lnTo>
                      <a:pt x="114" y="137"/>
                    </a:lnTo>
                    <a:lnTo>
                      <a:pt x="106" y="132"/>
                    </a:lnTo>
                    <a:lnTo>
                      <a:pt x="101" y="133"/>
                    </a:lnTo>
                    <a:lnTo>
                      <a:pt x="99" y="140"/>
                    </a:lnTo>
                    <a:lnTo>
                      <a:pt x="101" y="145"/>
                    </a:lnTo>
                    <a:lnTo>
                      <a:pt x="99" y="148"/>
                    </a:lnTo>
                    <a:lnTo>
                      <a:pt x="94" y="148"/>
                    </a:lnTo>
                    <a:lnTo>
                      <a:pt x="88" y="148"/>
                    </a:lnTo>
                    <a:lnTo>
                      <a:pt x="82" y="152"/>
                    </a:lnTo>
                    <a:lnTo>
                      <a:pt x="76" y="153"/>
                    </a:lnTo>
                    <a:lnTo>
                      <a:pt x="73" y="150"/>
                    </a:lnTo>
                    <a:lnTo>
                      <a:pt x="67" y="149"/>
                    </a:lnTo>
                    <a:lnTo>
                      <a:pt x="59" y="150"/>
                    </a:lnTo>
                    <a:lnTo>
                      <a:pt x="57" y="160"/>
                    </a:lnTo>
                    <a:lnTo>
                      <a:pt x="51" y="159"/>
                    </a:lnTo>
                    <a:lnTo>
                      <a:pt x="42" y="155"/>
                    </a:lnTo>
                    <a:lnTo>
                      <a:pt x="34" y="156"/>
                    </a:lnTo>
                    <a:lnTo>
                      <a:pt x="20" y="161"/>
                    </a:lnTo>
                    <a:lnTo>
                      <a:pt x="12" y="167"/>
                    </a:lnTo>
                    <a:lnTo>
                      <a:pt x="6" y="177"/>
                    </a:lnTo>
                    <a:lnTo>
                      <a:pt x="1" y="177"/>
                    </a:lnTo>
                    <a:lnTo>
                      <a:pt x="0" y="183"/>
                    </a:lnTo>
                    <a:lnTo>
                      <a:pt x="3" y="186"/>
                    </a:lnTo>
                    <a:lnTo>
                      <a:pt x="12" y="190"/>
                    </a:lnTo>
                    <a:lnTo>
                      <a:pt x="26" y="190"/>
                    </a:lnTo>
                    <a:lnTo>
                      <a:pt x="30" y="192"/>
                    </a:lnTo>
                    <a:lnTo>
                      <a:pt x="34" y="198"/>
                    </a:lnTo>
                    <a:lnTo>
                      <a:pt x="35" y="203"/>
                    </a:lnTo>
                    <a:lnTo>
                      <a:pt x="40" y="213"/>
                    </a:lnTo>
                    <a:lnTo>
                      <a:pt x="40" y="226"/>
                    </a:lnTo>
                    <a:lnTo>
                      <a:pt x="32" y="227"/>
                    </a:lnTo>
                    <a:lnTo>
                      <a:pt x="32" y="236"/>
                    </a:lnTo>
                    <a:lnTo>
                      <a:pt x="34" y="240"/>
                    </a:lnTo>
                    <a:lnTo>
                      <a:pt x="36" y="249"/>
                    </a:lnTo>
                    <a:lnTo>
                      <a:pt x="39" y="253"/>
                    </a:lnTo>
                    <a:lnTo>
                      <a:pt x="46" y="266"/>
                    </a:lnTo>
                    <a:lnTo>
                      <a:pt x="46" y="272"/>
                    </a:lnTo>
                    <a:lnTo>
                      <a:pt x="44" y="280"/>
                    </a:lnTo>
                    <a:lnTo>
                      <a:pt x="44" y="285"/>
                    </a:lnTo>
                    <a:lnTo>
                      <a:pt x="45" y="287"/>
                    </a:lnTo>
                    <a:lnTo>
                      <a:pt x="45" y="292"/>
                    </a:lnTo>
                    <a:lnTo>
                      <a:pt x="48" y="288"/>
                    </a:lnTo>
                    <a:lnTo>
                      <a:pt x="53" y="286"/>
                    </a:lnTo>
                    <a:lnTo>
                      <a:pt x="55" y="274"/>
                    </a:lnTo>
                    <a:lnTo>
                      <a:pt x="63" y="264"/>
                    </a:lnTo>
                    <a:lnTo>
                      <a:pt x="63" y="257"/>
                    </a:lnTo>
                    <a:lnTo>
                      <a:pt x="65" y="248"/>
                    </a:lnTo>
                    <a:lnTo>
                      <a:pt x="65" y="240"/>
                    </a:lnTo>
                    <a:lnTo>
                      <a:pt x="71" y="240"/>
                    </a:lnTo>
                    <a:lnTo>
                      <a:pt x="75" y="243"/>
                    </a:lnTo>
                    <a:lnTo>
                      <a:pt x="77" y="237"/>
                    </a:lnTo>
                    <a:lnTo>
                      <a:pt x="76" y="231"/>
                    </a:lnTo>
                    <a:lnTo>
                      <a:pt x="79" y="228"/>
                    </a:lnTo>
                    <a:lnTo>
                      <a:pt x="84" y="228"/>
                    </a:lnTo>
                    <a:lnTo>
                      <a:pt x="75" y="218"/>
                    </a:lnTo>
                    <a:lnTo>
                      <a:pt x="68" y="217"/>
                    </a:lnTo>
                    <a:lnTo>
                      <a:pt x="63" y="212"/>
                    </a:lnTo>
                    <a:lnTo>
                      <a:pt x="63" y="207"/>
                    </a:lnTo>
                    <a:lnTo>
                      <a:pt x="56" y="209"/>
                    </a:lnTo>
                    <a:lnTo>
                      <a:pt x="53" y="214"/>
                    </a:lnTo>
                    <a:lnTo>
                      <a:pt x="48" y="212"/>
                    </a:lnTo>
                    <a:lnTo>
                      <a:pt x="53" y="207"/>
                    </a:lnTo>
                    <a:lnTo>
                      <a:pt x="57" y="203"/>
                    </a:lnTo>
                    <a:lnTo>
                      <a:pt x="53" y="202"/>
                    </a:lnTo>
                    <a:lnTo>
                      <a:pt x="47" y="199"/>
                    </a:lnTo>
                    <a:lnTo>
                      <a:pt x="48" y="193"/>
                    </a:lnTo>
                    <a:lnTo>
                      <a:pt x="56" y="189"/>
                    </a:lnTo>
                    <a:lnTo>
                      <a:pt x="63" y="189"/>
                    </a:lnTo>
                    <a:lnTo>
                      <a:pt x="70" y="193"/>
                    </a:lnTo>
                    <a:lnTo>
                      <a:pt x="74" y="197"/>
                    </a:lnTo>
                    <a:lnTo>
                      <a:pt x="80" y="194"/>
                    </a:lnTo>
                    <a:lnTo>
                      <a:pt x="86" y="193"/>
                    </a:lnTo>
                    <a:lnTo>
                      <a:pt x="89" y="196"/>
                    </a:lnTo>
                    <a:lnTo>
                      <a:pt x="94" y="200"/>
                    </a:lnTo>
                    <a:lnTo>
                      <a:pt x="92" y="203"/>
                    </a:lnTo>
                    <a:lnTo>
                      <a:pt x="87" y="203"/>
                    </a:lnTo>
                    <a:lnTo>
                      <a:pt x="80" y="200"/>
                    </a:lnTo>
                    <a:lnTo>
                      <a:pt x="76" y="200"/>
                    </a:lnTo>
                    <a:lnTo>
                      <a:pt x="70" y="201"/>
                    </a:lnTo>
                    <a:lnTo>
                      <a:pt x="74" y="203"/>
                    </a:lnTo>
                    <a:lnTo>
                      <a:pt x="80" y="208"/>
                    </a:lnTo>
                    <a:lnTo>
                      <a:pt x="83" y="212"/>
                    </a:lnTo>
                    <a:lnTo>
                      <a:pt x="90" y="212"/>
                    </a:lnTo>
                    <a:lnTo>
                      <a:pt x="93" y="211"/>
                    </a:lnTo>
                    <a:lnTo>
                      <a:pt x="100" y="202"/>
                    </a:lnTo>
                    <a:lnTo>
                      <a:pt x="105" y="202"/>
                    </a:lnTo>
                    <a:lnTo>
                      <a:pt x="110" y="202"/>
                    </a:lnTo>
                    <a:lnTo>
                      <a:pt x="113" y="198"/>
                    </a:lnTo>
                    <a:lnTo>
                      <a:pt x="116" y="192"/>
                    </a:lnTo>
                    <a:lnTo>
                      <a:pt x="119" y="195"/>
                    </a:lnTo>
                    <a:lnTo>
                      <a:pt x="121" y="197"/>
                    </a:lnTo>
                    <a:lnTo>
                      <a:pt x="122" y="204"/>
                    </a:lnTo>
                    <a:lnTo>
                      <a:pt x="126" y="207"/>
                    </a:lnTo>
                    <a:lnTo>
                      <a:pt x="130" y="210"/>
                    </a:lnTo>
                    <a:lnTo>
                      <a:pt x="128" y="215"/>
                    </a:lnTo>
                    <a:lnTo>
                      <a:pt x="132" y="219"/>
                    </a:lnTo>
                    <a:lnTo>
                      <a:pt x="138" y="219"/>
                    </a:lnTo>
                    <a:lnTo>
                      <a:pt x="142" y="215"/>
                    </a:lnTo>
                    <a:lnTo>
                      <a:pt x="142" y="212"/>
                    </a:lnTo>
                    <a:lnTo>
                      <a:pt x="139" y="206"/>
                    </a:lnTo>
                    <a:lnTo>
                      <a:pt x="142" y="203"/>
                    </a:lnTo>
                    <a:lnTo>
                      <a:pt x="140" y="197"/>
                    </a:lnTo>
                    <a:lnTo>
                      <a:pt x="142" y="192"/>
                    </a:lnTo>
                    <a:lnTo>
                      <a:pt x="147" y="190"/>
                    </a:lnTo>
                    <a:lnTo>
                      <a:pt x="147" y="184"/>
                    </a:lnTo>
                    <a:lnTo>
                      <a:pt x="149" y="177"/>
                    </a:lnTo>
                    <a:lnTo>
                      <a:pt x="149" y="171"/>
                    </a:lnTo>
                    <a:lnTo>
                      <a:pt x="152" y="166"/>
                    </a:lnTo>
                    <a:lnTo>
                      <a:pt x="155" y="164"/>
                    </a:lnTo>
                    <a:lnTo>
                      <a:pt x="161" y="167"/>
                    </a:lnTo>
                    <a:lnTo>
                      <a:pt x="168" y="170"/>
                    </a:lnTo>
                    <a:lnTo>
                      <a:pt x="172" y="165"/>
                    </a:lnTo>
                    <a:lnTo>
                      <a:pt x="167" y="159"/>
                    </a:lnTo>
                    <a:lnTo>
                      <a:pt x="166" y="154"/>
                    </a:lnTo>
                    <a:lnTo>
                      <a:pt x="173" y="152"/>
                    </a:lnTo>
                    <a:lnTo>
                      <a:pt x="182" y="147"/>
                    </a:lnTo>
                    <a:lnTo>
                      <a:pt x="180" y="143"/>
                    </a:lnTo>
                    <a:lnTo>
                      <a:pt x="174" y="145"/>
                    </a:lnTo>
                    <a:lnTo>
                      <a:pt x="168" y="143"/>
                    </a:lnTo>
                    <a:lnTo>
                      <a:pt x="170" y="136"/>
                    </a:lnTo>
                    <a:lnTo>
                      <a:pt x="168" y="132"/>
                    </a:lnTo>
                    <a:lnTo>
                      <a:pt x="167" y="125"/>
                    </a:lnTo>
                    <a:lnTo>
                      <a:pt x="171" y="126"/>
                    </a:lnTo>
                    <a:lnTo>
                      <a:pt x="173" y="129"/>
                    </a:lnTo>
                    <a:lnTo>
                      <a:pt x="176" y="133"/>
                    </a:lnTo>
                    <a:lnTo>
                      <a:pt x="184" y="130"/>
                    </a:lnTo>
                    <a:lnTo>
                      <a:pt x="186" y="128"/>
                    </a:lnTo>
                    <a:lnTo>
                      <a:pt x="188" y="124"/>
                    </a:lnTo>
                    <a:lnTo>
                      <a:pt x="185" y="118"/>
                    </a:lnTo>
                    <a:lnTo>
                      <a:pt x="188" y="116"/>
                    </a:lnTo>
                    <a:lnTo>
                      <a:pt x="195" y="116"/>
                    </a:lnTo>
                    <a:lnTo>
                      <a:pt x="200" y="115"/>
                    </a:lnTo>
                    <a:lnTo>
                      <a:pt x="202" y="109"/>
                    </a:lnTo>
                    <a:lnTo>
                      <a:pt x="200" y="106"/>
                    </a:lnTo>
                    <a:lnTo>
                      <a:pt x="205" y="97"/>
                    </a:lnTo>
                    <a:lnTo>
                      <a:pt x="221" y="78"/>
                    </a:lnTo>
                    <a:lnTo>
                      <a:pt x="222" y="74"/>
                    </a:lnTo>
                    <a:lnTo>
                      <a:pt x="216" y="75"/>
                    </a:lnTo>
                    <a:lnTo>
                      <a:pt x="214" y="72"/>
                    </a:lnTo>
                    <a:lnTo>
                      <a:pt x="208" y="68"/>
                    </a:lnTo>
                    <a:lnTo>
                      <a:pt x="204" y="60"/>
                    </a:lnTo>
                    <a:lnTo>
                      <a:pt x="202" y="53"/>
                    </a:lnTo>
                    <a:lnTo>
                      <a:pt x="206" y="50"/>
                    </a:lnTo>
                    <a:lnTo>
                      <a:pt x="216" y="48"/>
                    </a:lnTo>
                    <a:lnTo>
                      <a:pt x="220" y="56"/>
                    </a:lnTo>
                    <a:lnTo>
                      <a:pt x="224" y="63"/>
                    </a:lnTo>
                    <a:lnTo>
                      <a:pt x="224" y="63"/>
                    </a:lnTo>
                    <a:lnTo>
                      <a:pt x="226" y="66"/>
                    </a:lnTo>
                    <a:lnTo>
                      <a:pt x="229" y="74"/>
                    </a:lnTo>
                    <a:lnTo>
                      <a:pt x="233" y="74"/>
                    </a:lnTo>
                    <a:lnTo>
                      <a:pt x="242" y="69"/>
                    </a:lnTo>
                    <a:lnTo>
                      <a:pt x="239" y="63"/>
                    </a:lnTo>
                    <a:lnTo>
                      <a:pt x="232" y="64"/>
                    </a:lnTo>
                    <a:lnTo>
                      <a:pt x="231" y="61"/>
                    </a:lnTo>
                    <a:lnTo>
                      <a:pt x="236" y="57"/>
                    </a:lnTo>
                    <a:lnTo>
                      <a:pt x="236" y="47"/>
                    </a:lnTo>
                    <a:lnTo>
                      <a:pt x="239" y="44"/>
                    </a:lnTo>
                    <a:lnTo>
                      <a:pt x="240" y="37"/>
                    </a:lnTo>
                    <a:lnTo>
                      <a:pt x="240" y="37"/>
                    </a:lnTo>
                    <a:lnTo>
                      <a:pt x="237" y="28"/>
                    </a:lnTo>
                    <a:lnTo>
                      <a:pt x="229" y="24"/>
                    </a:lnTo>
                    <a:lnTo>
                      <a:pt x="196" y="24"/>
                    </a:lnTo>
                    <a:lnTo>
                      <a:pt x="179" y="20"/>
                    </a:lnTo>
                    <a:lnTo>
                      <a:pt x="171" y="17"/>
                    </a:lnTo>
                    <a:lnTo>
                      <a:pt x="161" y="0"/>
                    </a:lnTo>
                    <a:lnTo>
                      <a:pt x="161" y="0"/>
                    </a:lnTo>
                    <a:close/>
                    <a:moveTo>
                      <a:pt x="166" y="185"/>
                    </a:moveTo>
                    <a:lnTo>
                      <a:pt x="163" y="185"/>
                    </a:lnTo>
                    <a:lnTo>
                      <a:pt x="163" y="188"/>
                    </a:lnTo>
                    <a:lnTo>
                      <a:pt x="166" y="190"/>
                    </a:lnTo>
                    <a:lnTo>
                      <a:pt x="167" y="188"/>
                    </a:lnTo>
                    <a:lnTo>
                      <a:pt x="166" y="185"/>
                    </a:lnTo>
                    <a:lnTo>
                      <a:pt x="166" y="185"/>
                    </a:lnTo>
                    <a:close/>
                    <a:moveTo>
                      <a:pt x="164" y="191"/>
                    </a:moveTo>
                    <a:lnTo>
                      <a:pt x="163" y="192"/>
                    </a:lnTo>
                    <a:lnTo>
                      <a:pt x="164" y="194"/>
                    </a:lnTo>
                    <a:lnTo>
                      <a:pt x="166" y="195"/>
                    </a:lnTo>
                    <a:lnTo>
                      <a:pt x="167" y="193"/>
                    </a:lnTo>
                    <a:lnTo>
                      <a:pt x="166" y="192"/>
                    </a:lnTo>
                    <a:lnTo>
                      <a:pt x="164" y="191"/>
                    </a:lnTo>
                    <a:close/>
                    <a:moveTo>
                      <a:pt x="183" y="193"/>
                    </a:moveTo>
                    <a:lnTo>
                      <a:pt x="180" y="194"/>
                    </a:lnTo>
                    <a:lnTo>
                      <a:pt x="180" y="195"/>
                    </a:lnTo>
                    <a:lnTo>
                      <a:pt x="178" y="198"/>
                    </a:lnTo>
                    <a:lnTo>
                      <a:pt x="180" y="200"/>
                    </a:lnTo>
                    <a:lnTo>
                      <a:pt x="183" y="198"/>
                    </a:lnTo>
                    <a:lnTo>
                      <a:pt x="184" y="195"/>
                    </a:lnTo>
                    <a:lnTo>
                      <a:pt x="183" y="193"/>
                    </a:lnTo>
                    <a:lnTo>
                      <a:pt x="183" y="193"/>
                    </a:lnTo>
                    <a:close/>
                    <a:moveTo>
                      <a:pt x="87" y="243"/>
                    </a:moveTo>
                    <a:lnTo>
                      <a:pt x="85" y="243"/>
                    </a:lnTo>
                    <a:lnTo>
                      <a:pt x="84" y="244"/>
                    </a:lnTo>
                    <a:lnTo>
                      <a:pt x="85" y="248"/>
                    </a:lnTo>
                    <a:lnTo>
                      <a:pt x="87" y="246"/>
                    </a:lnTo>
                    <a:lnTo>
                      <a:pt x="89" y="243"/>
                    </a:lnTo>
                    <a:lnTo>
                      <a:pt x="87" y="243"/>
                    </a:lnTo>
                    <a:lnTo>
                      <a:pt x="87" y="24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29" name="Freeform 9">
                <a:extLst>
                  <a:ext uri="{FF2B5EF4-FFF2-40B4-BE49-F238E27FC236}">
                    <a16:creationId xmlns:a16="http://schemas.microsoft.com/office/drawing/2014/main" id="{CE051197-0845-704B-CDAD-410CFC0A9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5518" y="3969525"/>
                <a:ext cx="190132" cy="237665"/>
              </a:xfrm>
              <a:custGeom>
                <a:avLst/>
                <a:gdLst>
                  <a:gd name="T0" fmla="*/ 71 w 84"/>
                  <a:gd name="T1" fmla="*/ 0 h 105"/>
                  <a:gd name="T2" fmla="*/ 65 w 84"/>
                  <a:gd name="T3" fmla="*/ 5 h 105"/>
                  <a:gd name="T4" fmla="*/ 41 w 84"/>
                  <a:gd name="T5" fmla="*/ 7 h 105"/>
                  <a:gd name="T6" fmla="*/ 33 w 84"/>
                  <a:gd name="T7" fmla="*/ 9 h 105"/>
                  <a:gd name="T8" fmla="*/ 20 w 84"/>
                  <a:gd name="T9" fmla="*/ 17 h 105"/>
                  <a:gd name="T10" fmla="*/ 24 w 84"/>
                  <a:gd name="T11" fmla="*/ 26 h 105"/>
                  <a:gd name="T12" fmla="*/ 22 w 84"/>
                  <a:gd name="T13" fmla="*/ 33 h 105"/>
                  <a:gd name="T14" fmla="*/ 16 w 84"/>
                  <a:gd name="T15" fmla="*/ 37 h 105"/>
                  <a:gd name="T16" fmla="*/ 12 w 84"/>
                  <a:gd name="T17" fmla="*/ 42 h 105"/>
                  <a:gd name="T18" fmla="*/ 13 w 84"/>
                  <a:gd name="T19" fmla="*/ 45 h 105"/>
                  <a:gd name="T20" fmla="*/ 5 w 84"/>
                  <a:gd name="T21" fmla="*/ 54 h 105"/>
                  <a:gd name="T22" fmla="*/ 4 w 84"/>
                  <a:gd name="T23" fmla="*/ 69 h 105"/>
                  <a:gd name="T24" fmla="*/ 5 w 84"/>
                  <a:gd name="T25" fmla="*/ 73 h 105"/>
                  <a:gd name="T26" fmla="*/ 0 w 84"/>
                  <a:gd name="T27" fmla="*/ 79 h 105"/>
                  <a:gd name="T28" fmla="*/ 2 w 84"/>
                  <a:gd name="T29" fmla="*/ 87 h 105"/>
                  <a:gd name="T30" fmla="*/ 9 w 84"/>
                  <a:gd name="T31" fmla="*/ 88 h 105"/>
                  <a:gd name="T32" fmla="*/ 16 w 84"/>
                  <a:gd name="T33" fmla="*/ 84 h 105"/>
                  <a:gd name="T34" fmla="*/ 23 w 84"/>
                  <a:gd name="T35" fmla="*/ 83 h 105"/>
                  <a:gd name="T36" fmla="*/ 27 w 84"/>
                  <a:gd name="T37" fmla="*/ 89 h 105"/>
                  <a:gd name="T38" fmla="*/ 31 w 84"/>
                  <a:gd name="T39" fmla="*/ 96 h 105"/>
                  <a:gd name="T40" fmla="*/ 41 w 84"/>
                  <a:gd name="T41" fmla="*/ 105 h 105"/>
                  <a:gd name="T42" fmla="*/ 47 w 84"/>
                  <a:gd name="T43" fmla="*/ 105 h 105"/>
                  <a:gd name="T44" fmla="*/ 50 w 84"/>
                  <a:gd name="T45" fmla="*/ 101 h 105"/>
                  <a:gd name="T46" fmla="*/ 57 w 84"/>
                  <a:gd name="T47" fmla="*/ 102 h 105"/>
                  <a:gd name="T48" fmla="*/ 61 w 84"/>
                  <a:gd name="T49" fmla="*/ 101 h 105"/>
                  <a:gd name="T50" fmla="*/ 62 w 84"/>
                  <a:gd name="T51" fmla="*/ 93 h 105"/>
                  <a:gd name="T52" fmla="*/ 74 w 84"/>
                  <a:gd name="T53" fmla="*/ 84 h 105"/>
                  <a:gd name="T54" fmla="*/ 75 w 84"/>
                  <a:gd name="T55" fmla="*/ 72 h 105"/>
                  <a:gd name="T56" fmla="*/ 76 w 84"/>
                  <a:gd name="T57" fmla="*/ 67 h 105"/>
                  <a:gd name="T58" fmla="*/ 79 w 84"/>
                  <a:gd name="T59" fmla="*/ 50 h 105"/>
                  <a:gd name="T60" fmla="*/ 83 w 84"/>
                  <a:gd name="T61" fmla="*/ 43 h 105"/>
                  <a:gd name="T62" fmla="*/ 84 w 84"/>
                  <a:gd name="T63" fmla="*/ 28 h 105"/>
                  <a:gd name="T64" fmla="*/ 80 w 84"/>
                  <a:gd name="T65" fmla="*/ 9 h 105"/>
                  <a:gd name="T66" fmla="*/ 71 w 84"/>
                  <a:gd name="T67" fmla="*/ 0 h 105"/>
                  <a:gd name="T68" fmla="*/ 71 w 84"/>
                  <a:gd name="T69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4" h="105">
                    <a:moveTo>
                      <a:pt x="71" y="0"/>
                    </a:moveTo>
                    <a:lnTo>
                      <a:pt x="65" y="5"/>
                    </a:lnTo>
                    <a:lnTo>
                      <a:pt x="41" y="7"/>
                    </a:lnTo>
                    <a:lnTo>
                      <a:pt x="33" y="9"/>
                    </a:lnTo>
                    <a:lnTo>
                      <a:pt x="20" y="17"/>
                    </a:lnTo>
                    <a:lnTo>
                      <a:pt x="24" y="26"/>
                    </a:lnTo>
                    <a:lnTo>
                      <a:pt x="22" y="33"/>
                    </a:lnTo>
                    <a:lnTo>
                      <a:pt x="16" y="37"/>
                    </a:lnTo>
                    <a:lnTo>
                      <a:pt x="12" y="42"/>
                    </a:lnTo>
                    <a:lnTo>
                      <a:pt x="13" y="45"/>
                    </a:lnTo>
                    <a:lnTo>
                      <a:pt x="5" y="54"/>
                    </a:lnTo>
                    <a:lnTo>
                      <a:pt x="4" y="69"/>
                    </a:lnTo>
                    <a:lnTo>
                      <a:pt x="5" y="73"/>
                    </a:lnTo>
                    <a:lnTo>
                      <a:pt x="0" y="79"/>
                    </a:lnTo>
                    <a:lnTo>
                      <a:pt x="2" y="87"/>
                    </a:lnTo>
                    <a:lnTo>
                      <a:pt x="9" y="88"/>
                    </a:lnTo>
                    <a:lnTo>
                      <a:pt x="16" y="84"/>
                    </a:lnTo>
                    <a:lnTo>
                      <a:pt x="23" y="83"/>
                    </a:lnTo>
                    <a:lnTo>
                      <a:pt x="27" y="89"/>
                    </a:lnTo>
                    <a:lnTo>
                      <a:pt x="31" y="96"/>
                    </a:lnTo>
                    <a:lnTo>
                      <a:pt x="41" y="105"/>
                    </a:lnTo>
                    <a:lnTo>
                      <a:pt x="47" y="105"/>
                    </a:lnTo>
                    <a:lnTo>
                      <a:pt x="50" y="101"/>
                    </a:lnTo>
                    <a:lnTo>
                      <a:pt x="57" y="102"/>
                    </a:lnTo>
                    <a:lnTo>
                      <a:pt x="61" y="101"/>
                    </a:lnTo>
                    <a:lnTo>
                      <a:pt x="62" y="93"/>
                    </a:lnTo>
                    <a:lnTo>
                      <a:pt x="74" y="84"/>
                    </a:lnTo>
                    <a:lnTo>
                      <a:pt x="75" y="72"/>
                    </a:lnTo>
                    <a:lnTo>
                      <a:pt x="76" y="67"/>
                    </a:lnTo>
                    <a:lnTo>
                      <a:pt x="79" y="50"/>
                    </a:lnTo>
                    <a:lnTo>
                      <a:pt x="83" y="43"/>
                    </a:lnTo>
                    <a:lnTo>
                      <a:pt x="84" y="28"/>
                    </a:lnTo>
                    <a:lnTo>
                      <a:pt x="80" y="9"/>
                    </a:lnTo>
                    <a:lnTo>
                      <a:pt x="71" y="0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0" name="Freeform 21">
                <a:extLst>
                  <a:ext uri="{FF2B5EF4-FFF2-40B4-BE49-F238E27FC236}">
                    <a16:creationId xmlns:a16="http://schemas.microsoft.com/office/drawing/2014/main" id="{879928C8-AD2C-29B3-A617-B644FD4E5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446" y="2919273"/>
                <a:ext cx="319149" cy="441378"/>
              </a:xfrm>
              <a:custGeom>
                <a:avLst/>
                <a:gdLst>
                  <a:gd name="T0" fmla="*/ 0 w 141"/>
                  <a:gd name="T1" fmla="*/ 92 h 195"/>
                  <a:gd name="T2" fmla="*/ 7 w 141"/>
                  <a:gd name="T3" fmla="*/ 106 h 195"/>
                  <a:gd name="T4" fmla="*/ 9 w 141"/>
                  <a:gd name="T5" fmla="*/ 137 h 195"/>
                  <a:gd name="T6" fmla="*/ 16 w 141"/>
                  <a:gd name="T7" fmla="*/ 148 h 195"/>
                  <a:gd name="T8" fmla="*/ 40 w 141"/>
                  <a:gd name="T9" fmla="*/ 136 h 195"/>
                  <a:gd name="T10" fmla="*/ 48 w 141"/>
                  <a:gd name="T11" fmla="*/ 154 h 195"/>
                  <a:gd name="T12" fmla="*/ 31 w 141"/>
                  <a:gd name="T13" fmla="*/ 166 h 195"/>
                  <a:gd name="T14" fmla="*/ 28 w 141"/>
                  <a:gd name="T15" fmla="*/ 173 h 195"/>
                  <a:gd name="T16" fmla="*/ 45 w 141"/>
                  <a:gd name="T17" fmla="*/ 173 h 195"/>
                  <a:gd name="T18" fmla="*/ 62 w 141"/>
                  <a:gd name="T19" fmla="*/ 183 h 195"/>
                  <a:gd name="T20" fmla="*/ 102 w 141"/>
                  <a:gd name="T21" fmla="*/ 188 h 195"/>
                  <a:gd name="T22" fmla="*/ 132 w 141"/>
                  <a:gd name="T23" fmla="*/ 181 h 195"/>
                  <a:gd name="T24" fmla="*/ 128 w 141"/>
                  <a:gd name="T25" fmla="*/ 175 h 195"/>
                  <a:gd name="T26" fmla="*/ 134 w 141"/>
                  <a:gd name="T27" fmla="*/ 173 h 195"/>
                  <a:gd name="T28" fmla="*/ 141 w 141"/>
                  <a:gd name="T29" fmla="*/ 174 h 195"/>
                  <a:gd name="T30" fmla="*/ 119 w 141"/>
                  <a:gd name="T31" fmla="*/ 162 h 195"/>
                  <a:gd name="T32" fmla="*/ 104 w 141"/>
                  <a:gd name="T33" fmla="*/ 156 h 195"/>
                  <a:gd name="T34" fmla="*/ 97 w 141"/>
                  <a:gd name="T35" fmla="*/ 130 h 195"/>
                  <a:gd name="T36" fmla="*/ 106 w 141"/>
                  <a:gd name="T37" fmla="*/ 120 h 195"/>
                  <a:gd name="T38" fmla="*/ 110 w 141"/>
                  <a:gd name="T39" fmla="*/ 115 h 195"/>
                  <a:gd name="T40" fmla="*/ 114 w 141"/>
                  <a:gd name="T41" fmla="*/ 101 h 195"/>
                  <a:gd name="T42" fmla="*/ 110 w 141"/>
                  <a:gd name="T43" fmla="*/ 87 h 195"/>
                  <a:gd name="T44" fmla="*/ 107 w 141"/>
                  <a:gd name="T45" fmla="*/ 77 h 195"/>
                  <a:gd name="T46" fmla="*/ 96 w 141"/>
                  <a:gd name="T47" fmla="*/ 77 h 195"/>
                  <a:gd name="T48" fmla="*/ 94 w 141"/>
                  <a:gd name="T49" fmla="*/ 63 h 195"/>
                  <a:gd name="T50" fmla="*/ 99 w 141"/>
                  <a:gd name="T51" fmla="*/ 55 h 195"/>
                  <a:gd name="T52" fmla="*/ 89 w 141"/>
                  <a:gd name="T53" fmla="*/ 42 h 195"/>
                  <a:gd name="T54" fmla="*/ 86 w 141"/>
                  <a:gd name="T55" fmla="*/ 28 h 195"/>
                  <a:gd name="T56" fmla="*/ 85 w 141"/>
                  <a:gd name="T57" fmla="*/ 18 h 195"/>
                  <a:gd name="T58" fmla="*/ 76 w 141"/>
                  <a:gd name="T59" fmla="*/ 9 h 195"/>
                  <a:gd name="T60" fmla="*/ 67 w 141"/>
                  <a:gd name="T61" fmla="*/ 1 h 195"/>
                  <a:gd name="T62" fmla="*/ 53 w 141"/>
                  <a:gd name="T63" fmla="*/ 16 h 195"/>
                  <a:gd name="T64" fmla="*/ 56 w 141"/>
                  <a:gd name="T65" fmla="*/ 27 h 195"/>
                  <a:gd name="T66" fmla="*/ 45 w 141"/>
                  <a:gd name="T67" fmla="*/ 22 h 195"/>
                  <a:gd name="T68" fmla="*/ 36 w 141"/>
                  <a:gd name="T69" fmla="*/ 30 h 195"/>
                  <a:gd name="T70" fmla="*/ 41 w 141"/>
                  <a:gd name="T71" fmla="*/ 43 h 195"/>
                  <a:gd name="T72" fmla="*/ 37 w 141"/>
                  <a:gd name="T73" fmla="*/ 57 h 195"/>
                  <a:gd name="T74" fmla="*/ 5 w 141"/>
                  <a:gd name="T75" fmla="*/ 82 h 195"/>
                  <a:gd name="T76" fmla="*/ 6 w 141"/>
                  <a:gd name="T77" fmla="*/ 92 h 195"/>
                  <a:gd name="T78" fmla="*/ 0 w 141"/>
                  <a:gd name="T79" fmla="*/ 92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1" h="195">
                    <a:moveTo>
                      <a:pt x="0" y="92"/>
                    </a:moveTo>
                    <a:lnTo>
                      <a:pt x="0" y="92"/>
                    </a:lnTo>
                    <a:lnTo>
                      <a:pt x="0" y="101"/>
                    </a:lnTo>
                    <a:lnTo>
                      <a:pt x="7" y="106"/>
                    </a:lnTo>
                    <a:lnTo>
                      <a:pt x="7" y="124"/>
                    </a:lnTo>
                    <a:lnTo>
                      <a:pt x="9" y="137"/>
                    </a:lnTo>
                    <a:lnTo>
                      <a:pt x="12" y="147"/>
                    </a:lnTo>
                    <a:lnTo>
                      <a:pt x="16" y="148"/>
                    </a:lnTo>
                    <a:lnTo>
                      <a:pt x="27" y="140"/>
                    </a:lnTo>
                    <a:lnTo>
                      <a:pt x="40" y="136"/>
                    </a:lnTo>
                    <a:lnTo>
                      <a:pt x="45" y="140"/>
                    </a:lnTo>
                    <a:lnTo>
                      <a:pt x="48" y="154"/>
                    </a:lnTo>
                    <a:lnTo>
                      <a:pt x="42" y="166"/>
                    </a:lnTo>
                    <a:lnTo>
                      <a:pt x="31" y="166"/>
                    </a:lnTo>
                    <a:lnTo>
                      <a:pt x="22" y="170"/>
                    </a:lnTo>
                    <a:lnTo>
                      <a:pt x="28" y="173"/>
                    </a:lnTo>
                    <a:lnTo>
                      <a:pt x="40" y="171"/>
                    </a:lnTo>
                    <a:lnTo>
                      <a:pt x="45" y="173"/>
                    </a:lnTo>
                    <a:lnTo>
                      <a:pt x="57" y="185"/>
                    </a:lnTo>
                    <a:lnTo>
                      <a:pt x="62" y="183"/>
                    </a:lnTo>
                    <a:lnTo>
                      <a:pt x="75" y="195"/>
                    </a:lnTo>
                    <a:lnTo>
                      <a:pt x="102" y="188"/>
                    </a:lnTo>
                    <a:lnTo>
                      <a:pt x="120" y="182"/>
                    </a:lnTo>
                    <a:lnTo>
                      <a:pt x="132" y="181"/>
                    </a:lnTo>
                    <a:lnTo>
                      <a:pt x="132" y="181"/>
                    </a:lnTo>
                    <a:lnTo>
                      <a:pt x="128" y="175"/>
                    </a:lnTo>
                    <a:lnTo>
                      <a:pt x="128" y="172"/>
                    </a:lnTo>
                    <a:lnTo>
                      <a:pt x="134" y="173"/>
                    </a:lnTo>
                    <a:lnTo>
                      <a:pt x="139" y="176"/>
                    </a:lnTo>
                    <a:lnTo>
                      <a:pt x="141" y="174"/>
                    </a:lnTo>
                    <a:lnTo>
                      <a:pt x="132" y="166"/>
                    </a:lnTo>
                    <a:lnTo>
                      <a:pt x="119" y="162"/>
                    </a:lnTo>
                    <a:lnTo>
                      <a:pt x="109" y="163"/>
                    </a:lnTo>
                    <a:lnTo>
                      <a:pt x="104" y="156"/>
                    </a:lnTo>
                    <a:lnTo>
                      <a:pt x="102" y="149"/>
                    </a:lnTo>
                    <a:lnTo>
                      <a:pt x="97" y="130"/>
                    </a:lnTo>
                    <a:lnTo>
                      <a:pt x="98" y="123"/>
                    </a:lnTo>
                    <a:lnTo>
                      <a:pt x="106" y="120"/>
                    </a:lnTo>
                    <a:lnTo>
                      <a:pt x="109" y="116"/>
                    </a:lnTo>
                    <a:lnTo>
                      <a:pt x="110" y="115"/>
                    </a:lnTo>
                    <a:lnTo>
                      <a:pt x="106" y="109"/>
                    </a:lnTo>
                    <a:lnTo>
                      <a:pt x="114" y="101"/>
                    </a:lnTo>
                    <a:lnTo>
                      <a:pt x="113" y="95"/>
                    </a:lnTo>
                    <a:lnTo>
                      <a:pt x="110" y="87"/>
                    </a:lnTo>
                    <a:lnTo>
                      <a:pt x="108" y="80"/>
                    </a:lnTo>
                    <a:lnTo>
                      <a:pt x="107" y="77"/>
                    </a:lnTo>
                    <a:lnTo>
                      <a:pt x="102" y="77"/>
                    </a:lnTo>
                    <a:lnTo>
                      <a:pt x="96" y="77"/>
                    </a:lnTo>
                    <a:lnTo>
                      <a:pt x="93" y="68"/>
                    </a:lnTo>
                    <a:lnTo>
                      <a:pt x="94" y="63"/>
                    </a:lnTo>
                    <a:lnTo>
                      <a:pt x="98" y="60"/>
                    </a:lnTo>
                    <a:lnTo>
                      <a:pt x="99" y="55"/>
                    </a:lnTo>
                    <a:lnTo>
                      <a:pt x="95" y="50"/>
                    </a:lnTo>
                    <a:lnTo>
                      <a:pt x="89" y="42"/>
                    </a:lnTo>
                    <a:lnTo>
                      <a:pt x="89" y="33"/>
                    </a:lnTo>
                    <a:lnTo>
                      <a:pt x="86" y="28"/>
                    </a:lnTo>
                    <a:lnTo>
                      <a:pt x="90" y="21"/>
                    </a:lnTo>
                    <a:lnTo>
                      <a:pt x="85" y="18"/>
                    </a:lnTo>
                    <a:lnTo>
                      <a:pt x="81" y="16"/>
                    </a:lnTo>
                    <a:lnTo>
                      <a:pt x="76" y="9"/>
                    </a:lnTo>
                    <a:lnTo>
                      <a:pt x="73" y="0"/>
                    </a:lnTo>
                    <a:lnTo>
                      <a:pt x="67" y="1"/>
                    </a:lnTo>
                    <a:lnTo>
                      <a:pt x="62" y="8"/>
                    </a:lnTo>
                    <a:lnTo>
                      <a:pt x="53" y="16"/>
                    </a:lnTo>
                    <a:lnTo>
                      <a:pt x="57" y="22"/>
                    </a:lnTo>
                    <a:lnTo>
                      <a:pt x="56" y="27"/>
                    </a:lnTo>
                    <a:lnTo>
                      <a:pt x="49" y="27"/>
                    </a:lnTo>
                    <a:lnTo>
                      <a:pt x="45" y="22"/>
                    </a:lnTo>
                    <a:lnTo>
                      <a:pt x="40" y="24"/>
                    </a:lnTo>
                    <a:lnTo>
                      <a:pt x="36" y="30"/>
                    </a:lnTo>
                    <a:lnTo>
                      <a:pt x="36" y="44"/>
                    </a:lnTo>
                    <a:lnTo>
                      <a:pt x="41" y="43"/>
                    </a:lnTo>
                    <a:lnTo>
                      <a:pt x="44" y="51"/>
                    </a:lnTo>
                    <a:lnTo>
                      <a:pt x="37" y="57"/>
                    </a:lnTo>
                    <a:lnTo>
                      <a:pt x="12" y="76"/>
                    </a:lnTo>
                    <a:lnTo>
                      <a:pt x="5" y="82"/>
                    </a:lnTo>
                    <a:lnTo>
                      <a:pt x="9" y="90"/>
                    </a:lnTo>
                    <a:lnTo>
                      <a:pt x="6" y="92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1" name="Freeform 22">
                <a:extLst>
                  <a:ext uri="{FF2B5EF4-FFF2-40B4-BE49-F238E27FC236}">
                    <a16:creationId xmlns:a16="http://schemas.microsoft.com/office/drawing/2014/main" id="{03A59257-7D8C-9F78-59EF-AA0B8C274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0261" y="3109405"/>
                <a:ext cx="368945" cy="436851"/>
              </a:xfrm>
              <a:custGeom>
                <a:avLst/>
                <a:gdLst>
                  <a:gd name="T0" fmla="*/ 46 w 163"/>
                  <a:gd name="T1" fmla="*/ 189 h 193"/>
                  <a:gd name="T2" fmla="*/ 78 w 163"/>
                  <a:gd name="T3" fmla="*/ 188 h 193"/>
                  <a:gd name="T4" fmla="*/ 88 w 163"/>
                  <a:gd name="T5" fmla="*/ 183 h 193"/>
                  <a:gd name="T6" fmla="*/ 102 w 163"/>
                  <a:gd name="T7" fmla="*/ 173 h 193"/>
                  <a:gd name="T8" fmla="*/ 109 w 163"/>
                  <a:gd name="T9" fmla="*/ 178 h 193"/>
                  <a:gd name="T10" fmla="*/ 109 w 163"/>
                  <a:gd name="T11" fmla="*/ 187 h 193"/>
                  <a:gd name="T12" fmla="*/ 114 w 163"/>
                  <a:gd name="T13" fmla="*/ 193 h 193"/>
                  <a:gd name="T14" fmla="*/ 124 w 163"/>
                  <a:gd name="T15" fmla="*/ 193 h 193"/>
                  <a:gd name="T16" fmla="*/ 126 w 163"/>
                  <a:gd name="T17" fmla="*/ 185 h 193"/>
                  <a:gd name="T18" fmla="*/ 129 w 163"/>
                  <a:gd name="T19" fmla="*/ 177 h 193"/>
                  <a:gd name="T20" fmla="*/ 134 w 163"/>
                  <a:gd name="T21" fmla="*/ 175 h 193"/>
                  <a:gd name="T22" fmla="*/ 140 w 163"/>
                  <a:gd name="T23" fmla="*/ 170 h 193"/>
                  <a:gd name="T24" fmla="*/ 141 w 163"/>
                  <a:gd name="T25" fmla="*/ 171 h 193"/>
                  <a:gd name="T26" fmla="*/ 135 w 163"/>
                  <a:gd name="T27" fmla="*/ 158 h 193"/>
                  <a:gd name="T28" fmla="*/ 143 w 163"/>
                  <a:gd name="T29" fmla="*/ 142 h 193"/>
                  <a:gd name="T30" fmla="*/ 151 w 163"/>
                  <a:gd name="T31" fmla="*/ 142 h 193"/>
                  <a:gd name="T32" fmla="*/ 150 w 163"/>
                  <a:gd name="T33" fmla="*/ 135 h 193"/>
                  <a:gd name="T34" fmla="*/ 145 w 163"/>
                  <a:gd name="T35" fmla="*/ 134 h 193"/>
                  <a:gd name="T36" fmla="*/ 145 w 163"/>
                  <a:gd name="T37" fmla="*/ 126 h 193"/>
                  <a:gd name="T38" fmla="*/ 163 w 163"/>
                  <a:gd name="T39" fmla="*/ 111 h 193"/>
                  <a:gd name="T40" fmla="*/ 150 w 163"/>
                  <a:gd name="T41" fmla="*/ 99 h 193"/>
                  <a:gd name="T42" fmla="*/ 145 w 163"/>
                  <a:gd name="T43" fmla="*/ 101 h 193"/>
                  <a:gd name="T44" fmla="*/ 133 w 163"/>
                  <a:gd name="T45" fmla="*/ 89 h 193"/>
                  <a:gd name="T46" fmla="*/ 128 w 163"/>
                  <a:gd name="T47" fmla="*/ 87 h 193"/>
                  <a:gd name="T48" fmla="*/ 116 w 163"/>
                  <a:gd name="T49" fmla="*/ 89 h 193"/>
                  <a:gd name="T50" fmla="*/ 110 w 163"/>
                  <a:gd name="T51" fmla="*/ 86 h 193"/>
                  <a:gd name="T52" fmla="*/ 119 w 163"/>
                  <a:gd name="T53" fmla="*/ 82 h 193"/>
                  <a:gd name="T54" fmla="*/ 130 w 163"/>
                  <a:gd name="T55" fmla="*/ 82 h 193"/>
                  <a:gd name="T56" fmla="*/ 136 w 163"/>
                  <a:gd name="T57" fmla="*/ 70 h 193"/>
                  <a:gd name="T58" fmla="*/ 133 w 163"/>
                  <a:gd name="T59" fmla="*/ 56 h 193"/>
                  <a:gd name="T60" fmla="*/ 128 w 163"/>
                  <a:gd name="T61" fmla="*/ 52 h 193"/>
                  <a:gd name="T62" fmla="*/ 115 w 163"/>
                  <a:gd name="T63" fmla="*/ 56 h 193"/>
                  <a:gd name="T64" fmla="*/ 104 w 163"/>
                  <a:gd name="T65" fmla="*/ 64 h 193"/>
                  <a:gd name="T66" fmla="*/ 100 w 163"/>
                  <a:gd name="T67" fmla="*/ 63 h 193"/>
                  <a:gd name="T68" fmla="*/ 97 w 163"/>
                  <a:gd name="T69" fmla="*/ 53 h 193"/>
                  <a:gd name="T70" fmla="*/ 95 w 163"/>
                  <a:gd name="T71" fmla="*/ 40 h 193"/>
                  <a:gd name="T72" fmla="*/ 95 w 163"/>
                  <a:gd name="T73" fmla="*/ 22 h 193"/>
                  <a:gd name="T74" fmla="*/ 88 w 163"/>
                  <a:gd name="T75" fmla="*/ 17 h 193"/>
                  <a:gd name="T76" fmla="*/ 88 w 163"/>
                  <a:gd name="T77" fmla="*/ 8 h 193"/>
                  <a:gd name="T78" fmla="*/ 88 w 163"/>
                  <a:gd name="T79" fmla="*/ 8 h 193"/>
                  <a:gd name="T80" fmla="*/ 88 w 163"/>
                  <a:gd name="T81" fmla="*/ 8 h 193"/>
                  <a:gd name="T82" fmla="*/ 81 w 163"/>
                  <a:gd name="T83" fmla="*/ 1 h 193"/>
                  <a:gd name="T84" fmla="*/ 75 w 163"/>
                  <a:gd name="T85" fmla="*/ 0 h 193"/>
                  <a:gd name="T86" fmla="*/ 66 w 163"/>
                  <a:gd name="T87" fmla="*/ 3 h 193"/>
                  <a:gd name="T88" fmla="*/ 62 w 163"/>
                  <a:gd name="T89" fmla="*/ 8 h 193"/>
                  <a:gd name="T90" fmla="*/ 57 w 163"/>
                  <a:gd name="T91" fmla="*/ 16 h 193"/>
                  <a:gd name="T92" fmla="*/ 50 w 163"/>
                  <a:gd name="T93" fmla="*/ 17 h 193"/>
                  <a:gd name="T94" fmla="*/ 37 w 163"/>
                  <a:gd name="T95" fmla="*/ 9 h 193"/>
                  <a:gd name="T96" fmla="*/ 29 w 163"/>
                  <a:gd name="T97" fmla="*/ 10 h 193"/>
                  <a:gd name="T98" fmla="*/ 22 w 163"/>
                  <a:gd name="T99" fmla="*/ 16 h 193"/>
                  <a:gd name="T100" fmla="*/ 24 w 163"/>
                  <a:gd name="T101" fmla="*/ 27 h 193"/>
                  <a:gd name="T102" fmla="*/ 9 w 163"/>
                  <a:gd name="T103" fmla="*/ 27 h 193"/>
                  <a:gd name="T104" fmla="*/ 1 w 163"/>
                  <a:gd name="T105" fmla="*/ 32 h 193"/>
                  <a:gd name="T106" fmla="*/ 0 w 163"/>
                  <a:gd name="T107" fmla="*/ 42 h 193"/>
                  <a:gd name="T108" fmla="*/ 8 w 163"/>
                  <a:gd name="T109" fmla="*/ 43 h 193"/>
                  <a:gd name="T110" fmla="*/ 9 w 163"/>
                  <a:gd name="T111" fmla="*/ 49 h 193"/>
                  <a:gd name="T112" fmla="*/ 18 w 163"/>
                  <a:gd name="T113" fmla="*/ 52 h 193"/>
                  <a:gd name="T114" fmla="*/ 23 w 163"/>
                  <a:gd name="T115" fmla="*/ 60 h 193"/>
                  <a:gd name="T116" fmla="*/ 34 w 163"/>
                  <a:gd name="T117" fmla="*/ 115 h 193"/>
                  <a:gd name="T118" fmla="*/ 42 w 163"/>
                  <a:gd name="T119" fmla="*/ 164 h 193"/>
                  <a:gd name="T120" fmla="*/ 46 w 163"/>
                  <a:gd name="T121" fmla="*/ 189 h 193"/>
                  <a:gd name="T122" fmla="*/ 46 w 163"/>
                  <a:gd name="T123" fmla="*/ 189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3" h="193">
                    <a:moveTo>
                      <a:pt x="46" y="189"/>
                    </a:moveTo>
                    <a:lnTo>
                      <a:pt x="78" y="188"/>
                    </a:lnTo>
                    <a:lnTo>
                      <a:pt x="88" y="183"/>
                    </a:lnTo>
                    <a:lnTo>
                      <a:pt x="102" y="173"/>
                    </a:lnTo>
                    <a:lnTo>
                      <a:pt x="109" y="178"/>
                    </a:lnTo>
                    <a:lnTo>
                      <a:pt x="109" y="187"/>
                    </a:lnTo>
                    <a:lnTo>
                      <a:pt x="114" y="193"/>
                    </a:lnTo>
                    <a:lnTo>
                      <a:pt x="124" y="193"/>
                    </a:lnTo>
                    <a:lnTo>
                      <a:pt x="126" y="185"/>
                    </a:lnTo>
                    <a:lnTo>
                      <a:pt x="129" y="177"/>
                    </a:lnTo>
                    <a:lnTo>
                      <a:pt x="134" y="175"/>
                    </a:lnTo>
                    <a:lnTo>
                      <a:pt x="140" y="170"/>
                    </a:lnTo>
                    <a:lnTo>
                      <a:pt x="141" y="171"/>
                    </a:lnTo>
                    <a:lnTo>
                      <a:pt x="135" y="158"/>
                    </a:lnTo>
                    <a:lnTo>
                      <a:pt x="143" y="142"/>
                    </a:lnTo>
                    <a:lnTo>
                      <a:pt x="151" y="142"/>
                    </a:lnTo>
                    <a:lnTo>
                      <a:pt x="150" y="135"/>
                    </a:lnTo>
                    <a:lnTo>
                      <a:pt x="145" y="134"/>
                    </a:lnTo>
                    <a:lnTo>
                      <a:pt x="145" y="126"/>
                    </a:lnTo>
                    <a:lnTo>
                      <a:pt x="163" y="111"/>
                    </a:lnTo>
                    <a:lnTo>
                      <a:pt x="150" y="99"/>
                    </a:lnTo>
                    <a:lnTo>
                      <a:pt x="145" y="101"/>
                    </a:lnTo>
                    <a:lnTo>
                      <a:pt x="133" y="89"/>
                    </a:lnTo>
                    <a:lnTo>
                      <a:pt x="128" y="87"/>
                    </a:lnTo>
                    <a:lnTo>
                      <a:pt x="116" y="89"/>
                    </a:lnTo>
                    <a:lnTo>
                      <a:pt x="110" y="86"/>
                    </a:lnTo>
                    <a:lnTo>
                      <a:pt x="119" y="82"/>
                    </a:lnTo>
                    <a:lnTo>
                      <a:pt x="130" y="82"/>
                    </a:lnTo>
                    <a:lnTo>
                      <a:pt x="136" y="70"/>
                    </a:lnTo>
                    <a:lnTo>
                      <a:pt x="133" y="56"/>
                    </a:lnTo>
                    <a:lnTo>
                      <a:pt x="128" y="52"/>
                    </a:lnTo>
                    <a:lnTo>
                      <a:pt x="115" y="56"/>
                    </a:lnTo>
                    <a:lnTo>
                      <a:pt x="104" y="64"/>
                    </a:lnTo>
                    <a:lnTo>
                      <a:pt x="100" y="63"/>
                    </a:lnTo>
                    <a:lnTo>
                      <a:pt x="97" y="53"/>
                    </a:lnTo>
                    <a:lnTo>
                      <a:pt x="95" y="40"/>
                    </a:lnTo>
                    <a:lnTo>
                      <a:pt x="95" y="22"/>
                    </a:lnTo>
                    <a:lnTo>
                      <a:pt x="88" y="17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1" y="1"/>
                    </a:lnTo>
                    <a:lnTo>
                      <a:pt x="75" y="0"/>
                    </a:lnTo>
                    <a:lnTo>
                      <a:pt x="66" y="3"/>
                    </a:lnTo>
                    <a:lnTo>
                      <a:pt x="62" y="8"/>
                    </a:lnTo>
                    <a:lnTo>
                      <a:pt x="57" y="16"/>
                    </a:lnTo>
                    <a:lnTo>
                      <a:pt x="50" y="17"/>
                    </a:lnTo>
                    <a:lnTo>
                      <a:pt x="37" y="9"/>
                    </a:lnTo>
                    <a:lnTo>
                      <a:pt x="29" y="10"/>
                    </a:lnTo>
                    <a:lnTo>
                      <a:pt x="22" y="16"/>
                    </a:lnTo>
                    <a:lnTo>
                      <a:pt x="24" y="27"/>
                    </a:lnTo>
                    <a:lnTo>
                      <a:pt x="9" y="27"/>
                    </a:lnTo>
                    <a:lnTo>
                      <a:pt x="1" y="32"/>
                    </a:lnTo>
                    <a:lnTo>
                      <a:pt x="0" y="42"/>
                    </a:lnTo>
                    <a:lnTo>
                      <a:pt x="8" y="43"/>
                    </a:lnTo>
                    <a:lnTo>
                      <a:pt x="9" y="49"/>
                    </a:lnTo>
                    <a:lnTo>
                      <a:pt x="18" y="52"/>
                    </a:lnTo>
                    <a:lnTo>
                      <a:pt x="23" y="60"/>
                    </a:lnTo>
                    <a:lnTo>
                      <a:pt x="34" y="115"/>
                    </a:lnTo>
                    <a:lnTo>
                      <a:pt x="42" y="164"/>
                    </a:lnTo>
                    <a:lnTo>
                      <a:pt x="46" y="189"/>
                    </a:lnTo>
                    <a:lnTo>
                      <a:pt x="46" y="189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2" name="Freeform 23">
                <a:extLst>
                  <a:ext uri="{FF2B5EF4-FFF2-40B4-BE49-F238E27FC236}">
                    <a16:creationId xmlns:a16="http://schemas.microsoft.com/office/drawing/2014/main" id="{A4462464-0CA4-E886-A93C-914B4EF48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380" y="3494195"/>
                <a:ext cx="228610" cy="251246"/>
              </a:xfrm>
              <a:custGeom>
                <a:avLst/>
                <a:gdLst>
                  <a:gd name="T0" fmla="*/ 7 w 101"/>
                  <a:gd name="T1" fmla="*/ 94 h 111"/>
                  <a:gd name="T2" fmla="*/ 7 w 101"/>
                  <a:gd name="T3" fmla="*/ 94 h 111"/>
                  <a:gd name="T4" fmla="*/ 18 w 101"/>
                  <a:gd name="T5" fmla="*/ 90 h 111"/>
                  <a:gd name="T6" fmla="*/ 23 w 101"/>
                  <a:gd name="T7" fmla="*/ 94 h 111"/>
                  <a:gd name="T8" fmla="*/ 27 w 101"/>
                  <a:gd name="T9" fmla="*/ 94 h 111"/>
                  <a:gd name="T10" fmla="*/ 35 w 101"/>
                  <a:gd name="T11" fmla="*/ 101 h 111"/>
                  <a:gd name="T12" fmla="*/ 43 w 101"/>
                  <a:gd name="T13" fmla="*/ 97 h 111"/>
                  <a:gd name="T14" fmla="*/ 49 w 101"/>
                  <a:gd name="T15" fmla="*/ 102 h 111"/>
                  <a:gd name="T16" fmla="*/ 58 w 101"/>
                  <a:gd name="T17" fmla="*/ 101 h 111"/>
                  <a:gd name="T18" fmla="*/ 66 w 101"/>
                  <a:gd name="T19" fmla="*/ 111 h 111"/>
                  <a:gd name="T20" fmla="*/ 70 w 101"/>
                  <a:gd name="T21" fmla="*/ 104 h 111"/>
                  <a:gd name="T22" fmla="*/ 86 w 101"/>
                  <a:gd name="T23" fmla="*/ 107 h 111"/>
                  <a:gd name="T24" fmla="*/ 91 w 101"/>
                  <a:gd name="T25" fmla="*/ 102 h 111"/>
                  <a:gd name="T26" fmla="*/ 88 w 101"/>
                  <a:gd name="T27" fmla="*/ 88 h 111"/>
                  <a:gd name="T28" fmla="*/ 88 w 101"/>
                  <a:gd name="T29" fmla="*/ 76 h 111"/>
                  <a:gd name="T30" fmla="*/ 100 w 101"/>
                  <a:gd name="T31" fmla="*/ 74 h 111"/>
                  <a:gd name="T32" fmla="*/ 101 w 101"/>
                  <a:gd name="T33" fmla="*/ 46 h 111"/>
                  <a:gd name="T34" fmla="*/ 97 w 101"/>
                  <a:gd name="T35" fmla="*/ 40 h 111"/>
                  <a:gd name="T36" fmla="*/ 97 w 101"/>
                  <a:gd name="T37" fmla="*/ 26 h 111"/>
                  <a:gd name="T38" fmla="*/ 101 w 101"/>
                  <a:gd name="T39" fmla="*/ 23 h 111"/>
                  <a:gd name="T40" fmla="*/ 97 w 101"/>
                  <a:gd name="T41" fmla="*/ 18 h 111"/>
                  <a:gd name="T42" fmla="*/ 97 w 101"/>
                  <a:gd name="T43" fmla="*/ 1 h 111"/>
                  <a:gd name="T44" fmla="*/ 95 w 101"/>
                  <a:gd name="T45" fmla="*/ 1 h 111"/>
                  <a:gd name="T46" fmla="*/ 94 w 101"/>
                  <a:gd name="T47" fmla="*/ 0 h 111"/>
                  <a:gd name="T48" fmla="*/ 88 w 101"/>
                  <a:gd name="T49" fmla="*/ 5 h 111"/>
                  <a:gd name="T50" fmla="*/ 83 w 101"/>
                  <a:gd name="T51" fmla="*/ 7 h 111"/>
                  <a:gd name="T52" fmla="*/ 80 w 101"/>
                  <a:gd name="T53" fmla="*/ 15 h 111"/>
                  <a:gd name="T54" fmla="*/ 78 w 101"/>
                  <a:gd name="T55" fmla="*/ 23 h 111"/>
                  <a:gd name="T56" fmla="*/ 68 w 101"/>
                  <a:gd name="T57" fmla="*/ 23 h 111"/>
                  <a:gd name="T58" fmla="*/ 63 w 101"/>
                  <a:gd name="T59" fmla="*/ 17 h 111"/>
                  <a:gd name="T60" fmla="*/ 63 w 101"/>
                  <a:gd name="T61" fmla="*/ 8 h 111"/>
                  <a:gd name="T62" fmla="*/ 56 w 101"/>
                  <a:gd name="T63" fmla="*/ 3 h 111"/>
                  <a:gd name="T64" fmla="*/ 42 w 101"/>
                  <a:gd name="T65" fmla="*/ 13 h 111"/>
                  <a:gd name="T66" fmla="*/ 32 w 101"/>
                  <a:gd name="T67" fmla="*/ 18 h 111"/>
                  <a:gd name="T68" fmla="*/ 0 w 101"/>
                  <a:gd name="T69" fmla="*/ 19 h 111"/>
                  <a:gd name="T70" fmla="*/ 3 w 101"/>
                  <a:gd name="T71" fmla="*/ 35 h 111"/>
                  <a:gd name="T72" fmla="*/ 8 w 101"/>
                  <a:gd name="T73" fmla="*/ 59 h 111"/>
                  <a:gd name="T74" fmla="*/ 8 w 101"/>
                  <a:gd name="T75" fmla="*/ 69 h 111"/>
                  <a:gd name="T76" fmla="*/ 5 w 101"/>
                  <a:gd name="T77" fmla="*/ 82 h 111"/>
                  <a:gd name="T78" fmla="*/ 7 w 101"/>
                  <a:gd name="T79" fmla="*/ 94 h 111"/>
                  <a:gd name="T80" fmla="*/ 7 w 101"/>
                  <a:gd name="T81" fmla="*/ 94 h 111"/>
                  <a:gd name="T82" fmla="*/ 7 w 101"/>
                  <a:gd name="T83" fmla="*/ 94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1" h="111">
                    <a:moveTo>
                      <a:pt x="7" y="94"/>
                    </a:moveTo>
                    <a:lnTo>
                      <a:pt x="7" y="94"/>
                    </a:lnTo>
                    <a:lnTo>
                      <a:pt x="18" y="90"/>
                    </a:lnTo>
                    <a:lnTo>
                      <a:pt x="23" y="94"/>
                    </a:lnTo>
                    <a:lnTo>
                      <a:pt x="27" y="94"/>
                    </a:lnTo>
                    <a:lnTo>
                      <a:pt x="35" y="101"/>
                    </a:lnTo>
                    <a:lnTo>
                      <a:pt x="43" y="97"/>
                    </a:lnTo>
                    <a:lnTo>
                      <a:pt x="49" y="102"/>
                    </a:lnTo>
                    <a:lnTo>
                      <a:pt x="58" y="101"/>
                    </a:lnTo>
                    <a:lnTo>
                      <a:pt x="66" y="111"/>
                    </a:lnTo>
                    <a:lnTo>
                      <a:pt x="70" y="104"/>
                    </a:lnTo>
                    <a:lnTo>
                      <a:pt x="86" y="107"/>
                    </a:lnTo>
                    <a:lnTo>
                      <a:pt x="91" y="102"/>
                    </a:lnTo>
                    <a:lnTo>
                      <a:pt x="88" y="88"/>
                    </a:lnTo>
                    <a:lnTo>
                      <a:pt x="88" y="76"/>
                    </a:lnTo>
                    <a:lnTo>
                      <a:pt x="100" y="74"/>
                    </a:lnTo>
                    <a:lnTo>
                      <a:pt x="101" y="46"/>
                    </a:lnTo>
                    <a:lnTo>
                      <a:pt x="97" y="40"/>
                    </a:lnTo>
                    <a:lnTo>
                      <a:pt x="97" y="26"/>
                    </a:lnTo>
                    <a:lnTo>
                      <a:pt x="101" y="23"/>
                    </a:lnTo>
                    <a:lnTo>
                      <a:pt x="97" y="18"/>
                    </a:lnTo>
                    <a:lnTo>
                      <a:pt x="97" y="1"/>
                    </a:lnTo>
                    <a:lnTo>
                      <a:pt x="95" y="1"/>
                    </a:lnTo>
                    <a:lnTo>
                      <a:pt x="94" y="0"/>
                    </a:lnTo>
                    <a:lnTo>
                      <a:pt x="88" y="5"/>
                    </a:lnTo>
                    <a:lnTo>
                      <a:pt x="83" y="7"/>
                    </a:lnTo>
                    <a:lnTo>
                      <a:pt x="80" y="15"/>
                    </a:lnTo>
                    <a:lnTo>
                      <a:pt x="78" y="23"/>
                    </a:lnTo>
                    <a:lnTo>
                      <a:pt x="68" y="23"/>
                    </a:lnTo>
                    <a:lnTo>
                      <a:pt x="63" y="17"/>
                    </a:lnTo>
                    <a:lnTo>
                      <a:pt x="63" y="8"/>
                    </a:lnTo>
                    <a:lnTo>
                      <a:pt x="56" y="3"/>
                    </a:lnTo>
                    <a:lnTo>
                      <a:pt x="42" y="13"/>
                    </a:lnTo>
                    <a:lnTo>
                      <a:pt x="32" y="18"/>
                    </a:lnTo>
                    <a:lnTo>
                      <a:pt x="0" y="19"/>
                    </a:lnTo>
                    <a:lnTo>
                      <a:pt x="3" y="35"/>
                    </a:lnTo>
                    <a:lnTo>
                      <a:pt x="8" y="59"/>
                    </a:lnTo>
                    <a:lnTo>
                      <a:pt x="8" y="69"/>
                    </a:lnTo>
                    <a:lnTo>
                      <a:pt x="5" y="82"/>
                    </a:lnTo>
                    <a:lnTo>
                      <a:pt x="7" y="94"/>
                    </a:lnTo>
                    <a:lnTo>
                      <a:pt x="7" y="94"/>
                    </a:lnTo>
                    <a:lnTo>
                      <a:pt x="7" y="94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3" name="Freeform 24">
                <a:extLst>
                  <a:ext uri="{FF2B5EF4-FFF2-40B4-BE49-F238E27FC236}">
                    <a16:creationId xmlns:a16="http://schemas.microsoft.com/office/drawing/2014/main" id="{6226247C-DBE4-5BB2-7359-48A0A4582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589" y="3661692"/>
                <a:ext cx="493437" cy="301043"/>
              </a:xfrm>
              <a:custGeom>
                <a:avLst/>
                <a:gdLst>
                  <a:gd name="T0" fmla="*/ 23 w 218"/>
                  <a:gd name="T1" fmla="*/ 133 h 133"/>
                  <a:gd name="T2" fmla="*/ 45 w 218"/>
                  <a:gd name="T3" fmla="*/ 121 h 133"/>
                  <a:gd name="T4" fmla="*/ 75 w 218"/>
                  <a:gd name="T5" fmla="*/ 105 h 133"/>
                  <a:gd name="T6" fmla="*/ 88 w 218"/>
                  <a:gd name="T7" fmla="*/ 86 h 133"/>
                  <a:gd name="T8" fmla="*/ 103 w 218"/>
                  <a:gd name="T9" fmla="*/ 87 h 133"/>
                  <a:gd name="T10" fmla="*/ 115 w 218"/>
                  <a:gd name="T11" fmla="*/ 83 h 133"/>
                  <a:gd name="T12" fmla="*/ 127 w 218"/>
                  <a:gd name="T13" fmla="*/ 87 h 133"/>
                  <a:gd name="T14" fmla="*/ 134 w 218"/>
                  <a:gd name="T15" fmla="*/ 97 h 133"/>
                  <a:gd name="T16" fmla="*/ 153 w 218"/>
                  <a:gd name="T17" fmla="*/ 107 h 133"/>
                  <a:gd name="T18" fmla="*/ 165 w 218"/>
                  <a:gd name="T19" fmla="*/ 119 h 133"/>
                  <a:gd name="T20" fmla="*/ 161 w 218"/>
                  <a:gd name="T21" fmla="*/ 130 h 133"/>
                  <a:gd name="T22" fmla="*/ 174 w 218"/>
                  <a:gd name="T23" fmla="*/ 119 h 133"/>
                  <a:gd name="T24" fmla="*/ 188 w 218"/>
                  <a:gd name="T25" fmla="*/ 114 h 133"/>
                  <a:gd name="T26" fmla="*/ 205 w 218"/>
                  <a:gd name="T27" fmla="*/ 101 h 133"/>
                  <a:gd name="T28" fmla="*/ 215 w 218"/>
                  <a:gd name="T29" fmla="*/ 88 h 133"/>
                  <a:gd name="T30" fmla="*/ 210 w 218"/>
                  <a:gd name="T31" fmla="*/ 72 h 133"/>
                  <a:gd name="T32" fmla="*/ 218 w 218"/>
                  <a:gd name="T33" fmla="*/ 68 h 133"/>
                  <a:gd name="T34" fmla="*/ 212 w 218"/>
                  <a:gd name="T35" fmla="*/ 57 h 133"/>
                  <a:gd name="T36" fmla="*/ 201 w 218"/>
                  <a:gd name="T37" fmla="*/ 47 h 133"/>
                  <a:gd name="T38" fmla="*/ 201 w 218"/>
                  <a:gd name="T39" fmla="*/ 34 h 133"/>
                  <a:gd name="T40" fmla="*/ 196 w 218"/>
                  <a:gd name="T41" fmla="*/ 42 h 133"/>
                  <a:gd name="T42" fmla="*/ 167 w 218"/>
                  <a:gd name="T43" fmla="*/ 33 h 133"/>
                  <a:gd name="T44" fmla="*/ 151 w 218"/>
                  <a:gd name="T45" fmla="*/ 32 h 133"/>
                  <a:gd name="T46" fmla="*/ 132 w 218"/>
                  <a:gd name="T47" fmla="*/ 34 h 133"/>
                  <a:gd name="T48" fmla="*/ 129 w 218"/>
                  <a:gd name="T49" fmla="*/ 22 h 133"/>
                  <a:gd name="T50" fmla="*/ 122 w 218"/>
                  <a:gd name="T51" fmla="*/ 13 h 133"/>
                  <a:gd name="T52" fmla="*/ 110 w 218"/>
                  <a:gd name="T53" fmla="*/ 5 h 133"/>
                  <a:gd name="T54" fmla="*/ 91 w 218"/>
                  <a:gd name="T55" fmla="*/ 2 h 133"/>
                  <a:gd name="T56" fmla="*/ 94 w 218"/>
                  <a:gd name="T57" fmla="*/ 28 h 133"/>
                  <a:gd name="T58" fmla="*/ 73 w 218"/>
                  <a:gd name="T59" fmla="*/ 30 h 133"/>
                  <a:gd name="T60" fmla="*/ 61 w 218"/>
                  <a:gd name="T61" fmla="*/ 27 h 133"/>
                  <a:gd name="T62" fmla="*/ 46 w 218"/>
                  <a:gd name="T63" fmla="*/ 23 h 133"/>
                  <a:gd name="T64" fmla="*/ 30 w 218"/>
                  <a:gd name="T65" fmla="*/ 20 h 133"/>
                  <a:gd name="T66" fmla="*/ 21 w 218"/>
                  <a:gd name="T67" fmla="*/ 16 h 133"/>
                  <a:gd name="T68" fmla="*/ 10 w 218"/>
                  <a:gd name="T69" fmla="*/ 20 h 133"/>
                  <a:gd name="T70" fmla="*/ 5 w 218"/>
                  <a:gd name="T71" fmla="*/ 42 h 133"/>
                  <a:gd name="T72" fmla="*/ 2 w 218"/>
                  <a:gd name="T73" fmla="*/ 66 h 133"/>
                  <a:gd name="T74" fmla="*/ 4 w 218"/>
                  <a:gd name="T75" fmla="*/ 90 h 133"/>
                  <a:gd name="T76" fmla="*/ 8 w 218"/>
                  <a:gd name="T77" fmla="*/ 102 h 133"/>
                  <a:gd name="T78" fmla="*/ 0 w 218"/>
                  <a:gd name="T79" fmla="*/ 114 h 133"/>
                  <a:gd name="T80" fmla="*/ 15 w 218"/>
                  <a:gd name="T81" fmla="*/ 123 h 133"/>
                  <a:gd name="T82" fmla="*/ 23 w 218"/>
                  <a:gd name="T83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18" h="133">
                    <a:moveTo>
                      <a:pt x="23" y="133"/>
                    </a:moveTo>
                    <a:lnTo>
                      <a:pt x="23" y="133"/>
                    </a:lnTo>
                    <a:lnTo>
                      <a:pt x="36" y="131"/>
                    </a:lnTo>
                    <a:lnTo>
                      <a:pt x="45" y="121"/>
                    </a:lnTo>
                    <a:lnTo>
                      <a:pt x="57" y="121"/>
                    </a:lnTo>
                    <a:lnTo>
                      <a:pt x="75" y="105"/>
                    </a:lnTo>
                    <a:lnTo>
                      <a:pt x="79" y="100"/>
                    </a:lnTo>
                    <a:lnTo>
                      <a:pt x="88" y="86"/>
                    </a:lnTo>
                    <a:lnTo>
                      <a:pt x="95" y="85"/>
                    </a:lnTo>
                    <a:lnTo>
                      <a:pt x="103" y="87"/>
                    </a:lnTo>
                    <a:lnTo>
                      <a:pt x="107" y="83"/>
                    </a:lnTo>
                    <a:lnTo>
                      <a:pt x="115" y="83"/>
                    </a:lnTo>
                    <a:lnTo>
                      <a:pt x="117" y="85"/>
                    </a:lnTo>
                    <a:lnTo>
                      <a:pt x="127" y="87"/>
                    </a:lnTo>
                    <a:lnTo>
                      <a:pt x="134" y="90"/>
                    </a:lnTo>
                    <a:lnTo>
                      <a:pt x="134" y="97"/>
                    </a:lnTo>
                    <a:lnTo>
                      <a:pt x="145" y="105"/>
                    </a:lnTo>
                    <a:lnTo>
                      <a:pt x="153" y="107"/>
                    </a:lnTo>
                    <a:lnTo>
                      <a:pt x="162" y="112"/>
                    </a:lnTo>
                    <a:lnTo>
                      <a:pt x="165" y="119"/>
                    </a:lnTo>
                    <a:lnTo>
                      <a:pt x="162" y="124"/>
                    </a:lnTo>
                    <a:lnTo>
                      <a:pt x="161" y="130"/>
                    </a:lnTo>
                    <a:lnTo>
                      <a:pt x="170" y="124"/>
                    </a:lnTo>
                    <a:lnTo>
                      <a:pt x="174" y="119"/>
                    </a:lnTo>
                    <a:lnTo>
                      <a:pt x="186" y="121"/>
                    </a:lnTo>
                    <a:lnTo>
                      <a:pt x="188" y="114"/>
                    </a:lnTo>
                    <a:lnTo>
                      <a:pt x="198" y="108"/>
                    </a:lnTo>
                    <a:lnTo>
                      <a:pt x="205" y="101"/>
                    </a:lnTo>
                    <a:lnTo>
                      <a:pt x="215" y="96"/>
                    </a:lnTo>
                    <a:lnTo>
                      <a:pt x="215" y="88"/>
                    </a:lnTo>
                    <a:lnTo>
                      <a:pt x="210" y="83"/>
                    </a:lnTo>
                    <a:lnTo>
                      <a:pt x="210" y="72"/>
                    </a:lnTo>
                    <a:lnTo>
                      <a:pt x="213" y="68"/>
                    </a:lnTo>
                    <a:lnTo>
                      <a:pt x="218" y="68"/>
                    </a:lnTo>
                    <a:lnTo>
                      <a:pt x="218" y="61"/>
                    </a:lnTo>
                    <a:lnTo>
                      <a:pt x="212" y="57"/>
                    </a:lnTo>
                    <a:lnTo>
                      <a:pt x="206" y="53"/>
                    </a:lnTo>
                    <a:lnTo>
                      <a:pt x="201" y="47"/>
                    </a:lnTo>
                    <a:lnTo>
                      <a:pt x="202" y="42"/>
                    </a:lnTo>
                    <a:lnTo>
                      <a:pt x="201" y="34"/>
                    </a:lnTo>
                    <a:lnTo>
                      <a:pt x="200" y="34"/>
                    </a:lnTo>
                    <a:lnTo>
                      <a:pt x="196" y="42"/>
                    </a:lnTo>
                    <a:lnTo>
                      <a:pt x="189" y="37"/>
                    </a:lnTo>
                    <a:lnTo>
                      <a:pt x="167" y="33"/>
                    </a:lnTo>
                    <a:lnTo>
                      <a:pt x="163" y="26"/>
                    </a:lnTo>
                    <a:lnTo>
                      <a:pt x="151" y="32"/>
                    </a:lnTo>
                    <a:lnTo>
                      <a:pt x="143" y="36"/>
                    </a:lnTo>
                    <a:lnTo>
                      <a:pt x="132" y="34"/>
                    </a:lnTo>
                    <a:lnTo>
                      <a:pt x="134" y="28"/>
                    </a:lnTo>
                    <a:lnTo>
                      <a:pt x="129" y="22"/>
                    </a:lnTo>
                    <a:lnTo>
                      <a:pt x="129" y="20"/>
                    </a:lnTo>
                    <a:lnTo>
                      <a:pt x="122" y="13"/>
                    </a:lnTo>
                    <a:lnTo>
                      <a:pt x="119" y="7"/>
                    </a:lnTo>
                    <a:lnTo>
                      <a:pt x="110" y="5"/>
                    </a:lnTo>
                    <a:lnTo>
                      <a:pt x="103" y="0"/>
                    </a:lnTo>
                    <a:lnTo>
                      <a:pt x="91" y="2"/>
                    </a:lnTo>
                    <a:lnTo>
                      <a:pt x="91" y="14"/>
                    </a:lnTo>
                    <a:lnTo>
                      <a:pt x="94" y="28"/>
                    </a:lnTo>
                    <a:lnTo>
                      <a:pt x="89" y="33"/>
                    </a:lnTo>
                    <a:lnTo>
                      <a:pt x="73" y="30"/>
                    </a:lnTo>
                    <a:lnTo>
                      <a:pt x="69" y="37"/>
                    </a:lnTo>
                    <a:lnTo>
                      <a:pt x="61" y="27"/>
                    </a:lnTo>
                    <a:lnTo>
                      <a:pt x="52" y="28"/>
                    </a:lnTo>
                    <a:lnTo>
                      <a:pt x="46" y="23"/>
                    </a:lnTo>
                    <a:lnTo>
                      <a:pt x="38" y="27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1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7" y="28"/>
                    </a:lnTo>
                    <a:lnTo>
                      <a:pt x="5" y="42"/>
                    </a:lnTo>
                    <a:lnTo>
                      <a:pt x="4" y="57"/>
                    </a:lnTo>
                    <a:lnTo>
                      <a:pt x="2" y="66"/>
                    </a:lnTo>
                    <a:lnTo>
                      <a:pt x="4" y="78"/>
                    </a:lnTo>
                    <a:lnTo>
                      <a:pt x="4" y="90"/>
                    </a:lnTo>
                    <a:lnTo>
                      <a:pt x="9" y="97"/>
                    </a:lnTo>
                    <a:lnTo>
                      <a:pt x="8" y="102"/>
                    </a:lnTo>
                    <a:lnTo>
                      <a:pt x="2" y="108"/>
                    </a:lnTo>
                    <a:lnTo>
                      <a:pt x="0" y="114"/>
                    </a:lnTo>
                    <a:lnTo>
                      <a:pt x="5" y="122"/>
                    </a:lnTo>
                    <a:lnTo>
                      <a:pt x="15" y="123"/>
                    </a:lnTo>
                    <a:lnTo>
                      <a:pt x="23" y="133"/>
                    </a:lnTo>
                    <a:lnTo>
                      <a:pt x="23" y="133"/>
                    </a:lnTo>
                    <a:lnTo>
                      <a:pt x="23" y="13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4" name="Freeform 25">
                <a:extLst>
                  <a:ext uri="{FF2B5EF4-FFF2-40B4-BE49-F238E27FC236}">
                    <a16:creationId xmlns:a16="http://schemas.microsoft.com/office/drawing/2014/main" id="{3FF67405-A691-D0CE-C9C3-D71D91DFED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11878" y="4159657"/>
                <a:ext cx="138071" cy="140335"/>
              </a:xfrm>
              <a:custGeom>
                <a:avLst/>
                <a:gdLst>
                  <a:gd name="T0" fmla="*/ 42 w 61"/>
                  <a:gd name="T1" fmla="*/ 0 h 62"/>
                  <a:gd name="T2" fmla="*/ 42 w 61"/>
                  <a:gd name="T3" fmla="*/ 5 h 62"/>
                  <a:gd name="T4" fmla="*/ 45 w 61"/>
                  <a:gd name="T5" fmla="*/ 10 h 62"/>
                  <a:gd name="T6" fmla="*/ 55 w 61"/>
                  <a:gd name="T7" fmla="*/ 15 h 62"/>
                  <a:gd name="T8" fmla="*/ 60 w 61"/>
                  <a:gd name="T9" fmla="*/ 5 h 62"/>
                  <a:gd name="T10" fmla="*/ 61 w 61"/>
                  <a:gd name="T11" fmla="*/ 2 h 62"/>
                  <a:gd name="T12" fmla="*/ 59 w 61"/>
                  <a:gd name="T13" fmla="*/ 1 h 62"/>
                  <a:gd name="T14" fmla="*/ 54 w 61"/>
                  <a:gd name="T15" fmla="*/ 2 h 62"/>
                  <a:gd name="T16" fmla="*/ 42 w 61"/>
                  <a:gd name="T17" fmla="*/ 0 h 62"/>
                  <a:gd name="T18" fmla="*/ 14 w 61"/>
                  <a:gd name="T19" fmla="*/ 26 h 62"/>
                  <a:gd name="T20" fmla="*/ 9 w 61"/>
                  <a:gd name="T21" fmla="*/ 32 h 62"/>
                  <a:gd name="T22" fmla="*/ 9 w 61"/>
                  <a:gd name="T23" fmla="*/ 38 h 62"/>
                  <a:gd name="T24" fmla="*/ 13 w 61"/>
                  <a:gd name="T25" fmla="*/ 40 h 62"/>
                  <a:gd name="T26" fmla="*/ 20 w 61"/>
                  <a:gd name="T27" fmla="*/ 37 h 62"/>
                  <a:gd name="T28" fmla="*/ 19 w 61"/>
                  <a:gd name="T29" fmla="*/ 33 h 62"/>
                  <a:gd name="T30" fmla="*/ 18 w 61"/>
                  <a:gd name="T31" fmla="*/ 28 h 62"/>
                  <a:gd name="T32" fmla="*/ 14 w 61"/>
                  <a:gd name="T33" fmla="*/ 26 h 62"/>
                  <a:gd name="T34" fmla="*/ 11 w 61"/>
                  <a:gd name="T35" fmla="*/ 44 h 62"/>
                  <a:gd name="T36" fmla="*/ 10 w 61"/>
                  <a:gd name="T37" fmla="*/ 49 h 62"/>
                  <a:gd name="T38" fmla="*/ 11 w 61"/>
                  <a:gd name="T39" fmla="*/ 53 h 62"/>
                  <a:gd name="T40" fmla="*/ 16 w 61"/>
                  <a:gd name="T41" fmla="*/ 52 h 62"/>
                  <a:gd name="T42" fmla="*/ 19 w 61"/>
                  <a:gd name="T43" fmla="*/ 46 h 62"/>
                  <a:gd name="T44" fmla="*/ 14 w 61"/>
                  <a:gd name="T45" fmla="*/ 45 h 62"/>
                  <a:gd name="T46" fmla="*/ 11 w 61"/>
                  <a:gd name="T47" fmla="*/ 44 h 62"/>
                  <a:gd name="T48" fmla="*/ 11 w 61"/>
                  <a:gd name="T49" fmla="*/ 44 h 62"/>
                  <a:gd name="T50" fmla="*/ 5 w 61"/>
                  <a:gd name="T51" fmla="*/ 54 h 62"/>
                  <a:gd name="T52" fmla="*/ 1 w 61"/>
                  <a:gd name="T53" fmla="*/ 56 h 62"/>
                  <a:gd name="T54" fmla="*/ 0 w 61"/>
                  <a:gd name="T55" fmla="*/ 59 h 62"/>
                  <a:gd name="T56" fmla="*/ 3 w 61"/>
                  <a:gd name="T57" fmla="*/ 62 h 62"/>
                  <a:gd name="T58" fmla="*/ 6 w 61"/>
                  <a:gd name="T59" fmla="*/ 60 h 62"/>
                  <a:gd name="T60" fmla="*/ 7 w 61"/>
                  <a:gd name="T61" fmla="*/ 56 h 62"/>
                  <a:gd name="T62" fmla="*/ 5 w 61"/>
                  <a:gd name="T63" fmla="*/ 54 h 62"/>
                  <a:gd name="T64" fmla="*/ 5 w 61"/>
                  <a:gd name="T65" fmla="*/ 5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1" h="62">
                    <a:moveTo>
                      <a:pt x="42" y="0"/>
                    </a:moveTo>
                    <a:lnTo>
                      <a:pt x="42" y="5"/>
                    </a:lnTo>
                    <a:lnTo>
                      <a:pt x="45" y="10"/>
                    </a:lnTo>
                    <a:lnTo>
                      <a:pt x="55" y="15"/>
                    </a:lnTo>
                    <a:lnTo>
                      <a:pt x="60" y="5"/>
                    </a:lnTo>
                    <a:lnTo>
                      <a:pt x="61" y="2"/>
                    </a:lnTo>
                    <a:lnTo>
                      <a:pt x="59" y="1"/>
                    </a:lnTo>
                    <a:lnTo>
                      <a:pt x="54" y="2"/>
                    </a:lnTo>
                    <a:lnTo>
                      <a:pt x="42" y="0"/>
                    </a:lnTo>
                    <a:close/>
                    <a:moveTo>
                      <a:pt x="14" y="26"/>
                    </a:moveTo>
                    <a:lnTo>
                      <a:pt x="9" y="32"/>
                    </a:lnTo>
                    <a:lnTo>
                      <a:pt x="9" y="38"/>
                    </a:lnTo>
                    <a:lnTo>
                      <a:pt x="13" y="40"/>
                    </a:lnTo>
                    <a:lnTo>
                      <a:pt x="20" y="37"/>
                    </a:lnTo>
                    <a:lnTo>
                      <a:pt x="19" y="33"/>
                    </a:lnTo>
                    <a:lnTo>
                      <a:pt x="18" y="28"/>
                    </a:lnTo>
                    <a:lnTo>
                      <a:pt x="14" y="26"/>
                    </a:lnTo>
                    <a:close/>
                    <a:moveTo>
                      <a:pt x="11" y="44"/>
                    </a:moveTo>
                    <a:lnTo>
                      <a:pt x="10" y="49"/>
                    </a:lnTo>
                    <a:lnTo>
                      <a:pt x="11" y="53"/>
                    </a:lnTo>
                    <a:lnTo>
                      <a:pt x="16" y="52"/>
                    </a:lnTo>
                    <a:lnTo>
                      <a:pt x="19" y="46"/>
                    </a:lnTo>
                    <a:lnTo>
                      <a:pt x="14" y="45"/>
                    </a:lnTo>
                    <a:lnTo>
                      <a:pt x="11" y="44"/>
                    </a:lnTo>
                    <a:lnTo>
                      <a:pt x="11" y="44"/>
                    </a:lnTo>
                    <a:close/>
                    <a:moveTo>
                      <a:pt x="5" y="54"/>
                    </a:moveTo>
                    <a:lnTo>
                      <a:pt x="1" y="56"/>
                    </a:lnTo>
                    <a:lnTo>
                      <a:pt x="0" y="59"/>
                    </a:lnTo>
                    <a:lnTo>
                      <a:pt x="3" y="62"/>
                    </a:lnTo>
                    <a:lnTo>
                      <a:pt x="6" y="60"/>
                    </a:lnTo>
                    <a:lnTo>
                      <a:pt x="7" y="56"/>
                    </a:lnTo>
                    <a:lnTo>
                      <a:pt x="5" y="54"/>
                    </a:lnTo>
                    <a:lnTo>
                      <a:pt x="5" y="54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5" name="Freeform 26">
                <a:extLst>
                  <a:ext uri="{FF2B5EF4-FFF2-40B4-BE49-F238E27FC236}">
                    <a16:creationId xmlns:a16="http://schemas.microsoft.com/office/drawing/2014/main" id="{093CDAE8-03E1-06D2-25A1-EBE4A2D8E6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82452" y="4071380"/>
                <a:ext cx="167497" cy="174288"/>
              </a:xfrm>
              <a:custGeom>
                <a:avLst/>
                <a:gdLst>
                  <a:gd name="T0" fmla="*/ 14 w 74"/>
                  <a:gd name="T1" fmla="*/ 0 h 77"/>
                  <a:gd name="T2" fmla="*/ 4 w 74"/>
                  <a:gd name="T3" fmla="*/ 2 h 77"/>
                  <a:gd name="T4" fmla="*/ 0 w 74"/>
                  <a:gd name="T5" fmla="*/ 5 h 77"/>
                  <a:gd name="T6" fmla="*/ 2 w 74"/>
                  <a:gd name="T7" fmla="*/ 12 h 77"/>
                  <a:gd name="T8" fmla="*/ 6 w 74"/>
                  <a:gd name="T9" fmla="*/ 20 h 77"/>
                  <a:gd name="T10" fmla="*/ 12 w 74"/>
                  <a:gd name="T11" fmla="*/ 24 h 77"/>
                  <a:gd name="T12" fmla="*/ 17 w 74"/>
                  <a:gd name="T13" fmla="*/ 17 h 77"/>
                  <a:gd name="T14" fmla="*/ 22 w 74"/>
                  <a:gd name="T15" fmla="*/ 15 h 77"/>
                  <a:gd name="T16" fmla="*/ 22 w 74"/>
                  <a:gd name="T17" fmla="*/ 15 h 77"/>
                  <a:gd name="T18" fmla="*/ 22 w 74"/>
                  <a:gd name="T19" fmla="*/ 15 h 77"/>
                  <a:gd name="T20" fmla="*/ 18 w 74"/>
                  <a:gd name="T21" fmla="*/ 8 h 77"/>
                  <a:gd name="T22" fmla="*/ 14 w 74"/>
                  <a:gd name="T23" fmla="*/ 0 h 77"/>
                  <a:gd name="T24" fmla="*/ 14 w 74"/>
                  <a:gd name="T25" fmla="*/ 0 h 77"/>
                  <a:gd name="T26" fmla="*/ 53 w 74"/>
                  <a:gd name="T27" fmla="*/ 32 h 77"/>
                  <a:gd name="T28" fmla="*/ 50 w 74"/>
                  <a:gd name="T29" fmla="*/ 38 h 77"/>
                  <a:gd name="T30" fmla="*/ 48 w 74"/>
                  <a:gd name="T31" fmla="*/ 46 h 77"/>
                  <a:gd name="T32" fmla="*/ 49 w 74"/>
                  <a:gd name="T33" fmla="*/ 47 h 77"/>
                  <a:gd name="T34" fmla="*/ 55 w 74"/>
                  <a:gd name="T35" fmla="*/ 44 h 77"/>
                  <a:gd name="T36" fmla="*/ 55 w 74"/>
                  <a:gd name="T37" fmla="*/ 39 h 77"/>
                  <a:gd name="T38" fmla="*/ 57 w 74"/>
                  <a:gd name="T39" fmla="*/ 36 h 77"/>
                  <a:gd name="T40" fmla="*/ 55 w 74"/>
                  <a:gd name="T41" fmla="*/ 33 h 77"/>
                  <a:gd name="T42" fmla="*/ 53 w 74"/>
                  <a:gd name="T43" fmla="*/ 32 h 77"/>
                  <a:gd name="T44" fmla="*/ 53 w 74"/>
                  <a:gd name="T45" fmla="*/ 32 h 77"/>
                  <a:gd name="T46" fmla="*/ 55 w 74"/>
                  <a:gd name="T47" fmla="*/ 53 h 77"/>
                  <a:gd name="T48" fmla="*/ 52 w 74"/>
                  <a:gd name="T49" fmla="*/ 56 h 77"/>
                  <a:gd name="T50" fmla="*/ 59 w 74"/>
                  <a:gd name="T51" fmla="*/ 65 h 77"/>
                  <a:gd name="T52" fmla="*/ 52 w 74"/>
                  <a:gd name="T53" fmla="*/ 62 h 77"/>
                  <a:gd name="T54" fmla="*/ 43 w 74"/>
                  <a:gd name="T55" fmla="*/ 58 h 77"/>
                  <a:gd name="T56" fmla="*/ 38 w 74"/>
                  <a:gd name="T57" fmla="*/ 62 h 77"/>
                  <a:gd name="T58" fmla="*/ 35 w 74"/>
                  <a:gd name="T59" fmla="*/ 73 h 77"/>
                  <a:gd name="T60" fmla="*/ 42 w 74"/>
                  <a:gd name="T61" fmla="*/ 70 h 77"/>
                  <a:gd name="T62" fmla="*/ 46 w 74"/>
                  <a:gd name="T63" fmla="*/ 77 h 77"/>
                  <a:gd name="T64" fmla="*/ 50 w 74"/>
                  <a:gd name="T65" fmla="*/ 75 h 77"/>
                  <a:gd name="T66" fmla="*/ 51 w 74"/>
                  <a:gd name="T67" fmla="*/ 77 h 77"/>
                  <a:gd name="T68" fmla="*/ 62 w 74"/>
                  <a:gd name="T69" fmla="*/ 77 h 77"/>
                  <a:gd name="T70" fmla="*/ 70 w 74"/>
                  <a:gd name="T71" fmla="*/ 72 h 77"/>
                  <a:gd name="T72" fmla="*/ 74 w 74"/>
                  <a:gd name="T73" fmla="*/ 68 h 77"/>
                  <a:gd name="T74" fmla="*/ 62 w 74"/>
                  <a:gd name="T75" fmla="*/ 59 h 77"/>
                  <a:gd name="T76" fmla="*/ 55 w 74"/>
                  <a:gd name="T77" fmla="*/ 53 h 77"/>
                  <a:gd name="T78" fmla="*/ 55 w 74"/>
                  <a:gd name="T79" fmla="*/ 5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4" h="77">
                    <a:moveTo>
                      <a:pt x="14" y="0"/>
                    </a:moveTo>
                    <a:lnTo>
                      <a:pt x="4" y="2"/>
                    </a:lnTo>
                    <a:lnTo>
                      <a:pt x="0" y="5"/>
                    </a:lnTo>
                    <a:lnTo>
                      <a:pt x="2" y="12"/>
                    </a:lnTo>
                    <a:lnTo>
                      <a:pt x="6" y="20"/>
                    </a:lnTo>
                    <a:lnTo>
                      <a:pt x="12" y="24"/>
                    </a:lnTo>
                    <a:lnTo>
                      <a:pt x="17" y="17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18" y="8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53" y="32"/>
                    </a:moveTo>
                    <a:lnTo>
                      <a:pt x="50" y="38"/>
                    </a:lnTo>
                    <a:lnTo>
                      <a:pt x="48" y="46"/>
                    </a:lnTo>
                    <a:lnTo>
                      <a:pt x="49" y="47"/>
                    </a:lnTo>
                    <a:lnTo>
                      <a:pt x="55" y="44"/>
                    </a:lnTo>
                    <a:lnTo>
                      <a:pt x="55" y="39"/>
                    </a:lnTo>
                    <a:lnTo>
                      <a:pt x="57" y="36"/>
                    </a:lnTo>
                    <a:lnTo>
                      <a:pt x="55" y="33"/>
                    </a:lnTo>
                    <a:lnTo>
                      <a:pt x="53" y="32"/>
                    </a:lnTo>
                    <a:lnTo>
                      <a:pt x="53" y="32"/>
                    </a:lnTo>
                    <a:close/>
                    <a:moveTo>
                      <a:pt x="55" y="53"/>
                    </a:moveTo>
                    <a:lnTo>
                      <a:pt x="52" y="56"/>
                    </a:lnTo>
                    <a:lnTo>
                      <a:pt x="59" y="65"/>
                    </a:lnTo>
                    <a:lnTo>
                      <a:pt x="52" y="62"/>
                    </a:lnTo>
                    <a:lnTo>
                      <a:pt x="43" y="58"/>
                    </a:lnTo>
                    <a:lnTo>
                      <a:pt x="38" y="62"/>
                    </a:lnTo>
                    <a:lnTo>
                      <a:pt x="35" y="73"/>
                    </a:lnTo>
                    <a:lnTo>
                      <a:pt x="42" y="70"/>
                    </a:lnTo>
                    <a:lnTo>
                      <a:pt x="46" y="77"/>
                    </a:lnTo>
                    <a:lnTo>
                      <a:pt x="50" y="75"/>
                    </a:lnTo>
                    <a:lnTo>
                      <a:pt x="51" y="77"/>
                    </a:lnTo>
                    <a:lnTo>
                      <a:pt x="62" y="77"/>
                    </a:lnTo>
                    <a:lnTo>
                      <a:pt x="70" y="72"/>
                    </a:lnTo>
                    <a:lnTo>
                      <a:pt x="74" y="68"/>
                    </a:lnTo>
                    <a:lnTo>
                      <a:pt x="62" y="59"/>
                    </a:lnTo>
                    <a:lnTo>
                      <a:pt x="55" y="53"/>
                    </a:lnTo>
                    <a:lnTo>
                      <a:pt x="55" y="5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6" name="Freeform 27">
                <a:extLst>
                  <a:ext uri="{FF2B5EF4-FFF2-40B4-BE49-F238E27FC236}">
                    <a16:creationId xmlns:a16="http://schemas.microsoft.com/office/drawing/2014/main" id="{3A69572F-96AA-29AB-E124-F771F6194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2416" y="4125704"/>
                <a:ext cx="45269" cy="27162"/>
              </a:xfrm>
              <a:custGeom>
                <a:avLst/>
                <a:gdLst>
                  <a:gd name="T0" fmla="*/ 0 w 20"/>
                  <a:gd name="T1" fmla="*/ 8 h 12"/>
                  <a:gd name="T2" fmla="*/ 2 w 20"/>
                  <a:gd name="T3" fmla="*/ 9 h 12"/>
                  <a:gd name="T4" fmla="*/ 4 w 20"/>
                  <a:gd name="T5" fmla="*/ 12 h 12"/>
                  <a:gd name="T6" fmla="*/ 7 w 20"/>
                  <a:gd name="T7" fmla="*/ 12 h 12"/>
                  <a:gd name="T8" fmla="*/ 9 w 20"/>
                  <a:gd name="T9" fmla="*/ 11 h 12"/>
                  <a:gd name="T10" fmla="*/ 17 w 20"/>
                  <a:gd name="T11" fmla="*/ 11 h 12"/>
                  <a:gd name="T12" fmla="*/ 20 w 20"/>
                  <a:gd name="T13" fmla="*/ 5 h 12"/>
                  <a:gd name="T14" fmla="*/ 17 w 20"/>
                  <a:gd name="T15" fmla="*/ 4 h 12"/>
                  <a:gd name="T16" fmla="*/ 14 w 20"/>
                  <a:gd name="T17" fmla="*/ 0 h 12"/>
                  <a:gd name="T18" fmla="*/ 10 w 20"/>
                  <a:gd name="T19" fmla="*/ 2 h 12"/>
                  <a:gd name="T20" fmla="*/ 2 w 20"/>
                  <a:gd name="T21" fmla="*/ 3 h 12"/>
                  <a:gd name="T22" fmla="*/ 0 w 20"/>
                  <a:gd name="T23" fmla="*/ 8 h 12"/>
                  <a:gd name="T24" fmla="*/ 0 w 20"/>
                  <a:gd name="T2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2">
                    <a:moveTo>
                      <a:pt x="0" y="8"/>
                    </a:moveTo>
                    <a:lnTo>
                      <a:pt x="2" y="9"/>
                    </a:lnTo>
                    <a:lnTo>
                      <a:pt x="4" y="12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7" y="11"/>
                    </a:lnTo>
                    <a:lnTo>
                      <a:pt x="20" y="5"/>
                    </a:lnTo>
                    <a:lnTo>
                      <a:pt x="17" y="4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2" y="3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7" name="Freeform 28">
                <a:extLst>
                  <a:ext uri="{FF2B5EF4-FFF2-40B4-BE49-F238E27FC236}">
                    <a16:creationId xmlns:a16="http://schemas.microsoft.com/office/drawing/2014/main" id="{E61A2219-1FDD-BDB1-2C9D-3CC3BA858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943" y="4137022"/>
                <a:ext cx="58850" cy="27162"/>
              </a:xfrm>
              <a:custGeom>
                <a:avLst/>
                <a:gdLst>
                  <a:gd name="T0" fmla="*/ 26 w 26"/>
                  <a:gd name="T1" fmla="*/ 1 h 12"/>
                  <a:gd name="T2" fmla="*/ 22 w 26"/>
                  <a:gd name="T3" fmla="*/ 0 h 12"/>
                  <a:gd name="T4" fmla="*/ 18 w 26"/>
                  <a:gd name="T5" fmla="*/ 0 h 12"/>
                  <a:gd name="T6" fmla="*/ 15 w 26"/>
                  <a:gd name="T7" fmla="*/ 6 h 12"/>
                  <a:gd name="T8" fmla="*/ 7 w 26"/>
                  <a:gd name="T9" fmla="*/ 6 h 12"/>
                  <a:gd name="T10" fmla="*/ 5 w 26"/>
                  <a:gd name="T11" fmla="*/ 7 h 12"/>
                  <a:gd name="T12" fmla="*/ 2 w 26"/>
                  <a:gd name="T13" fmla="*/ 7 h 12"/>
                  <a:gd name="T14" fmla="*/ 0 w 26"/>
                  <a:gd name="T15" fmla="*/ 10 h 12"/>
                  <a:gd name="T16" fmla="*/ 12 w 26"/>
                  <a:gd name="T17" fmla="*/ 12 h 12"/>
                  <a:gd name="T18" fmla="*/ 17 w 26"/>
                  <a:gd name="T19" fmla="*/ 11 h 12"/>
                  <a:gd name="T20" fmla="*/ 19 w 26"/>
                  <a:gd name="T21" fmla="*/ 12 h 12"/>
                  <a:gd name="T22" fmla="*/ 24 w 26"/>
                  <a:gd name="T23" fmla="*/ 3 h 12"/>
                  <a:gd name="T24" fmla="*/ 26 w 26"/>
                  <a:gd name="T25" fmla="*/ 1 h 12"/>
                  <a:gd name="T26" fmla="*/ 26 w 26"/>
                  <a:gd name="T27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12">
                    <a:moveTo>
                      <a:pt x="26" y="1"/>
                    </a:moveTo>
                    <a:lnTo>
                      <a:pt x="22" y="0"/>
                    </a:lnTo>
                    <a:lnTo>
                      <a:pt x="18" y="0"/>
                    </a:lnTo>
                    <a:lnTo>
                      <a:pt x="15" y="6"/>
                    </a:lnTo>
                    <a:lnTo>
                      <a:pt x="7" y="6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12" y="12"/>
                    </a:lnTo>
                    <a:lnTo>
                      <a:pt x="17" y="11"/>
                    </a:lnTo>
                    <a:lnTo>
                      <a:pt x="19" y="12"/>
                    </a:lnTo>
                    <a:lnTo>
                      <a:pt x="24" y="3"/>
                    </a:lnTo>
                    <a:lnTo>
                      <a:pt x="26" y="1"/>
                    </a:lnTo>
                    <a:lnTo>
                      <a:pt x="26" y="1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8" name="Freeform 29">
                <a:extLst>
                  <a:ext uri="{FF2B5EF4-FFF2-40B4-BE49-F238E27FC236}">
                    <a16:creationId xmlns:a16="http://schemas.microsoft.com/office/drawing/2014/main" id="{485345AC-291C-F0F3-C5B1-F8817F093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943" y="4051010"/>
                <a:ext cx="142598" cy="88276"/>
              </a:xfrm>
              <a:custGeom>
                <a:avLst/>
                <a:gdLst>
                  <a:gd name="T0" fmla="*/ 34 w 63"/>
                  <a:gd name="T1" fmla="*/ 0 h 39"/>
                  <a:gd name="T2" fmla="*/ 29 w 63"/>
                  <a:gd name="T3" fmla="*/ 1 h 39"/>
                  <a:gd name="T4" fmla="*/ 23 w 63"/>
                  <a:gd name="T5" fmla="*/ 7 h 39"/>
                  <a:gd name="T6" fmla="*/ 17 w 63"/>
                  <a:gd name="T7" fmla="*/ 11 h 39"/>
                  <a:gd name="T8" fmla="*/ 9 w 63"/>
                  <a:gd name="T9" fmla="*/ 15 h 39"/>
                  <a:gd name="T10" fmla="*/ 0 w 63"/>
                  <a:gd name="T11" fmla="*/ 27 h 39"/>
                  <a:gd name="T12" fmla="*/ 0 w 63"/>
                  <a:gd name="T13" fmla="*/ 36 h 39"/>
                  <a:gd name="T14" fmla="*/ 8 w 63"/>
                  <a:gd name="T15" fmla="*/ 35 h 39"/>
                  <a:gd name="T16" fmla="*/ 12 w 63"/>
                  <a:gd name="T17" fmla="*/ 33 h 39"/>
                  <a:gd name="T18" fmla="*/ 15 w 63"/>
                  <a:gd name="T19" fmla="*/ 37 h 39"/>
                  <a:gd name="T20" fmla="*/ 18 w 63"/>
                  <a:gd name="T21" fmla="*/ 38 h 39"/>
                  <a:gd name="T22" fmla="*/ 22 w 63"/>
                  <a:gd name="T23" fmla="*/ 38 h 39"/>
                  <a:gd name="T24" fmla="*/ 26 w 63"/>
                  <a:gd name="T25" fmla="*/ 39 h 39"/>
                  <a:gd name="T26" fmla="*/ 31 w 63"/>
                  <a:gd name="T27" fmla="*/ 28 h 39"/>
                  <a:gd name="T28" fmla="*/ 36 w 63"/>
                  <a:gd name="T29" fmla="*/ 28 h 39"/>
                  <a:gd name="T30" fmla="*/ 49 w 63"/>
                  <a:gd name="T31" fmla="*/ 25 h 39"/>
                  <a:gd name="T32" fmla="*/ 56 w 63"/>
                  <a:gd name="T33" fmla="*/ 19 h 39"/>
                  <a:gd name="T34" fmla="*/ 63 w 63"/>
                  <a:gd name="T35" fmla="*/ 12 h 39"/>
                  <a:gd name="T36" fmla="*/ 51 w 63"/>
                  <a:gd name="T37" fmla="*/ 10 h 39"/>
                  <a:gd name="T38" fmla="*/ 36 w 63"/>
                  <a:gd name="T39" fmla="*/ 9 h 39"/>
                  <a:gd name="T40" fmla="*/ 38 w 63"/>
                  <a:gd name="T41" fmla="*/ 4 h 39"/>
                  <a:gd name="T42" fmla="*/ 34 w 63"/>
                  <a:gd name="T43" fmla="*/ 0 h 39"/>
                  <a:gd name="T44" fmla="*/ 34 w 63"/>
                  <a:gd name="T4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" h="39">
                    <a:moveTo>
                      <a:pt x="34" y="0"/>
                    </a:moveTo>
                    <a:lnTo>
                      <a:pt x="29" y="1"/>
                    </a:lnTo>
                    <a:lnTo>
                      <a:pt x="23" y="7"/>
                    </a:lnTo>
                    <a:lnTo>
                      <a:pt x="17" y="11"/>
                    </a:lnTo>
                    <a:lnTo>
                      <a:pt x="9" y="15"/>
                    </a:lnTo>
                    <a:lnTo>
                      <a:pt x="0" y="27"/>
                    </a:lnTo>
                    <a:lnTo>
                      <a:pt x="0" y="36"/>
                    </a:lnTo>
                    <a:lnTo>
                      <a:pt x="8" y="35"/>
                    </a:lnTo>
                    <a:lnTo>
                      <a:pt x="12" y="33"/>
                    </a:lnTo>
                    <a:lnTo>
                      <a:pt x="15" y="37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9"/>
                    </a:lnTo>
                    <a:lnTo>
                      <a:pt x="31" y="28"/>
                    </a:lnTo>
                    <a:lnTo>
                      <a:pt x="36" y="28"/>
                    </a:lnTo>
                    <a:lnTo>
                      <a:pt x="49" y="25"/>
                    </a:lnTo>
                    <a:lnTo>
                      <a:pt x="56" y="19"/>
                    </a:lnTo>
                    <a:lnTo>
                      <a:pt x="63" y="12"/>
                    </a:lnTo>
                    <a:lnTo>
                      <a:pt x="51" y="10"/>
                    </a:lnTo>
                    <a:lnTo>
                      <a:pt x="36" y="9"/>
                    </a:lnTo>
                    <a:lnTo>
                      <a:pt x="38" y="4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39" name="Freeform 30">
                <a:extLst>
                  <a:ext uri="{FF2B5EF4-FFF2-40B4-BE49-F238E27FC236}">
                    <a16:creationId xmlns:a16="http://schemas.microsoft.com/office/drawing/2014/main" id="{2F4FDE15-3F24-CC2F-5EAD-35DD49F833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8595" y="4200399"/>
                <a:ext cx="104120" cy="167497"/>
              </a:xfrm>
              <a:custGeom>
                <a:avLst/>
                <a:gdLst>
                  <a:gd name="T0" fmla="*/ 23 w 46"/>
                  <a:gd name="T1" fmla="*/ 0 h 74"/>
                  <a:gd name="T2" fmla="*/ 17 w 46"/>
                  <a:gd name="T3" fmla="*/ 4 h 74"/>
                  <a:gd name="T4" fmla="*/ 11 w 46"/>
                  <a:gd name="T5" fmla="*/ 6 h 74"/>
                  <a:gd name="T6" fmla="*/ 7 w 46"/>
                  <a:gd name="T7" fmla="*/ 20 h 74"/>
                  <a:gd name="T8" fmla="*/ 3 w 46"/>
                  <a:gd name="T9" fmla="*/ 22 h 74"/>
                  <a:gd name="T10" fmla="*/ 3 w 46"/>
                  <a:gd name="T11" fmla="*/ 30 h 74"/>
                  <a:gd name="T12" fmla="*/ 0 w 46"/>
                  <a:gd name="T13" fmla="*/ 38 h 74"/>
                  <a:gd name="T14" fmla="*/ 5 w 46"/>
                  <a:gd name="T15" fmla="*/ 42 h 74"/>
                  <a:gd name="T16" fmla="*/ 8 w 46"/>
                  <a:gd name="T17" fmla="*/ 47 h 74"/>
                  <a:gd name="T18" fmla="*/ 10 w 46"/>
                  <a:gd name="T19" fmla="*/ 44 h 74"/>
                  <a:gd name="T20" fmla="*/ 14 w 46"/>
                  <a:gd name="T21" fmla="*/ 49 h 74"/>
                  <a:gd name="T22" fmla="*/ 15 w 46"/>
                  <a:gd name="T23" fmla="*/ 43 h 74"/>
                  <a:gd name="T24" fmla="*/ 14 w 46"/>
                  <a:gd name="T25" fmla="*/ 36 h 74"/>
                  <a:gd name="T26" fmla="*/ 11 w 46"/>
                  <a:gd name="T27" fmla="*/ 32 h 74"/>
                  <a:gd name="T28" fmla="*/ 15 w 46"/>
                  <a:gd name="T29" fmla="*/ 30 h 74"/>
                  <a:gd name="T30" fmla="*/ 21 w 46"/>
                  <a:gd name="T31" fmla="*/ 20 h 74"/>
                  <a:gd name="T32" fmla="*/ 30 w 46"/>
                  <a:gd name="T33" fmla="*/ 27 h 74"/>
                  <a:gd name="T34" fmla="*/ 32 w 46"/>
                  <a:gd name="T35" fmla="*/ 29 h 74"/>
                  <a:gd name="T36" fmla="*/ 41 w 46"/>
                  <a:gd name="T37" fmla="*/ 32 h 74"/>
                  <a:gd name="T38" fmla="*/ 40 w 46"/>
                  <a:gd name="T39" fmla="*/ 39 h 74"/>
                  <a:gd name="T40" fmla="*/ 45 w 46"/>
                  <a:gd name="T41" fmla="*/ 38 h 74"/>
                  <a:gd name="T42" fmla="*/ 46 w 46"/>
                  <a:gd name="T43" fmla="*/ 30 h 74"/>
                  <a:gd name="T44" fmla="*/ 40 w 46"/>
                  <a:gd name="T45" fmla="*/ 22 h 74"/>
                  <a:gd name="T46" fmla="*/ 36 w 46"/>
                  <a:gd name="T47" fmla="*/ 18 h 74"/>
                  <a:gd name="T48" fmla="*/ 28 w 46"/>
                  <a:gd name="T49" fmla="*/ 12 h 74"/>
                  <a:gd name="T50" fmla="*/ 32 w 46"/>
                  <a:gd name="T51" fmla="*/ 8 h 74"/>
                  <a:gd name="T52" fmla="*/ 30 w 46"/>
                  <a:gd name="T53" fmla="*/ 1 h 74"/>
                  <a:gd name="T54" fmla="*/ 23 w 46"/>
                  <a:gd name="T55" fmla="*/ 0 h 74"/>
                  <a:gd name="T56" fmla="*/ 23 w 46"/>
                  <a:gd name="T57" fmla="*/ 0 h 74"/>
                  <a:gd name="T58" fmla="*/ 24 w 46"/>
                  <a:gd name="T59" fmla="*/ 31 h 74"/>
                  <a:gd name="T60" fmla="*/ 21 w 46"/>
                  <a:gd name="T61" fmla="*/ 35 h 74"/>
                  <a:gd name="T62" fmla="*/ 22 w 46"/>
                  <a:gd name="T63" fmla="*/ 41 h 74"/>
                  <a:gd name="T64" fmla="*/ 20 w 46"/>
                  <a:gd name="T65" fmla="*/ 44 h 74"/>
                  <a:gd name="T66" fmla="*/ 20 w 46"/>
                  <a:gd name="T67" fmla="*/ 48 h 74"/>
                  <a:gd name="T68" fmla="*/ 24 w 46"/>
                  <a:gd name="T69" fmla="*/ 52 h 74"/>
                  <a:gd name="T70" fmla="*/ 29 w 46"/>
                  <a:gd name="T71" fmla="*/ 56 h 74"/>
                  <a:gd name="T72" fmla="*/ 33 w 46"/>
                  <a:gd name="T73" fmla="*/ 59 h 74"/>
                  <a:gd name="T74" fmla="*/ 34 w 46"/>
                  <a:gd name="T75" fmla="*/ 55 h 74"/>
                  <a:gd name="T76" fmla="*/ 31 w 46"/>
                  <a:gd name="T77" fmla="*/ 51 h 74"/>
                  <a:gd name="T78" fmla="*/ 29 w 46"/>
                  <a:gd name="T79" fmla="*/ 47 h 74"/>
                  <a:gd name="T80" fmla="*/ 30 w 46"/>
                  <a:gd name="T81" fmla="*/ 40 h 74"/>
                  <a:gd name="T82" fmla="*/ 24 w 46"/>
                  <a:gd name="T83" fmla="*/ 31 h 74"/>
                  <a:gd name="T84" fmla="*/ 24 w 46"/>
                  <a:gd name="T85" fmla="*/ 31 h 74"/>
                  <a:gd name="T86" fmla="*/ 10 w 46"/>
                  <a:gd name="T87" fmla="*/ 61 h 74"/>
                  <a:gd name="T88" fmla="*/ 7 w 46"/>
                  <a:gd name="T89" fmla="*/ 62 h 74"/>
                  <a:gd name="T90" fmla="*/ 6 w 46"/>
                  <a:gd name="T91" fmla="*/ 69 h 74"/>
                  <a:gd name="T92" fmla="*/ 10 w 46"/>
                  <a:gd name="T93" fmla="*/ 70 h 74"/>
                  <a:gd name="T94" fmla="*/ 11 w 46"/>
                  <a:gd name="T95" fmla="*/ 73 h 74"/>
                  <a:gd name="T96" fmla="*/ 15 w 46"/>
                  <a:gd name="T97" fmla="*/ 74 h 74"/>
                  <a:gd name="T98" fmla="*/ 15 w 46"/>
                  <a:gd name="T99" fmla="*/ 68 h 74"/>
                  <a:gd name="T100" fmla="*/ 11 w 46"/>
                  <a:gd name="T101" fmla="*/ 61 h 74"/>
                  <a:gd name="T102" fmla="*/ 10 w 46"/>
                  <a:gd name="T103" fmla="*/ 61 h 74"/>
                  <a:gd name="T104" fmla="*/ 10 w 46"/>
                  <a:gd name="T105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6" h="74">
                    <a:moveTo>
                      <a:pt x="23" y="0"/>
                    </a:moveTo>
                    <a:lnTo>
                      <a:pt x="17" y="4"/>
                    </a:lnTo>
                    <a:lnTo>
                      <a:pt x="11" y="6"/>
                    </a:lnTo>
                    <a:lnTo>
                      <a:pt x="7" y="20"/>
                    </a:lnTo>
                    <a:lnTo>
                      <a:pt x="3" y="22"/>
                    </a:lnTo>
                    <a:lnTo>
                      <a:pt x="3" y="30"/>
                    </a:lnTo>
                    <a:lnTo>
                      <a:pt x="0" y="38"/>
                    </a:lnTo>
                    <a:lnTo>
                      <a:pt x="5" y="42"/>
                    </a:lnTo>
                    <a:lnTo>
                      <a:pt x="8" y="47"/>
                    </a:lnTo>
                    <a:lnTo>
                      <a:pt x="10" y="44"/>
                    </a:lnTo>
                    <a:lnTo>
                      <a:pt x="14" y="49"/>
                    </a:lnTo>
                    <a:lnTo>
                      <a:pt x="15" y="43"/>
                    </a:lnTo>
                    <a:lnTo>
                      <a:pt x="14" y="36"/>
                    </a:lnTo>
                    <a:lnTo>
                      <a:pt x="11" y="32"/>
                    </a:lnTo>
                    <a:lnTo>
                      <a:pt x="15" y="30"/>
                    </a:lnTo>
                    <a:lnTo>
                      <a:pt x="21" y="20"/>
                    </a:lnTo>
                    <a:lnTo>
                      <a:pt x="30" y="27"/>
                    </a:lnTo>
                    <a:lnTo>
                      <a:pt x="32" y="29"/>
                    </a:lnTo>
                    <a:lnTo>
                      <a:pt x="41" y="32"/>
                    </a:lnTo>
                    <a:lnTo>
                      <a:pt x="40" y="39"/>
                    </a:lnTo>
                    <a:lnTo>
                      <a:pt x="45" y="38"/>
                    </a:lnTo>
                    <a:lnTo>
                      <a:pt x="46" y="30"/>
                    </a:lnTo>
                    <a:lnTo>
                      <a:pt x="40" y="22"/>
                    </a:lnTo>
                    <a:lnTo>
                      <a:pt x="36" y="18"/>
                    </a:lnTo>
                    <a:lnTo>
                      <a:pt x="28" y="12"/>
                    </a:lnTo>
                    <a:lnTo>
                      <a:pt x="32" y="8"/>
                    </a:lnTo>
                    <a:lnTo>
                      <a:pt x="30" y="1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  <a:moveTo>
                      <a:pt x="24" y="31"/>
                    </a:moveTo>
                    <a:lnTo>
                      <a:pt x="21" y="35"/>
                    </a:lnTo>
                    <a:lnTo>
                      <a:pt x="22" y="41"/>
                    </a:lnTo>
                    <a:lnTo>
                      <a:pt x="20" y="44"/>
                    </a:lnTo>
                    <a:lnTo>
                      <a:pt x="20" y="48"/>
                    </a:lnTo>
                    <a:lnTo>
                      <a:pt x="24" y="52"/>
                    </a:lnTo>
                    <a:lnTo>
                      <a:pt x="29" y="56"/>
                    </a:lnTo>
                    <a:lnTo>
                      <a:pt x="33" y="59"/>
                    </a:lnTo>
                    <a:lnTo>
                      <a:pt x="34" y="55"/>
                    </a:lnTo>
                    <a:lnTo>
                      <a:pt x="31" y="51"/>
                    </a:lnTo>
                    <a:lnTo>
                      <a:pt x="29" y="47"/>
                    </a:lnTo>
                    <a:lnTo>
                      <a:pt x="30" y="40"/>
                    </a:lnTo>
                    <a:lnTo>
                      <a:pt x="24" y="31"/>
                    </a:lnTo>
                    <a:lnTo>
                      <a:pt x="24" y="31"/>
                    </a:lnTo>
                    <a:close/>
                    <a:moveTo>
                      <a:pt x="10" y="61"/>
                    </a:moveTo>
                    <a:lnTo>
                      <a:pt x="7" y="62"/>
                    </a:lnTo>
                    <a:lnTo>
                      <a:pt x="6" y="69"/>
                    </a:lnTo>
                    <a:lnTo>
                      <a:pt x="10" y="70"/>
                    </a:lnTo>
                    <a:lnTo>
                      <a:pt x="11" y="73"/>
                    </a:lnTo>
                    <a:lnTo>
                      <a:pt x="15" y="74"/>
                    </a:lnTo>
                    <a:lnTo>
                      <a:pt x="15" y="68"/>
                    </a:lnTo>
                    <a:lnTo>
                      <a:pt x="11" y="61"/>
                    </a:lnTo>
                    <a:lnTo>
                      <a:pt x="10" y="61"/>
                    </a:lnTo>
                    <a:lnTo>
                      <a:pt x="10" y="61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0" name="Freeform 31">
                <a:extLst>
                  <a:ext uri="{FF2B5EF4-FFF2-40B4-BE49-F238E27FC236}">
                    <a16:creationId xmlns:a16="http://schemas.microsoft.com/office/drawing/2014/main" id="{86AAFDF4-C18C-2FC2-4A76-2EA0CFAAA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9650" y="3849560"/>
                <a:ext cx="321413" cy="212767"/>
              </a:xfrm>
              <a:custGeom>
                <a:avLst/>
                <a:gdLst>
                  <a:gd name="T0" fmla="*/ 121 w 142"/>
                  <a:gd name="T1" fmla="*/ 82 h 94"/>
                  <a:gd name="T2" fmla="*/ 124 w 142"/>
                  <a:gd name="T3" fmla="*/ 74 h 94"/>
                  <a:gd name="T4" fmla="*/ 128 w 142"/>
                  <a:gd name="T5" fmla="*/ 72 h 94"/>
                  <a:gd name="T6" fmla="*/ 127 w 142"/>
                  <a:gd name="T7" fmla="*/ 65 h 94"/>
                  <a:gd name="T8" fmla="*/ 129 w 142"/>
                  <a:gd name="T9" fmla="*/ 56 h 94"/>
                  <a:gd name="T10" fmla="*/ 133 w 142"/>
                  <a:gd name="T11" fmla="*/ 53 h 94"/>
                  <a:gd name="T12" fmla="*/ 138 w 142"/>
                  <a:gd name="T13" fmla="*/ 47 h 94"/>
                  <a:gd name="T14" fmla="*/ 139 w 142"/>
                  <a:gd name="T15" fmla="*/ 41 h 94"/>
                  <a:gd name="T16" fmla="*/ 142 w 142"/>
                  <a:gd name="T17" fmla="*/ 36 h 94"/>
                  <a:gd name="T18" fmla="*/ 139 w 142"/>
                  <a:gd name="T19" fmla="*/ 29 h 94"/>
                  <a:gd name="T20" fmla="*/ 130 w 142"/>
                  <a:gd name="T21" fmla="*/ 24 h 94"/>
                  <a:gd name="T22" fmla="*/ 122 w 142"/>
                  <a:gd name="T23" fmla="*/ 22 h 94"/>
                  <a:gd name="T24" fmla="*/ 111 w 142"/>
                  <a:gd name="T25" fmla="*/ 14 h 94"/>
                  <a:gd name="T26" fmla="*/ 111 w 142"/>
                  <a:gd name="T27" fmla="*/ 7 h 94"/>
                  <a:gd name="T28" fmla="*/ 104 w 142"/>
                  <a:gd name="T29" fmla="*/ 4 h 94"/>
                  <a:gd name="T30" fmla="*/ 94 w 142"/>
                  <a:gd name="T31" fmla="*/ 2 h 94"/>
                  <a:gd name="T32" fmla="*/ 92 w 142"/>
                  <a:gd name="T33" fmla="*/ 0 h 94"/>
                  <a:gd name="T34" fmla="*/ 84 w 142"/>
                  <a:gd name="T35" fmla="*/ 0 h 94"/>
                  <a:gd name="T36" fmla="*/ 80 w 142"/>
                  <a:gd name="T37" fmla="*/ 4 h 94"/>
                  <a:gd name="T38" fmla="*/ 72 w 142"/>
                  <a:gd name="T39" fmla="*/ 2 h 94"/>
                  <a:gd name="T40" fmla="*/ 65 w 142"/>
                  <a:gd name="T41" fmla="*/ 3 h 94"/>
                  <a:gd name="T42" fmla="*/ 56 w 142"/>
                  <a:gd name="T43" fmla="*/ 17 h 94"/>
                  <a:gd name="T44" fmla="*/ 52 w 142"/>
                  <a:gd name="T45" fmla="*/ 22 h 94"/>
                  <a:gd name="T46" fmla="*/ 34 w 142"/>
                  <a:gd name="T47" fmla="*/ 38 h 94"/>
                  <a:gd name="T48" fmla="*/ 22 w 142"/>
                  <a:gd name="T49" fmla="*/ 38 h 94"/>
                  <a:gd name="T50" fmla="*/ 13 w 142"/>
                  <a:gd name="T51" fmla="*/ 48 h 94"/>
                  <a:gd name="T52" fmla="*/ 0 w 142"/>
                  <a:gd name="T53" fmla="*/ 50 h 94"/>
                  <a:gd name="T54" fmla="*/ 10 w 142"/>
                  <a:gd name="T55" fmla="*/ 67 h 94"/>
                  <a:gd name="T56" fmla="*/ 18 w 142"/>
                  <a:gd name="T57" fmla="*/ 70 h 94"/>
                  <a:gd name="T58" fmla="*/ 35 w 142"/>
                  <a:gd name="T59" fmla="*/ 74 h 94"/>
                  <a:gd name="T60" fmla="*/ 68 w 142"/>
                  <a:gd name="T61" fmla="*/ 74 h 94"/>
                  <a:gd name="T62" fmla="*/ 76 w 142"/>
                  <a:gd name="T63" fmla="*/ 78 h 94"/>
                  <a:gd name="T64" fmla="*/ 79 w 142"/>
                  <a:gd name="T65" fmla="*/ 87 h 94"/>
                  <a:gd name="T66" fmla="*/ 79 w 142"/>
                  <a:gd name="T67" fmla="*/ 87 h 94"/>
                  <a:gd name="T68" fmla="*/ 84 w 142"/>
                  <a:gd name="T69" fmla="*/ 86 h 94"/>
                  <a:gd name="T70" fmla="*/ 87 w 142"/>
                  <a:gd name="T71" fmla="*/ 90 h 94"/>
                  <a:gd name="T72" fmla="*/ 94 w 142"/>
                  <a:gd name="T73" fmla="*/ 89 h 94"/>
                  <a:gd name="T74" fmla="*/ 100 w 142"/>
                  <a:gd name="T75" fmla="*/ 86 h 94"/>
                  <a:gd name="T76" fmla="*/ 103 w 142"/>
                  <a:gd name="T77" fmla="*/ 86 h 94"/>
                  <a:gd name="T78" fmla="*/ 108 w 142"/>
                  <a:gd name="T79" fmla="*/ 93 h 94"/>
                  <a:gd name="T80" fmla="*/ 111 w 142"/>
                  <a:gd name="T81" fmla="*/ 94 h 94"/>
                  <a:gd name="T82" fmla="*/ 112 w 142"/>
                  <a:gd name="T83" fmla="*/ 90 h 94"/>
                  <a:gd name="T84" fmla="*/ 118 w 142"/>
                  <a:gd name="T85" fmla="*/ 84 h 94"/>
                  <a:gd name="T86" fmla="*/ 121 w 142"/>
                  <a:gd name="T87" fmla="*/ 82 h 94"/>
                  <a:gd name="T88" fmla="*/ 121 w 142"/>
                  <a:gd name="T89" fmla="*/ 82 h 94"/>
                  <a:gd name="T90" fmla="*/ 121 w 142"/>
                  <a:gd name="T91" fmla="*/ 8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2" h="94">
                    <a:moveTo>
                      <a:pt x="121" y="82"/>
                    </a:moveTo>
                    <a:lnTo>
                      <a:pt x="124" y="74"/>
                    </a:lnTo>
                    <a:lnTo>
                      <a:pt x="128" y="72"/>
                    </a:lnTo>
                    <a:lnTo>
                      <a:pt x="127" y="65"/>
                    </a:lnTo>
                    <a:lnTo>
                      <a:pt x="129" y="56"/>
                    </a:lnTo>
                    <a:lnTo>
                      <a:pt x="133" y="53"/>
                    </a:lnTo>
                    <a:lnTo>
                      <a:pt x="138" y="47"/>
                    </a:lnTo>
                    <a:lnTo>
                      <a:pt x="139" y="41"/>
                    </a:lnTo>
                    <a:lnTo>
                      <a:pt x="142" y="36"/>
                    </a:lnTo>
                    <a:lnTo>
                      <a:pt x="139" y="29"/>
                    </a:lnTo>
                    <a:lnTo>
                      <a:pt x="130" y="24"/>
                    </a:lnTo>
                    <a:lnTo>
                      <a:pt x="122" y="22"/>
                    </a:lnTo>
                    <a:lnTo>
                      <a:pt x="111" y="14"/>
                    </a:lnTo>
                    <a:lnTo>
                      <a:pt x="111" y="7"/>
                    </a:lnTo>
                    <a:lnTo>
                      <a:pt x="104" y="4"/>
                    </a:lnTo>
                    <a:lnTo>
                      <a:pt x="94" y="2"/>
                    </a:lnTo>
                    <a:lnTo>
                      <a:pt x="92" y="0"/>
                    </a:lnTo>
                    <a:lnTo>
                      <a:pt x="84" y="0"/>
                    </a:lnTo>
                    <a:lnTo>
                      <a:pt x="80" y="4"/>
                    </a:lnTo>
                    <a:lnTo>
                      <a:pt x="72" y="2"/>
                    </a:lnTo>
                    <a:lnTo>
                      <a:pt x="65" y="3"/>
                    </a:lnTo>
                    <a:lnTo>
                      <a:pt x="56" y="17"/>
                    </a:lnTo>
                    <a:lnTo>
                      <a:pt x="52" y="22"/>
                    </a:lnTo>
                    <a:lnTo>
                      <a:pt x="34" y="38"/>
                    </a:lnTo>
                    <a:lnTo>
                      <a:pt x="22" y="38"/>
                    </a:lnTo>
                    <a:lnTo>
                      <a:pt x="13" y="48"/>
                    </a:lnTo>
                    <a:lnTo>
                      <a:pt x="0" y="50"/>
                    </a:lnTo>
                    <a:lnTo>
                      <a:pt x="10" y="67"/>
                    </a:lnTo>
                    <a:lnTo>
                      <a:pt x="18" y="70"/>
                    </a:lnTo>
                    <a:lnTo>
                      <a:pt x="35" y="74"/>
                    </a:lnTo>
                    <a:lnTo>
                      <a:pt x="68" y="74"/>
                    </a:lnTo>
                    <a:lnTo>
                      <a:pt x="76" y="78"/>
                    </a:lnTo>
                    <a:lnTo>
                      <a:pt x="79" y="87"/>
                    </a:lnTo>
                    <a:lnTo>
                      <a:pt x="79" y="87"/>
                    </a:lnTo>
                    <a:lnTo>
                      <a:pt x="84" y="86"/>
                    </a:lnTo>
                    <a:lnTo>
                      <a:pt x="87" y="90"/>
                    </a:lnTo>
                    <a:lnTo>
                      <a:pt x="94" y="89"/>
                    </a:lnTo>
                    <a:lnTo>
                      <a:pt x="100" y="86"/>
                    </a:lnTo>
                    <a:lnTo>
                      <a:pt x="103" y="86"/>
                    </a:lnTo>
                    <a:lnTo>
                      <a:pt x="108" y="93"/>
                    </a:lnTo>
                    <a:lnTo>
                      <a:pt x="111" y="94"/>
                    </a:lnTo>
                    <a:lnTo>
                      <a:pt x="112" y="90"/>
                    </a:lnTo>
                    <a:lnTo>
                      <a:pt x="118" y="84"/>
                    </a:lnTo>
                    <a:lnTo>
                      <a:pt x="121" y="82"/>
                    </a:lnTo>
                    <a:lnTo>
                      <a:pt x="121" y="82"/>
                    </a:lnTo>
                    <a:lnTo>
                      <a:pt x="121" y="82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1" name="Freeform 32">
                <a:extLst>
                  <a:ext uri="{FF2B5EF4-FFF2-40B4-BE49-F238E27FC236}">
                    <a16:creationId xmlns:a16="http://schemas.microsoft.com/office/drawing/2014/main" id="{344AC764-1B01-CF52-9CA1-009B23357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530" y="3931045"/>
                <a:ext cx="122228" cy="147127"/>
              </a:xfrm>
              <a:custGeom>
                <a:avLst/>
                <a:gdLst>
                  <a:gd name="T0" fmla="*/ 47 w 54"/>
                  <a:gd name="T1" fmla="*/ 46 h 65"/>
                  <a:gd name="T2" fmla="*/ 51 w 54"/>
                  <a:gd name="T3" fmla="*/ 38 h 65"/>
                  <a:gd name="T4" fmla="*/ 51 w 54"/>
                  <a:gd name="T5" fmla="*/ 32 h 65"/>
                  <a:gd name="T6" fmla="*/ 54 w 54"/>
                  <a:gd name="T7" fmla="*/ 20 h 65"/>
                  <a:gd name="T8" fmla="*/ 54 w 54"/>
                  <a:gd name="T9" fmla="*/ 17 h 65"/>
                  <a:gd name="T10" fmla="*/ 54 w 54"/>
                  <a:gd name="T11" fmla="*/ 8 h 65"/>
                  <a:gd name="T12" fmla="*/ 50 w 54"/>
                  <a:gd name="T13" fmla="*/ 4 h 65"/>
                  <a:gd name="T14" fmla="*/ 45 w 54"/>
                  <a:gd name="T15" fmla="*/ 2 h 65"/>
                  <a:gd name="T16" fmla="*/ 42 w 54"/>
                  <a:gd name="T17" fmla="*/ 2 h 65"/>
                  <a:gd name="T18" fmla="*/ 30 w 54"/>
                  <a:gd name="T19" fmla="*/ 0 h 65"/>
                  <a:gd name="T20" fmla="*/ 26 w 54"/>
                  <a:gd name="T21" fmla="*/ 5 h 65"/>
                  <a:gd name="T22" fmla="*/ 17 w 54"/>
                  <a:gd name="T23" fmla="*/ 11 h 65"/>
                  <a:gd name="T24" fmla="*/ 12 w 54"/>
                  <a:gd name="T25" fmla="*/ 17 h 65"/>
                  <a:gd name="T26" fmla="*/ 8 w 54"/>
                  <a:gd name="T27" fmla="*/ 20 h 65"/>
                  <a:gd name="T28" fmla="*/ 6 w 54"/>
                  <a:gd name="T29" fmla="*/ 29 h 65"/>
                  <a:gd name="T30" fmla="*/ 7 w 54"/>
                  <a:gd name="T31" fmla="*/ 36 h 65"/>
                  <a:gd name="T32" fmla="*/ 3 w 54"/>
                  <a:gd name="T33" fmla="*/ 38 h 65"/>
                  <a:gd name="T34" fmla="*/ 0 w 54"/>
                  <a:gd name="T35" fmla="*/ 46 h 65"/>
                  <a:gd name="T36" fmla="*/ 4 w 54"/>
                  <a:gd name="T37" fmla="*/ 54 h 65"/>
                  <a:gd name="T38" fmla="*/ 9 w 54"/>
                  <a:gd name="T39" fmla="*/ 53 h 65"/>
                  <a:gd name="T40" fmla="*/ 13 w 54"/>
                  <a:gd name="T41" fmla="*/ 57 h 65"/>
                  <a:gd name="T42" fmla="*/ 11 w 54"/>
                  <a:gd name="T43" fmla="*/ 62 h 65"/>
                  <a:gd name="T44" fmla="*/ 26 w 54"/>
                  <a:gd name="T45" fmla="*/ 63 h 65"/>
                  <a:gd name="T46" fmla="*/ 38 w 54"/>
                  <a:gd name="T47" fmla="*/ 65 h 65"/>
                  <a:gd name="T48" fmla="*/ 43 w 54"/>
                  <a:gd name="T49" fmla="*/ 58 h 65"/>
                  <a:gd name="T50" fmla="*/ 44 w 54"/>
                  <a:gd name="T51" fmla="*/ 46 h 65"/>
                  <a:gd name="T52" fmla="*/ 47 w 54"/>
                  <a:gd name="T53" fmla="*/ 46 h 65"/>
                  <a:gd name="T54" fmla="*/ 47 w 54"/>
                  <a:gd name="T55" fmla="*/ 4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4" h="65">
                    <a:moveTo>
                      <a:pt x="47" y="46"/>
                    </a:moveTo>
                    <a:lnTo>
                      <a:pt x="51" y="38"/>
                    </a:lnTo>
                    <a:lnTo>
                      <a:pt x="51" y="32"/>
                    </a:lnTo>
                    <a:lnTo>
                      <a:pt x="54" y="20"/>
                    </a:lnTo>
                    <a:lnTo>
                      <a:pt x="54" y="17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0" y="0"/>
                    </a:lnTo>
                    <a:lnTo>
                      <a:pt x="26" y="5"/>
                    </a:lnTo>
                    <a:lnTo>
                      <a:pt x="17" y="11"/>
                    </a:lnTo>
                    <a:lnTo>
                      <a:pt x="12" y="17"/>
                    </a:lnTo>
                    <a:lnTo>
                      <a:pt x="8" y="20"/>
                    </a:lnTo>
                    <a:lnTo>
                      <a:pt x="6" y="29"/>
                    </a:lnTo>
                    <a:lnTo>
                      <a:pt x="7" y="36"/>
                    </a:lnTo>
                    <a:lnTo>
                      <a:pt x="3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9" y="53"/>
                    </a:lnTo>
                    <a:lnTo>
                      <a:pt x="13" y="57"/>
                    </a:lnTo>
                    <a:lnTo>
                      <a:pt x="11" y="62"/>
                    </a:lnTo>
                    <a:lnTo>
                      <a:pt x="26" y="63"/>
                    </a:lnTo>
                    <a:lnTo>
                      <a:pt x="38" y="65"/>
                    </a:lnTo>
                    <a:lnTo>
                      <a:pt x="43" y="58"/>
                    </a:lnTo>
                    <a:lnTo>
                      <a:pt x="44" y="46"/>
                    </a:lnTo>
                    <a:lnTo>
                      <a:pt x="47" y="46"/>
                    </a:lnTo>
                    <a:lnTo>
                      <a:pt x="47" y="46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2" name="Freeform 33">
                <a:extLst>
                  <a:ext uri="{FF2B5EF4-FFF2-40B4-BE49-F238E27FC236}">
                    <a16:creationId xmlns:a16="http://schemas.microsoft.com/office/drawing/2014/main" id="{8FF8CB4C-A612-1597-E573-5491C5F58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58595" y="3815609"/>
                <a:ext cx="251245" cy="434587"/>
              </a:xfrm>
              <a:custGeom>
                <a:avLst/>
                <a:gdLst>
                  <a:gd name="T0" fmla="*/ 24 w 111"/>
                  <a:gd name="T1" fmla="*/ 4 h 192"/>
                  <a:gd name="T2" fmla="*/ 29 w 111"/>
                  <a:gd name="T3" fmla="*/ 20 h 192"/>
                  <a:gd name="T4" fmla="*/ 19 w 111"/>
                  <a:gd name="T5" fmla="*/ 33 h 192"/>
                  <a:gd name="T6" fmla="*/ 2 w 111"/>
                  <a:gd name="T7" fmla="*/ 46 h 192"/>
                  <a:gd name="T8" fmla="*/ 3 w 111"/>
                  <a:gd name="T9" fmla="*/ 53 h 192"/>
                  <a:gd name="T10" fmla="*/ 12 w 111"/>
                  <a:gd name="T11" fmla="*/ 59 h 192"/>
                  <a:gd name="T12" fmla="*/ 12 w 111"/>
                  <a:gd name="T13" fmla="*/ 71 h 192"/>
                  <a:gd name="T14" fmla="*/ 9 w 111"/>
                  <a:gd name="T15" fmla="*/ 89 h 192"/>
                  <a:gd name="T16" fmla="*/ 10 w 111"/>
                  <a:gd name="T17" fmla="*/ 103 h 192"/>
                  <a:gd name="T18" fmla="*/ 4 w 111"/>
                  <a:gd name="T19" fmla="*/ 117 h 192"/>
                  <a:gd name="T20" fmla="*/ 10 w 111"/>
                  <a:gd name="T21" fmla="*/ 125 h 192"/>
                  <a:gd name="T22" fmla="*/ 18 w 111"/>
                  <a:gd name="T23" fmla="*/ 129 h 192"/>
                  <a:gd name="T24" fmla="*/ 15 w 111"/>
                  <a:gd name="T25" fmla="*/ 134 h 192"/>
                  <a:gd name="T26" fmla="*/ 18 w 111"/>
                  <a:gd name="T27" fmla="*/ 144 h 192"/>
                  <a:gd name="T28" fmla="*/ 16 w 111"/>
                  <a:gd name="T29" fmla="*/ 154 h 192"/>
                  <a:gd name="T30" fmla="*/ 22 w 111"/>
                  <a:gd name="T31" fmla="*/ 164 h 192"/>
                  <a:gd name="T32" fmla="*/ 30 w 111"/>
                  <a:gd name="T33" fmla="*/ 171 h 192"/>
                  <a:gd name="T34" fmla="*/ 28 w 111"/>
                  <a:gd name="T35" fmla="*/ 182 h 192"/>
                  <a:gd name="T36" fmla="*/ 38 w 111"/>
                  <a:gd name="T37" fmla="*/ 182 h 192"/>
                  <a:gd name="T38" fmla="*/ 59 w 111"/>
                  <a:gd name="T39" fmla="*/ 166 h 192"/>
                  <a:gd name="T40" fmla="*/ 82 w 111"/>
                  <a:gd name="T41" fmla="*/ 161 h 192"/>
                  <a:gd name="T42" fmla="*/ 87 w 111"/>
                  <a:gd name="T43" fmla="*/ 147 h 192"/>
                  <a:gd name="T44" fmla="*/ 91 w 111"/>
                  <a:gd name="T45" fmla="*/ 137 h 192"/>
                  <a:gd name="T46" fmla="*/ 100 w 111"/>
                  <a:gd name="T47" fmla="*/ 113 h 192"/>
                  <a:gd name="T48" fmla="*/ 103 w 111"/>
                  <a:gd name="T49" fmla="*/ 105 h 192"/>
                  <a:gd name="T50" fmla="*/ 111 w 111"/>
                  <a:gd name="T51" fmla="*/ 94 h 192"/>
                  <a:gd name="T52" fmla="*/ 101 w 111"/>
                  <a:gd name="T53" fmla="*/ 78 h 192"/>
                  <a:gd name="T54" fmla="*/ 85 w 111"/>
                  <a:gd name="T55" fmla="*/ 65 h 192"/>
                  <a:gd name="T56" fmla="*/ 80 w 111"/>
                  <a:gd name="T57" fmla="*/ 49 h 192"/>
                  <a:gd name="T58" fmla="*/ 83 w 111"/>
                  <a:gd name="T59" fmla="*/ 39 h 192"/>
                  <a:gd name="T60" fmla="*/ 70 w 111"/>
                  <a:gd name="T61" fmla="*/ 27 h 192"/>
                  <a:gd name="T62" fmla="*/ 66 w 111"/>
                  <a:gd name="T63" fmla="*/ 14 h 192"/>
                  <a:gd name="T64" fmla="*/ 54 w 111"/>
                  <a:gd name="T65" fmla="*/ 3 h 192"/>
                  <a:gd name="T66" fmla="*/ 32 w 111"/>
                  <a:gd name="T67" fmla="*/ 0 h 192"/>
                  <a:gd name="T68" fmla="*/ 27 w 111"/>
                  <a:gd name="T69" fmla="*/ 0 h 192"/>
                  <a:gd name="T70" fmla="*/ 3 w 111"/>
                  <a:gd name="T71" fmla="*/ 172 h 192"/>
                  <a:gd name="T72" fmla="*/ 2 w 111"/>
                  <a:gd name="T73" fmla="*/ 186 h 192"/>
                  <a:gd name="T74" fmla="*/ 7 w 111"/>
                  <a:gd name="T75" fmla="*/ 190 h 192"/>
                  <a:gd name="T76" fmla="*/ 4 w 111"/>
                  <a:gd name="T77" fmla="*/ 169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1" h="192">
                    <a:moveTo>
                      <a:pt x="27" y="0"/>
                    </a:moveTo>
                    <a:lnTo>
                      <a:pt x="24" y="4"/>
                    </a:lnTo>
                    <a:lnTo>
                      <a:pt x="24" y="15"/>
                    </a:lnTo>
                    <a:lnTo>
                      <a:pt x="29" y="20"/>
                    </a:lnTo>
                    <a:lnTo>
                      <a:pt x="29" y="28"/>
                    </a:lnTo>
                    <a:lnTo>
                      <a:pt x="19" y="33"/>
                    </a:lnTo>
                    <a:lnTo>
                      <a:pt x="12" y="40"/>
                    </a:lnTo>
                    <a:lnTo>
                      <a:pt x="2" y="46"/>
                    </a:lnTo>
                    <a:lnTo>
                      <a:pt x="0" y="53"/>
                    </a:lnTo>
                    <a:lnTo>
                      <a:pt x="3" y="53"/>
                    </a:lnTo>
                    <a:lnTo>
                      <a:pt x="8" y="55"/>
                    </a:lnTo>
                    <a:lnTo>
                      <a:pt x="12" y="59"/>
                    </a:lnTo>
                    <a:lnTo>
                      <a:pt x="12" y="68"/>
                    </a:lnTo>
                    <a:lnTo>
                      <a:pt x="12" y="71"/>
                    </a:lnTo>
                    <a:lnTo>
                      <a:pt x="9" y="83"/>
                    </a:lnTo>
                    <a:lnTo>
                      <a:pt x="9" y="89"/>
                    </a:lnTo>
                    <a:lnTo>
                      <a:pt x="5" y="97"/>
                    </a:lnTo>
                    <a:lnTo>
                      <a:pt x="10" y="103"/>
                    </a:lnTo>
                    <a:lnTo>
                      <a:pt x="10" y="112"/>
                    </a:lnTo>
                    <a:lnTo>
                      <a:pt x="4" y="117"/>
                    </a:lnTo>
                    <a:lnTo>
                      <a:pt x="3" y="125"/>
                    </a:lnTo>
                    <a:lnTo>
                      <a:pt x="10" y="125"/>
                    </a:lnTo>
                    <a:lnTo>
                      <a:pt x="18" y="122"/>
                    </a:lnTo>
                    <a:lnTo>
                      <a:pt x="18" y="129"/>
                    </a:lnTo>
                    <a:lnTo>
                      <a:pt x="15" y="134"/>
                    </a:lnTo>
                    <a:lnTo>
                      <a:pt x="15" y="134"/>
                    </a:lnTo>
                    <a:lnTo>
                      <a:pt x="15" y="134"/>
                    </a:lnTo>
                    <a:lnTo>
                      <a:pt x="18" y="144"/>
                    </a:lnTo>
                    <a:lnTo>
                      <a:pt x="18" y="149"/>
                    </a:lnTo>
                    <a:lnTo>
                      <a:pt x="16" y="154"/>
                    </a:lnTo>
                    <a:lnTo>
                      <a:pt x="17" y="161"/>
                    </a:lnTo>
                    <a:lnTo>
                      <a:pt x="22" y="164"/>
                    </a:lnTo>
                    <a:lnTo>
                      <a:pt x="23" y="170"/>
                    </a:lnTo>
                    <a:lnTo>
                      <a:pt x="30" y="171"/>
                    </a:lnTo>
                    <a:lnTo>
                      <a:pt x="32" y="178"/>
                    </a:lnTo>
                    <a:lnTo>
                      <a:pt x="28" y="182"/>
                    </a:lnTo>
                    <a:lnTo>
                      <a:pt x="36" y="188"/>
                    </a:lnTo>
                    <a:lnTo>
                      <a:pt x="38" y="182"/>
                    </a:lnTo>
                    <a:lnTo>
                      <a:pt x="48" y="181"/>
                    </a:lnTo>
                    <a:lnTo>
                      <a:pt x="59" y="166"/>
                    </a:lnTo>
                    <a:lnTo>
                      <a:pt x="72" y="164"/>
                    </a:lnTo>
                    <a:lnTo>
                      <a:pt x="82" y="161"/>
                    </a:lnTo>
                    <a:lnTo>
                      <a:pt x="89" y="155"/>
                    </a:lnTo>
                    <a:lnTo>
                      <a:pt x="87" y="147"/>
                    </a:lnTo>
                    <a:lnTo>
                      <a:pt x="92" y="141"/>
                    </a:lnTo>
                    <a:lnTo>
                      <a:pt x="91" y="137"/>
                    </a:lnTo>
                    <a:lnTo>
                      <a:pt x="92" y="122"/>
                    </a:lnTo>
                    <a:lnTo>
                      <a:pt x="100" y="113"/>
                    </a:lnTo>
                    <a:lnTo>
                      <a:pt x="99" y="110"/>
                    </a:lnTo>
                    <a:lnTo>
                      <a:pt x="103" y="105"/>
                    </a:lnTo>
                    <a:lnTo>
                      <a:pt x="109" y="101"/>
                    </a:lnTo>
                    <a:lnTo>
                      <a:pt x="111" y="94"/>
                    </a:lnTo>
                    <a:lnTo>
                      <a:pt x="107" y="85"/>
                    </a:lnTo>
                    <a:lnTo>
                      <a:pt x="101" y="78"/>
                    </a:lnTo>
                    <a:lnTo>
                      <a:pt x="92" y="79"/>
                    </a:lnTo>
                    <a:lnTo>
                      <a:pt x="85" y="65"/>
                    </a:lnTo>
                    <a:lnTo>
                      <a:pt x="85" y="53"/>
                    </a:lnTo>
                    <a:lnTo>
                      <a:pt x="80" y="49"/>
                    </a:lnTo>
                    <a:lnTo>
                      <a:pt x="79" y="44"/>
                    </a:lnTo>
                    <a:lnTo>
                      <a:pt x="83" y="39"/>
                    </a:lnTo>
                    <a:lnTo>
                      <a:pt x="72" y="32"/>
                    </a:lnTo>
                    <a:lnTo>
                      <a:pt x="70" y="27"/>
                    </a:lnTo>
                    <a:lnTo>
                      <a:pt x="70" y="23"/>
                    </a:lnTo>
                    <a:lnTo>
                      <a:pt x="66" y="14"/>
                    </a:lnTo>
                    <a:lnTo>
                      <a:pt x="62" y="13"/>
                    </a:lnTo>
                    <a:lnTo>
                      <a:pt x="54" y="3"/>
                    </a:lnTo>
                    <a:lnTo>
                      <a:pt x="34" y="3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  <a:moveTo>
                      <a:pt x="4" y="169"/>
                    </a:moveTo>
                    <a:lnTo>
                      <a:pt x="3" y="172"/>
                    </a:lnTo>
                    <a:lnTo>
                      <a:pt x="6" y="181"/>
                    </a:lnTo>
                    <a:lnTo>
                      <a:pt x="2" y="186"/>
                    </a:lnTo>
                    <a:lnTo>
                      <a:pt x="3" y="192"/>
                    </a:lnTo>
                    <a:lnTo>
                      <a:pt x="7" y="190"/>
                    </a:lnTo>
                    <a:lnTo>
                      <a:pt x="11" y="176"/>
                    </a:lnTo>
                    <a:lnTo>
                      <a:pt x="4" y="169"/>
                    </a:lnTo>
                    <a:lnTo>
                      <a:pt x="4" y="169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3" name="Freeform 34">
                <a:extLst>
                  <a:ext uri="{FF2B5EF4-FFF2-40B4-BE49-F238E27FC236}">
                    <a16:creationId xmlns:a16="http://schemas.microsoft.com/office/drawing/2014/main" id="{6D8A9F6C-A524-EA8D-DB3C-D2B317120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333" y="4118914"/>
                <a:ext cx="54323" cy="95066"/>
              </a:xfrm>
              <a:custGeom>
                <a:avLst/>
                <a:gdLst>
                  <a:gd name="T0" fmla="*/ 16 w 24"/>
                  <a:gd name="T1" fmla="*/ 0 h 42"/>
                  <a:gd name="T2" fmla="*/ 8 w 24"/>
                  <a:gd name="T3" fmla="*/ 3 h 42"/>
                  <a:gd name="T4" fmla="*/ 7 w 24"/>
                  <a:gd name="T5" fmla="*/ 8 h 42"/>
                  <a:gd name="T6" fmla="*/ 9 w 24"/>
                  <a:gd name="T7" fmla="*/ 13 h 42"/>
                  <a:gd name="T8" fmla="*/ 6 w 24"/>
                  <a:gd name="T9" fmla="*/ 23 h 42"/>
                  <a:gd name="T10" fmla="*/ 0 w 24"/>
                  <a:gd name="T11" fmla="*/ 27 h 42"/>
                  <a:gd name="T12" fmla="*/ 6 w 24"/>
                  <a:gd name="T13" fmla="*/ 31 h 42"/>
                  <a:gd name="T14" fmla="*/ 5 w 24"/>
                  <a:gd name="T15" fmla="*/ 35 h 42"/>
                  <a:gd name="T16" fmla="*/ 12 w 24"/>
                  <a:gd name="T17" fmla="*/ 42 h 42"/>
                  <a:gd name="T18" fmla="*/ 18 w 24"/>
                  <a:gd name="T19" fmla="*/ 40 h 42"/>
                  <a:gd name="T20" fmla="*/ 24 w 24"/>
                  <a:gd name="T21" fmla="*/ 36 h 42"/>
                  <a:gd name="T22" fmla="*/ 23 w 24"/>
                  <a:gd name="T23" fmla="*/ 30 h 42"/>
                  <a:gd name="T24" fmla="*/ 18 w 24"/>
                  <a:gd name="T25" fmla="*/ 27 h 42"/>
                  <a:gd name="T26" fmla="*/ 17 w 24"/>
                  <a:gd name="T27" fmla="*/ 20 h 42"/>
                  <a:gd name="T28" fmla="*/ 19 w 24"/>
                  <a:gd name="T29" fmla="*/ 15 h 42"/>
                  <a:gd name="T30" fmla="*/ 19 w 24"/>
                  <a:gd name="T31" fmla="*/ 10 h 42"/>
                  <a:gd name="T32" fmla="*/ 16 w 24"/>
                  <a:gd name="T33" fmla="*/ 0 h 42"/>
                  <a:gd name="T34" fmla="*/ 16 w 24"/>
                  <a:gd name="T35" fmla="*/ 0 h 42"/>
                  <a:gd name="T36" fmla="*/ 16 w 24"/>
                  <a:gd name="T3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42">
                    <a:moveTo>
                      <a:pt x="16" y="0"/>
                    </a:moveTo>
                    <a:lnTo>
                      <a:pt x="8" y="3"/>
                    </a:lnTo>
                    <a:lnTo>
                      <a:pt x="7" y="8"/>
                    </a:lnTo>
                    <a:lnTo>
                      <a:pt x="9" y="13"/>
                    </a:lnTo>
                    <a:lnTo>
                      <a:pt x="6" y="23"/>
                    </a:lnTo>
                    <a:lnTo>
                      <a:pt x="0" y="27"/>
                    </a:lnTo>
                    <a:lnTo>
                      <a:pt x="6" y="31"/>
                    </a:lnTo>
                    <a:lnTo>
                      <a:pt x="5" y="35"/>
                    </a:lnTo>
                    <a:lnTo>
                      <a:pt x="12" y="42"/>
                    </a:lnTo>
                    <a:lnTo>
                      <a:pt x="18" y="40"/>
                    </a:lnTo>
                    <a:lnTo>
                      <a:pt x="24" y="36"/>
                    </a:lnTo>
                    <a:lnTo>
                      <a:pt x="23" y="30"/>
                    </a:lnTo>
                    <a:lnTo>
                      <a:pt x="18" y="27"/>
                    </a:lnTo>
                    <a:lnTo>
                      <a:pt x="17" y="20"/>
                    </a:lnTo>
                    <a:lnTo>
                      <a:pt x="19" y="15"/>
                    </a:lnTo>
                    <a:lnTo>
                      <a:pt x="19" y="1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4" name="Freeform 35">
                <a:extLst>
                  <a:ext uri="{FF2B5EF4-FFF2-40B4-BE49-F238E27FC236}">
                    <a16:creationId xmlns:a16="http://schemas.microsoft.com/office/drawing/2014/main" id="{C98BDBB6-118F-050F-91B7-65AEC6A249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9134" y="4236615"/>
                <a:ext cx="280671" cy="151653"/>
              </a:xfrm>
              <a:custGeom>
                <a:avLst/>
                <a:gdLst>
                  <a:gd name="T0" fmla="*/ 20 w 124"/>
                  <a:gd name="T1" fmla="*/ 11 h 67"/>
                  <a:gd name="T2" fmla="*/ 6 w 124"/>
                  <a:gd name="T3" fmla="*/ 14 h 67"/>
                  <a:gd name="T4" fmla="*/ 0 w 124"/>
                  <a:gd name="T5" fmla="*/ 23 h 67"/>
                  <a:gd name="T6" fmla="*/ 11 w 124"/>
                  <a:gd name="T7" fmla="*/ 30 h 67"/>
                  <a:gd name="T8" fmla="*/ 32 w 124"/>
                  <a:gd name="T9" fmla="*/ 36 h 67"/>
                  <a:gd name="T10" fmla="*/ 37 w 124"/>
                  <a:gd name="T11" fmla="*/ 23 h 67"/>
                  <a:gd name="T12" fmla="*/ 38 w 124"/>
                  <a:gd name="T13" fmla="*/ 13 h 67"/>
                  <a:gd name="T14" fmla="*/ 30 w 124"/>
                  <a:gd name="T15" fmla="*/ 7 h 67"/>
                  <a:gd name="T16" fmla="*/ 24 w 124"/>
                  <a:gd name="T17" fmla="*/ 0 h 67"/>
                  <a:gd name="T18" fmla="*/ 21 w 124"/>
                  <a:gd name="T19" fmla="*/ 0 h 67"/>
                  <a:gd name="T20" fmla="*/ 60 w 124"/>
                  <a:gd name="T21" fmla="*/ 29 h 67"/>
                  <a:gd name="T22" fmla="*/ 47 w 124"/>
                  <a:gd name="T23" fmla="*/ 25 h 67"/>
                  <a:gd name="T24" fmla="*/ 45 w 124"/>
                  <a:gd name="T25" fmla="*/ 27 h 67"/>
                  <a:gd name="T26" fmla="*/ 49 w 124"/>
                  <a:gd name="T27" fmla="*/ 38 h 67"/>
                  <a:gd name="T28" fmla="*/ 52 w 124"/>
                  <a:gd name="T29" fmla="*/ 50 h 67"/>
                  <a:gd name="T30" fmla="*/ 59 w 124"/>
                  <a:gd name="T31" fmla="*/ 54 h 67"/>
                  <a:gd name="T32" fmla="*/ 63 w 124"/>
                  <a:gd name="T33" fmla="*/ 52 h 67"/>
                  <a:gd name="T34" fmla="*/ 68 w 124"/>
                  <a:gd name="T35" fmla="*/ 47 h 67"/>
                  <a:gd name="T36" fmla="*/ 68 w 124"/>
                  <a:gd name="T37" fmla="*/ 36 h 67"/>
                  <a:gd name="T38" fmla="*/ 78 w 124"/>
                  <a:gd name="T39" fmla="*/ 33 h 67"/>
                  <a:gd name="T40" fmla="*/ 86 w 124"/>
                  <a:gd name="T41" fmla="*/ 32 h 67"/>
                  <a:gd name="T42" fmla="*/ 89 w 124"/>
                  <a:gd name="T43" fmla="*/ 43 h 67"/>
                  <a:gd name="T44" fmla="*/ 95 w 124"/>
                  <a:gd name="T45" fmla="*/ 50 h 67"/>
                  <a:gd name="T46" fmla="*/ 100 w 124"/>
                  <a:gd name="T47" fmla="*/ 57 h 67"/>
                  <a:gd name="T48" fmla="*/ 90 w 124"/>
                  <a:gd name="T49" fmla="*/ 56 h 67"/>
                  <a:gd name="T50" fmla="*/ 88 w 124"/>
                  <a:gd name="T51" fmla="*/ 65 h 67"/>
                  <a:gd name="T52" fmla="*/ 88 w 124"/>
                  <a:gd name="T53" fmla="*/ 65 h 67"/>
                  <a:gd name="T54" fmla="*/ 109 w 124"/>
                  <a:gd name="T55" fmla="*/ 56 h 67"/>
                  <a:gd name="T56" fmla="*/ 105 w 124"/>
                  <a:gd name="T57" fmla="*/ 50 h 67"/>
                  <a:gd name="T58" fmla="*/ 96 w 124"/>
                  <a:gd name="T59" fmla="*/ 35 h 67"/>
                  <a:gd name="T60" fmla="*/ 84 w 124"/>
                  <a:gd name="T61" fmla="*/ 26 h 67"/>
                  <a:gd name="T62" fmla="*/ 62 w 124"/>
                  <a:gd name="T63" fmla="*/ 21 h 67"/>
                  <a:gd name="T64" fmla="*/ 124 w 124"/>
                  <a:gd name="T65" fmla="*/ 56 h 67"/>
                  <a:gd name="T66" fmla="*/ 109 w 124"/>
                  <a:gd name="T67" fmla="*/ 63 h 67"/>
                  <a:gd name="T68" fmla="*/ 109 w 124"/>
                  <a:gd name="T69" fmla="*/ 67 h 67"/>
                  <a:gd name="T70" fmla="*/ 117 w 124"/>
                  <a:gd name="T71" fmla="*/ 66 h 67"/>
                  <a:gd name="T72" fmla="*/ 124 w 124"/>
                  <a:gd name="T73" fmla="*/ 5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4" h="67">
                    <a:moveTo>
                      <a:pt x="21" y="0"/>
                    </a:moveTo>
                    <a:lnTo>
                      <a:pt x="20" y="11"/>
                    </a:lnTo>
                    <a:lnTo>
                      <a:pt x="11" y="12"/>
                    </a:lnTo>
                    <a:lnTo>
                      <a:pt x="6" y="14"/>
                    </a:lnTo>
                    <a:lnTo>
                      <a:pt x="5" y="22"/>
                    </a:lnTo>
                    <a:lnTo>
                      <a:pt x="0" y="23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0" y="37"/>
                    </a:lnTo>
                    <a:lnTo>
                      <a:pt x="32" y="36"/>
                    </a:lnTo>
                    <a:lnTo>
                      <a:pt x="35" y="25"/>
                    </a:lnTo>
                    <a:lnTo>
                      <a:pt x="37" y="23"/>
                    </a:lnTo>
                    <a:lnTo>
                      <a:pt x="41" y="19"/>
                    </a:lnTo>
                    <a:lnTo>
                      <a:pt x="38" y="13"/>
                    </a:lnTo>
                    <a:lnTo>
                      <a:pt x="34" y="9"/>
                    </a:lnTo>
                    <a:lnTo>
                      <a:pt x="30" y="7"/>
                    </a:lnTo>
                    <a:lnTo>
                      <a:pt x="25" y="1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62" y="21"/>
                    </a:moveTo>
                    <a:lnTo>
                      <a:pt x="60" y="29"/>
                    </a:lnTo>
                    <a:lnTo>
                      <a:pt x="56" y="33"/>
                    </a:lnTo>
                    <a:lnTo>
                      <a:pt x="47" y="25"/>
                    </a:lnTo>
                    <a:lnTo>
                      <a:pt x="47" y="25"/>
                    </a:lnTo>
                    <a:lnTo>
                      <a:pt x="45" y="27"/>
                    </a:lnTo>
                    <a:lnTo>
                      <a:pt x="45" y="31"/>
                    </a:lnTo>
                    <a:lnTo>
                      <a:pt x="49" y="38"/>
                    </a:lnTo>
                    <a:lnTo>
                      <a:pt x="52" y="40"/>
                    </a:lnTo>
                    <a:lnTo>
                      <a:pt x="52" y="50"/>
                    </a:lnTo>
                    <a:lnTo>
                      <a:pt x="54" y="53"/>
                    </a:lnTo>
                    <a:lnTo>
                      <a:pt x="59" y="54"/>
                    </a:lnTo>
                    <a:lnTo>
                      <a:pt x="63" y="57"/>
                    </a:lnTo>
                    <a:lnTo>
                      <a:pt x="63" y="52"/>
                    </a:lnTo>
                    <a:lnTo>
                      <a:pt x="67" y="52"/>
                    </a:lnTo>
                    <a:lnTo>
                      <a:pt x="68" y="47"/>
                    </a:lnTo>
                    <a:lnTo>
                      <a:pt x="71" y="45"/>
                    </a:lnTo>
                    <a:lnTo>
                      <a:pt x="68" y="36"/>
                    </a:lnTo>
                    <a:lnTo>
                      <a:pt x="72" y="35"/>
                    </a:lnTo>
                    <a:lnTo>
                      <a:pt x="78" y="33"/>
                    </a:lnTo>
                    <a:lnTo>
                      <a:pt x="85" y="31"/>
                    </a:lnTo>
                    <a:lnTo>
                      <a:pt x="86" y="32"/>
                    </a:lnTo>
                    <a:lnTo>
                      <a:pt x="84" y="39"/>
                    </a:lnTo>
                    <a:lnTo>
                      <a:pt x="89" y="43"/>
                    </a:lnTo>
                    <a:lnTo>
                      <a:pt x="92" y="47"/>
                    </a:lnTo>
                    <a:lnTo>
                      <a:pt x="95" y="50"/>
                    </a:lnTo>
                    <a:lnTo>
                      <a:pt x="100" y="54"/>
                    </a:lnTo>
                    <a:lnTo>
                      <a:pt x="100" y="57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8" y="59"/>
                    </a:lnTo>
                    <a:lnTo>
                      <a:pt x="88" y="65"/>
                    </a:lnTo>
                    <a:lnTo>
                      <a:pt x="88" y="65"/>
                    </a:lnTo>
                    <a:lnTo>
                      <a:pt x="88" y="65"/>
                    </a:lnTo>
                    <a:lnTo>
                      <a:pt x="100" y="62"/>
                    </a:lnTo>
                    <a:lnTo>
                      <a:pt x="109" y="56"/>
                    </a:lnTo>
                    <a:lnTo>
                      <a:pt x="112" y="52"/>
                    </a:lnTo>
                    <a:lnTo>
                      <a:pt x="105" y="50"/>
                    </a:lnTo>
                    <a:lnTo>
                      <a:pt x="101" y="41"/>
                    </a:lnTo>
                    <a:lnTo>
                      <a:pt x="96" y="35"/>
                    </a:lnTo>
                    <a:lnTo>
                      <a:pt x="87" y="29"/>
                    </a:lnTo>
                    <a:lnTo>
                      <a:pt x="84" y="26"/>
                    </a:lnTo>
                    <a:lnTo>
                      <a:pt x="75" y="21"/>
                    </a:lnTo>
                    <a:lnTo>
                      <a:pt x="62" y="21"/>
                    </a:lnTo>
                    <a:lnTo>
                      <a:pt x="62" y="21"/>
                    </a:lnTo>
                    <a:close/>
                    <a:moveTo>
                      <a:pt x="124" y="56"/>
                    </a:moveTo>
                    <a:lnTo>
                      <a:pt x="116" y="57"/>
                    </a:lnTo>
                    <a:lnTo>
                      <a:pt x="109" y="63"/>
                    </a:lnTo>
                    <a:lnTo>
                      <a:pt x="107" y="67"/>
                    </a:lnTo>
                    <a:lnTo>
                      <a:pt x="109" y="67"/>
                    </a:lnTo>
                    <a:lnTo>
                      <a:pt x="114" y="64"/>
                    </a:lnTo>
                    <a:lnTo>
                      <a:pt x="117" y="66"/>
                    </a:lnTo>
                    <a:lnTo>
                      <a:pt x="122" y="59"/>
                    </a:lnTo>
                    <a:lnTo>
                      <a:pt x="124" y="56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5" name="Freeform 36">
                <a:extLst>
                  <a:ext uri="{FF2B5EF4-FFF2-40B4-BE49-F238E27FC236}">
                    <a16:creationId xmlns:a16="http://schemas.microsoft.com/office/drawing/2014/main" id="{0A5BA7E7-23B4-A688-089F-4C31F13C4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0080" y="3756758"/>
                <a:ext cx="493437" cy="642827"/>
              </a:xfrm>
              <a:custGeom>
                <a:avLst/>
                <a:gdLst>
                  <a:gd name="T0" fmla="*/ 128 w 218"/>
                  <a:gd name="T1" fmla="*/ 251 h 284"/>
                  <a:gd name="T2" fmla="*/ 130 w 218"/>
                  <a:gd name="T3" fmla="*/ 235 h 284"/>
                  <a:gd name="T4" fmla="*/ 144 w 218"/>
                  <a:gd name="T5" fmla="*/ 204 h 284"/>
                  <a:gd name="T6" fmla="*/ 164 w 218"/>
                  <a:gd name="T7" fmla="*/ 192 h 284"/>
                  <a:gd name="T8" fmla="*/ 176 w 218"/>
                  <a:gd name="T9" fmla="*/ 178 h 284"/>
                  <a:gd name="T10" fmla="*/ 204 w 218"/>
                  <a:gd name="T11" fmla="*/ 151 h 284"/>
                  <a:gd name="T12" fmla="*/ 218 w 218"/>
                  <a:gd name="T13" fmla="*/ 127 h 284"/>
                  <a:gd name="T14" fmla="*/ 200 w 218"/>
                  <a:gd name="T15" fmla="*/ 100 h 284"/>
                  <a:gd name="T16" fmla="*/ 189 w 218"/>
                  <a:gd name="T17" fmla="*/ 87 h 284"/>
                  <a:gd name="T18" fmla="*/ 179 w 218"/>
                  <a:gd name="T19" fmla="*/ 66 h 284"/>
                  <a:gd name="T20" fmla="*/ 183 w 218"/>
                  <a:gd name="T21" fmla="*/ 45 h 284"/>
                  <a:gd name="T22" fmla="*/ 171 w 218"/>
                  <a:gd name="T23" fmla="*/ 17 h 284"/>
                  <a:gd name="T24" fmla="*/ 162 w 218"/>
                  <a:gd name="T25" fmla="*/ 5 h 284"/>
                  <a:gd name="T26" fmla="*/ 152 w 218"/>
                  <a:gd name="T27" fmla="*/ 7 h 284"/>
                  <a:gd name="T28" fmla="*/ 137 w 218"/>
                  <a:gd name="T29" fmla="*/ 21 h 284"/>
                  <a:gd name="T30" fmla="*/ 112 w 218"/>
                  <a:gd name="T31" fmla="*/ 31 h 284"/>
                  <a:gd name="T32" fmla="*/ 94 w 218"/>
                  <a:gd name="T33" fmla="*/ 35 h 284"/>
                  <a:gd name="T34" fmla="*/ 87 w 218"/>
                  <a:gd name="T35" fmla="*/ 50 h 284"/>
                  <a:gd name="T36" fmla="*/ 95 w 218"/>
                  <a:gd name="T37" fmla="*/ 74 h 284"/>
                  <a:gd name="T38" fmla="*/ 121 w 218"/>
                  <a:gd name="T39" fmla="*/ 68 h 284"/>
                  <a:gd name="T40" fmla="*/ 122 w 218"/>
                  <a:gd name="T41" fmla="*/ 84 h 284"/>
                  <a:gd name="T42" fmla="*/ 135 w 218"/>
                  <a:gd name="T43" fmla="*/ 122 h 284"/>
                  <a:gd name="T44" fmla="*/ 127 w 218"/>
                  <a:gd name="T45" fmla="*/ 161 h 284"/>
                  <a:gd name="T46" fmla="*/ 113 w 218"/>
                  <a:gd name="T47" fmla="*/ 187 h 284"/>
                  <a:gd name="T48" fmla="*/ 101 w 218"/>
                  <a:gd name="T49" fmla="*/ 195 h 284"/>
                  <a:gd name="T50" fmla="*/ 82 w 218"/>
                  <a:gd name="T51" fmla="*/ 190 h 284"/>
                  <a:gd name="T52" fmla="*/ 67 w 218"/>
                  <a:gd name="T53" fmla="*/ 178 h 284"/>
                  <a:gd name="T54" fmla="*/ 46 w 218"/>
                  <a:gd name="T55" fmla="*/ 187 h 284"/>
                  <a:gd name="T56" fmla="*/ 12 w 218"/>
                  <a:gd name="T57" fmla="*/ 207 h 284"/>
                  <a:gd name="T58" fmla="*/ 4 w 218"/>
                  <a:gd name="T59" fmla="*/ 218 h 284"/>
                  <a:gd name="T60" fmla="*/ 24 w 218"/>
                  <a:gd name="T61" fmla="*/ 223 h 284"/>
                  <a:gd name="T62" fmla="*/ 29 w 218"/>
                  <a:gd name="T63" fmla="*/ 222 h 284"/>
                  <a:gd name="T64" fmla="*/ 42 w 218"/>
                  <a:gd name="T65" fmla="*/ 225 h 284"/>
                  <a:gd name="T66" fmla="*/ 52 w 218"/>
                  <a:gd name="T67" fmla="*/ 235 h 284"/>
                  <a:gd name="T68" fmla="*/ 60 w 218"/>
                  <a:gd name="T69" fmla="*/ 245 h 284"/>
                  <a:gd name="T70" fmla="*/ 79 w 218"/>
                  <a:gd name="T71" fmla="*/ 233 h 284"/>
                  <a:gd name="T72" fmla="*/ 100 w 218"/>
                  <a:gd name="T73" fmla="*/ 247 h 284"/>
                  <a:gd name="T74" fmla="*/ 116 w 218"/>
                  <a:gd name="T75" fmla="*/ 264 h 284"/>
                  <a:gd name="T76" fmla="*/ 92 w 218"/>
                  <a:gd name="T77" fmla="*/ 277 h 284"/>
                  <a:gd name="T78" fmla="*/ 97 w 218"/>
                  <a:gd name="T79" fmla="*/ 284 h 284"/>
                  <a:gd name="T80" fmla="*/ 111 w 218"/>
                  <a:gd name="T81" fmla="*/ 279 h 284"/>
                  <a:gd name="T82" fmla="*/ 128 w 218"/>
                  <a:gd name="T83" fmla="*/ 268 h 284"/>
                  <a:gd name="T84" fmla="*/ 140 w 218"/>
                  <a:gd name="T85" fmla="*/ 259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8" h="284">
                    <a:moveTo>
                      <a:pt x="140" y="259"/>
                    </a:moveTo>
                    <a:lnTo>
                      <a:pt x="137" y="251"/>
                    </a:lnTo>
                    <a:lnTo>
                      <a:pt x="128" y="251"/>
                    </a:lnTo>
                    <a:lnTo>
                      <a:pt x="123" y="242"/>
                    </a:lnTo>
                    <a:lnTo>
                      <a:pt x="123" y="237"/>
                    </a:lnTo>
                    <a:lnTo>
                      <a:pt x="130" y="235"/>
                    </a:lnTo>
                    <a:lnTo>
                      <a:pt x="136" y="226"/>
                    </a:lnTo>
                    <a:lnTo>
                      <a:pt x="144" y="225"/>
                    </a:lnTo>
                    <a:lnTo>
                      <a:pt x="144" y="204"/>
                    </a:lnTo>
                    <a:lnTo>
                      <a:pt x="148" y="198"/>
                    </a:lnTo>
                    <a:lnTo>
                      <a:pt x="160" y="196"/>
                    </a:lnTo>
                    <a:lnTo>
                      <a:pt x="164" y="192"/>
                    </a:lnTo>
                    <a:lnTo>
                      <a:pt x="173" y="192"/>
                    </a:lnTo>
                    <a:lnTo>
                      <a:pt x="175" y="189"/>
                    </a:lnTo>
                    <a:lnTo>
                      <a:pt x="176" y="178"/>
                    </a:lnTo>
                    <a:lnTo>
                      <a:pt x="183" y="171"/>
                    </a:lnTo>
                    <a:lnTo>
                      <a:pt x="195" y="166"/>
                    </a:lnTo>
                    <a:lnTo>
                      <a:pt x="204" y="151"/>
                    </a:lnTo>
                    <a:lnTo>
                      <a:pt x="211" y="141"/>
                    </a:lnTo>
                    <a:lnTo>
                      <a:pt x="215" y="137"/>
                    </a:lnTo>
                    <a:lnTo>
                      <a:pt x="218" y="127"/>
                    </a:lnTo>
                    <a:lnTo>
                      <a:pt x="211" y="115"/>
                    </a:lnTo>
                    <a:lnTo>
                      <a:pt x="211" y="109"/>
                    </a:lnTo>
                    <a:lnTo>
                      <a:pt x="200" y="100"/>
                    </a:lnTo>
                    <a:lnTo>
                      <a:pt x="188" y="99"/>
                    </a:lnTo>
                    <a:lnTo>
                      <a:pt x="188" y="94"/>
                    </a:lnTo>
                    <a:lnTo>
                      <a:pt x="189" y="87"/>
                    </a:lnTo>
                    <a:lnTo>
                      <a:pt x="189" y="76"/>
                    </a:lnTo>
                    <a:lnTo>
                      <a:pt x="185" y="66"/>
                    </a:lnTo>
                    <a:lnTo>
                      <a:pt x="179" y="66"/>
                    </a:lnTo>
                    <a:lnTo>
                      <a:pt x="180" y="60"/>
                    </a:lnTo>
                    <a:lnTo>
                      <a:pt x="190" y="46"/>
                    </a:lnTo>
                    <a:lnTo>
                      <a:pt x="183" y="45"/>
                    </a:lnTo>
                    <a:lnTo>
                      <a:pt x="173" y="36"/>
                    </a:lnTo>
                    <a:lnTo>
                      <a:pt x="171" y="26"/>
                    </a:lnTo>
                    <a:lnTo>
                      <a:pt x="171" y="17"/>
                    </a:lnTo>
                    <a:lnTo>
                      <a:pt x="174" y="9"/>
                    </a:lnTo>
                    <a:lnTo>
                      <a:pt x="171" y="4"/>
                    </a:lnTo>
                    <a:lnTo>
                      <a:pt x="162" y="5"/>
                    </a:lnTo>
                    <a:lnTo>
                      <a:pt x="157" y="0"/>
                    </a:lnTo>
                    <a:lnTo>
                      <a:pt x="152" y="3"/>
                    </a:lnTo>
                    <a:lnTo>
                      <a:pt x="152" y="7"/>
                    </a:lnTo>
                    <a:lnTo>
                      <a:pt x="142" y="10"/>
                    </a:lnTo>
                    <a:lnTo>
                      <a:pt x="141" y="17"/>
                    </a:lnTo>
                    <a:lnTo>
                      <a:pt x="137" y="21"/>
                    </a:lnTo>
                    <a:lnTo>
                      <a:pt x="116" y="22"/>
                    </a:lnTo>
                    <a:lnTo>
                      <a:pt x="115" y="24"/>
                    </a:lnTo>
                    <a:lnTo>
                      <a:pt x="112" y="31"/>
                    </a:lnTo>
                    <a:lnTo>
                      <a:pt x="104" y="31"/>
                    </a:lnTo>
                    <a:lnTo>
                      <a:pt x="99" y="37"/>
                    </a:lnTo>
                    <a:lnTo>
                      <a:pt x="94" y="35"/>
                    </a:lnTo>
                    <a:lnTo>
                      <a:pt x="89" y="36"/>
                    </a:lnTo>
                    <a:lnTo>
                      <a:pt x="87" y="45"/>
                    </a:lnTo>
                    <a:lnTo>
                      <a:pt x="87" y="50"/>
                    </a:lnTo>
                    <a:lnTo>
                      <a:pt x="90" y="62"/>
                    </a:lnTo>
                    <a:lnTo>
                      <a:pt x="89" y="71"/>
                    </a:lnTo>
                    <a:lnTo>
                      <a:pt x="95" y="74"/>
                    </a:lnTo>
                    <a:lnTo>
                      <a:pt x="104" y="68"/>
                    </a:lnTo>
                    <a:lnTo>
                      <a:pt x="112" y="66"/>
                    </a:lnTo>
                    <a:lnTo>
                      <a:pt x="121" y="68"/>
                    </a:lnTo>
                    <a:lnTo>
                      <a:pt x="123" y="73"/>
                    </a:lnTo>
                    <a:lnTo>
                      <a:pt x="119" y="77"/>
                    </a:lnTo>
                    <a:lnTo>
                      <a:pt x="122" y="84"/>
                    </a:lnTo>
                    <a:lnTo>
                      <a:pt x="122" y="94"/>
                    </a:lnTo>
                    <a:lnTo>
                      <a:pt x="131" y="103"/>
                    </a:lnTo>
                    <a:lnTo>
                      <a:pt x="135" y="122"/>
                    </a:lnTo>
                    <a:lnTo>
                      <a:pt x="134" y="137"/>
                    </a:lnTo>
                    <a:lnTo>
                      <a:pt x="130" y="144"/>
                    </a:lnTo>
                    <a:lnTo>
                      <a:pt x="127" y="161"/>
                    </a:lnTo>
                    <a:lnTo>
                      <a:pt x="126" y="166"/>
                    </a:lnTo>
                    <a:lnTo>
                      <a:pt x="125" y="178"/>
                    </a:lnTo>
                    <a:lnTo>
                      <a:pt x="113" y="187"/>
                    </a:lnTo>
                    <a:lnTo>
                      <a:pt x="112" y="195"/>
                    </a:lnTo>
                    <a:lnTo>
                      <a:pt x="108" y="196"/>
                    </a:lnTo>
                    <a:lnTo>
                      <a:pt x="101" y="195"/>
                    </a:lnTo>
                    <a:lnTo>
                      <a:pt x="98" y="199"/>
                    </a:lnTo>
                    <a:lnTo>
                      <a:pt x="92" y="199"/>
                    </a:lnTo>
                    <a:lnTo>
                      <a:pt x="82" y="190"/>
                    </a:lnTo>
                    <a:lnTo>
                      <a:pt x="78" y="183"/>
                    </a:lnTo>
                    <a:lnTo>
                      <a:pt x="74" y="177"/>
                    </a:lnTo>
                    <a:lnTo>
                      <a:pt x="67" y="178"/>
                    </a:lnTo>
                    <a:lnTo>
                      <a:pt x="60" y="182"/>
                    </a:lnTo>
                    <a:lnTo>
                      <a:pt x="53" y="181"/>
                    </a:lnTo>
                    <a:lnTo>
                      <a:pt x="46" y="187"/>
                    </a:lnTo>
                    <a:lnTo>
                      <a:pt x="36" y="190"/>
                    </a:lnTo>
                    <a:lnTo>
                      <a:pt x="23" y="192"/>
                    </a:lnTo>
                    <a:lnTo>
                      <a:pt x="12" y="207"/>
                    </a:lnTo>
                    <a:lnTo>
                      <a:pt x="2" y="208"/>
                    </a:lnTo>
                    <a:lnTo>
                      <a:pt x="0" y="214"/>
                    </a:lnTo>
                    <a:lnTo>
                      <a:pt x="4" y="218"/>
                    </a:lnTo>
                    <a:lnTo>
                      <a:pt x="10" y="226"/>
                    </a:lnTo>
                    <a:lnTo>
                      <a:pt x="15" y="224"/>
                    </a:lnTo>
                    <a:lnTo>
                      <a:pt x="24" y="223"/>
                    </a:lnTo>
                    <a:lnTo>
                      <a:pt x="25" y="212"/>
                    </a:lnTo>
                    <a:lnTo>
                      <a:pt x="28" y="212"/>
                    </a:lnTo>
                    <a:lnTo>
                      <a:pt x="29" y="222"/>
                    </a:lnTo>
                    <a:lnTo>
                      <a:pt x="34" y="219"/>
                    </a:lnTo>
                    <a:lnTo>
                      <a:pt x="38" y="221"/>
                    </a:lnTo>
                    <a:lnTo>
                      <a:pt x="42" y="225"/>
                    </a:lnTo>
                    <a:lnTo>
                      <a:pt x="47" y="226"/>
                    </a:lnTo>
                    <a:lnTo>
                      <a:pt x="53" y="228"/>
                    </a:lnTo>
                    <a:lnTo>
                      <a:pt x="52" y="235"/>
                    </a:lnTo>
                    <a:lnTo>
                      <a:pt x="51" y="237"/>
                    </a:lnTo>
                    <a:lnTo>
                      <a:pt x="51" y="237"/>
                    </a:lnTo>
                    <a:lnTo>
                      <a:pt x="60" y="245"/>
                    </a:lnTo>
                    <a:lnTo>
                      <a:pt x="64" y="241"/>
                    </a:lnTo>
                    <a:lnTo>
                      <a:pt x="66" y="233"/>
                    </a:lnTo>
                    <a:lnTo>
                      <a:pt x="79" y="233"/>
                    </a:lnTo>
                    <a:lnTo>
                      <a:pt x="88" y="238"/>
                    </a:lnTo>
                    <a:lnTo>
                      <a:pt x="91" y="241"/>
                    </a:lnTo>
                    <a:lnTo>
                      <a:pt x="100" y="247"/>
                    </a:lnTo>
                    <a:lnTo>
                      <a:pt x="105" y="253"/>
                    </a:lnTo>
                    <a:lnTo>
                      <a:pt x="109" y="262"/>
                    </a:lnTo>
                    <a:lnTo>
                      <a:pt x="116" y="264"/>
                    </a:lnTo>
                    <a:lnTo>
                      <a:pt x="113" y="268"/>
                    </a:lnTo>
                    <a:lnTo>
                      <a:pt x="104" y="274"/>
                    </a:lnTo>
                    <a:lnTo>
                      <a:pt x="92" y="277"/>
                    </a:lnTo>
                    <a:lnTo>
                      <a:pt x="92" y="277"/>
                    </a:lnTo>
                    <a:lnTo>
                      <a:pt x="95" y="280"/>
                    </a:lnTo>
                    <a:lnTo>
                      <a:pt x="97" y="284"/>
                    </a:lnTo>
                    <a:lnTo>
                      <a:pt x="102" y="281"/>
                    </a:lnTo>
                    <a:lnTo>
                      <a:pt x="106" y="283"/>
                    </a:lnTo>
                    <a:lnTo>
                      <a:pt x="111" y="279"/>
                    </a:lnTo>
                    <a:lnTo>
                      <a:pt x="113" y="275"/>
                    </a:lnTo>
                    <a:lnTo>
                      <a:pt x="120" y="269"/>
                    </a:lnTo>
                    <a:lnTo>
                      <a:pt x="128" y="268"/>
                    </a:lnTo>
                    <a:lnTo>
                      <a:pt x="130" y="266"/>
                    </a:lnTo>
                    <a:lnTo>
                      <a:pt x="140" y="264"/>
                    </a:lnTo>
                    <a:lnTo>
                      <a:pt x="140" y="259"/>
                    </a:lnTo>
                    <a:lnTo>
                      <a:pt x="140" y="259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8" name="Freeform 37">
                <a:extLst>
                  <a:ext uri="{FF2B5EF4-FFF2-40B4-BE49-F238E27FC236}">
                    <a16:creationId xmlns:a16="http://schemas.microsoft.com/office/drawing/2014/main" id="{716C8394-E1A5-E5B2-DF0A-58B0BC2F4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8488" y="3860878"/>
                <a:ext cx="509281" cy="488910"/>
              </a:xfrm>
              <a:custGeom>
                <a:avLst/>
                <a:gdLst>
                  <a:gd name="T0" fmla="*/ 215 w 225"/>
                  <a:gd name="T1" fmla="*/ 101 h 216"/>
                  <a:gd name="T2" fmla="*/ 213 w 225"/>
                  <a:gd name="T3" fmla="*/ 90 h 216"/>
                  <a:gd name="T4" fmla="*/ 196 w 225"/>
                  <a:gd name="T5" fmla="*/ 84 h 216"/>
                  <a:gd name="T6" fmla="*/ 185 w 225"/>
                  <a:gd name="T7" fmla="*/ 75 h 216"/>
                  <a:gd name="T8" fmla="*/ 168 w 225"/>
                  <a:gd name="T9" fmla="*/ 66 h 216"/>
                  <a:gd name="T10" fmla="*/ 163 w 225"/>
                  <a:gd name="T11" fmla="*/ 35 h 216"/>
                  <a:gd name="T12" fmla="*/ 156 w 225"/>
                  <a:gd name="T13" fmla="*/ 32 h 216"/>
                  <a:gd name="T14" fmla="*/ 140 w 225"/>
                  <a:gd name="T15" fmla="*/ 32 h 216"/>
                  <a:gd name="T16" fmla="*/ 132 w 225"/>
                  <a:gd name="T17" fmla="*/ 19 h 216"/>
                  <a:gd name="T18" fmla="*/ 119 w 225"/>
                  <a:gd name="T19" fmla="*/ 21 h 216"/>
                  <a:gd name="T20" fmla="*/ 98 w 225"/>
                  <a:gd name="T21" fmla="*/ 14 h 216"/>
                  <a:gd name="T22" fmla="*/ 88 w 225"/>
                  <a:gd name="T23" fmla="*/ 12 h 216"/>
                  <a:gd name="T24" fmla="*/ 72 w 225"/>
                  <a:gd name="T25" fmla="*/ 1 h 216"/>
                  <a:gd name="T26" fmla="*/ 57 w 225"/>
                  <a:gd name="T27" fmla="*/ 14 h 216"/>
                  <a:gd name="T28" fmla="*/ 62 w 225"/>
                  <a:gd name="T29" fmla="*/ 20 h 216"/>
                  <a:gd name="T30" fmla="*/ 66 w 225"/>
                  <a:gd name="T31" fmla="*/ 41 h 216"/>
                  <a:gd name="T32" fmla="*/ 65 w 225"/>
                  <a:gd name="T33" fmla="*/ 53 h 216"/>
                  <a:gd name="T34" fmla="*/ 88 w 225"/>
                  <a:gd name="T35" fmla="*/ 63 h 216"/>
                  <a:gd name="T36" fmla="*/ 95 w 225"/>
                  <a:gd name="T37" fmla="*/ 81 h 216"/>
                  <a:gd name="T38" fmla="*/ 88 w 225"/>
                  <a:gd name="T39" fmla="*/ 95 h 216"/>
                  <a:gd name="T40" fmla="*/ 72 w 225"/>
                  <a:gd name="T41" fmla="*/ 120 h 216"/>
                  <a:gd name="T42" fmla="*/ 53 w 225"/>
                  <a:gd name="T43" fmla="*/ 132 h 216"/>
                  <a:gd name="T44" fmla="*/ 50 w 225"/>
                  <a:gd name="T45" fmla="*/ 146 h 216"/>
                  <a:gd name="T46" fmla="*/ 37 w 225"/>
                  <a:gd name="T47" fmla="*/ 150 h 216"/>
                  <a:gd name="T48" fmla="*/ 21 w 225"/>
                  <a:gd name="T49" fmla="*/ 158 h 216"/>
                  <a:gd name="T50" fmla="*/ 13 w 225"/>
                  <a:gd name="T51" fmla="*/ 180 h 216"/>
                  <a:gd name="T52" fmla="*/ 0 w 225"/>
                  <a:gd name="T53" fmla="*/ 191 h 216"/>
                  <a:gd name="T54" fmla="*/ 5 w 225"/>
                  <a:gd name="T55" fmla="*/ 205 h 216"/>
                  <a:gd name="T56" fmla="*/ 17 w 225"/>
                  <a:gd name="T57" fmla="*/ 213 h 216"/>
                  <a:gd name="T58" fmla="*/ 30 w 225"/>
                  <a:gd name="T59" fmla="*/ 216 h 216"/>
                  <a:gd name="T60" fmla="*/ 41 w 225"/>
                  <a:gd name="T61" fmla="*/ 208 h 216"/>
                  <a:gd name="T62" fmla="*/ 54 w 225"/>
                  <a:gd name="T63" fmla="*/ 204 h 216"/>
                  <a:gd name="T64" fmla="*/ 72 w 225"/>
                  <a:gd name="T65" fmla="*/ 200 h 216"/>
                  <a:gd name="T66" fmla="*/ 77 w 225"/>
                  <a:gd name="T67" fmla="*/ 189 h 216"/>
                  <a:gd name="T68" fmla="*/ 80 w 225"/>
                  <a:gd name="T69" fmla="*/ 180 h 216"/>
                  <a:gd name="T70" fmla="*/ 79 w 225"/>
                  <a:gd name="T71" fmla="*/ 187 h 216"/>
                  <a:gd name="T72" fmla="*/ 81 w 225"/>
                  <a:gd name="T73" fmla="*/ 189 h 216"/>
                  <a:gd name="T74" fmla="*/ 86 w 225"/>
                  <a:gd name="T75" fmla="*/ 198 h 216"/>
                  <a:gd name="T76" fmla="*/ 92 w 225"/>
                  <a:gd name="T77" fmla="*/ 202 h 216"/>
                  <a:gd name="T78" fmla="*/ 101 w 225"/>
                  <a:gd name="T79" fmla="*/ 189 h 216"/>
                  <a:gd name="T80" fmla="*/ 117 w 225"/>
                  <a:gd name="T81" fmla="*/ 182 h 216"/>
                  <a:gd name="T82" fmla="*/ 117 w 225"/>
                  <a:gd name="T83" fmla="*/ 186 h 216"/>
                  <a:gd name="T84" fmla="*/ 127 w 225"/>
                  <a:gd name="T85" fmla="*/ 187 h 216"/>
                  <a:gd name="T86" fmla="*/ 139 w 225"/>
                  <a:gd name="T87" fmla="*/ 169 h 216"/>
                  <a:gd name="T88" fmla="*/ 154 w 225"/>
                  <a:gd name="T89" fmla="*/ 162 h 216"/>
                  <a:gd name="T90" fmla="*/ 165 w 225"/>
                  <a:gd name="T91" fmla="*/ 149 h 216"/>
                  <a:gd name="T92" fmla="*/ 177 w 225"/>
                  <a:gd name="T93" fmla="*/ 139 h 216"/>
                  <a:gd name="T94" fmla="*/ 189 w 225"/>
                  <a:gd name="T95" fmla="*/ 133 h 216"/>
                  <a:gd name="T96" fmla="*/ 194 w 225"/>
                  <a:gd name="T97" fmla="*/ 129 h 216"/>
                  <a:gd name="T98" fmla="*/ 205 w 225"/>
                  <a:gd name="T99" fmla="*/ 122 h 216"/>
                  <a:gd name="T100" fmla="*/ 220 w 225"/>
                  <a:gd name="T101" fmla="*/ 110 h 216"/>
                  <a:gd name="T102" fmla="*/ 225 w 225"/>
                  <a:gd name="T103" fmla="*/ 107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5" h="216">
                    <a:moveTo>
                      <a:pt x="225" y="107"/>
                    </a:moveTo>
                    <a:lnTo>
                      <a:pt x="215" y="101"/>
                    </a:lnTo>
                    <a:lnTo>
                      <a:pt x="211" y="94"/>
                    </a:lnTo>
                    <a:lnTo>
                      <a:pt x="213" y="90"/>
                    </a:lnTo>
                    <a:lnTo>
                      <a:pt x="209" y="84"/>
                    </a:lnTo>
                    <a:lnTo>
                      <a:pt x="196" y="84"/>
                    </a:lnTo>
                    <a:lnTo>
                      <a:pt x="194" y="77"/>
                    </a:lnTo>
                    <a:lnTo>
                      <a:pt x="185" y="75"/>
                    </a:lnTo>
                    <a:lnTo>
                      <a:pt x="178" y="70"/>
                    </a:lnTo>
                    <a:lnTo>
                      <a:pt x="168" y="66"/>
                    </a:lnTo>
                    <a:lnTo>
                      <a:pt x="160" y="45"/>
                    </a:lnTo>
                    <a:lnTo>
                      <a:pt x="163" y="35"/>
                    </a:lnTo>
                    <a:lnTo>
                      <a:pt x="161" y="32"/>
                    </a:lnTo>
                    <a:lnTo>
                      <a:pt x="156" y="32"/>
                    </a:lnTo>
                    <a:lnTo>
                      <a:pt x="146" y="29"/>
                    </a:lnTo>
                    <a:lnTo>
                      <a:pt x="140" y="32"/>
                    </a:lnTo>
                    <a:lnTo>
                      <a:pt x="139" y="32"/>
                    </a:lnTo>
                    <a:lnTo>
                      <a:pt x="132" y="19"/>
                    </a:lnTo>
                    <a:lnTo>
                      <a:pt x="122" y="17"/>
                    </a:lnTo>
                    <a:lnTo>
                      <a:pt x="119" y="21"/>
                    </a:lnTo>
                    <a:lnTo>
                      <a:pt x="110" y="16"/>
                    </a:lnTo>
                    <a:lnTo>
                      <a:pt x="98" y="14"/>
                    </a:lnTo>
                    <a:lnTo>
                      <a:pt x="94" y="11"/>
                    </a:lnTo>
                    <a:lnTo>
                      <a:pt x="88" y="12"/>
                    </a:lnTo>
                    <a:lnTo>
                      <a:pt x="77" y="7"/>
                    </a:lnTo>
                    <a:lnTo>
                      <a:pt x="72" y="1"/>
                    </a:lnTo>
                    <a:lnTo>
                      <a:pt x="67" y="0"/>
                    </a:lnTo>
                    <a:lnTo>
                      <a:pt x="57" y="14"/>
                    </a:lnTo>
                    <a:lnTo>
                      <a:pt x="56" y="20"/>
                    </a:lnTo>
                    <a:lnTo>
                      <a:pt x="62" y="20"/>
                    </a:lnTo>
                    <a:lnTo>
                      <a:pt x="66" y="30"/>
                    </a:lnTo>
                    <a:lnTo>
                      <a:pt x="66" y="41"/>
                    </a:lnTo>
                    <a:lnTo>
                      <a:pt x="65" y="48"/>
                    </a:lnTo>
                    <a:lnTo>
                      <a:pt x="65" y="53"/>
                    </a:lnTo>
                    <a:lnTo>
                      <a:pt x="77" y="54"/>
                    </a:lnTo>
                    <a:lnTo>
                      <a:pt x="88" y="63"/>
                    </a:lnTo>
                    <a:lnTo>
                      <a:pt x="88" y="69"/>
                    </a:lnTo>
                    <a:lnTo>
                      <a:pt x="95" y="81"/>
                    </a:lnTo>
                    <a:lnTo>
                      <a:pt x="92" y="91"/>
                    </a:lnTo>
                    <a:lnTo>
                      <a:pt x="88" y="95"/>
                    </a:lnTo>
                    <a:lnTo>
                      <a:pt x="81" y="105"/>
                    </a:lnTo>
                    <a:lnTo>
                      <a:pt x="72" y="120"/>
                    </a:lnTo>
                    <a:lnTo>
                      <a:pt x="60" y="125"/>
                    </a:lnTo>
                    <a:lnTo>
                      <a:pt x="53" y="132"/>
                    </a:lnTo>
                    <a:lnTo>
                      <a:pt x="52" y="143"/>
                    </a:lnTo>
                    <a:lnTo>
                      <a:pt x="50" y="146"/>
                    </a:lnTo>
                    <a:lnTo>
                      <a:pt x="41" y="146"/>
                    </a:lnTo>
                    <a:lnTo>
                      <a:pt x="37" y="150"/>
                    </a:lnTo>
                    <a:lnTo>
                      <a:pt x="25" y="152"/>
                    </a:lnTo>
                    <a:lnTo>
                      <a:pt x="21" y="158"/>
                    </a:lnTo>
                    <a:lnTo>
                      <a:pt x="21" y="179"/>
                    </a:lnTo>
                    <a:lnTo>
                      <a:pt x="13" y="180"/>
                    </a:lnTo>
                    <a:lnTo>
                      <a:pt x="7" y="189"/>
                    </a:lnTo>
                    <a:lnTo>
                      <a:pt x="0" y="191"/>
                    </a:lnTo>
                    <a:lnTo>
                      <a:pt x="0" y="196"/>
                    </a:lnTo>
                    <a:lnTo>
                      <a:pt x="5" y="205"/>
                    </a:lnTo>
                    <a:lnTo>
                      <a:pt x="14" y="205"/>
                    </a:lnTo>
                    <a:lnTo>
                      <a:pt x="17" y="213"/>
                    </a:lnTo>
                    <a:lnTo>
                      <a:pt x="28" y="213"/>
                    </a:lnTo>
                    <a:lnTo>
                      <a:pt x="30" y="216"/>
                    </a:lnTo>
                    <a:lnTo>
                      <a:pt x="36" y="216"/>
                    </a:lnTo>
                    <a:lnTo>
                      <a:pt x="41" y="208"/>
                    </a:lnTo>
                    <a:lnTo>
                      <a:pt x="48" y="209"/>
                    </a:lnTo>
                    <a:lnTo>
                      <a:pt x="54" y="204"/>
                    </a:lnTo>
                    <a:lnTo>
                      <a:pt x="62" y="201"/>
                    </a:lnTo>
                    <a:lnTo>
                      <a:pt x="72" y="200"/>
                    </a:lnTo>
                    <a:lnTo>
                      <a:pt x="75" y="197"/>
                    </a:lnTo>
                    <a:lnTo>
                      <a:pt x="77" y="189"/>
                    </a:lnTo>
                    <a:lnTo>
                      <a:pt x="75" y="183"/>
                    </a:lnTo>
                    <a:lnTo>
                      <a:pt x="80" y="180"/>
                    </a:lnTo>
                    <a:lnTo>
                      <a:pt x="80" y="183"/>
                    </a:lnTo>
                    <a:lnTo>
                      <a:pt x="79" y="187"/>
                    </a:lnTo>
                    <a:lnTo>
                      <a:pt x="78" y="191"/>
                    </a:lnTo>
                    <a:lnTo>
                      <a:pt x="81" y="189"/>
                    </a:lnTo>
                    <a:lnTo>
                      <a:pt x="82" y="193"/>
                    </a:lnTo>
                    <a:lnTo>
                      <a:pt x="86" y="198"/>
                    </a:lnTo>
                    <a:lnTo>
                      <a:pt x="87" y="204"/>
                    </a:lnTo>
                    <a:lnTo>
                      <a:pt x="92" y="202"/>
                    </a:lnTo>
                    <a:lnTo>
                      <a:pt x="95" y="195"/>
                    </a:lnTo>
                    <a:lnTo>
                      <a:pt x="101" y="189"/>
                    </a:lnTo>
                    <a:lnTo>
                      <a:pt x="110" y="185"/>
                    </a:lnTo>
                    <a:lnTo>
                      <a:pt x="117" y="182"/>
                    </a:lnTo>
                    <a:lnTo>
                      <a:pt x="120" y="182"/>
                    </a:lnTo>
                    <a:lnTo>
                      <a:pt x="117" y="186"/>
                    </a:lnTo>
                    <a:lnTo>
                      <a:pt x="119" y="191"/>
                    </a:lnTo>
                    <a:lnTo>
                      <a:pt x="127" y="187"/>
                    </a:lnTo>
                    <a:lnTo>
                      <a:pt x="129" y="183"/>
                    </a:lnTo>
                    <a:lnTo>
                      <a:pt x="139" y="169"/>
                    </a:lnTo>
                    <a:lnTo>
                      <a:pt x="145" y="163"/>
                    </a:lnTo>
                    <a:lnTo>
                      <a:pt x="154" y="162"/>
                    </a:lnTo>
                    <a:lnTo>
                      <a:pt x="158" y="157"/>
                    </a:lnTo>
                    <a:lnTo>
                      <a:pt x="165" y="149"/>
                    </a:lnTo>
                    <a:lnTo>
                      <a:pt x="168" y="140"/>
                    </a:lnTo>
                    <a:lnTo>
                      <a:pt x="177" y="139"/>
                    </a:lnTo>
                    <a:lnTo>
                      <a:pt x="183" y="134"/>
                    </a:lnTo>
                    <a:lnTo>
                      <a:pt x="189" y="133"/>
                    </a:lnTo>
                    <a:lnTo>
                      <a:pt x="191" y="129"/>
                    </a:lnTo>
                    <a:lnTo>
                      <a:pt x="194" y="129"/>
                    </a:lnTo>
                    <a:lnTo>
                      <a:pt x="197" y="129"/>
                    </a:lnTo>
                    <a:lnTo>
                      <a:pt x="205" y="122"/>
                    </a:lnTo>
                    <a:lnTo>
                      <a:pt x="216" y="117"/>
                    </a:lnTo>
                    <a:lnTo>
                      <a:pt x="220" y="110"/>
                    </a:lnTo>
                    <a:lnTo>
                      <a:pt x="225" y="107"/>
                    </a:lnTo>
                    <a:lnTo>
                      <a:pt x="225" y="107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49" name="Freeform 38">
                <a:extLst>
                  <a:ext uri="{FF2B5EF4-FFF2-40B4-BE49-F238E27FC236}">
                    <a16:creationId xmlns:a16="http://schemas.microsoft.com/office/drawing/2014/main" id="{A0B2FAF5-BE87-3320-F3E7-2C97E4730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644" y="3553046"/>
                <a:ext cx="590766" cy="550025"/>
              </a:xfrm>
              <a:custGeom>
                <a:avLst/>
                <a:gdLst>
                  <a:gd name="T0" fmla="*/ 260 w 261"/>
                  <a:gd name="T1" fmla="*/ 29 h 243"/>
                  <a:gd name="T2" fmla="*/ 234 w 261"/>
                  <a:gd name="T3" fmla="*/ 14 h 243"/>
                  <a:gd name="T4" fmla="*/ 210 w 261"/>
                  <a:gd name="T5" fmla="*/ 3 h 243"/>
                  <a:gd name="T6" fmla="*/ 200 w 261"/>
                  <a:gd name="T7" fmla="*/ 7 h 243"/>
                  <a:gd name="T8" fmla="*/ 193 w 261"/>
                  <a:gd name="T9" fmla="*/ 20 h 243"/>
                  <a:gd name="T10" fmla="*/ 185 w 261"/>
                  <a:gd name="T11" fmla="*/ 16 h 243"/>
                  <a:gd name="T12" fmla="*/ 176 w 261"/>
                  <a:gd name="T13" fmla="*/ 29 h 243"/>
                  <a:gd name="T14" fmla="*/ 161 w 261"/>
                  <a:gd name="T15" fmla="*/ 39 h 243"/>
                  <a:gd name="T16" fmla="*/ 113 w 261"/>
                  <a:gd name="T17" fmla="*/ 40 h 243"/>
                  <a:gd name="T18" fmla="*/ 85 w 261"/>
                  <a:gd name="T19" fmla="*/ 26 h 243"/>
                  <a:gd name="T20" fmla="*/ 53 w 261"/>
                  <a:gd name="T21" fmla="*/ 40 h 243"/>
                  <a:gd name="T22" fmla="*/ 44 w 261"/>
                  <a:gd name="T23" fmla="*/ 59 h 243"/>
                  <a:gd name="T24" fmla="*/ 36 w 261"/>
                  <a:gd name="T25" fmla="*/ 69 h 243"/>
                  <a:gd name="T26" fmla="*/ 42 w 261"/>
                  <a:gd name="T27" fmla="*/ 87 h 243"/>
                  <a:gd name="T28" fmla="*/ 40 w 261"/>
                  <a:gd name="T29" fmla="*/ 119 h 243"/>
                  <a:gd name="T30" fmla="*/ 22 w 261"/>
                  <a:gd name="T31" fmla="*/ 155 h 243"/>
                  <a:gd name="T32" fmla="*/ 3 w 261"/>
                  <a:gd name="T33" fmla="*/ 171 h 243"/>
                  <a:gd name="T34" fmla="*/ 8 w 261"/>
                  <a:gd name="T35" fmla="*/ 202 h 243"/>
                  <a:gd name="T36" fmla="*/ 25 w 261"/>
                  <a:gd name="T37" fmla="*/ 211 h 243"/>
                  <a:gd name="T38" fmla="*/ 36 w 261"/>
                  <a:gd name="T39" fmla="*/ 220 h 243"/>
                  <a:gd name="T40" fmla="*/ 53 w 261"/>
                  <a:gd name="T41" fmla="*/ 226 h 243"/>
                  <a:gd name="T42" fmla="*/ 55 w 261"/>
                  <a:gd name="T43" fmla="*/ 237 h 243"/>
                  <a:gd name="T44" fmla="*/ 65 w 261"/>
                  <a:gd name="T45" fmla="*/ 242 h 243"/>
                  <a:gd name="T46" fmla="*/ 78 w 261"/>
                  <a:gd name="T47" fmla="*/ 236 h 243"/>
                  <a:gd name="T48" fmla="*/ 94 w 261"/>
                  <a:gd name="T49" fmla="*/ 228 h 243"/>
                  <a:gd name="T50" fmla="*/ 100 w 261"/>
                  <a:gd name="T51" fmla="*/ 222 h 243"/>
                  <a:gd name="T52" fmla="*/ 113 w 261"/>
                  <a:gd name="T53" fmla="*/ 217 h 243"/>
                  <a:gd name="T54" fmla="*/ 111 w 261"/>
                  <a:gd name="T55" fmla="*/ 201 h 243"/>
                  <a:gd name="T56" fmla="*/ 120 w 261"/>
                  <a:gd name="T57" fmla="*/ 203 h 243"/>
                  <a:gd name="T58" fmla="*/ 143 w 261"/>
                  <a:gd name="T59" fmla="*/ 189 h 243"/>
                  <a:gd name="T60" fmla="*/ 148 w 261"/>
                  <a:gd name="T61" fmla="*/ 181 h 243"/>
                  <a:gd name="T62" fmla="*/ 162 w 261"/>
                  <a:gd name="T63" fmla="*/ 174 h 243"/>
                  <a:gd name="T64" fmla="*/ 174 w 261"/>
                  <a:gd name="T65" fmla="*/ 174 h 243"/>
                  <a:gd name="T66" fmla="*/ 181 w 261"/>
                  <a:gd name="T67" fmla="*/ 155 h 243"/>
                  <a:gd name="T68" fmla="*/ 183 w 261"/>
                  <a:gd name="T69" fmla="*/ 145 h 243"/>
                  <a:gd name="T70" fmla="*/ 189 w 261"/>
                  <a:gd name="T71" fmla="*/ 142 h 243"/>
                  <a:gd name="T72" fmla="*/ 190 w 261"/>
                  <a:gd name="T73" fmla="*/ 131 h 243"/>
                  <a:gd name="T74" fmla="*/ 188 w 261"/>
                  <a:gd name="T75" fmla="*/ 120 h 243"/>
                  <a:gd name="T76" fmla="*/ 194 w 261"/>
                  <a:gd name="T77" fmla="*/ 118 h 243"/>
                  <a:gd name="T78" fmla="*/ 200 w 261"/>
                  <a:gd name="T79" fmla="*/ 114 h 243"/>
                  <a:gd name="T80" fmla="*/ 195 w 261"/>
                  <a:gd name="T81" fmla="*/ 120 h 243"/>
                  <a:gd name="T82" fmla="*/ 195 w 261"/>
                  <a:gd name="T83" fmla="*/ 127 h 243"/>
                  <a:gd name="T84" fmla="*/ 202 w 261"/>
                  <a:gd name="T85" fmla="*/ 126 h 243"/>
                  <a:gd name="T86" fmla="*/ 212 w 261"/>
                  <a:gd name="T87" fmla="*/ 119 h 243"/>
                  <a:gd name="T88" fmla="*/ 216 w 261"/>
                  <a:gd name="T89" fmla="*/ 112 h 243"/>
                  <a:gd name="T90" fmla="*/ 226 w 261"/>
                  <a:gd name="T91" fmla="*/ 107 h 243"/>
                  <a:gd name="T92" fmla="*/ 236 w 261"/>
                  <a:gd name="T93" fmla="*/ 90 h 243"/>
                  <a:gd name="T94" fmla="*/ 242 w 261"/>
                  <a:gd name="T95" fmla="*/ 74 h 243"/>
                  <a:gd name="T96" fmla="*/ 229 w 261"/>
                  <a:gd name="T97" fmla="*/ 73 h 243"/>
                  <a:gd name="T98" fmla="*/ 229 w 261"/>
                  <a:gd name="T99" fmla="*/ 59 h 243"/>
                  <a:gd name="T100" fmla="*/ 240 w 261"/>
                  <a:gd name="T101" fmla="*/ 56 h 243"/>
                  <a:gd name="T102" fmla="*/ 242 w 261"/>
                  <a:gd name="T103" fmla="*/ 50 h 243"/>
                  <a:gd name="T104" fmla="*/ 247 w 261"/>
                  <a:gd name="T105" fmla="*/ 45 h 243"/>
                  <a:gd name="T106" fmla="*/ 261 w 261"/>
                  <a:gd name="T107" fmla="*/ 40 h 243"/>
                  <a:gd name="T108" fmla="*/ 260 w 261"/>
                  <a:gd name="T109" fmla="*/ 29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1" h="243">
                    <a:moveTo>
                      <a:pt x="260" y="29"/>
                    </a:moveTo>
                    <a:lnTo>
                      <a:pt x="260" y="29"/>
                    </a:lnTo>
                    <a:lnTo>
                      <a:pt x="245" y="20"/>
                    </a:lnTo>
                    <a:lnTo>
                      <a:pt x="234" y="14"/>
                    </a:lnTo>
                    <a:lnTo>
                      <a:pt x="223" y="4"/>
                    </a:lnTo>
                    <a:lnTo>
                      <a:pt x="210" y="3"/>
                    </a:lnTo>
                    <a:lnTo>
                      <a:pt x="199" y="0"/>
                    </a:lnTo>
                    <a:lnTo>
                      <a:pt x="200" y="7"/>
                    </a:lnTo>
                    <a:lnTo>
                      <a:pt x="203" y="11"/>
                    </a:lnTo>
                    <a:lnTo>
                      <a:pt x="193" y="20"/>
                    </a:lnTo>
                    <a:lnTo>
                      <a:pt x="190" y="19"/>
                    </a:lnTo>
                    <a:lnTo>
                      <a:pt x="185" y="16"/>
                    </a:lnTo>
                    <a:lnTo>
                      <a:pt x="178" y="23"/>
                    </a:lnTo>
                    <a:lnTo>
                      <a:pt x="176" y="29"/>
                    </a:lnTo>
                    <a:lnTo>
                      <a:pt x="169" y="36"/>
                    </a:lnTo>
                    <a:lnTo>
                      <a:pt x="161" y="39"/>
                    </a:lnTo>
                    <a:lnTo>
                      <a:pt x="137" y="40"/>
                    </a:lnTo>
                    <a:lnTo>
                      <a:pt x="113" y="40"/>
                    </a:lnTo>
                    <a:lnTo>
                      <a:pt x="92" y="35"/>
                    </a:lnTo>
                    <a:lnTo>
                      <a:pt x="85" y="26"/>
                    </a:lnTo>
                    <a:lnTo>
                      <a:pt x="68" y="35"/>
                    </a:lnTo>
                    <a:lnTo>
                      <a:pt x="53" y="40"/>
                    </a:lnTo>
                    <a:lnTo>
                      <a:pt x="50" y="51"/>
                    </a:lnTo>
                    <a:lnTo>
                      <a:pt x="44" y="59"/>
                    </a:lnTo>
                    <a:lnTo>
                      <a:pt x="44" y="68"/>
                    </a:lnTo>
                    <a:lnTo>
                      <a:pt x="36" y="69"/>
                    </a:lnTo>
                    <a:lnTo>
                      <a:pt x="34" y="78"/>
                    </a:lnTo>
                    <a:lnTo>
                      <a:pt x="42" y="87"/>
                    </a:lnTo>
                    <a:lnTo>
                      <a:pt x="57" y="102"/>
                    </a:lnTo>
                    <a:lnTo>
                      <a:pt x="40" y="119"/>
                    </a:lnTo>
                    <a:lnTo>
                      <a:pt x="36" y="135"/>
                    </a:lnTo>
                    <a:lnTo>
                      <a:pt x="22" y="155"/>
                    </a:lnTo>
                    <a:lnTo>
                      <a:pt x="12" y="164"/>
                    </a:lnTo>
                    <a:lnTo>
                      <a:pt x="3" y="171"/>
                    </a:lnTo>
                    <a:lnTo>
                      <a:pt x="0" y="181"/>
                    </a:lnTo>
                    <a:lnTo>
                      <a:pt x="8" y="202"/>
                    </a:lnTo>
                    <a:lnTo>
                      <a:pt x="18" y="206"/>
                    </a:lnTo>
                    <a:lnTo>
                      <a:pt x="25" y="211"/>
                    </a:lnTo>
                    <a:lnTo>
                      <a:pt x="34" y="213"/>
                    </a:lnTo>
                    <a:lnTo>
                      <a:pt x="36" y="220"/>
                    </a:lnTo>
                    <a:lnTo>
                      <a:pt x="49" y="220"/>
                    </a:lnTo>
                    <a:lnTo>
                      <a:pt x="53" y="226"/>
                    </a:lnTo>
                    <a:lnTo>
                      <a:pt x="51" y="230"/>
                    </a:lnTo>
                    <a:lnTo>
                      <a:pt x="55" y="237"/>
                    </a:lnTo>
                    <a:lnTo>
                      <a:pt x="65" y="243"/>
                    </a:lnTo>
                    <a:lnTo>
                      <a:pt x="65" y="242"/>
                    </a:lnTo>
                    <a:lnTo>
                      <a:pt x="72" y="237"/>
                    </a:lnTo>
                    <a:lnTo>
                      <a:pt x="78" y="236"/>
                    </a:lnTo>
                    <a:lnTo>
                      <a:pt x="86" y="231"/>
                    </a:lnTo>
                    <a:lnTo>
                      <a:pt x="94" y="228"/>
                    </a:lnTo>
                    <a:lnTo>
                      <a:pt x="94" y="223"/>
                    </a:lnTo>
                    <a:lnTo>
                      <a:pt x="100" y="222"/>
                    </a:lnTo>
                    <a:lnTo>
                      <a:pt x="108" y="221"/>
                    </a:lnTo>
                    <a:lnTo>
                      <a:pt x="113" y="217"/>
                    </a:lnTo>
                    <a:lnTo>
                      <a:pt x="111" y="210"/>
                    </a:lnTo>
                    <a:lnTo>
                      <a:pt x="111" y="201"/>
                    </a:lnTo>
                    <a:lnTo>
                      <a:pt x="116" y="203"/>
                    </a:lnTo>
                    <a:lnTo>
                      <a:pt x="120" y="203"/>
                    </a:lnTo>
                    <a:lnTo>
                      <a:pt x="135" y="194"/>
                    </a:lnTo>
                    <a:lnTo>
                      <a:pt x="143" y="189"/>
                    </a:lnTo>
                    <a:lnTo>
                      <a:pt x="144" y="183"/>
                    </a:lnTo>
                    <a:lnTo>
                      <a:pt x="148" y="181"/>
                    </a:lnTo>
                    <a:lnTo>
                      <a:pt x="151" y="184"/>
                    </a:lnTo>
                    <a:lnTo>
                      <a:pt x="162" y="174"/>
                    </a:lnTo>
                    <a:lnTo>
                      <a:pt x="169" y="174"/>
                    </a:lnTo>
                    <a:lnTo>
                      <a:pt x="174" y="174"/>
                    </a:lnTo>
                    <a:lnTo>
                      <a:pt x="176" y="159"/>
                    </a:lnTo>
                    <a:lnTo>
                      <a:pt x="181" y="155"/>
                    </a:lnTo>
                    <a:lnTo>
                      <a:pt x="181" y="149"/>
                    </a:lnTo>
                    <a:lnTo>
                      <a:pt x="183" y="145"/>
                    </a:lnTo>
                    <a:lnTo>
                      <a:pt x="185" y="145"/>
                    </a:lnTo>
                    <a:lnTo>
                      <a:pt x="189" y="142"/>
                    </a:lnTo>
                    <a:lnTo>
                      <a:pt x="188" y="135"/>
                    </a:lnTo>
                    <a:lnTo>
                      <a:pt x="190" y="131"/>
                    </a:lnTo>
                    <a:lnTo>
                      <a:pt x="190" y="125"/>
                    </a:lnTo>
                    <a:lnTo>
                      <a:pt x="188" y="120"/>
                    </a:lnTo>
                    <a:lnTo>
                      <a:pt x="190" y="117"/>
                    </a:lnTo>
                    <a:lnTo>
                      <a:pt x="194" y="118"/>
                    </a:lnTo>
                    <a:lnTo>
                      <a:pt x="197" y="115"/>
                    </a:lnTo>
                    <a:lnTo>
                      <a:pt x="200" y="114"/>
                    </a:lnTo>
                    <a:lnTo>
                      <a:pt x="199" y="117"/>
                    </a:lnTo>
                    <a:lnTo>
                      <a:pt x="195" y="120"/>
                    </a:lnTo>
                    <a:lnTo>
                      <a:pt x="193" y="123"/>
                    </a:lnTo>
                    <a:lnTo>
                      <a:pt x="195" y="127"/>
                    </a:lnTo>
                    <a:lnTo>
                      <a:pt x="199" y="127"/>
                    </a:lnTo>
                    <a:lnTo>
                      <a:pt x="202" y="126"/>
                    </a:lnTo>
                    <a:lnTo>
                      <a:pt x="207" y="122"/>
                    </a:lnTo>
                    <a:lnTo>
                      <a:pt x="212" y="119"/>
                    </a:lnTo>
                    <a:lnTo>
                      <a:pt x="214" y="116"/>
                    </a:lnTo>
                    <a:lnTo>
                      <a:pt x="216" y="112"/>
                    </a:lnTo>
                    <a:lnTo>
                      <a:pt x="221" y="110"/>
                    </a:lnTo>
                    <a:lnTo>
                      <a:pt x="226" y="107"/>
                    </a:lnTo>
                    <a:lnTo>
                      <a:pt x="228" y="99"/>
                    </a:lnTo>
                    <a:lnTo>
                      <a:pt x="236" y="90"/>
                    </a:lnTo>
                    <a:lnTo>
                      <a:pt x="238" y="81"/>
                    </a:lnTo>
                    <a:lnTo>
                      <a:pt x="242" y="74"/>
                    </a:lnTo>
                    <a:lnTo>
                      <a:pt x="236" y="75"/>
                    </a:lnTo>
                    <a:lnTo>
                      <a:pt x="229" y="73"/>
                    </a:lnTo>
                    <a:lnTo>
                      <a:pt x="233" y="68"/>
                    </a:lnTo>
                    <a:lnTo>
                      <a:pt x="229" y="59"/>
                    </a:lnTo>
                    <a:lnTo>
                      <a:pt x="239" y="63"/>
                    </a:lnTo>
                    <a:lnTo>
                      <a:pt x="240" y="56"/>
                    </a:lnTo>
                    <a:lnTo>
                      <a:pt x="244" y="59"/>
                    </a:lnTo>
                    <a:lnTo>
                      <a:pt x="242" y="50"/>
                    </a:lnTo>
                    <a:lnTo>
                      <a:pt x="245" y="49"/>
                    </a:lnTo>
                    <a:lnTo>
                      <a:pt x="247" y="45"/>
                    </a:lnTo>
                    <a:lnTo>
                      <a:pt x="253" y="45"/>
                    </a:lnTo>
                    <a:lnTo>
                      <a:pt x="261" y="40"/>
                    </a:lnTo>
                    <a:lnTo>
                      <a:pt x="260" y="29"/>
                    </a:lnTo>
                    <a:lnTo>
                      <a:pt x="260" y="29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/>
              </a:p>
            </p:txBody>
          </p:sp>
          <p:sp>
            <p:nvSpPr>
              <p:cNvPr id="150" name="Овал 149">
                <a:extLst>
                  <a:ext uri="{FF2B5EF4-FFF2-40B4-BE49-F238E27FC236}">
                    <a16:creationId xmlns:a16="http://schemas.microsoft.com/office/drawing/2014/main" id="{253B196C-88CD-DDCA-0989-4DD19829EEFE}"/>
                  </a:ext>
                </a:extLst>
              </p:cNvPr>
              <p:cNvSpPr/>
              <p:nvPr/>
            </p:nvSpPr>
            <p:spPr>
              <a:xfrm>
                <a:off x="2199144" y="3378054"/>
                <a:ext cx="156273" cy="15582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5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463" dirty="0"/>
              </a:p>
            </p:txBody>
          </p:sp>
        </p:grpSp>
        <p:sp>
          <p:nvSpPr>
            <p:cNvPr id="124" name="Freeform 5">
              <a:extLst>
                <a:ext uri="{FF2B5EF4-FFF2-40B4-BE49-F238E27FC236}">
                  <a16:creationId xmlns:a16="http://schemas.microsoft.com/office/drawing/2014/main" id="{A0C65CE0-EE70-9803-7644-3A8EA4D43F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019" y="4183667"/>
              <a:ext cx="129622" cy="149726"/>
            </a:xfrm>
            <a:custGeom>
              <a:avLst/>
              <a:gdLst>
                <a:gd name="T0" fmla="*/ 262 w 275"/>
                <a:gd name="T1" fmla="*/ 177 h 318"/>
                <a:gd name="T2" fmla="*/ 223 w 275"/>
                <a:gd name="T3" fmla="*/ 214 h 318"/>
                <a:gd name="T4" fmla="*/ 235 w 275"/>
                <a:gd name="T5" fmla="*/ 218 h 318"/>
                <a:gd name="T6" fmla="*/ 152 w 275"/>
                <a:gd name="T7" fmla="*/ 260 h 318"/>
                <a:gd name="T8" fmla="*/ 152 w 275"/>
                <a:gd name="T9" fmla="*/ 119 h 318"/>
                <a:gd name="T10" fmla="*/ 185 w 275"/>
                <a:gd name="T11" fmla="*/ 119 h 318"/>
                <a:gd name="T12" fmla="*/ 195 w 275"/>
                <a:gd name="T13" fmla="*/ 124 h 318"/>
                <a:gd name="T14" fmla="*/ 210 w 275"/>
                <a:gd name="T15" fmla="*/ 109 h 318"/>
                <a:gd name="T16" fmla="*/ 195 w 275"/>
                <a:gd name="T17" fmla="*/ 94 h 318"/>
                <a:gd name="T18" fmla="*/ 185 w 275"/>
                <a:gd name="T19" fmla="*/ 98 h 318"/>
                <a:gd name="T20" fmla="*/ 152 w 275"/>
                <a:gd name="T21" fmla="*/ 98 h 318"/>
                <a:gd name="T22" fmla="*/ 152 w 275"/>
                <a:gd name="T23" fmla="*/ 81 h 318"/>
                <a:gd name="T24" fmla="*/ 179 w 275"/>
                <a:gd name="T25" fmla="*/ 42 h 318"/>
                <a:gd name="T26" fmla="*/ 137 w 275"/>
                <a:gd name="T27" fmla="*/ 0 h 318"/>
                <a:gd name="T28" fmla="*/ 95 w 275"/>
                <a:gd name="T29" fmla="*/ 42 h 318"/>
                <a:gd name="T30" fmla="*/ 125 w 275"/>
                <a:gd name="T31" fmla="*/ 82 h 318"/>
                <a:gd name="T32" fmla="*/ 125 w 275"/>
                <a:gd name="T33" fmla="*/ 98 h 318"/>
                <a:gd name="T34" fmla="*/ 90 w 275"/>
                <a:gd name="T35" fmla="*/ 98 h 318"/>
                <a:gd name="T36" fmla="*/ 79 w 275"/>
                <a:gd name="T37" fmla="*/ 94 h 318"/>
                <a:gd name="T38" fmla="*/ 64 w 275"/>
                <a:gd name="T39" fmla="*/ 109 h 318"/>
                <a:gd name="T40" fmla="*/ 79 w 275"/>
                <a:gd name="T41" fmla="*/ 124 h 318"/>
                <a:gd name="T42" fmla="*/ 90 w 275"/>
                <a:gd name="T43" fmla="*/ 119 h 318"/>
                <a:gd name="T44" fmla="*/ 125 w 275"/>
                <a:gd name="T45" fmla="*/ 119 h 318"/>
                <a:gd name="T46" fmla="*/ 125 w 275"/>
                <a:gd name="T47" fmla="*/ 260 h 318"/>
                <a:gd name="T48" fmla="*/ 40 w 275"/>
                <a:gd name="T49" fmla="*/ 213 h 318"/>
                <a:gd name="T50" fmla="*/ 52 w 275"/>
                <a:gd name="T51" fmla="*/ 210 h 318"/>
                <a:gd name="T52" fmla="*/ 16 w 275"/>
                <a:gd name="T53" fmla="*/ 171 h 318"/>
                <a:gd name="T54" fmla="*/ 0 w 275"/>
                <a:gd name="T55" fmla="*/ 222 h 318"/>
                <a:gd name="T56" fmla="*/ 13 w 275"/>
                <a:gd name="T57" fmla="*/ 219 h 318"/>
                <a:gd name="T58" fmla="*/ 131 w 275"/>
                <a:gd name="T59" fmla="*/ 302 h 318"/>
                <a:gd name="T60" fmla="*/ 139 w 275"/>
                <a:gd name="T61" fmla="*/ 318 h 318"/>
                <a:gd name="T62" fmla="*/ 147 w 275"/>
                <a:gd name="T63" fmla="*/ 302 h 318"/>
                <a:gd name="T64" fmla="*/ 261 w 275"/>
                <a:gd name="T65" fmla="*/ 226 h 318"/>
                <a:gd name="T66" fmla="*/ 275 w 275"/>
                <a:gd name="T67" fmla="*/ 229 h 318"/>
                <a:gd name="T68" fmla="*/ 262 w 275"/>
                <a:gd name="T69" fmla="*/ 177 h 318"/>
                <a:gd name="T70" fmla="*/ 115 w 275"/>
                <a:gd name="T71" fmla="*/ 42 h 318"/>
                <a:gd name="T72" fmla="*/ 137 w 275"/>
                <a:gd name="T73" fmla="*/ 20 h 318"/>
                <a:gd name="T74" fmla="*/ 159 w 275"/>
                <a:gd name="T75" fmla="*/ 42 h 318"/>
                <a:gd name="T76" fmla="*/ 137 w 275"/>
                <a:gd name="T77" fmla="*/ 64 h 318"/>
                <a:gd name="T78" fmla="*/ 115 w 275"/>
                <a:gd name="T79" fmla="*/ 4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5" h="318">
                  <a:moveTo>
                    <a:pt x="262" y="177"/>
                  </a:moveTo>
                  <a:cubicBezTo>
                    <a:pt x="223" y="214"/>
                    <a:pt x="223" y="214"/>
                    <a:pt x="223" y="214"/>
                  </a:cubicBezTo>
                  <a:cubicBezTo>
                    <a:pt x="235" y="218"/>
                    <a:pt x="235" y="218"/>
                    <a:pt x="235" y="218"/>
                  </a:cubicBezTo>
                  <a:cubicBezTo>
                    <a:pt x="218" y="246"/>
                    <a:pt x="187" y="258"/>
                    <a:pt x="152" y="260"/>
                  </a:cubicBezTo>
                  <a:cubicBezTo>
                    <a:pt x="152" y="119"/>
                    <a:pt x="152" y="119"/>
                    <a:pt x="152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7" y="122"/>
                    <a:pt x="191" y="124"/>
                    <a:pt x="195" y="124"/>
                  </a:cubicBezTo>
                  <a:cubicBezTo>
                    <a:pt x="203" y="124"/>
                    <a:pt x="210" y="117"/>
                    <a:pt x="210" y="109"/>
                  </a:cubicBezTo>
                  <a:cubicBezTo>
                    <a:pt x="210" y="100"/>
                    <a:pt x="203" y="94"/>
                    <a:pt x="195" y="94"/>
                  </a:cubicBezTo>
                  <a:cubicBezTo>
                    <a:pt x="191" y="94"/>
                    <a:pt x="187" y="95"/>
                    <a:pt x="185" y="98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2" y="81"/>
                    <a:pt x="152" y="81"/>
                    <a:pt x="152" y="81"/>
                  </a:cubicBezTo>
                  <a:cubicBezTo>
                    <a:pt x="168" y="75"/>
                    <a:pt x="179" y="60"/>
                    <a:pt x="179" y="42"/>
                  </a:cubicBezTo>
                  <a:cubicBezTo>
                    <a:pt x="179" y="19"/>
                    <a:pt x="160" y="0"/>
                    <a:pt x="137" y="0"/>
                  </a:cubicBezTo>
                  <a:cubicBezTo>
                    <a:pt x="114" y="0"/>
                    <a:pt x="95" y="19"/>
                    <a:pt x="95" y="42"/>
                  </a:cubicBezTo>
                  <a:cubicBezTo>
                    <a:pt x="95" y="61"/>
                    <a:pt x="108" y="77"/>
                    <a:pt x="125" y="82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87" y="95"/>
                    <a:pt x="83" y="94"/>
                    <a:pt x="79" y="94"/>
                  </a:cubicBezTo>
                  <a:cubicBezTo>
                    <a:pt x="71" y="94"/>
                    <a:pt x="64" y="100"/>
                    <a:pt x="64" y="109"/>
                  </a:cubicBezTo>
                  <a:cubicBezTo>
                    <a:pt x="64" y="117"/>
                    <a:pt x="71" y="124"/>
                    <a:pt x="79" y="124"/>
                  </a:cubicBezTo>
                  <a:cubicBezTo>
                    <a:pt x="83" y="124"/>
                    <a:pt x="87" y="122"/>
                    <a:pt x="90" y="119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89" y="257"/>
                    <a:pt x="57" y="243"/>
                    <a:pt x="40" y="213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33" y="263"/>
                    <a:pt x="79" y="298"/>
                    <a:pt x="131" y="302"/>
                  </a:cubicBezTo>
                  <a:cubicBezTo>
                    <a:pt x="139" y="318"/>
                    <a:pt x="139" y="318"/>
                    <a:pt x="139" y="318"/>
                  </a:cubicBezTo>
                  <a:cubicBezTo>
                    <a:pt x="147" y="302"/>
                    <a:pt x="147" y="302"/>
                    <a:pt x="147" y="302"/>
                  </a:cubicBezTo>
                  <a:cubicBezTo>
                    <a:pt x="196" y="299"/>
                    <a:pt x="240" y="266"/>
                    <a:pt x="261" y="226"/>
                  </a:cubicBezTo>
                  <a:cubicBezTo>
                    <a:pt x="275" y="229"/>
                    <a:pt x="275" y="229"/>
                    <a:pt x="275" y="229"/>
                  </a:cubicBezTo>
                  <a:lnTo>
                    <a:pt x="262" y="177"/>
                  </a:lnTo>
                  <a:close/>
                  <a:moveTo>
                    <a:pt x="115" y="42"/>
                  </a:moveTo>
                  <a:cubicBezTo>
                    <a:pt x="115" y="30"/>
                    <a:pt x="125" y="20"/>
                    <a:pt x="137" y="20"/>
                  </a:cubicBezTo>
                  <a:cubicBezTo>
                    <a:pt x="149" y="20"/>
                    <a:pt x="159" y="30"/>
                    <a:pt x="159" y="42"/>
                  </a:cubicBezTo>
                  <a:cubicBezTo>
                    <a:pt x="159" y="54"/>
                    <a:pt x="149" y="64"/>
                    <a:pt x="137" y="64"/>
                  </a:cubicBezTo>
                  <a:cubicBezTo>
                    <a:pt x="125" y="64"/>
                    <a:pt x="115" y="54"/>
                    <a:pt x="11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125" name="Freeform 5">
              <a:extLst>
                <a:ext uri="{FF2B5EF4-FFF2-40B4-BE49-F238E27FC236}">
                  <a16:creationId xmlns:a16="http://schemas.microsoft.com/office/drawing/2014/main" id="{55088F22-4E01-4BBB-BB62-435125DA6A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00" y="4456421"/>
              <a:ext cx="129622" cy="149726"/>
            </a:xfrm>
            <a:custGeom>
              <a:avLst/>
              <a:gdLst>
                <a:gd name="T0" fmla="*/ 262 w 275"/>
                <a:gd name="T1" fmla="*/ 177 h 318"/>
                <a:gd name="T2" fmla="*/ 223 w 275"/>
                <a:gd name="T3" fmla="*/ 214 h 318"/>
                <a:gd name="T4" fmla="*/ 235 w 275"/>
                <a:gd name="T5" fmla="*/ 218 h 318"/>
                <a:gd name="T6" fmla="*/ 152 w 275"/>
                <a:gd name="T7" fmla="*/ 260 h 318"/>
                <a:gd name="T8" fmla="*/ 152 w 275"/>
                <a:gd name="T9" fmla="*/ 119 h 318"/>
                <a:gd name="T10" fmla="*/ 185 w 275"/>
                <a:gd name="T11" fmla="*/ 119 h 318"/>
                <a:gd name="T12" fmla="*/ 195 w 275"/>
                <a:gd name="T13" fmla="*/ 124 h 318"/>
                <a:gd name="T14" fmla="*/ 210 w 275"/>
                <a:gd name="T15" fmla="*/ 109 h 318"/>
                <a:gd name="T16" fmla="*/ 195 w 275"/>
                <a:gd name="T17" fmla="*/ 94 h 318"/>
                <a:gd name="T18" fmla="*/ 185 w 275"/>
                <a:gd name="T19" fmla="*/ 98 h 318"/>
                <a:gd name="T20" fmla="*/ 152 w 275"/>
                <a:gd name="T21" fmla="*/ 98 h 318"/>
                <a:gd name="T22" fmla="*/ 152 w 275"/>
                <a:gd name="T23" fmla="*/ 81 h 318"/>
                <a:gd name="T24" fmla="*/ 179 w 275"/>
                <a:gd name="T25" fmla="*/ 42 h 318"/>
                <a:gd name="T26" fmla="*/ 137 w 275"/>
                <a:gd name="T27" fmla="*/ 0 h 318"/>
                <a:gd name="T28" fmla="*/ 95 w 275"/>
                <a:gd name="T29" fmla="*/ 42 h 318"/>
                <a:gd name="T30" fmla="*/ 125 w 275"/>
                <a:gd name="T31" fmla="*/ 82 h 318"/>
                <a:gd name="T32" fmla="*/ 125 w 275"/>
                <a:gd name="T33" fmla="*/ 98 h 318"/>
                <a:gd name="T34" fmla="*/ 90 w 275"/>
                <a:gd name="T35" fmla="*/ 98 h 318"/>
                <a:gd name="T36" fmla="*/ 79 w 275"/>
                <a:gd name="T37" fmla="*/ 94 h 318"/>
                <a:gd name="T38" fmla="*/ 64 w 275"/>
                <a:gd name="T39" fmla="*/ 109 h 318"/>
                <a:gd name="T40" fmla="*/ 79 w 275"/>
                <a:gd name="T41" fmla="*/ 124 h 318"/>
                <a:gd name="T42" fmla="*/ 90 w 275"/>
                <a:gd name="T43" fmla="*/ 119 h 318"/>
                <a:gd name="T44" fmla="*/ 125 w 275"/>
                <a:gd name="T45" fmla="*/ 119 h 318"/>
                <a:gd name="T46" fmla="*/ 125 w 275"/>
                <a:gd name="T47" fmla="*/ 260 h 318"/>
                <a:gd name="T48" fmla="*/ 40 w 275"/>
                <a:gd name="T49" fmla="*/ 213 h 318"/>
                <a:gd name="T50" fmla="*/ 52 w 275"/>
                <a:gd name="T51" fmla="*/ 210 h 318"/>
                <a:gd name="T52" fmla="*/ 16 w 275"/>
                <a:gd name="T53" fmla="*/ 171 h 318"/>
                <a:gd name="T54" fmla="*/ 0 w 275"/>
                <a:gd name="T55" fmla="*/ 222 h 318"/>
                <a:gd name="T56" fmla="*/ 13 w 275"/>
                <a:gd name="T57" fmla="*/ 219 h 318"/>
                <a:gd name="T58" fmla="*/ 131 w 275"/>
                <a:gd name="T59" fmla="*/ 302 h 318"/>
                <a:gd name="T60" fmla="*/ 139 w 275"/>
                <a:gd name="T61" fmla="*/ 318 h 318"/>
                <a:gd name="T62" fmla="*/ 147 w 275"/>
                <a:gd name="T63" fmla="*/ 302 h 318"/>
                <a:gd name="T64" fmla="*/ 261 w 275"/>
                <a:gd name="T65" fmla="*/ 226 h 318"/>
                <a:gd name="T66" fmla="*/ 275 w 275"/>
                <a:gd name="T67" fmla="*/ 229 h 318"/>
                <a:gd name="T68" fmla="*/ 262 w 275"/>
                <a:gd name="T69" fmla="*/ 177 h 318"/>
                <a:gd name="T70" fmla="*/ 115 w 275"/>
                <a:gd name="T71" fmla="*/ 42 h 318"/>
                <a:gd name="T72" fmla="*/ 137 w 275"/>
                <a:gd name="T73" fmla="*/ 20 h 318"/>
                <a:gd name="T74" fmla="*/ 159 w 275"/>
                <a:gd name="T75" fmla="*/ 42 h 318"/>
                <a:gd name="T76" fmla="*/ 137 w 275"/>
                <a:gd name="T77" fmla="*/ 64 h 318"/>
                <a:gd name="T78" fmla="*/ 115 w 275"/>
                <a:gd name="T79" fmla="*/ 4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5" h="318">
                  <a:moveTo>
                    <a:pt x="262" y="177"/>
                  </a:moveTo>
                  <a:cubicBezTo>
                    <a:pt x="223" y="214"/>
                    <a:pt x="223" y="214"/>
                    <a:pt x="223" y="214"/>
                  </a:cubicBezTo>
                  <a:cubicBezTo>
                    <a:pt x="235" y="218"/>
                    <a:pt x="235" y="218"/>
                    <a:pt x="235" y="218"/>
                  </a:cubicBezTo>
                  <a:cubicBezTo>
                    <a:pt x="218" y="246"/>
                    <a:pt x="187" y="258"/>
                    <a:pt x="152" y="260"/>
                  </a:cubicBezTo>
                  <a:cubicBezTo>
                    <a:pt x="152" y="119"/>
                    <a:pt x="152" y="119"/>
                    <a:pt x="152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7" y="122"/>
                    <a:pt x="191" y="124"/>
                    <a:pt x="195" y="124"/>
                  </a:cubicBezTo>
                  <a:cubicBezTo>
                    <a:pt x="203" y="124"/>
                    <a:pt x="210" y="117"/>
                    <a:pt x="210" y="109"/>
                  </a:cubicBezTo>
                  <a:cubicBezTo>
                    <a:pt x="210" y="100"/>
                    <a:pt x="203" y="94"/>
                    <a:pt x="195" y="94"/>
                  </a:cubicBezTo>
                  <a:cubicBezTo>
                    <a:pt x="191" y="94"/>
                    <a:pt x="187" y="95"/>
                    <a:pt x="185" y="98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2" y="81"/>
                    <a:pt x="152" y="81"/>
                    <a:pt x="152" y="81"/>
                  </a:cubicBezTo>
                  <a:cubicBezTo>
                    <a:pt x="168" y="75"/>
                    <a:pt x="179" y="60"/>
                    <a:pt x="179" y="42"/>
                  </a:cubicBezTo>
                  <a:cubicBezTo>
                    <a:pt x="179" y="19"/>
                    <a:pt x="160" y="0"/>
                    <a:pt x="137" y="0"/>
                  </a:cubicBezTo>
                  <a:cubicBezTo>
                    <a:pt x="114" y="0"/>
                    <a:pt x="95" y="19"/>
                    <a:pt x="95" y="42"/>
                  </a:cubicBezTo>
                  <a:cubicBezTo>
                    <a:pt x="95" y="61"/>
                    <a:pt x="108" y="77"/>
                    <a:pt x="125" y="82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87" y="95"/>
                    <a:pt x="83" y="94"/>
                    <a:pt x="79" y="94"/>
                  </a:cubicBezTo>
                  <a:cubicBezTo>
                    <a:pt x="71" y="94"/>
                    <a:pt x="64" y="100"/>
                    <a:pt x="64" y="109"/>
                  </a:cubicBezTo>
                  <a:cubicBezTo>
                    <a:pt x="64" y="117"/>
                    <a:pt x="71" y="124"/>
                    <a:pt x="79" y="124"/>
                  </a:cubicBezTo>
                  <a:cubicBezTo>
                    <a:pt x="83" y="124"/>
                    <a:pt x="87" y="122"/>
                    <a:pt x="90" y="119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89" y="257"/>
                    <a:pt x="57" y="243"/>
                    <a:pt x="40" y="213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33" y="263"/>
                    <a:pt x="79" y="298"/>
                    <a:pt x="131" y="302"/>
                  </a:cubicBezTo>
                  <a:cubicBezTo>
                    <a:pt x="139" y="318"/>
                    <a:pt x="139" y="318"/>
                    <a:pt x="139" y="318"/>
                  </a:cubicBezTo>
                  <a:cubicBezTo>
                    <a:pt x="147" y="302"/>
                    <a:pt x="147" y="302"/>
                    <a:pt x="147" y="302"/>
                  </a:cubicBezTo>
                  <a:cubicBezTo>
                    <a:pt x="196" y="299"/>
                    <a:pt x="240" y="266"/>
                    <a:pt x="261" y="226"/>
                  </a:cubicBezTo>
                  <a:cubicBezTo>
                    <a:pt x="275" y="229"/>
                    <a:pt x="275" y="229"/>
                    <a:pt x="275" y="229"/>
                  </a:cubicBezTo>
                  <a:lnTo>
                    <a:pt x="262" y="177"/>
                  </a:lnTo>
                  <a:close/>
                  <a:moveTo>
                    <a:pt x="115" y="42"/>
                  </a:moveTo>
                  <a:cubicBezTo>
                    <a:pt x="115" y="30"/>
                    <a:pt x="125" y="20"/>
                    <a:pt x="137" y="20"/>
                  </a:cubicBezTo>
                  <a:cubicBezTo>
                    <a:pt x="149" y="20"/>
                    <a:pt x="159" y="30"/>
                    <a:pt x="159" y="42"/>
                  </a:cubicBezTo>
                  <a:cubicBezTo>
                    <a:pt x="159" y="54"/>
                    <a:pt x="149" y="64"/>
                    <a:pt x="137" y="64"/>
                  </a:cubicBezTo>
                  <a:cubicBezTo>
                    <a:pt x="125" y="64"/>
                    <a:pt x="115" y="54"/>
                    <a:pt x="11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72F07DD7-ACE7-E96B-BB0A-D0C4715E15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038" y="4370323"/>
              <a:ext cx="129622" cy="149726"/>
            </a:xfrm>
            <a:custGeom>
              <a:avLst/>
              <a:gdLst>
                <a:gd name="T0" fmla="*/ 262 w 275"/>
                <a:gd name="T1" fmla="*/ 177 h 318"/>
                <a:gd name="T2" fmla="*/ 223 w 275"/>
                <a:gd name="T3" fmla="*/ 214 h 318"/>
                <a:gd name="T4" fmla="*/ 235 w 275"/>
                <a:gd name="T5" fmla="*/ 218 h 318"/>
                <a:gd name="T6" fmla="*/ 152 w 275"/>
                <a:gd name="T7" fmla="*/ 260 h 318"/>
                <a:gd name="T8" fmla="*/ 152 w 275"/>
                <a:gd name="T9" fmla="*/ 119 h 318"/>
                <a:gd name="T10" fmla="*/ 185 w 275"/>
                <a:gd name="T11" fmla="*/ 119 h 318"/>
                <a:gd name="T12" fmla="*/ 195 w 275"/>
                <a:gd name="T13" fmla="*/ 124 h 318"/>
                <a:gd name="T14" fmla="*/ 210 w 275"/>
                <a:gd name="T15" fmla="*/ 109 h 318"/>
                <a:gd name="T16" fmla="*/ 195 w 275"/>
                <a:gd name="T17" fmla="*/ 94 h 318"/>
                <a:gd name="T18" fmla="*/ 185 w 275"/>
                <a:gd name="T19" fmla="*/ 98 h 318"/>
                <a:gd name="T20" fmla="*/ 152 w 275"/>
                <a:gd name="T21" fmla="*/ 98 h 318"/>
                <a:gd name="T22" fmla="*/ 152 w 275"/>
                <a:gd name="T23" fmla="*/ 81 h 318"/>
                <a:gd name="T24" fmla="*/ 179 w 275"/>
                <a:gd name="T25" fmla="*/ 42 h 318"/>
                <a:gd name="T26" fmla="*/ 137 w 275"/>
                <a:gd name="T27" fmla="*/ 0 h 318"/>
                <a:gd name="T28" fmla="*/ 95 w 275"/>
                <a:gd name="T29" fmla="*/ 42 h 318"/>
                <a:gd name="T30" fmla="*/ 125 w 275"/>
                <a:gd name="T31" fmla="*/ 82 h 318"/>
                <a:gd name="T32" fmla="*/ 125 w 275"/>
                <a:gd name="T33" fmla="*/ 98 h 318"/>
                <a:gd name="T34" fmla="*/ 90 w 275"/>
                <a:gd name="T35" fmla="*/ 98 h 318"/>
                <a:gd name="T36" fmla="*/ 79 w 275"/>
                <a:gd name="T37" fmla="*/ 94 h 318"/>
                <a:gd name="T38" fmla="*/ 64 w 275"/>
                <a:gd name="T39" fmla="*/ 109 h 318"/>
                <a:gd name="T40" fmla="*/ 79 w 275"/>
                <a:gd name="T41" fmla="*/ 124 h 318"/>
                <a:gd name="T42" fmla="*/ 90 w 275"/>
                <a:gd name="T43" fmla="*/ 119 h 318"/>
                <a:gd name="T44" fmla="*/ 125 w 275"/>
                <a:gd name="T45" fmla="*/ 119 h 318"/>
                <a:gd name="T46" fmla="*/ 125 w 275"/>
                <a:gd name="T47" fmla="*/ 260 h 318"/>
                <a:gd name="T48" fmla="*/ 40 w 275"/>
                <a:gd name="T49" fmla="*/ 213 h 318"/>
                <a:gd name="T50" fmla="*/ 52 w 275"/>
                <a:gd name="T51" fmla="*/ 210 h 318"/>
                <a:gd name="T52" fmla="*/ 16 w 275"/>
                <a:gd name="T53" fmla="*/ 171 h 318"/>
                <a:gd name="T54" fmla="*/ 0 w 275"/>
                <a:gd name="T55" fmla="*/ 222 h 318"/>
                <a:gd name="T56" fmla="*/ 13 w 275"/>
                <a:gd name="T57" fmla="*/ 219 h 318"/>
                <a:gd name="T58" fmla="*/ 131 w 275"/>
                <a:gd name="T59" fmla="*/ 302 h 318"/>
                <a:gd name="T60" fmla="*/ 139 w 275"/>
                <a:gd name="T61" fmla="*/ 318 h 318"/>
                <a:gd name="T62" fmla="*/ 147 w 275"/>
                <a:gd name="T63" fmla="*/ 302 h 318"/>
                <a:gd name="T64" fmla="*/ 261 w 275"/>
                <a:gd name="T65" fmla="*/ 226 h 318"/>
                <a:gd name="T66" fmla="*/ 275 w 275"/>
                <a:gd name="T67" fmla="*/ 229 h 318"/>
                <a:gd name="T68" fmla="*/ 262 w 275"/>
                <a:gd name="T69" fmla="*/ 177 h 318"/>
                <a:gd name="T70" fmla="*/ 115 w 275"/>
                <a:gd name="T71" fmla="*/ 42 h 318"/>
                <a:gd name="T72" fmla="*/ 137 w 275"/>
                <a:gd name="T73" fmla="*/ 20 h 318"/>
                <a:gd name="T74" fmla="*/ 159 w 275"/>
                <a:gd name="T75" fmla="*/ 42 h 318"/>
                <a:gd name="T76" fmla="*/ 137 w 275"/>
                <a:gd name="T77" fmla="*/ 64 h 318"/>
                <a:gd name="T78" fmla="*/ 115 w 275"/>
                <a:gd name="T79" fmla="*/ 4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5" h="318">
                  <a:moveTo>
                    <a:pt x="262" y="177"/>
                  </a:moveTo>
                  <a:cubicBezTo>
                    <a:pt x="223" y="214"/>
                    <a:pt x="223" y="214"/>
                    <a:pt x="223" y="214"/>
                  </a:cubicBezTo>
                  <a:cubicBezTo>
                    <a:pt x="235" y="218"/>
                    <a:pt x="235" y="218"/>
                    <a:pt x="235" y="218"/>
                  </a:cubicBezTo>
                  <a:cubicBezTo>
                    <a:pt x="218" y="246"/>
                    <a:pt x="187" y="258"/>
                    <a:pt x="152" y="260"/>
                  </a:cubicBezTo>
                  <a:cubicBezTo>
                    <a:pt x="152" y="119"/>
                    <a:pt x="152" y="119"/>
                    <a:pt x="152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7" y="122"/>
                    <a:pt x="191" y="124"/>
                    <a:pt x="195" y="124"/>
                  </a:cubicBezTo>
                  <a:cubicBezTo>
                    <a:pt x="203" y="124"/>
                    <a:pt x="210" y="117"/>
                    <a:pt x="210" y="109"/>
                  </a:cubicBezTo>
                  <a:cubicBezTo>
                    <a:pt x="210" y="100"/>
                    <a:pt x="203" y="94"/>
                    <a:pt x="195" y="94"/>
                  </a:cubicBezTo>
                  <a:cubicBezTo>
                    <a:pt x="191" y="94"/>
                    <a:pt x="187" y="95"/>
                    <a:pt x="185" y="98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2" y="81"/>
                    <a:pt x="152" y="81"/>
                    <a:pt x="152" y="81"/>
                  </a:cubicBezTo>
                  <a:cubicBezTo>
                    <a:pt x="168" y="75"/>
                    <a:pt x="179" y="60"/>
                    <a:pt x="179" y="42"/>
                  </a:cubicBezTo>
                  <a:cubicBezTo>
                    <a:pt x="179" y="19"/>
                    <a:pt x="160" y="0"/>
                    <a:pt x="137" y="0"/>
                  </a:cubicBezTo>
                  <a:cubicBezTo>
                    <a:pt x="114" y="0"/>
                    <a:pt x="95" y="19"/>
                    <a:pt x="95" y="42"/>
                  </a:cubicBezTo>
                  <a:cubicBezTo>
                    <a:pt x="95" y="61"/>
                    <a:pt x="108" y="77"/>
                    <a:pt x="125" y="82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87" y="95"/>
                    <a:pt x="83" y="94"/>
                    <a:pt x="79" y="94"/>
                  </a:cubicBezTo>
                  <a:cubicBezTo>
                    <a:pt x="71" y="94"/>
                    <a:pt x="64" y="100"/>
                    <a:pt x="64" y="109"/>
                  </a:cubicBezTo>
                  <a:cubicBezTo>
                    <a:pt x="64" y="117"/>
                    <a:pt x="71" y="124"/>
                    <a:pt x="79" y="124"/>
                  </a:cubicBezTo>
                  <a:cubicBezTo>
                    <a:pt x="83" y="124"/>
                    <a:pt x="87" y="122"/>
                    <a:pt x="90" y="119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89" y="257"/>
                    <a:pt x="57" y="243"/>
                    <a:pt x="40" y="213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33" y="263"/>
                    <a:pt x="79" y="298"/>
                    <a:pt x="131" y="302"/>
                  </a:cubicBezTo>
                  <a:cubicBezTo>
                    <a:pt x="139" y="318"/>
                    <a:pt x="139" y="318"/>
                    <a:pt x="139" y="318"/>
                  </a:cubicBezTo>
                  <a:cubicBezTo>
                    <a:pt x="147" y="302"/>
                    <a:pt x="147" y="302"/>
                    <a:pt x="147" y="302"/>
                  </a:cubicBezTo>
                  <a:cubicBezTo>
                    <a:pt x="196" y="299"/>
                    <a:pt x="240" y="266"/>
                    <a:pt x="261" y="226"/>
                  </a:cubicBezTo>
                  <a:cubicBezTo>
                    <a:pt x="275" y="229"/>
                    <a:pt x="275" y="229"/>
                    <a:pt x="275" y="229"/>
                  </a:cubicBezTo>
                  <a:lnTo>
                    <a:pt x="262" y="177"/>
                  </a:lnTo>
                  <a:close/>
                  <a:moveTo>
                    <a:pt x="115" y="42"/>
                  </a:moveTo>
                  <a:cubicBezTo>
                    <a:pt x="115" y="30"/>
                    <a:pt x="125" y="20"/>
                    <a:pt x="137" y="20"/>
                  </a:cubicBezTo>
                  <a:cubicBezTo>
                    <a:pt x="149" y="20"/>
                    <a:pt x="159" y="30"/>
                    <a:pt x="159" y="42"/>
                  </a:cubicBezTo>
                  <a:cubicBezTo>
                    <a:pt x="159" y="54"/>
                    <a:pt x="149" y="64"/>
                    <a:pt x="137" y="64"/>
                  </a:cubicBezTo>
                  <a:cubicBezTo>
                    <a:pt x="125" y="64"/>
                    <a:pt x="115" y="54"/>
                    <a:pt x="11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  <p:sp>
          <p:nvSpPr>
            <p:cNvPr id="127" name="Freeform 5">
              <a:extLst>
                <a:ext uri="{FF2B5EF4-FFF2-40B4-BE49-F238E27FC236}">
                  <a16:creationId xmlns:a16="http://schemas.microsoft.com/office/drawing/2014/main" id="{047204A4-A3CD-ED05-41F6-FB867CF32D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1121" y="4202245"/>
              <a:ext cx="129622" cy="149726"/>
            </a:xfrm>
            <a:custGeom>
              <a:avLst/>
              <a:gdLst>
                <a:gd name="T0" fmla="*/ 262 w 275"/>
                <a:gd name="T1" fmla="*/ 177 h 318"/>
                <a:gd name="T2" fmla="*/ 223 w 275"/>
                <a:gd name="T3" fmla="*/ 214 h 318"/>
                <a:gd name="T4" fmla="*/ 235 w 275"/>
                <a:gd name="T5" fmla="*/ 218 h 318"/>
                <a:gd name="T6" fmla="*/ 152 w 275"/>
                <a:gd name="T7" fmla="*/ 260 h 318"/>
                <a:gd name="T8" fmla="*/ 152 w 275"/>
                <a:gd name="T9" fmla="*/ 119 h 318"/>
                <a:gd name="T10" fmla="*/ 185 w 275"/>
                <a:gd name="T11" fmla="*/ 119 h 318"/>
                <a:gd name="T12" fmla="*/ 195 w 275"/>
                <a:gd name="T13" fmla="*/ 124 h 318"/>
                <a:gd name="T14" fmla="*/ 210 w 275"/>
                <a:gd name="T15" fmla="*/ 109 h 318"/>
                <a:gd name="T16" fmla="*/ 195 w 275"/>
                <a:gd name="T17" fmla="*/ 94 h 318"/>
                <a:gd name="T18" fmla="*/ 185 w 275"/>
                <a:gd name="T19" fmla="*/ 98 h 318"/>
                <a:gd name="T20" fmla="*/ 152 w 275"/>
                <a:gd name="T21" fmla="*/ 98 h 318"/>
                <a:gd name="T22" fmla="*/ 152 w 275"/>
                <a:gd name="T23" fmla="*/ 81 h 318"/>
                <a:gd name="T24" fmla="*/ 179 w 275"/>
                <a:gd name="T25" fmla="*/ 42 h 318"/>
                <a:gd name="T26" fmla="*/ 137 w 275"/>
                <a:gd name="T27" fmla="*/ 0 h 318"/>
                <a:gd name="T28" fmla="*/ 95 w 275"/>
                <a:gd name="T29" fmla="*/ 42 h 318"/>
                <a:gd name="T30" fmla="*/ 125 w 275"/>
                <a:gd name="T31" fmla="*/ 82 h 318"/>
                <a:gd name="T32" fmla="*/ 125 w 275"/>
                <a:gd name="T33" fmla="*/ 98 h 318"/>
                <a:gd name="T34" fmla="*/ 90 w 275"/>
                <a:gd name="T35" fmla="*/ 98 h 318"/>
                <a:gd name="T36" fmla="*/ 79 w 275"/>
                <a:gd name="T37" fmla="*/ 94 h 318"/>
                <a:gd name="T38" fmla="*/ 64 w 275"/>
                <a:gd name="T39" fmla="*/ 109 h 318"/>
                <a:gd name="T40" fmla="*/ 79 w 275"/>
                <a:gd name="T41" fmla="*/ 124 h 318"/>
                <a:gd name="T42" fmla="*/ 90 w 275"/>
                <a:gd name="T43" fmla="*/ 119 h 318"/>
                <a:gd name="T44" fmla="*/ 125 w 275"/>
                <a:gd name="T45" fmla="*/ 119 h 318"/>
                <a:gd name="T46" fmla="*/ 125 w 275"/>
                <a:gd name="T47" fmla="*/ 260 h 318"/>
                <a:gd name="T48" fmla="*/ 40 w 275"/>
                <a:gd name="T49" fmla="*/ 213 h 318"/>
                <a:gd name="T50" fmla="*/ 52 w 275"/>
                <a:gd name="T51" fmla="*/ 210 h 318"/>
                <a:gd name="T52" fmla="*/ 16 w 275"/>
                <a:gd name="T53" fmla="*/ 171 h 318"/>
                <a:gd name="T54" fmla="*/ 0 w 275"/>
                <a:gd name="T55" fmla="*/ 222 h 318"/>
                <a:gd name="T56" fmla="*/ 13 w 275"/>
                <a:gd name="T57" fmla="*/ 219 h 318"/>
                <a:gd name="T58" fmla="*/ 131 w 275"/>
                <a:gd name="T59" fmla="*/ 302 h 318"/>
                <a:gd name="T60" fmla="*/ 139 w 275"/>
                <a:gd name="T61" fmla="*/ 318 h 318"/>
                <a:gd name="T62" fmla="*/ 147 w 275"/>
                <a:gd name="T63" fmla="*/ 302 h 318"/>
                <a:gd name="T64" fmla="*/ 261 w 275"/>
                <a:gd name="T65" fmla="*/ 226 h 318"/>
                <a:gd name="T66" fmla="*/ 275 w 275"/>
                <a:gd name="T67" fmla="*/ 229 h 318"/>
                <a:gd name="T68" fmla="*/ 262 w 275"/>
                <a:gd name="T69" fmla="*/ 177 h 318"/>
                <a:gd name="T70" fmla="*/ 115 w 275"/>
                <a:gd name="T71" fmla="*/ 42 h 318"/>
                <a:gd name="T72" fmla="*/ 137 w 275"/>
                <a:gd name="T73" fmla="*/ 20 h 318"/>
                <a:gd name="T74" fmla="*/ 159 w 275"/>
                <a:gd name="T75" fmla="*/ 42 h 318"/>
                <a:gd name="T76" fmla="*/ 137 w 275"/>
                <a:gd name="T77" fmla="*/ 64 h 318"/>
                <a:gd name="T78" fmla="*/ 115 w 275"/>
                <a:gd name="T79" fmla="*/ 42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5" h="318">
                  <a:moveTo>
                    <a:pt x="262" y="177"/>
                  </a:moveTo>
                  <a:cubicBezTo>
                    <a:pt x="223" y="214"/>
                    <a:pt x="223" y="214"/>
                    <a:pt x="223" y="214"/>
                  </a:cubicBezTo>
                  <a:cubicBezTo>
                    <a:pt x="235" y="218"/>
                    <a:pt x="235" y="218"/>
                    <a:pt x="235" y="218"/>
                  </a:cubicBezTo>
                  <a:cubicBezTo>
                    <a:pt x="218" y="246"/>
                    <a:pt x="187" y="258"/>
                    <a:pt x="152" y="260"/>
                  </a:cubicBezTo>
                  <a:cubicBezTo>
                    <a:pt x="152" y="119"/>
                    <a:pt x="152" y="119"/>
                    <a:pt x="152" y="119"/>
                  </a:cubicBezTo>
                  <a:cubicBezTo>
                    <a:pt x="185" y="119"/>
                    <a:pt x="185" y="119"/>
                    <a:pt x="185" y="119"/>
                  </a:cubicBezTo>
                  <a:cubicBezTo>
                    <a:pt x="187" y="122"/>
                    <a:pt x="191" y="124"/>
                    <a:pt x="195" y="124"/>
                  </a:cubicBezTo>
                  <a:cubicBezTo>
                    <a:pt x="203" y="124"/>
                    <a:pt x="210" y="117"/>
                    <a:pt x="210" y="109"/>
                  </a:cubicBezTo>
                  <a:cubicBezTo>
                    <a:pt x="210" y="100"/>
                    <a:pt x="203" y="94"/>
                    <a:pt x="195" y="94"/>
                  </a:cubicBezTo>
                  <a:cubicBezTo>
                    <a:pt x="191" y="94"/>
                    <a:pt x="187" y="95"/>
                    <a:pt x="185" y="98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2" y="81"/>
                    <a:pt x="152" y="81"/>
                    <a:pt x="152" y="81"/>
                  </a:cubicBezTo>
                  <a:cubicBezTo>
                    <a:pt x="168" y="75"/>
                    <a:pt x="179" y="60"/>
                    <a:pt x="179" y="42"/>
                  </a:cubicBezTo>
                  <a:cubicBezTo>
                    <a:pt x="179" y="19"/>
                    <a:pt x="160" y="0"/>
                    <a:pt x="137" y="0"/>
                  </a:cubicBezTo>
                  <a:cubicBezTo>
                    <a:pt x="114" y="0"/>
                    <a:pt x="95" y="19"/>
                    <a:pt x="95" y="42"/>
                  </a:cubicBezTo>
                  <a:cubicBezTo>
                    <a:pt x="95" y="61"/>
                    <a:pt x="108" y="77"/>
                    <a:pt x="125" y="82"/>
                  </a:cubicBezTo>
                  <a:cubicBezTo>
                    <a:pt x="125" y="98"/>
                    <a:pt x="125" y="98"/>
                    <a:pt x="125" y="98"/>
                  </a:cubicBezTo>
                  <a:cubicBezTo>
                    <a:pt x="90" y="98"/>
                    <a:pt x="90" y="98"/>
                    <a:pt x="90" y="98"/>
                  </a:cubicBezTo>
                  <a:cubicBezTo>
                    <a:pt x="87" y="95"/>
                    <a:pt x="83" y="94"/>
                    <a:pt x="79" y="94"/>
                  </a:cubicBezTo>
                  <a:cubicBezTo>
                    <a:pt x="71" y="94"/>
                    <a:pt x="64" y="100"/>
                    <a:pt x="64" y="109"/>
                  </a:cubicBezTo>
                  <a:cubicBezTo>
                    <a:pt x="64" y="117"/>
                    <a:pt x="71" y="124"/>
                    <a:pt x="79" y="124"/>
                  </a:cubicBezTo>
                  <a:cubicBezTo>
                    <a:pt x="83" y="124"/>
                    <a:pt x="87" y="122"/>
                    <a:pt x="90" y="119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89" y="257"/>
                    <a:pt x="57" y="243"/>
                    <a:pt x="40" y="213"/>
                  </a:cubicBezTo>
                  <a:cubicBezTo>
                    <a:pt x="52" y="210"/>
                    <a:pt x="52" y="210"/>
                    <a:pt x="52" y="210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3" y="219"/>
                    <a:pt x="13" y="219"/>
                    <a:pt x="13" y="219"/>
                  </a:cubicBezTo>
                  <a:cubicBezTo>
                    <a:pt x="33" y="263"/>
                    <a:pt x="79" y="298"/>
                    <a:pt x="131" y="302"/>
                  </a:cubicBezTo>
                  <a:cubicBezTo>
                    <a:pt x="139" y="318"/>
                    <a:pt x="139" y="318"/>
                    <a:pt x="139" y="318"/>
                  </a:cubicBezTo>
                  <a:cubicBezTo>
                    <a:pt x="147" y="302"/>
                    <a:pt x="147" y="302"/>
                    <a:pt x="147" y="302"/>
                  </a:cubicBezTo>
                  <a:cubicBezTo>
                    <a:pt x="196" y="299"/>
                    <a:pt x="240" y="266"/>
                    <a:pt x="261" y="226"/>
                  </a:cubicBezTo>
                  <a:cubicBezTo>
                    <a:pt x="275" y="229"/>
                    <a:pt x="275" y="229"/>
                    <a:pt x="275" y="229"/>
                  </a:cubicBezTo>
                  <a:lnTo>
                    <a:pt x="262" y="177"/>
                  </a:lnTo>
                  <a:close/>
                  <a:moveTo>
                    <a:pt x="115" y="42"/>
                  </a:moveTo>
                  <a:cubicBezTo>
                    <a:pt x="115" y="30"/>
                    <a:pt x="125" y="20"/>
                    <a:pt x="137" y="20"/>
                  </a:cubicBezTo>
                  <a:cubicBezTo>
                    <a:pt x="149" y="20"/>
                    <a:pt x="159" y="30"/>
                    <a:pt x="159" y="42"/>
                  </a:cubicBezTo>
                  <a:cubicBezTo>
                    <a:pt x="159" y="54"/>
                    <a:pt x="149" y="64"/>
                    <a:pt x="137" y="64"/>
                  </a:cubicBezTo>
                  <a:cubicBezTo>
                    <a:pt x="125" y="64"/>
                    <a:pt x="115" y="54"/>
                    <a:pt x="115" y="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/>
            </a:p>
          </p:txBody>
        </p:sp>
      </p:grpSp>
      <p:sp>
        <p:nvSpPr>
          <p:cNvPr id="151" name="Oval 22">
            <a:extLst>
              <a:ext uri="{FF2B5EF4-FFF2-40B4-BE49-F238E27FC236}">
                <a16:creationId xmlns:a16="http://schemas.microsoft.com/office/drawing/2014/main" id="{8634C5A2-4A5D-47B8-221C-BF8C45B25362}"/>
              </a:ext>
            </a:extLst>
          </p:cNvPr>
          <p:cNvSpPr/>
          <p:nvPr/>
        </p:nvSpPr>
        <p:spPr>
          <a:xfrm>
            <a:off x="3236228" y="4739982"/>
            <a:ext cx="137711" cy="137711"/>
          </a:xfrm>
          <a:prstGeom prst="ellipse">
            <a:avLst/>
          </a:prstGeom>
          <a:solidFill>
            <a:schemeClr val="accent5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55" name="Текст 12">
            <a:extLst>
              <a:ext uri="{FF2B5EF4-FFF2-40B4-BE49-F238E27FC236}">
                <a16:creationId xmlns:a16="http://schemas.microsoft.com/office/drawing/2014/main" id="{2C5F8FB9-A252-CC49-CE20-202341F41312}"/>
              </a:ext>
            </a:extLst>
          </p:cNvPr>
          <p:cNvSpPr txBox="1">
            <a:spLocks/>
          </p:cNvSpPr>
          <p:nvPr/>
        </p:nvSpPr>
        <p:spPr>
          <a:xfrm>
            <a:off x="5296629" y="4911596"/>
            <a:ext cx="5339588" cy="490747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chemeClr val="accent2"/>
                </a:solidFill>
              </a:rPr>
              <a:t>ТЕРРИТОРИЯ СПВ – </a:t>
            </a:r>
            <a:r>
              <a:rPr lang="ru-RU" sz="2000" dirty="0">
                <a:solidFill>
                  <a:schemeClr val="accent2"/>
                </a:solidFill>
              </a:rPr>
              <a:t>16</a:t>
            </a:r>
            <a:r>
              <a:rPr lang="ru-RU" sz="1600" dirty="0">
                <a:solidFill>
                  <a:schemeClr val="accent2"/>
                </a:solidFill>
              </a:rPr>
              <a:t> муниципальных образований</a:t>
            </a:r>
          </a:p>
        </p:txBody>
      </p:sp>
      <p:sp>
        <p:nvSpPr>
          <p:cNvPr id="156" name="Text Placeholder 7">
            <a:extLst>
              <a:ext uri="{FF2B5EF4-FFF2-40B4-BE49-F238E27FC236}">
                <a16:creationId xmlns:a16="http://schemas.microsoft.com/office/drawing/2014/main" id="{237C353F-B7D5-B1B9-DB29-7AAE10EA43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6165850"/>
            <a:ext cx="3451225" cy="358775"/>
          </a:xfrm>
        </p:spPr>
        <p:txBody>
          <a:bodyPr/>
          <a:lstStyle/>
          <a:p>
            <a:r>
              <a:rPr lang="ru-RU" dirty="0">
                <a:solidFill>
                  <a:prstClr val="white">
                    <a:lumMod val="50000"/>
                  </a:prstClr>
                </a:solidFill>
                <a:latin typeface="Arial" charset="0"/>
              </a:rPr>
              <a:t>Источник: Анализ КРДВ</a:t>
            </a: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44AAECDC-7EF3-FB13-5CED-C23F788FE3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352586"/>
              </p:ext>
            </p:extLst>
          </p:nvPr>
        </p:nvGraphicFramePr>
        <p:xfrm>
          <a:off x="4594091" y="2944871"/>
          <a:ext cx="6907212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2404">
                  <a:extLst>
                    <a:ext uri="{9D8B030D-6E8A-4147-A177-3AD203B41FA5}">
                      <a16:colId xmlns:a16="http://schemas.microsoft.com/office/drawing/2014/main" val="2589158436"/>
                    </a:ext>
                  </a:extLst>
                </a:gridCol>
                <a:gridCol w="2302404">
                  <a:extLst>
                    <a:ext uri="{9D8B030D-6E8A-4147-A177-3AD203B41FA5}">
                      <a16:colId xmlns:a16="http://schemas.microsoft.com/office/drawing/2014/main" val="2960747495"/>
                    </a:ext>
                  </a:extLst>
                </a:gridCol>
                <a:gridCol w="2302404">
                  <a:extLst>
                    <a:ext uri="{9D8B030D-6E8A-4147-A177-3AD203B41FA5}">
                      <a16:colId xmlns:a16="http://schemas.microsoft.com/office/drawing/2014/main" val="420324660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Резиденты, ед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5 </a:t>
                      </a:r>
                      <a:r>
                        <a:rPr lang="ru-RU" sz="10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сего</a:t>
                      </a:r>
                      <a:endParaRPr lang="ru-RU" sz="1000" b="1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ru-RU" sz="1000" b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ведено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3856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Инвестиции, млрд руб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3,4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по соглашениям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3,7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вложено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10085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Рабочие места, ед.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/>
                        <a:t>680 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по соглашениям</a:t>
                      </a:r>
                      <a:endParaRPr lang="ru-RU" sz="10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132</a:t>
                      </a:r>
                      <a:r>
                        <a:rPr lang="ru-RU" sz="1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создано</a:t>
                      </a:r>
                    </a:p>
                  </a:txBody>
                  <a:tcPr marL="108000" marR="108000" anchor="ctr">
                    <a:lnL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938335"/>
                  </a:ext>
                </a:extLst>
              </a:tr>
            </a:tbl>
          </a:graphicData>
        </a:graphic>
      </p:graphicFrame>
      <p:sp>
        <p:nvSpPr>
          <p:cNvPr id="7" name="Прямоугольник 143">
            <a:extLst>
              <a:ext uri="{FF2B5EF4-FFF2-40B4-BE49-F238E27FC236}">
                <a16:creationId xmlns:a16="http://schemas.microsoft.com/office/drawing/2014/main" id="{E29BC790-4AB0-FFB2-C46F-6DE801F80D4A}"/>
              </a:ext>
            </a:extLst>
          </p:cNvPr>
          <p:cNvSpPr/>
          <p:nvPr/>
        </p:nvSpPr>
        <p:spPr>
          <a:xfrm>
            <a:off x="4594091" y="2531367"/>
            <a:ext cx="4187633" cy="276688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/>
          <a:p>
            <a:r>
              <a:rPr lang="ru-RU" sz="1400" b="1" dirty="0"/>
              <a:t>Показатели Свободного порта Владивосток в Ханкайском МР</a:t>
            </a:r>
          </a:p>
        </p:txBody>
      </p:sp>
    </p:spTree>
    <p:extLst>
      <p:ext uri="{BB962C8B-B14F-4D97-AF65-F5344CB8AC3E}">
        <p14:creationId xmlns:p14="http://schemas.microsoft.com/office/powerpoint/2010/main" val="370686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050143D4-923F-5A4D-898F-59FE4343A5D2}"/>
              </a:ext>
            </a:extLst>
          </p:cNvPr>
          <p:cNvSpPr/>
          <p:nvPr/>
        </p:nvSpPr>
        <p:spPr>
          <a:xfrm>
            <a:off x="3905191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1E3DAE20-3ADC-2C4E-AAA3-A082A6529E34}"/>
              </a:ext>
            </a:extLst>
          </p:cNvPr>
          <p:cNvSpPr/>
          <p:nvPr/>
        </p:nvSpPr>
        <p:spPr>
          <a:xfrm>
            <a:off x="5255710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6490A92-0589-8A4C-B278-718F809AF590}"/>
              </a:ext>
            </a:extLst>
          </p:cNvPr>
          <p:cNvSpPr/>
          <p:nvPr/>
        </p:nvSpPr>
        <p:spPr>
          <a:xfrm>
            <a:off x="6658441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E8206CE3-304E-8149-9E10-F392AE49304B}"/>
              </a:ext>
            </a:extLst>
          </p:cNvPr>
          <p:cNvSpPr/>
          <p:nvPr/>
        </p:nvSpPr>
        <p:spPr>
          <a:xfrm>
            <a:off x="8061049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DD8292CB-E886-A946-9522-5F0CCCF7C387}"/>
              </a:ext>
            </a:extLst>
          </p:cNvPr>
          <p:cNvSpPr/>
          <p:nvPr/>
        </p:nvSpPr>
        <p:spPr>
          <a:xfrm>
            <a:off x="9403743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EB32CB3-6F58-BF48-8726-68A85CEF5687}"/>
              </a:ext>
            </a:extLst>
          </p:cNvPr>
          <p:cNvSpPr/>
          <p:nvPr/>
        </p:nvSpPr>
        <p:spPr>
          <a:xfrm>
            <a:off x="2543048" y="1843601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798624"/>
              </p:ext>
            </p:extLst>
          </p:nvPr>
        </p:nvGraphicFramePr>
        <p:xfrm>
          <a:off x="296134" y="2050855"/>
          <a:ext cx="11721542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826">
                  <a:extLst>
                    <a:ext uri="{9D8B030D-6E8A-4147-A177-3AD203B41FA5}">
                      <a16:colId xmlns:a16="http://schemas.microsoft.com/office/drawing/2014/main" val="4146764235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403993937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38476158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1599889348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2255170641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474573749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3511729122"/>
                    </a:ext>
                  </a:extLst>
                </a:gridCol>
                <a:gridCol w="1372388">
                  <a:extLst>
                    <a:ext uri="{9D8B030D-6E8A-4147-A177-3AD203B41FA5}">
                      <a16:colId xmlns:a16="http://schemas.microsoft.com/office/drawing/2014/main" val="815386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2344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иденты, ед.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8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1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73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5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00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107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е места</a:t>
                      </a:r>
                      <a:r>
                        <a:rPr lang="ru-RU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ед.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56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32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263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1 192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298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 411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 802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191894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360235B-8955-9C49-9948-3B8BBA60F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0713"/>
            <a:ext cx="10933350" cy="58578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инамика резидентов Свободный порт Владивосток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83727" y="4575427"/>
            <a:ext cx="180000" cy="180000"/>
          </a:xfrm>
          <a:prstGeom prst="rect">
            <a:avLst/>
          </a:prstGeom>
          <a:solidFill>
            <a:srgbClr val="005F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821CA65-DDDC-4885-842A-641240DFDE8A}"/>
              </a:ext>
            </a:extLst>
          </p:cNvPr>
          <p:cNvSpPr/>
          <p:nvPr/>
        </p:nvSpPr>
        <p:spPr>
          <a:xfrm>
            <a:off x="852409" y="4531950"/>
            <a:ext cx="1646686" cy="338554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о соглашениям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лн руб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83727" y="5245433"/>
            <a:ext cx="180000" cy="180000"/>
          </a:xfrm>
          <a:prstGeom prst="rect">
            <a:avLst/>
          </a:prstGeom>
          <a:pattFill prst="dkDnDiag">
            <a:fgClr>
              <a:srgbClr val="005FA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821CA65-DDDC-4885-842A-641240DFDE8A}"/>
              </a:ext>
            </a:extLst>
          </p:cNvPr>
          <p:cNvSpPr/>
          <p:nvPr/>
        </p:nvSpPr>
        <p:spPr>
          <a:xfrm>
            <a:off x="852407" y="5221755"/>
            <a:ext cx="1646686" cy="338554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Вложено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лн руб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783418" y="3834350"/>
            <a:ext cx="291731" cy="2335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002075" y="3834350"/>
            <a:ext cx="291731" cy="23350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269F5DB-03FB-9049-88AF-62E047BBF683}"/>
              </a:ext>
            </a:extLst>
          </p:cNvPr>
          <p:cNvSpPr/>
          <p:nvPr/>
        </p:nvSpPr>
        <p:spPr>
          <a:xfrm>
            <a:off x="296135" y="3496309"/>
            <a:ext cx="21300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и, млн руб.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85FF989-6773-EB43-BBA8-296C088952A5}"/>
              </a:ext>
            </a:extLst>
          </p:cNvPr>
          <p:cNvSpPr/>
          <p:nvPr/>
        </p:nvSpPr>
        <p:spPr>
          <a:xfrm>
            <a:off x="5829833" y="2304795"/>
            <a:ext cx="5293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27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E50078-D551-384B-A9A8-17F10849D3A4}"/>
              </a:ext>
            </a:extLst>
          </p:cNvPr>
          <p:cNvSpPr txBox="1"/>
          <p:nvPr/>
        </p:nvSpPr>
        <p:spPr>
          <a:xfrm>
            <a:off x="12943002" y="4260915"/>
            <a:ext cx="0" cy="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ee4pFootnotes">
            <a:extLst>
              <a:ext uri="{FF2B5EF4-FFF2-40B4-BE49-F238E27FC236}">
                <a16:creationId xmlns:a16="http://schemas.microsoft.com/office/drawing/2014/main" id="{A1B264A8-6888-F344-95B3-27547915DB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320" y="6660339"/>
            <a:ext cx="8224684" cy="12612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91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+mn-lt"/>
              </a:rPr>
              <a:t>* – 06.10.2020 расторгнуто соглашение с ООО «Топ Сервис»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D73F8BC1-4D08-1B9C-B2AA-71C6876551D1}"/>
              </a:ext>
            </a:extLst>
          </p:cNvPr>
          <p:cNvSpPr/>
          <p:nvPr/>
        </p:nvSpPr>
        <p:spPr>
          <a:xfrm>
            <a:off x="10818327" y="1851715"/>
            <a:ext cx="1168920" cy="46510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  <a:alpha val="22519"/>
                </a:schemeClr>
              </a:gs>
              <a:gs pos="100000">
                <a:schemeClr val="bg1">
                  <a:lumMod val="7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EA06AE78-0ED3-C89C-14DE-9570C70E19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3059211"/>
              </p:ext>
            </p:extLst>
          </p:nvPr>
        </p:nvGraphicFramePr>
        <p:xfrm>
          <a:off x="1885893" y="2742344"/>
          <a:ext cx="10190236" cy="469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F05F7A4-5567-1FBE-A755-3E3335884487}"/>
              </a:ext>
            </a:extLst>
          </p:cNvPr>
          <p:cNvSpPr/>
          <p:nvPr/>
        </p:nvSpPr>
        <p:spPr>
          <a:xfrm>
            <a:off x="4497457" y="2304795"/>
            <a:ext cx="5293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51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1BC4848B-29CC-829B-E7B8-BE3A27F14950}"/>
              </a:ext>
            </a:extLst>
          </p:cNvPr>
          <p:cNvSpPr/>
          <p:nvPr/>
        </p:nvSpPr>
        <p:spPr>
          <a:xfrm>
            <a:off x="7272946" y="2301460"/>
            <a:ext cx="5293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620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3D3F8A7D-CC19-9561-3857-42875BC2F796}"/>
              </a:ext>
            </a:extLst>
          </p:cNvPr>
          <p:cNvSpPr/>
          <p:nvPr/>
        </p:nvSpPr>
        <p:spPr>
          <a:xfrm>
            <a:off x="10038633" y="2298775"/>
            <a:ext cx="4058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8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8D1EE34-65D7-8E13-2964-5F4F504EB0EE}"/>
              </a:ext>
            </a:extLst>
          </p:cNvPr>
          <p:cNvSpPr/>
          <p:nvPr/>
        </p:nvSpPr>
        <p:spPr>
          <a:xfrm>
            <a:off x="10258882" y="2253943"/>
            <a:ext cx="2311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baseline="30000" dirty="0">
                <a:solidFill>
                  <a:srgbClr val="FF0000"/>
                </a:solidFill>
              </a:rPr>
              <a:t>*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1EB8B20-6A64-2F08-9212-A1608D7111D2}"/>
              </a:ext>
            </a:extLst>
          </p:cNvPr>
          <p:cNvSpPr/>
          <p:nvPr/>
        </p:nvSpPr>
        <p:spPr>
          <a:xfrm>
            <a:off x="8636328" y="2303558"/>
            <a:ext cx="5293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58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A29D94EE-9C84-C72E-E8DB-2A2F8C3D5527}"/>
              </a:ext>
            </a:extLst>
          </p:cNvPr>
          <p:cNvSpPr/>
          <p:nvPr/>
        </p:nvSpPr>
        <p:spPr>
          <a:xfrm>
            <a:off x="11387897" y="2301460"/>
            <a:ext cx="4443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5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D7524505-C8FC-2AF5-AD0E-36FD001D7F1A}"/>
              </a:ext>
            </a:extLst>
          </p:cNvPr>
          <p:cNvSpPr/>
          <p:nvPr/>
        </p:nvSpPr>
        <p:spPr>
          <a:xfrm>
            <a:off x="7850963" y="3568546"/>
            <a:ext cx="1548428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894 209,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5B743486-11C2-9168-639D-8648BF61D87D}"/>
              </a:ext>
            </a:extLst>
          </p:cNvPr>
          <p:cNvSpPr/>
          <p:nvPr/>
        </p:nvSpPr>
        <p:spPr>
          <a:xfrm>
            <a:off x="6424630" y="3992565"/>
            <a:ext cx="1668905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703 821,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D51C76D2-DCF8-B2D6-81BB-72A9C52E6E0F}"/>
              </a:ext>
            </a:extLst>
          </p:cNvPr>
          <p:cNvSpPr/>
          <p:nvPr/>
        </p:nvSpPr>
        <p:spPr>
          <a:xfrm>
            <a:off x="4964914" y="4550964"/>
            <a:ext cx="1768125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478 525,7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AEE46F18-E34D-1E85-D1A9-6282E4917D4B}"/>
              </a:ext>
            </a:extLst>
          </p:cNvPr>
          <p:cNvSpPr/>
          <p:nvPr/>
        </p:nvSpPr>
        <p:spPr>
          <a:xfrm>
            <a:off x="3577262" y="5043974"/>
            <a:ext cx="1824778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269 098,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58F8AF79-0821-8A55-DD15-4F95A4ECFED3}"/>
              </a:ext>
            </a:extLst>
          </p:cNvPr>
          <p:cNvSpPr/>
          <p:nvPr/>
        </p:nvSpPr>
        <p:spPr>
          <a:xfrm>
            <a:off x="2094051" y="5311671"/>
            <a:ext cx="2079281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161 701,7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1ACF3F51-BDA1-D6FD-33DD-61E71CD34D57}"/>
              </a:ext>
            </a:extLst>
          </p:cNvPr>
          <p:cNvSpPr/>
          <p:nvPr/>
        </p:nvSpPr>
        <p:spPr>
          <a:xfrm>
            <a:off x="9187359" y="3346806"/>
            <a:ext cx="1548428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1F497D"/>
                </a:solidFill>
                <a:latin typeface="Arial" panose="020B0604020202020204" pitchFamily="34" charset="0"/>
              </a:rPr>
              <a:t>979 206,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020A85D9-45D9-4A63-CAAC-B9EB61AFC6DB}"/>
              </a:ext>
            </a:extLst>
          </p:cNvPr>
          <p:cNvSpPr/>
          <p:nvPr/>
        </p:nvSpPr>
        <p:spPr>
          <a:xfrm>
            <a:off x="10586154" y="3170637"/>
            <a:ext cx="1548428" cy="18466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0" u="none" strike="noStrike" dirty="0">
                <a:solidFill>
                  <a:srgbClr val="1F497D"/>
                </a:solidFill>
                <a:effectLst/>
                <a:latin typeface="Arial" panose="020B0604020202020204" pitchFamily="34" charset="0"/>
              </a:rPr>
              <a:t>1 212 351,6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6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99FF10D-2170-F741-B13B-F338F523656D}"/>
              </a:ext>
            </a:extLst>
          </p:cNvPr>
          <p:cNvSpPr/>
          <p:nvPr/>
        </p:nvSpPr>
        <p:spPr>
          <a:xfrm>
            <a:off x="4656138" y="620713"/>
            <a:ext cx="6907212" cy="1677870"/>
          </a:xfrm>
          <a:prstGeom prst="roundRect">
            <a:avLst>
              <a:gd name="adj" fmla="val 10898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E1B19AA4-721C-4B48-90BB-C7DD9DC87008}"/>
              </a:ext>
            </a:extLst>
          </p:cNvPr>
          <p:cNvSpPr/>
          <p:nvPr/>
        </p:nvSpPr>
        <p:spPr>
          <a:xfrm>
            <a:off x="4656138" y="2575420"/>
            <a:ext cx="6907212" cy="1551963"/>
          </a:xfrm>
          <a:prstGeom prst="roundRect">
            <a:avLst>
              <a:gd name="adj" fmla="val 10898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0394" y="620713"/>
            <a:ext cx="3951214" cy="863600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dirty="0"/>
              <a:t>Проекты резидентов </a:t>
            </a:r>
            <a:br>
              <a:rPr lang="ru-RU" dirty="0"/>
            </a:br>
            <a:r>
              <a:rPr lang="ru-RU" dirty="0"/>
              <a:t>Свободный порт Владивосток в Ханкайском МР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F60F2A-74AB-CC4B-9C7F-2D2EE72A2C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Источник: Анализ КРДВ </a:t>
            </a:r>
          </a:p>
        </p:txBody>
      </p:sp>
      <p:sp>
        <p:nvSpPr>
          <p:cNvPr id="21" name="Текст 19"/>
          <p:cNvSpPr txBox="1">
            <a:spLocks/>
          </p:cNvSpPr>
          <p:nvPr/>
        </p:nvSpPr>
        <p:spPr>
          <a:xfrm>
            <a:off x="6684581" y="618309"/>
            <a:ext cx="4732355" cy="1467205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ведено</a:t>
            </a:r>
          </a:p>
          <a:p>
            <a:pPr>
              <a:spcBef>
                <a:spcPts val="0"/>
              </a:spcBef>
            </a:pPr>
            <a:r>
              <a:rPr lang="ru-RU" sz="1200" b="1" dirty="0">
                <a:solidFill>
                  <a:schemeClr val="tx1"/>
                </a:solidFill>
              </a:rPr>
              <a:t>ООО «ХАПК Грин Агро»</a:t>
            </a:r>
          </a:p>
          <a:p>
            <a:pPr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</a:rPr>
              <a:t>Строительство крупного животноводческого комплекса на 2500 голов дойного стада в с. Алексеевке</a:t>
            </a:r>
          </a:p>
        </p:txBody>
      </p:sp>
      <p:sp>
        <p:nvSpPr>
          <p:cNvPr id="23" name="Текст 21"/>
          <p:cNvSpPr txBox="1">
            <a:spLocks/>
          </p:cNvSpPr>
          <p:nvPr/>
        </p:nvSpPr>
        <p:spPr>
          <a:xfrm>
            <a:off x="6684581" y="2718541"/>
            <a:ext cx="4629886" cy="106617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ализуется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200" b="1" dirty="0"/>
              <a:t>ООО «Дары дальневосточной тайги»</a:t>
            </a:r>
            <a:br>
              <a:rPr lang="ru-RU" sz="1200" dirty="0"/>
            </a:br>
            <a:r>
              <a:rPr lang="ru-RU" sz="1200" dirty="0"/>
              <a:t>Организация производства по сбору и упаковке кедрового ореха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68580-4589-D74D-9B63-6EA7CD869DDF}"/>
              </a:ext>
            </a:extLst>
          </p:cNvPr>
          <p:cNvSpPr/>
          <p:nvPr/>
        </p:nvSpPr>
        <p:spPr>
          <a:xfrm>
            <a:off x="628650" y="2085514"/>
            <a:ext cx="252000" cy="1138478"/>
          </a:xfrm>
          <a:prstGeom prst="rect">
            <a:avLst/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7197821-53D5-3E4A-8BBA-1E71D4D437B6}"/>
              </a:ext>
            </a:extLst>
          </p:cNvPr>
          <p:cNvSpPr/>
          <p:nvPr/>
        </p:nvSpPr>
        <p:spPr>
          <a:xfrm>
            <a:off x="628650" y="3229337"/>
            <a:ext cx="251026" cy="2948088"/>
          </a:xfrm>
          <a:prstGeom prst="rect">
            <a:avLst/>
          </a:prstGeom>
          <a:solidFill>
            <a:srgbClr val="68818A">
              <a:alpha val="5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86F499A-D19A-5E42-8C9C-4CDDFC18AA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187396"/>
              </p:ext>
            </p:extLst>
          </p:nvPr>
        </p:nvGraphicFramePr>
        <p:xfrm>
          <a:off x="879675" y="2097088"/>
          <a:ext cx="3200200" cy="1061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992">
                  <a:extLst>
                    <a:ext uri="{9D8B030D-6E8A-4147-A177-3AD203B41FA5}">
                      <a16:colId xmlns:a16="http://schemas.microsoft.com/office/drawing/2014/main" val="3812500016"/>
                    </a:ext>
                  </a:extLst>
                </a:gridCol>
                <a:gridCol w="1475604">
                  <a:extLst>
                    <a:ext uri="{9D8B030D-6E8A-4147-A177-3AD203B41FA5}">
                      <a16:colId xmlns:a16="http://schemas.microsoft.com/office/drawing/2014/main" val="56915054"/>
                    </a:ext>
                  </a:extLst>
                </a:gridCol>
                <a:gridCol w="1475604">
                  <a:extLst>
                    <a:ext uri="{9D8B030D-6E8A-4147-A177-3AD203B41FA5}">
                      <a16:colId xmlns:a16="http://schemas.microsoft.com/office/drawing/2014/main" val="155373880"/>
                    </a:ext>
                  </a:extLst>
                </a:gridCol>
              </a:tblGrid>
              <a:tr h="420317">
                <a:tc>
                  <a:txBody>
                    <a:bodyPr/>
                    <a:lstStyle/>
                    <a:p>
                      <a:endParaRPr lang="ru-RU" sz="3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chemeClr val="tx1"/>
                          </a:solidFill>
                        </a:rPr>
                        <a:t>Введено</a:t>
                      </a: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621464"/>
                  </a:ext>
                </a:extLst>
              </a:tr>
              <a:tr h="640800">
                <a:tc>
                  <a:txBody>
                    <a:bodyPr/>
                    <a:lstStyle/>
                    <a:p>
                      <a:endParaRPr lang="ru-RU" sz="3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08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b="0" dirty="0">
                          <a:solidFill>
                            <a:schemeClr val="tx1"/>
                          </a:solidFill>
                        </a:rPr>
                        <a:t>17</a:t>
                      </a:r>
                      <a:r>
                        <a:rPr lang="en-US" sz="2100" b="0" dirty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ru-RU" sz="21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T="108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b="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проекта</a:t>
                      </a:r>
                    </a:p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049756"/>
                  </a:ext>
                </a:extLst>
              </a:tr>
            </a:tbl>
          </a:graphicData>
        </a:graphic>
      </p:graphicFrame>
      <p:graphicFrame>
        <p:nvGraphicFramePr>
          <p:cNvPr id="88" name="Table 87">
            <a:extLst>
              <a:ext uri="{FF2B5EF4-FFF2-40B4-BE49-F238E27FC236}">
                <a16:creationId xmlns:a16="http://schemas.microsoft.com/office/drawing/2014/main" id="{E57863CA-BF8F-3547-8090-DB8566B24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0393378"/>
              </p:ext>
            </p:extLst>
          </p:nvPr>
        </p:nvGraphicFramePr>
        <p:xfrm>
          <a:off x="879675" y="3230995"/>
          <a:ext cx="3381932" cy="11074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132">
                  <a:extLst>
                    <a:ext uri="{9D8B030D-6E8A-4147-A177-3AD203B41FA5}">
                      <a16:colId xmlns:a16="http://schemas.microsoft.com/office/drawing/2014/main" val="3812500016"/>
                    </a:ext>
                  </a:extLst>
                </a:gridCol>
                <a:gridCol w="1559400">
                  <a:extLst>
                    <a:ext uri="{9D8B030D-6E8A-4147-A177-3AD203B41FA5}">
                      <a16:colId xmlns:a16="http://schemas.microsoft.com/office/drawing/2014/main" val="56915054"/>
                    </a:ext>
                  </a:extLst>
                </a:gridCol>
                <a:gridCol w="1559400">
                  <a:extLst>
                    <a:ext uri="{9D8B030D-6E8A-4147-A177-3AD203B41FA5}">
                      <a16:colId xmlns:a16="http://schemas.microsoft.com/office/drawing/2014/main" val="155373880"/>
                    </a:ext>
                  </a:extLst>
                </a:gridCol>
              </a:tblGrid>
              <a:tr h="420317">
                <a:tc>
                  <a:txBody>
                    <a:bodyPr/>
                    <a:lstStyle/>
                    <a:p>
                      <a:endParaRPr lang="ru-RU" sz="3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В стадии реализации</a:t>
                      </a:r>
                      <a:endParaRPr lang="x-none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rgbClr val="6881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2621464"/>
                  </a:ext>
                </a:extLst>
              </a:tr>
              <a:tr h="420317">
                <a:tc>
                  <a:txBody>
                    <a:bodyPr/>
                    <a:lstStyle/>
                    <a:p>
                      <a:endParaRPr lang="ru-RU" sz="3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b="0" dirty="0">
                          <a:solidFill>
                            <a:schemeClr val="tx1"/>
                          </a:solidFill>
                        </a:rPr>
                        <a:t>83</a:t>
                      </a:r>
                      <a:r>
                        <a:rPr lang="en-US" sz="2100" b="0" dirty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ru-RU" sz="2100" b="0" dirty="0">
                        <a:solidFill>
                          <a:schemeClr val="tx1"/>
                        </a:solidFill>
                      </a:endParaRPr>
                    </a:p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T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6881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100" b="0" dirty="0">
                          <a:solidFill>
                            <a:schemeClr val="tx1"/>
                          </a:solidFill>
                        </a:rPr>
                        <a:t>5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</a:rPr>
                        <a:t>проектов</a:t>
                      </a:r>
                    </a:p>
                    <a:p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T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6881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0049756"/>
                  </a:ext>
                </a:extLst>
              </a:tr>
            </a:tbl>
          </a:graphicData>
        </a:graphic>
      </p:graphicFrame>
      <p:graphicFrame>
        <p:nvGraphicFramePr>
          <p:cNvPr id="89" name="Table 88">
            <a:extLst>
              <a:ext uri="{FF2B5EF4-FFF2-40B4-BE49-F238E27FC236}">
                <a16:creationId xmlns:a16="http://schemas.microsoft.com/office/drawing/2014/main" id="{B4ED6446-F5BC-904B-893A-FD55655580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933560"/>
              </p:ext>
            </p:extLst>
          </p:nvPr>
        </p:nvGraphicFramePr>
        <p:xfrm>
          <a:off x="1266091" y="4909624"/>
          <a:ext cx="2658796" cy="12140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398">
                  <a:extLst>
                    <a:ext uri="{9D8B030D-6E8A-4147-A177-3AD203B41FA5}">
                      <a16:colId xmlns:a16="http://schemas.microsoft.com/office/drawing/2014/main" val="56915054"/>
                    </a:ext>
                  </a:extLst>
                </a:gridCol>
                <a:gridCol w="1329398">
                  <a:extLst>
                    <a:ext uri="{9D8B030D-6E8A-4147-A177-3AD203B41FA5}">
                      <a16:colId xmlns:a16="http://schemas.microsoft.com/office/drawing/2014/main" val="155373880"/>
                    </a:ext>
                  </a:extLst>
                </a:gridCol>
              </a:tblGrid>
              <a:tr h="4046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П и ЗУ</a:t>
                      </a:r>
                      <a:endParaRPr lang="x-none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21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560898"/>
                  </a:ext>
                </a:extLst>
              </a:tr>
              <a:tr h="404674">
                <a:tc>
                  <a:txBody>
                    <a:bodyPr/>
                    <a:lstStyle/>
                    <a:p>
                      <a:pPr algn="l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Р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21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4286335"/>
                  </a:ext>
                </a:extLst>
              </a:tr>
              <a:tr h="4046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МР</a:t>
                      </a:r>
                      <a:endParaRPr lang="x-none" sz="14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21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D9DD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51906"/>
                  </a:ext>
                </a:extLst>
              </a:tr>
            </a:tbl>
          </a:graphicData>
        </a:graphic>
      </p:graphicFrame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310AC93B-6DF7-044D-A8ED-7CFFCAB6301F}"/>
              </a:ext>
            </a:extLst>
          </p:cNvPr>
          <p:cNvSpPr/>
          <p:nvPr/>
        </p:nvSpPr>
        <p:spPr>
          <a:xfrm>
            <a:off x="1116282" y="4839286"/>
            <a:ext cx="2963594" cy="1312132"/>
          </a:xfrm>
          <a:prstGeom prst="roundRect">
            <a:avLst>
              <a:gd name="adj" fmla="val 6290"/>
            </a:avLst>
          </a:prstGeom>
          <a:noFill/>
          <a:ln w="9525" cap="rnd" cmpd="sng" algn="ctr">
            <a:solidFill>
              <a:srgbClr val="D9DDE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4" name="Rounded Rectangle 32">
            <a:extLst>
              <a:ext uri="{FF2B5EF4-FFF2-40B4-BE49-F238E27FC236}">
                <a16:creationId xmlns:a16="http://schemas.microsoft.com/office/drawing/2014/main" id="{9BC31C4B-3CBD-3B3B-4068-4A1B53D8373A}"/>
              </a:ext>
            </a:extLst>
          </p:cNvPr>
          <p:cNvSpPr/>
          <p:nvPr/>
        </p:nvSpPr>
        <p:spPr>
          <a:xfrm>
            <a:off x="4656138" y="4569580"/>
            <a:ext cx="6907212" cy="1551963"/>
          </a:xfrm>
          <a:prstGeom prst="roundRect">
            <a:avLst>
              <a:gd name="adj" fmla="val 10898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6" name="Текст 21">
            <a:extLst>
              <a:ext uri="{FF2B5EF4-FFF2-40B4-BE49-F238E27FC236}">
                <a16:creationId xmlns:a16="http://schemas.microsoft.com/office/drawing/2014/main" id="{7BDAAD62-BE16-4FF1-6FAA-887A6DD03D1D}"/>
              </a:ext>
            </a:extLst>
          </p:cNvPr>
          <p:cNvSpPr txBox="1">
            <a:spLocks/>
          </p:cNvSpPr>
          <p:nvPr/>
        </p:nvSpPr>
        <p:spPr>
          <a:xfrm>
            <a:off x="6684581" y="4712701"/>
            <a:ext cx="4629886" cy="106617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ализуется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200" b="1" dirty="0"/>
              <a:t>ООО «ЦЧДВ»</a:t>
            </a:r>
            <a:br>
              <a:rPr lang="ru-RU" sz="1200" dirty="0"/>
            </a:br>
            <a:r>
              <a:rPr lang="ru-RU" sz="1200" dirty="0"/>
              <a:t>Создание комплекса переработки сои: строительство цеха переработки, склада и </a:t>
            </a:r>
            <a:r>
              <a:rPr lang="ru-RU" sz="1200"/>
              <a:t>приемного пункта</a:t>
            </a:r>
            <a:endParaRPr lang="ru-RU" sz="12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DB9407D-56C1-A9BE-FC45-10C8D727CA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227" r="15775"/>
          <a:stretch/>
        </p:blipFill>
        <p:spPr>
          <a:xfrm>
            <a:off x="4837871" y="863499"/>
            <a:ext cx="1579091" cy="120451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EB1F1B0-254D-D2BC-7F06-2F41A84D3E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7870" y="2740780"/>
            <a:ext cx="1621490" cy="117280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67F5C3F-35D3-D01E-8F63-4DFD4B8940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7870" y="4712701"/>
            <a:ext cx="1621490" cy="124937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34741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325" y="144916"/>
            <a:ext cx="10933350" cy="585787"/>
          </a:xfrm>
        </p:spPr>
        <p:txBody>
          <a:bodyPr>
            <a:normAutofit fontScale="90000"/>
          </a:bodyPr>
          <a:lstStyle/>
          <a:p>
            <a:r>
              <a:rPr lang="ru-RU" dirty="0"/>
              <a:t>Р</a:t>
            </a:r>
            <a:r>
              <a:rPr lang="ru-RU" sz="2400" dirty="0"/>
              <a:t>езиденты СПВ</a:t>
            </a:r>
            <a:br>
              <a:rPr lang="ru-RU" sz="2400" dirty="0">
                <a:highlight>
                  <a:srgbClr val="FFFF00"/>
                </a:highlight>
              </a:rPr>
            </a:br>
            <a:r>
              <a:rPr lang="ru-RU" dirty="0"/>
              <a:t>Распределение проектов по муниципальным районам</a:t>
            </a:r>
            <a:endParaRPr lang="ru-RU" sz="24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903001" y="584391"/>
            <a:ext cx="2568736" cy="361055"/>
          </a:xfrm>
          <a:prstGeom prst="rect">
            <a:avLst/>
          </a:prstGeom>
        </p:spPr>
        <p:txBody>
          <a:bodyPr vert="horz" lIns="65314" tIns="32657" rIns="65314" bIns="32657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29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D10B9C6-5573-48AE-23DC-829080FDB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616687"/>
              </p:ext>
            </p:extLst>
          </p:nvPr>
        </p:nvGraphicFramePr>
        <p:xfrm>
          <a:off x="629325" y="1170178"/>
          <a:ext cx="10704202" cy="5020972"/>
        </p:xfrm>
        <a:graphic>
          <a:graphicData uri="http://schemas.openxmlformats.org/drawingml/2006/table">
            <a:tbl>
              <a:tblPr/>
              <a:tblGrid>
                <a:gridCol w="763247">
                  <a:extLst>
                    <a:ext uri="{9D8B030D-6E8A-4147-A177-3AD203B41FA5}">
                      <a16:colId xmlns:a16="http://schemas.microsoft.com/office/drawing/2014/main" val="2396880645"/>
                    </a:ext>
                  </a:extLst>
                </a:gridCol>
                <a:gridCol w="3506599">
                  <a:extLst>
                    <a:ext uri="{9D8B030D-6E8A-4147-A177-3AD203B41FA5}">
                      <a16:colId xmlns:a16="http://schemas.microsoft.com/office/drawing/2014/main" val="2952475256"/>
                    </a:ext>
                  </a:extLst>
                </a:gridCol>
                <a:gridCol w="1199625">
                  <a:extLst>
                    <a:ext uri="{9D8B030D-6E8A-4147-A177-3AD203B41FA5}">
                      <a16:colId xmlns:a16="http://schemas.microsoft.com/office/drawing/2014/main" val="108628438"/>
                    </a:ext>
                  </a:extLst>
                </a:gridCol>
                <a:gridCol w="1683337">
                  <a:extLst>
                    <a:ext uri="{9D8B030D-6E8A-4147-A177-3AD203B41FA5}">
                      <a16:colId xmlns:a16="http://schemas.microsoft.com/office/drawing/2014/main" val="32297002"/>
                    </a:ext>
                  </a:extLst>
                </a:gridCol>
                <a:gridCol w="1150452">
                  <a:extLst>
                    <a:ext uri="{9D8B030D-6E8A-4147-A177-3AD203B41FA5}">
                      <a16:colId xmlns:a16="http://schemas.microsoft.com/office/drawing/2014/main" val="2090249659"/>
                    </a:ext>
                  </a:extLst>
                </a:gridCol>
                <a:gridCol w="1227148">
                  <a:extLst>
                    <a:ext uri="{9D8B030D-6E8A-4147-A177-3AD203B41FA5}">
                      <a16:colId xmlns:a16="http://schemas.microsoft.com/office/drawing/2014/main" val="1378211484"/>
                    </a:ext>
                  </a:extLst>
                </a:gridCol>
                <a:gridCol w="1173794">
                  <a:extLst>
                    <a:ext uri="{9D8B030D-6E8A-4147-A177-3AD203B41FA5}">
                      <a16:colId xmlns:a16="http://schemas.microsoft.com/office/drawing/2014/main" val="3997253971"/>
                    </a:ext>
                  </a:extLst>
                </a:gridCol>
              </a:tblGrid>
              <a:tr h="7044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ритория СП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екты СП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и СПВ по соглашению (ПЛАН),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F3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и СПВ (ФАКТ), млрд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М по соглашению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0F3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М (ФАКТ), ЕД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16758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рд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ПЛАН), ЕД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2437414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ладивостокский городской окру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,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,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3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7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9623594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темовский городской окру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89680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ходкинский городской окру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,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7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5823702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ссурийский городской окру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,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1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6849212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сан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8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7863827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деждин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823911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ктябрь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185966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ртизан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249114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ьгин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349064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одской округ Спасск-Дальн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796549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ртизанский городской окру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658775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котов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,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633278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азов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436013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нкайски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351122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граничный 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10214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одской округ Большой Камен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4874191"/>
                  </a:ext>
                </a:extLst>
              </a:tr>
              <a:tr h="24439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щий ито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0,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,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 7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 77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2128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769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903001" y="584391"/>
            <a:ext cx="2568736" cy="361055"/>
          </a:xfrm>
          <a:prstGeom prst="rect">
            <a:avLst/>
          </a:prstGeom>
        </p:spPr>
        <p:txBody>
          <a:bodyPr vert="horz" lIns="65314" tIns="32657" rIns="65314" bIns="32657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429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0DF0DA4-1974-30CC-C3CF-9149E54CA47A}"/>
              </a:ext>
            </a:extLst>
          </p:cNvPr>
          <p:cNvSpPr txBox="1">
            <a:spLocks/>
          </p:cNvSpPr>
          <p:nvPr/>
        </p:nvSpPr>
        <p:spPr>
          <a:xfrm>
            <a:off x="629325" y="376437"/>
            <a:ext cx="10933350" cy="585787"/>
          </a:xfrm>
          <a:prstGeom prst="rect">
            <a:avLst/>
          </a:prstGeom>
        </p:spPr>
        <p:txBody>
          <a:bodyPr vert="horz" wrap="square" lIns="0" tIns="0" rIns="0" bIns="0" rtlCol="0" anchor="t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ru-RU" dirty="0"/>
              <a:t>Резиденты СПВ</a:t>
            </a:r>
            <a:br>
              <a:rPr lang="ru-RU" dirty="0">
                <a:highlight>
                  <a:srgbClr val="FFFF00"/>
                </a:highlight>
              </a:rPr>
            </a:br>
            <a:r>
              <a:rPr lang="ru-RU" dirty="0"/>
              <a:t>Распределение проектов по отраслям в Ханкайском МР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C226361-B131-C72A-7E27-15EB533C0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264579"/>
              </p:ext>
            </p:extLst>
          </p:nvPr>
        </p:nvGraphicFramePr>
        <p:xfrm>
          <a:off x="629325" y="1385500"/>
          <a:ext cx="10200864" cy="3731784"/>
        </p:xfrm>
        <a:graphic>
          <a:graphicData uri="http://schemas.openxmlformats.org/drawingml/2006/table">
            <a:tbl>
              <a:tblPr/>
              <a:tblGrid>
                <a:gridCol w="595671">
                  <a:extLst>
                    <a:ext uri="{9D8B030D-6E8A-4147-A177-3AD203B41FA5}">
                      <a16:colId xmlns:a16="http://schemas.microsoft.com/office/drawing/2014/main" val="1869587380"/>
                    </a:ext>
                  </a:extLst>
                </a:gridCol>
                <a:gridCol w="3588207">
                  <a:extLst>
                    <a:ext uri="{9D8B030D-6E8A-4147-A177-3AD203B41FA5}">
                      <a16:colId xmlns:a16="http://schemas.microsoft.com/office/drawing/2014/main" val="1028064910"/>
                    </a:ext>
                  </a:extLst>
                </a:gridCol>
                <a:gridCol w="1290620">
                  <a:extLst>
                    <a:ext uri="{9D8B030D-6E8A-4147-A177-3AD203B41FA5}">
                      <a16:colId xmlns:a16="http://schemas.microsoft.com/office/drawing/2014/main" val="2585038369"/>
                    </a:ext>
                  </a:extLst>
                </a:gridCol>
                <a:gridCol w="1276438">
                  <a:extLst>
                    <a:ext uri="{9D8B030D-6E8A-4147-A177-3AD203B41FA5}">
                      <a16:colId xmlns:a16="http://schemas.microsoft.com/office/drawing/2014/main" val="3417205213"/>
                    </a:ext>
                  </a:extLst>
                </a:gridCol>
                <a:gridCol w="1350897">
                  <a:extLst>
                    <a:ext uri="{9D8B030D-6E8A-4147-A177-3AD203B41FA5}">
                      <a16:colId xmlns:a16="http://schemas.microsoft.com/office/drawing/2014/main" val="1078832431"/>
                    </a:ext>
                  </a:extLst>
                </a:gridCol>
                <a:gridCol w="1063698">
                  <a:extLst>
                    <a:ext uri="{9D8B030D-6E8A-4147-A177-3AD203B41FA5}">
                      <a16:colId xmlns:a16="http://schemas.microsoft.com/office/drawing/2014/main" val="1936662337"/>
                    </a:ext>
                  </a:extLst>
                </a:gridCol>
                <a:gridCol w="1035333">
                  <a:extLst>
                    <a:ext uri="{9D8B030D-6E8A-4147-A177-3AD203B41FA5}">
                      <a16:colId xmlns:a16="http://schemas.microsoft.com/office/drawing/2014/main" val="3543244512"/>
                    </a:ext>
                  </a:extLst>
                </a:gridCol>
              </a:tblGrid>
              <a:tr h="124392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екты СП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и по соглашению (ПЛАН), млрд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и (ФАКТ), млрд руб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РМ по соглашению, ЕД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М (ФАКТ), ЕД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556979"/>
                  </a:ext>
                </a:extLst>
              </a:tr>
              <a:tr h="31098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вотноводство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9072023"/>
                  </a:ext>
                </a:extLst>
              </a:tr>
              <a:tr h="31098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еработка с/х культу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0499047"/>
                  </a:ext>
                </a:extLst>
              </a:tr>
              <a:tr h="62196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 пищевых продуктов и напитков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7370807"/>
                  </a:ext>
                </a:extLst>
              </a:tr>
              <a:tr h="62196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 продукции из водных биоресурсов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7040806"/>
                  </a:ext>
                </a:extLst>
              </a:tr>
              <a:tr h="31098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стениеводство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8764113"/>
                  </a:ext>
                </a:extLst>
              </a:tr>
              <a:tr h="31098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щий ито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8DE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3600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883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: Rounded Corners 76">
            <a:extLst>
              <a:ext uri="{FF2B5EF4-FFF2-40B4-BE49-F238E27FC236}">
                <a16:creationId xmlns:a16="http://schemas.microsoft.com/office/drawing/2014/main" id="{F38DA3D5-B504-6B4C-A467-B2C249C0DD06}"/>
              </a:ext>
            </a:extLst>
          </p:cNvPr>
          <p:cNvSpPr/>
          <p:nvPr/>
        </p:nvSpPr>
        <p:spPr>
          <a:xfrm>
            <a:off x="4373563" y="2514483"/>
            <a:ext cx="3449632" cy="625657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: Rounded Corners 76">
            <a:extLst>
              <a:ext uri="{FF2B5EF4-FFF2-40B4-BE49-F238E27FC236}">
                <a16:creationId xmlns:a16="http://schemas.microsoft.com/office/drawing/2014/main" id="{0FDB48C1-3396-1143-9C05-5A736F01ED2D}"/>
              </a:ext>
            </a:extLst>
          </p:cNvPr>
          <p:cNvSpPr/>
          <p:nvPr/>
        </p:nvSpPr>
        <p:spPr>
          <a:xfrm>
            <a:off x="4367212" y="1704898"/>
            <a:ext cx="3457575" cy="625657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Rectangle: Rounded Corners 76">
            <a:extLst>
              <a:ext uri="{FF2B5EF4-FFF2-40B4-BE49-F238E27FC236}">
                <a16:creationId xmlns:a16="http://schemas.microsoft.com/office/drawing/2014/main" id="{DAC227A8-4491-D241-9A60-89FE68D6D818}"/>
              </a:ext>
            </a:extLst>
          </p:cNvPr>
          <p:cNvSpPr/>
          <p:nvPr/>
        </p:nvSpPr>
        <p:spPr>
          <a:xfrm>
            <a:off x="628651" y="2514483"/>
            <a:ext cx="3449632" cy="625657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Rectangle: Rounded Corners 76">
            <a:extLst>
              <a:ext uri="{FF2B5EF4-FFF2-40B4-BE49-F238E27FC236}">
                <a16:creationId xmlns:a16="http://schemas.microsoft.com/office/drawing/2014/main" id="{9EABD230-E79C-2F40-82EC-822EB96F5E6F}"/>
              </a:ext>
            </a:extLst>
          </p:cNvPr>
          <p:cNvSpPr/>
          <p:nvPr/>
        </p:nvSpPr>
        <p:spPr>
          <a:xfrm>
            <a:off x="627057" y="1704898"/>
            <a:ext cx="3452817" cy="625657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cap="all" dirty="0">
                <a:ln w="3175" cmpd="sng">
                  <a:noFill/>
                </a:ln>
                <a:solidFill>
                  <a:schemeClr val="accent1"/>
                </a:solidFill>
              </a:rPr>
              <a:t>Как стать резидентом ТОР и СПВ</a:t>
            </a:r>
          </a:p>
        </p:txBody>
      </p:sp>
      <p:pic>
        <p:nvPicPr>
          <p:cNvPr id="344" name="Рисунок 287">
            <a:extLst>
              <a:ext uri="{FF2B5EF4-FFF2-40B4-BE49-F238E27FC236}">
                <a16:creationId xmlns:a16="http://schemas.microsoft.com/office/drawing/2014/main" id="{EC3806AE-AA1F-AA47-A03C-09B8C07FB2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5021" y="1801726"/>
            <a:ext cx="432000" cy="432000"/>
          </a:xfrm>
          <a:prstGeom prst="rect">
            <a:avLst/>
          </a:prstGeom>
        </p:spPr>
      </p:pic>
      <p:pic>
        <p:nvPicPr>
          <p:cNvPr id="345" name="Рисунок 237">
            <a:extLst>
              <a:ext uri="{FF2B5EF4-FFF2-40B4-BE49-F238E27FC236}">
                <a16:creationId xmlns:a16="http://schemas.microsoft.com/office/drawing/2014/main" id="{1CCF0974-A2BD-3845-97D9-0D8029B2C0B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3042" y="2611311"/>
            <a:ext cx="432000" cy="432000"/>
          </a:xfrm>
          <a:prstGeom prst="rect">
            <a:avLst/>
          </a:prstGeom>
        </p:spPr>
      </p:pic>
      <p:pic>
        <p:nvPicPr>
          <p:cNvPr id="346" name="Рисунок 197">
            <a:extLst>
              <a:ext uri="{FF2B5EF4-FFF2-40B4-BE49-F238E27FC236}">
                <a16:creationId xmlns:a16="http://schemas.microsoft.com/office/drawing/2014/main" id="{C0BA93DB-A851-CC4F-B022-34479C69FD6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57551" y="1801726"/>
            <a:ext cx="432000" cy="432000"/>
          </a:xfrm>
          <a:prstGeom prst="rect">
            <a:avLst/>
          </a:prstGeom>
        </p:spPr>
      </p:pic>
      <p:sp>
        <p:nvSpPr>
          <p:cNvPr id="359" name="Прямоугольник 46">
            <a:extLst>
              <a:ext uri="{FF2B5EF4-FFF2-40B4-BE49-F238E27FC236}">
                <a16:creationId xmlns:a16="http://schemas.microsoft.com/office/drawing/2014/main" id="{ABDC1F29-5DE0-CD47-986C-5C34A32175EE}"/>
              </a:ext>
            </a:extLst>
          </p:cNvPr>
          <p:cNvSpPr/>
          <p:nvPr/>
        </p:nvSpPr>
        <p:spPr>
          <a:xfrm>
            <a:off x="627057" y="1235487"/>
            <a:ext cx="6534442" cy="61277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екомендуется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225175-8436-6C45-A15E-5E3A05B5D479}"/>
              </a:ext>
            </a:extLst>
          </p:cNvPr>
          <p:cNvSpPr/>
          <p:nvPr/>
        </p:nvSpPr>
        <p:spPr>
          <a:xfrm>
            <a:off x="1266501" y="1825366"/>
            <a:ext cx="263935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0.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ОРАБОТКА И УПАКОВКА ПРОЕКТА СОВМЕСТНО С УК ИЛИ ДЗО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E5A589C-747C-6A41-845B-4044B18F635A}"/>
              </a:ext>
            </a:extLst>
          </p:cNvPr>
          <p:cNvSpPr/>
          <p:nvPr/>
        </p:nvSpPr>
        <p:spPr>
          <a:xfrm>
            <a:off x="1274523" y="2642645"/>
            <a:ext cx="25876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.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ФОРМИРОВАНИЕ КОМПЛЕКТА</a:t>
            </a:r>
            <a:r>
              <a:rPr lang="ru-RU" sz="9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 Д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ОКУМЕНТОВ ДЛЯ ПОДАЧИ ЗАЯВКИ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996BEE5-C0AE-6B4E-931C-046999717D40}"/>
              </a:ext>
            </a:extLst>
          </p:cNvPr>
          <p:cNvSpPr/>
          <p:nvPr/>
        </p:nvSpPr>
        <p:spPr>
          <a:xfrm>
            <a:off x="4975674" y="1833060"/>
            <a:ext cx="20797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.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АЧА ЗАЯВКИ И</a:t>
            </a:r>
            <a:r>
              <a:rPr kumimoji="0" lang="ru-RU" sz="900" b="1" i="0" u="none" strike="noStrike" kern="1200" cap="none" spc="-77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900" b="1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КУМЕНТОВ </a:t>
            </a: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DC.RU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69E83DC-1DD9-FA41-B531-B2BE1CB4998A}"/>
              </a:ext>
            </a:extLst>
          </p:cNvPr>
          <p:cNvSpPr/>
          <p:nvPr/>
        </p:nvSpPr>
        <p:spPr>
          <a:xfrm>
            <a:off x="4975674" y="2642645"/>
            <a:ext cx="28491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3.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КЛЮЧЕНИЕ СОГЛАШЕНИЯ И ВКЛЮЧЕНИЕ В РЕЕСТР РЕЗИДЕНТОВ</a:t>
            </a:r>
          </a:p>
        </p:txBody>
      </p:sp>
      <p:pic>
        <p:nvPicPr>
          <p:cNvPr id="68" name="Рисунок 4">
            <a:extLst>
              <a:ext uri="{FF2B5EF4-FFF2-40B4-BE49-F238E27FC236}">
                <a16:creationId xmlns:a16="http://schemas.microsoft.com/office/drawing/2014/main" id="{1499769D-EFFD-0A45-AC43-B38B2EE7446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7030" y="2609621"/>
            <a:ext cx="435381" cy="435381"/>
          </a:xfrm>
          <a:prstGeom prst="rect">
            <a:avLst/>
          </a:prstGeom>
        </p:spPr>
      </p:pic>
      <p:graphicFrame>
        <p:nvGraphicFramePr>
          <p:cNvPr id="72" name="Таблица 41">
            <a:extLst>
              <a:ext uri="{FF2B5EF4-FFF2-40B4-BE49-F238E27FC236}">
                <a16:creationId xmlns:a16="http://schemas.microsoft.com/office/drawing/2014/main" id="{CE8B870F-4C90-364E-8389-41F34569E0C6}"/>
              </a:ext>
            </a:extLst>
          </p:cNvPr>
          <p:cNvGraphicFramePr>
            <a:graphicFrameLocks noGrp="1"/>
          </p:cNvGraphicFramePr>
          <p:nvPr/>
        </p:nvGraphicFramePr>
        <p:xfrm>
          <a:off x="1326011" y="3314606"/>
          <a:ext cx="2603097" cy="2851243"/>
        </p:xfrm>
        <a:graphic>
          <a:graphicData uri="http://schemas.openxmlformats.org/drawingml/2006/table">
            <a:tbl>
              <a:tblPr/>
              <a:tblGrid>
                <a:gridCol w="256192">
                  <a:extLst>
                    <a:ext uri="{9D8B030D-6E8A-4147-A177-3AD203B41FA5}">
                      <a16:colId xmlns:a16="http://schemas.microsoft.com/office/drawing/2014/main" val="2904436106"/>
                    </a:ext>
                  </a:extLst>
                </a:gridCol>
                <a:gridCol w="2346905">
                  <a:extLst>
                    <a:ext uri="{9D8B030D-6E8A-4147-A177-3AD203B41FA5}">
                      <a16:colId xmlns:a16="http://schemas.microsoft.com/office/drawing/2014/main" val="3212560003"/>
                    </a:ext>
                  </a:extLst>
                </a:gridCol>
              </a:tblGrid>
              <a:tr h="16015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  <a:cs typeface="PT Sans Narrow"/>
                        </a:rPr>
                        <a:t>Заявка (по форме)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41331761"/>
                  </a:ext>
                </a:extLst>
              </a:tr>
              <a:tr h="33628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</a:t>
                      </a: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  <a:cs typeface="PT Sans Narrow"/>
                        </a:rPr>
                        <a:t>Копии Учредительных документов </a:t>
                      </a:r>
                      <a:br>
                        <a:rPr lang="ru-RU" sz="900" dirty="0">
                          <a:latin typeface="+mn-lt"/>
                          <a:cs typeface="PT Sans Narrow"/>
                        </a:rPr>
                      </a:br>
                      <a:r>
                        <a:rPr lang="ru-RU" sz="900" dirty="0">
                          <a:latin typeface="+mn-lt"/>
                          <a:cs typeface="PT Sans Narrow"/>
                        </a:rPr>
                        <a:t>(для ЮЛ)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649534"/>
                  </a:ext>
                </a:extLst>
              </a:tr>
              <a:tr h="252414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</a:t>
                      </a: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  <a:cs typeface="PT Sans Narrow"/>
                        </a:rPr>
                        <a:t>Бизнес-план (по форме)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206694"/>
                  </a:ext>
                </a:extLst>
              </a:tr>
              <a:tr h="320313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4</a:t>
                      </a: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  <a:cs typeface="PT Sans Narrow"/>
                        </a:rPr>
                        <a:t>Свидетельство о постановке на учет </a:t>
                      </a:r>
                      <a:br>
                        <a:rPr lang="ru-RU" sz="900" dirty="0">
                          <a:latin typeface="+mn-lt"/>
                          <a:cs typeface="PT Sans Narrow"/>
                        </a:rPr>
                      </a:br>
                      <a:r>
                        <a:rPr lang="ru-RU" sz="900" dirty="0">
                          <a:latin typeface="+mn-lt"/>
                          <a:cs typeface="PT Sans Narrow"/>
                        </a:rPr>
                        <a:t>в налоговом органе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8491409"/>
                  </a:ext>
                </a:extLst>
              </a:tr>
              <a:tr h="320313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  <a:cs typeface="PT Sans Narrow"/>
                        </a:rPr>
                        <a:t>1.5</a:t>
                      </a: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Свидетельство о государственной регистрации / лист записи ЕГРЮЛ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3450280"/>
                  </a:ext>
                </a:extLst>
              </a:tr>
              <a:tr h="640625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6</a:t>
                      </a:r>
                    </a:p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Бухгалтерская отчетность за предыдущие три года и расшифровка выручки по видам деятельности (для действующих предприятий</a:t>
                      </a:r>
                      <a:r>
                        <a:rPr lang="ru-RU" sz="900" dirty="0">
                          <a:latin typeface="+mn-lt"/>
                          <a:cs typeface="PT Sans Narrow"/>
                        </a:rPr>
                        <a:t>)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4542348"/>
                  </a:ext>
                </a:extLst>
              </a:tr>
              <a:tr h="340667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r" fontAlgn="b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Финансовая модель инвестиционного проек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10937862"/>
                  </a:ext>
                </a:extLst>
              </a:tr>
              <a:tr h="480469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r>
                        <a:rPr lang="en-US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Копии правоустанавливающих документов на землю (при наличии)</a:t>
                      </a:r>
                      <a:endParaRPr lang="ru-RU" sz="900" dirty="0">
                        <a:latin typeface="+mn-lt"/>
                        <a:cs typeface="PT Sans Narrow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latin typeface="+mn-lt"/>
                        <a:cs typeface="PT Sans Narrow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34921852"/>
                  </a:ext>
                </a:extLst>
              </a:tr>
            </a:tbl>
          </a:graphicData>
        </a:graphic>
      </p:graphicFrame>
      <p:graphicFrame>
        <p:nvGraphicFramePr>
          <p:cNvPr id="74" name="Таблица 41">
            <a:extLst>
              <a:ext uri="{FF2B5EF4-FFF2-40B4-BE49-F238E27FC236}">
                <a16:creationId xmlns:a16="http://schemas.microsoft.com/office/drawing/2014/main" id="{F1C5F764-4ACF-CC42-82FB-4AC81672ED93}"/>
              </a:ext>
            </a:extLst>
          </p:cNvPr>
          <p:cNvGraphicFramePr>
            <a:graphicFrameLocks noGrp="1"/>
          </p:cNvGraphicFramePr>
          <p:nvPr/>
        </p:nvGraphicFramePr>
        <p:xfrm>
          <a:off x="5016619" y="3314606"/>
          <a:ext cx="2801445" cy="777560"/>
        </p:xfrm>
        <a:graphic>
          <a:graphicData uri="http://schemas.openxmlformats.org/drawingml/2006/table">
            <a:tbl>
              <a:tblPr/>
              <a:tblGrid>
                <a:gridCol w="284893">
                  <a:extLst>
                    <a:ext uri="{9D8B030D-6E8A-4147-A177-3AD203B41FA5}">
                      <a16:colId xmlns:a16="http://schemas.microsoft.com/office/drawing/2014/main" val="365923324"/>
                    </a:ext>
                  </a:extLst>
                </a:gridCol>
                <a:gridCol w="2516552">
                  <a:extLst>
                    <a:ext uri="{9D8B030D-6E8A-4147-A177-3AD203B41FA5}">
                      <a16:colId xmlns:a16="http://schemas.microsoft.com/office/drawing/2014/main" val="1819494068"/>
                    </a:ext>
                  </a:extLst>
                </a:gridCol>
              </a:tblGrid>
              <a:tr h="224330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</a:t>
                      </a: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dirty="0">
                          <a:cs typeface="PT Sans Narrow"/>
                        </a:rPr>
                        <a:t>Принятие решения по Заявк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41331761"/>
                  </a:ext>
                </a:extLst>
              </a:tr>
              <a:tr h="233162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</a:t>
                      </a: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Заключение Соглашения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8649534"/>
                  </a:ext>
                </a:extLst>
              </a:tr>
              <a:tr h="320068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3</a:t>
                      </a:r>
                    </a:p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cs typeface="PT Sans Narrow"/>
                      </a:endParaRPr>
                    </a:p>
                  </a:txBody>
                  <a:tcPr marL="0" marR="7200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cs typeface="PT Sans Narrow"/>
                        </a:rPr>
                        <a:t>Включение в Реестр резидентов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206694"/>
                  </a:ext>
                </a:extLst>
              </a:tr>
            </a:tbl>
          </a:graphicData>
        </a:graphic>
      </p:graphicFrame>
      <p:sp>
        <p:nvSpPr>
          <p:cNvPr id="24" name="Rectangle: Rounded Corners 76">
            <a:extLst>
              <a:ext uri="{FF2B5EF4-FFF2-40B4-BE49-F238E27FC236}">
                <a16:creationId xmlns:a16="http://schemas.microsoft.com/office/drawing/2014/main" id="{6F7942EB-941E-1048-843E-ACBE5C5769B2}"/>
              </a:ext>
            </a:extLst>
          </p:cNvPr>
          <p:cNvSpPr/>
          <p:nvPr/>
        </p:nvSpPr>
        <p:spPr>
          <a:xfrm>
            <a:off x="8115651" y="1704898"/>
            <a:ext cx="3457575" cy="1608673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17">
            <a:extLst>
              <a:ext uri="{FF2B5EF4-FFF2-40B4-BE49-F238E27FC236}">
                <a16:creationId xmlns:a16="http://schemas.microsoft.com/office/drawing/2014/main" id="{170FDB0C-E77B-7D42-9329-A9B6F56029B4}"/>
              </a:ext>
            </a:extLst>
          </p:cNvPr>
          <p:cNvSpPr txBox="1"/>
          <p:nvPr/>
        </p:nvSpPr>
        <p:spPr>
          <a:xfrm>
            <a:off x="8217061" y="1971354"/>
            <a:ext cx="3346289" cy="12721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Заявитель является ИП или коммерческой организацией</a:t>
            </a:r>
          </a:p>
          <a:p>
            <a:pPr marL="108000" marR="0" lvl="0" indent="-1080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Соответствие бизнес-плана и заявки установленным требованиям</a:t>
            </a:r>
          </a:p>
          <a:p>
            <a:pPr marL="108000" marR="0" lvl="0" indent="-1080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Заявитель не находится в стадии банкротства, реорганизации, 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или ликвидации</a:t>
            </a:r>
          </a:p>
          <a:p>
            <a:pPr marL="108000" marR="0" lvl="0" indent="-1080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Отсутствие недоимок по налогам и сборам, страховым взносам 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за последний год, размер которых превышает 25% балансовой стоимости активов</a:t>
            </a:r>
          </a:p>
          <a:p>
            <a:pPr marL="108000" marR="0" lvl="0" indent="-10800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Указанные в заявке земельные участки расположены 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на территории, свободны от прав третьих лиц и могут </a:t>
            </a: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</a:b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PT Sans Narrow"/>
              </a:rPr>
              <a:t>быть предоставлены для реализации проекта</a:t>
            </a:r>
          </a:p>
        </p:txBody>
      </p:sp>
      <p:sp>
        <p:nvSpPr>
          <p:cNvPr id="27" name="Rectangle: Rounded Corners 76">
            <a:extLst>
              <a:ext uri="{FF2B5EF4-FFF2-40B4-BE49-F238E27FC236}">
                <a16:creationId xmlns:a16="http://schemas.microsoft.com/office/drawing/2014/main" id="{44AC04F0-3AE9-8E48-9A44-EEA947E10F72}"/>
              </a:ext>
            </a:extLst>
          </p:cNvPr>
          <p:cNvSpPr/>
          <p:nvPr/>
        </p:nvSpPr>
        <p:spPr>
          <a:xfrm>
            <a:off x="8115651" y="3401840"/>
            <a:ext cx="3457575" cy="1414603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bject 17">
            <a:extLst>
              <a:ext uri="{FF2B5EF4-FFF2-40B4-BE49-F238E27FC236}">
                <a16:creationId xmlns:a16="http://schemas.microsoft.com/office/drawing/2014/main" id="{44184C2C-7013-4042-B1EE-F2D4E68D4E16}"/>
              </a:ext>
            </a:extLst>
          </p:cNvPr>
          <p:cNvSpPr txBox="1"/>
          <p:nvPr/>
        </p:nvSpPr>
        <p:spPr>
          <a:xfrm>
            <a:off x="8217061" y="3668949"/>
            <a:ext cx="3561497" cy="10638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Регистрация осуществлена на ТОР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Реализация проекта на ТОР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Объем капитальных вложений не менее 500 тыс. руб.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Соответствие видов деятельности ПП РФ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Заявитель не имеет статуса участника регионального </a:t>
            </a:r>
            <a:br>
              <a:rPr lang="ru-RU" sz="800" dirty="0">
                <a:solidFill>
                  <a:srgbClr val="000000"/>
                </a:solidFill>
                <a:cs typeface="PT Sans Narrow"/>
              </a:rPr>
            </a:br>
            <a:r>
              <a:rPr lang="ru-RU" sz="800" dirty="0">
                <a:solidFill>
                  <a:srgbClr val="000000"/>
                </a:solidFill>
                <a:cs typeface="PT Sans Narrow"/>
              </a:rPr>
              <a:t>инвестиционного проекта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Заявитель не имеет филиалов и представительств </a:t>
            </a:r>
            <a:br>
              <a:rPr lang="ru-RU" sz="800" dirty="0">
                <a:solidFill>
                  <a:srgbClr val="000000"/>
                </a:solidFill>
                <a:cs typeface="PT Sans Narrow"/>
              </a:rPr>
            </a:br>
            <a:r>
              <a:rPr lang="ru-RU" sz="800" dirty="0">
                <a:solidFill>
                  <a:srgbClr val="000000"/>
                </a:solidFill>
                <a:cs typeface="PT Sans Narrow"/>
              </a:rPr>
              <a:t>за пределами ТОР</a:t>
            </a:r>
          </a:p>
        </p:txBody>
      </p:sp>
      <p:sp>
        <p:nvSpPr>
          <p:cNvPr id="34" name="Rectangle: Rounded Corners 76">
            <a:extLst>
              <a:ext uri="{FF2B5EF4-FFF2-40B4-BE49-F238E27FC236}">
                <a16:creationId xmlns:a16="http://schemas.microsoft.com/office/drawing/2014/main" id="{F57418E4-2F5E-F147-8022-77BC32CAF4DD}"/>
              </a:ext>
            </a:extLst>
          </p:cNvPr>
          <p:cNvSpPr/>
          <p:nvPr/>
        </p:nvSpPr>
        <p:spPr>
          <a:xfrm>
            <a:off x="8115651" y="4906978"/>
            <a:ext cx="3457575" cy="1258872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object 17">
            <a:extLst>
              <a:ext uri="{FF2B5EF4-FFF2-40B4-BE49-F238E27FC236}">
                <a16:creationId xmlns:a16="http://schemas.microsoft.com/office/drawing/2014/main" id="{0F748F9F-6BE3-8444-B817-10D34A98F1F9}"/>
              </a:ext>
            </a:extLst>
          </p:cNvPr>
          <p:cNvSpPr txBox="1"/>
          <p:nvPr/>
        </p:nvSpPr>
        <p:spPr>
          <a:xfrm>
            <a:off x="8217061" y="5179631"/>
            <a:ext cx="3561497" cy="9212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Регистрация осуществлена на территории СПВ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Реализация проекта на территории СПВ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spc="-20" dirty="0">
                <a:solidFill>
                  <a:srgbClr val="000000"/>
                </a:solidFill>
                <a:cs typeface="PT Sans Narrow"/>
              </a:rPr>
              <a:t>Объем капитальных вложений не менее 5 млн руб. (первые 3 года)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Новые виды предпринимательской деятельности, </a:t>
            </a:r>
            <a:br>
              <a:rPr lang="ru-RU" sz="800" dirty="0">
                <a:solidFill>
                  <a:srgbClr val="000000"/>
                </a:solidFill>
                <a:cs typeface="PT Sans Narrow"/>
              </a:rPr>
            </a:br>
            <a:r>
              <a:rPr lang="ru-RU" sz="800" dirty="0">
                <a:solidFill>
                  <a:srgbClr val="000000"/>
                </a:solidFill>
                <a:cs typeface="PT Sans Narrow"/>
              </a:rPr>
              <a:t>либо инвестиционный проект является новым</a:t>
            </a:r>
          </a:p>
          <a:p>
            <a:pPr marL="108000" lvl="0" indent="-108000">
              <a:lnSpc>
                <a:spcPct val="95000"/>
              </a:lnSpc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ru-RU" sz="800" dirty="0">
                <a:solidFill>
                  <a:srgbClr val="000000"/>
                </a:solidFill>
                <a:cs typeface="PT Sans Narrow"/>
              </a:rPr>
              <a:t>Осуществление не запрещенных видов </a:t>
            </a:r>
            <a:br>
              <a:rPr lang="ru-RU" sz="800" dirty="0">
                <a:solidFill>
                  <a:srgbClr val="000000"/>
                </a:solidFill>
                <a:cs typeface="PT Sans Narrow"/>
              </a:rPr>
            </a:br>
            <a:r>
              <a:rPr lang="ru-RU" sz="800" dirty="0">
                <a:solidFill>
                  <a:srgbClr val="000000"/>
                </a:solidFill>
                <a:cs typeface="PT Sans Narrow"/>
              </a:rPr>
              <a:t>предпринимательской деятельности</a:t>
            </a:r>
          </a:p>
        </p:txBody>
      </p:sp>
      <p:sp>
        <p:nvSpPr>
          <p:cNvPr id="36" name="Прямоугольник 46">
            <a:extLst>
              <a:ext uri="{FF2B5EF4-FFF2-40B4-BE49-F238E27FC236}">
                <a16:creationId xmlns:a16="http://schemas.microsoft.com/office/drawing/2014/main" id="{5A57D579-63A8-D94E-ACF6-759E1C3AF31B}"/>
              </a:ext>
            </a:extLst>
          </p:cNvPr>
          <p:cNvSpPr/>
          <p:nvPr/>
        </p:nvSpPr>
        <p:spPr>
          <a:xfrm>
            <a:off x="8215239" y="1543983"/>
            <a:ext cx="6534442" cy="61277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>
              <a:defRPr/>
            </a:pPr>
            <a:r>
              <a:rPr lang="ru-RU" sz="1000" b="1" dirty="0">
                <a:solidFill>
                  <a:srgbClr val="000000"/>
                </a:solidFill>
                <a:latin typeface="+mj-lt"/>
              </a:rPr>
              <a:t>Общие требования</a:t>
            </a:r>
          </a:p>
        </p:txBody>
      </p:sp>
      <p:sp>
        <p:nvSpPr>
          <p:cNvPr id="37" name="Прямоугольник 46">
            <a:extLst>
              <a:ext uri="{FF2B5EF4-FFF2-40B4-BE49-F238E27FC236}">
                <a16:creationId xmlns:a16="http://schemas.microsoft.com/office/drawing/2014/main" id="{6DFEBBC6-E2FA-4042-995B-6EAFC72C60C9}"/>
              </a:ext>
            </a:extLst>
          </p:cNvPr>
          <p:cNvSpPr/>
          <p:nvPr/>
        </p:nvSpPr>
        <p:spPr>
          <a:xfrm>
            <a:off x="8215239" y="3228718"/>
            <a:ext cx="6534442" cy="61277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>
              <a:defRPr/>
            </a:pPr>
            <a:r>
              <a:rPr lang="ru-RU" sz="1000" b="1" dirty="0">
                <a:solidFill>
                  <a:srgbClr val="000000"/>
                </a:solidFill>
                <a:latin typeface="+mj-lt"/>
              </a:rPr>
              <a:t>Требования для ТОР</a:t>
            </a:r>
          </a:p>
        </p:txBody>
      </p:sp>
      <p:sp>
        <p:nvSpPr>
          <p:cNvPr id="38" name="Прямоугольник 46">
            <a:extLst>
              <a:ext uri="{FF2B5EF4-FFF2-40B4-BE49-F238E27FC236}">
                <a16:creationId xmlns:a16="http://schemas.microsoft.com/office/drawing/2014/main" id="{8B4EC790-5E9D-9A49-8723-857FD58687BB}"/>
              </a:ext>
            </a:extLst>
          </p:cNvPr>
          <p:cNvSpPr/>
          <p:nvPr/>
        </p:nvSpPr>
        <p:spPr>
          <a:xfrm>
            <a:off x="8215239" y="4738960"/>
            <a:ext cx="6534442" cy="61277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>
              <a:defRPr/>
            </a:pPr>
            <a:r>
              <a:rPr lang="ru-RU" sz="1000" b="1" dirty="0">
                <a:solidFill>
                  <a:srgbClr val="000000"/>
                </a:solidFill>
                <a:latin typeface="+mj-lt"/>
              </a:rPr>
              <a:t>Требования для СПВ</a:t>
            </a:r>
          </a:p>
        </p:txBody>
      </p:sp>
    </p:spTree>
    <p:extLst>
      <p:ext uri="{BB962C8B-B14F-4D97-AF65-F5344CB8AC3E}">
        <p14:creationId xmlns:p14="http://schemas.microsoft.com/office/powerpoint/2010/main" val="313145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cap="all" dirty="0">
                <a:ln w="3175" cmpd="sng">
                  <a:noFill/>
                </a:ln>
                <a:solidFill>
                  <a:schemeClr val="accent1"/>
                </a:solidFill>
              </a:rPr>
              <a:t>Как стать резидентом ТОР и СПВ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302F80F-F9C3-430A-99A4-70B950270E44}"/>
              </a:ext>
            </a:extLst>
          </p:cNvPr>
          <p:cNvGrpSpPr/>
          <p:nvPr/>
        </p:nvGrpSpPr>
        <p:grpSpPr>
          <a:xfrm>
            <a:off x="639877" y="1722160"/>
            <a:ext cx="3452817" cy="625657"/>
            <a:chOff x="627057" y="1704898"/>
            <a:chExt cx="3452817" cy="625657"/>
          </a:xfrm>
        </p:grpSpPr>
        <p:sp>
          <p:nvSpPr>
            <p:cNvPr id="57" name="Rectangle: Rounded Corners 76">
              <a:extLst>
                <a:ext uri="{FF2B5EF4-FFF2-40B4-BE49-F238E27FC236}">
                  <a16:creationId xmlns:a16="http://schemas.microsoft.com/office/drawing/2014/main" id="{9EABD230-E79C-2F40-82EC-822EB96F5E6F}"/>
                </a:ext>
              </a:extLst>
            </p:cNvPr>
            <p:cNvSpPr/>
            <p:nvPr/>
          </p:nvSpPr>
          <p:spPr>
            <a:xfrm>
              <a:off x="627057" y="1704898"/>
              <a:ext cx="3452817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44" name="Рисунок 287">
              <a:extLst>
                <a:ext uri="{FF2B5EF4-FFF2-40B4-BE49-F238E27FC236}">
                  <a16:creationId xmlns:a16="http://schemas.microsoft.com/office/drawing/2014/main" id="{EC3806AE-AA1F-AA47-A03C-09B8C07FB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05021" y="1801726"/>
              <a:ext cx="432000" cy="432000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E225175-8436-6C45-A15E-5E3A05B5D479}"/>
                </a:ext>
              </a:extLst>
            </p:cNvPr>
            <p:cNvSpPr/>
            <p:nvPr/>
          </p:nvSpPr>
          <p:spPr>
            <a:xfrm>
              <a:off x="1266501" y="1825366"/>
              <a:ext cx="263935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ПРОРАБОТКА И УПАКОВКА ПРОЕКТА СОВМЕСТНО С УК ИЛИ ДЗО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CC90499-6B0C-44B4-A067-301CB24E7BA0}"/>
              </a:ext>
            </a:extLst>
          </p:cNvPr>
          <p:cNvGrpSpPr/>
          <p:nvPr/>
        </p:nvGrpSpPr>
        <p:grpSpPr>
          <a:xfrm>
            <a:off x="620744" y="4002296"/>
            <a:ext cx="3449632" cy="774493"/>
            <a:chOff x="628651" y="2514483"/>
            <a:chExt cx="3449632" cy="774493"/>
          </a:xfrm>
        </p:grpSpPr>
        <p:sp>
          <p:nvSpPr>
            <p:cNvPr id="61" name="Rectangle: Rounded Corners 76">
              <a:extLst>
                <a:ext uri="{FF2B5EF4-FFF2-40B4-BE49-F238E27FC236}">
                  <a16:creationId xmlns:a16="http://schemas.microsoft.com/office/drawing/2014/main" id="{DAC227A8-4491-D241-9A60-89FE68D6D818}"/>
                </a:ext>
              </a:extLst>
            </p:cNvPr>
            <p:cNvSpPr/>
            <p:nvPr/>
          </p:nvSpPr>
          <p:spPr>
            <a:xfrm>
              <a:off x="628651" y="2514483"/>
              <a:ext cx="3449632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E5A589C-747C-6A41-845B-4044B18F635A}"/>
                </a:ext>
              </a:extLst>
            </p:cNvPr>
            <p:cNvSpPr/>
            <p:nvPr/>
          </p:nvSpPr>
          <p:spPr>
            <a:xfrm>
              <a:off x="1274523" y="2642645"/>
              <a:ext cx="258767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"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ПОДАЧА ЗАЯВКИ, </a:t>
              </a:r>
              <a:r>
                <a:rPr lang="ru-RU" sz="900" b="1" dirty="0">
                  <a:solidFill>
                    <a:srgbClr val="000000"/>
                  </a:solidFill>
                  <a:latin typeface="Arial"/>
                </a:rPr>
                <a:t>РАССМОТРЕНИЕ </a:t>
              </a: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И ПРИНЯТИЕ ПОЛОЖИТЕЛЬНОГО РЕШЕНИЯ</a:t>
              </a:r>
              <a:endPara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352CEEC-1D9D-4B35-BEF9-CFD0853E3CEF}"/>
              </a:ext>
            </a:extLst>
          </p:cNvPr>
          <p:cNvGrpSpPr/>
          <p:nvPr/>
        </p:nvGrpSpPr>
        <p:grpSpPr>
          <a:xfrm>
            <a:off x="4378066" y="2863477"/>
            <a:ext cx="7193190" cy="625657"/>
            <a:chOff x="4373563" y="2514483"/>
            <a:chExt cx="3449632" cy="625657"/>
          </a:xfrm>
        </p:grpSpPr>
        <p:sp>
          <p:nvSpPr>
            <p:cNvPr id="64" name="Rectangle: Rounded Corners 76">
              <a:extLst>
                <a:ext uri="{FF2B5EF4-FFF2-40B4-BE49-F238E27FC236}">
                  <a16:creationId xmlns:a16="http://schemas.microsoft.com/office/drawing/2014/main" id="{F38DA3D5-B504-6B4C-A467-B2C249C0DD06}"/>
                </a:ext>
              </a:extLst>
            </p:cNvPr>
            <p:cNvSpPr/>
            <p:nvPr/>
          </p:nvSpPr>
          <p:spPr>
            <a:xfrm>
              <a:off x="4373563" y="2514483"/>
              <a:ext cx="3449632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69E83DC-1DD9-FA41-B531-B2BE1CB4998A}"/>
                </a:ext>
              </a:extLst>
            </p:cNvPr>
            <p:cNvSpPr/>
            <p:nvPr/>
          </p:nvSpPr>
          <p:spPr>
            <a:xfrm>
              <a:off x="4753006" y="2653056"/>
              <a:ext cx="284911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РАБОЧИХ ДНЕЙ</a:t>
              </a:r>
            </a:p>
          </p:txBody>
        </p:sp>
      </p:grpSp>
      <p:sp>
        <p:nvSpPr>
          <p:cNvPr id="31" name="Rectangle: Rounded Corners 76">
            <a:extLst>
              <a:ext uri="{FF2B5EF4-FFF2-40B4-BE49-F238E27FC236}">
                <a16:creationId xmlns:a16="http://schemas.microsoft.com/office/drawing/2014/main" id="{F2A76EA0-05A4-444D-A8A1-F030527541E7}"/>
              </a:ext>
            </a:extLst>
          </p:cNvPr>
          <p:cNvSpPr/>
          <p:nvPr/>
        </p:nvSpPr>
        <p:spPr>
          <a:xfrm>
            <a:off x="4371184" y="1722164"/>
            <a:ext cx="7200072" cy="625657"/>
          </a:xfrm>
          <a:prstGeom prst="roundRect">
            <a:avLst>
              <a:gd name="adj" fmla="val 0"/>
            </a:avLst>
          </a:prstGeom>
          <a:solidFill>
            <a:srgbClr val="F0F4F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31D98E29-66BF-454B-A339-106F7DD8C1C7}"/>
              </a:ext>
            </a:extLst>
          </p:cNvPr>
          <p:cNvGrpSpPr/>
          <p:nvPr/>
        </p:nvGrpSpPr>
        <p:grpSpPr>
          <a:xfrm>
            <a:off x="620744" y="2863476"/>
            <a:ext cx="3449632" cy="625657"/>
            <a:chOff x="628651" y="2514483"/>
            <a:chExt cx="3449632" cy="625657"/>
          </a:xfrm>
        </p:grpSpPr>
        <p:sp>
          <p:nvSpPr>
            <p:cNvPr id="41" name="Rectangle: Rounded Corners 76">
              <a:extLst>
                <a:ext uri="{FF2B5EF4-FFF2-40B4-BE49-F238E27FC236}">
                  <a16:creationId xmlns:a16="http://schemas.microsoft.com/office/drawing/2014/main" id="{6342F08C-6C03-4B04-BE11-9284706F2159}"/>
                </a:ext>
              </a:extLst>
            </p:cNvPr>
            <p:cNvSpPr/>
            <p:nvPr/>
          </p:nvSpPr>
          <p:spPr>
            <a:xfrm>
              <a:off x="628651" y="2514483"/>
              <a:ext cx="3449632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2" name="Рисунок 237">
              <a:extLst>
                <a:ext uri="{FF2B5EF4-FFF2-40B4-BE49-F238E27FC236}">
                  <a16:creationId xmlns:a16="http://schemas.microsoft.com/office/drawing/2014/main" id="{2622E3B3-7E93-479B-98A9-F69773616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3042" y="2611311"/>
              <a:ext cx="432000" cy="432000"/>
            </a:xfrm>
            <a:prstGeom prst="rect">
              <a:avLst/>
            </a:prstGeom>
          </p:spPr>
        </p:pic>
        <p:sp>
          <p:nvSpPr>
            <p:cNvPr id="43" name="Rectangle 61">
              <a:extLst>
                <a:ext uri="{FF2B5EF4-FFF2-40B4-BE49-F238E27FC236}">
                  <a16:creationId xmlns:a16="http://schemas.microsoft.com/office/drawing/2014/main" id="{899E87DC-2779-46FB-91AD-AC835536EAA4}"/>
                </a:ext>
              </a:extLst>
            </p:cNvPr>
            <p:cNvSpPr/>
            <p:nvPr/>
          </p:nvSpPr>
          <p:spPr>
            <a:xfrm>
              <a:off x="1274523" y="2642645"/>
              <a:ext cx="2587678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РЕГИСТРАЦИЯ ЮРИДИЧЕСКОГО ЛИЦА</a:t>
              </a:r>
            </a:p>
          </p:txBody>
        </p:sp>
      </p:grpSp>
      <p:sp>
        <p:nvSpPr>
          <p:cNvPr id="44" name="Rectangle 66">
            <a:extLst>
              <a:ext uri="{FF2B5EF4-FFF2-40B4-BE49-F238E27FC236}">
                <a16:creationId xmlns:a16="http://schemas.microsoft.com/office/drawing/2014/main" id="{0624323E-4188-46AA-B3DD-5610644F5EC5}"/>
              </a:ext>
            </a:extLst>
          </p:cNvPr>
          <p:cNvSpPr/>
          <p:nvPr/>
        </p:nvSpPr>
        <p:spPr>
          <a:xfrm>
            <a:off x="4591452" y="1858017"/>
            <a:ext cx="594098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tx2"/>
                </a:solidFill>
                <a:latin typeface="Arial"/>
                <a:cs typeface="Arial" pitchFamily="34" charset="0"/>
              </a:rPr>
              <a:t>ЗАКРЕПЛЕНИЕ СОПРОВОЖДАЮЩЕГО МЕНЕДЖЕРА</a:t>
            </a:r>
            <a:endParaRPr kumimoji="0" lang="ru-RU" sz="1600" b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31B9F18-C67D-4D62-B2C9-31A508BF8EFB}"/>
              </a:ext>
            </a:extLst>
          </p:cNvPr>
          <p:cNvGrpSpPr/>
          <p:nvPr/>
        </p:nvGrpSpPr>
        <p:grpSpPr>
          <a:xfrm>
            <a:off x="600022" y="5138433"/>
            <a:ext cx="3451223" cy="625657"/>
            <a:chOff x="619153" y="4960504"/>
            <a:chExt cx="3451223" cy="625657"/>
          </a:xfrm>
        </p:grpSpPr>
        <p:sp>
          <p:nvSpPr>
            <p:cNvPr id="45" name="Rectangle: Rounded Corners 76">
              <a:extLst>
                <a:ext uri="{FF2B5EF4-FFF2-40B4-BE49-F238E27FC236}">
                  <a16:creationId xmlns:a16="http://schemas.microsoft.com/office/drawing/2014/main" id="{19CDE619-C94F-4312-BC7B-6E01400CB47F}"/>
                </a:ext>
              </a:extLst>
            </p:cNvPr>
            <p:cNvSpPr/>
            <p:nvPr/>
          </p:nvSpPr>
          <p:spPr>
            <a:xfrm>
              <a:off x="619153" y="4960504"/>
              <a:ext cx="3449632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tangle 66">
              <a:extLst>
                <a:ext uri="{FF2B5EF4-FFF2-40B4-BE49-F238E27FC236}">
                  <a16:creationId xmlns:a16="http://schemas.microsoft.com/office/drawing/2014/main" id="{6A2B6A5D-EF4F-4CD4-9A81-202E2DF48961}"/>
                </a:ext>
              </a:extLst>
            </p:cNvPr>
            <p:cNvSpPr/>
            <p:nvPr/>
          </p:nvSpPr>
          <p:spPr>
            <a:xfrm>
              <a:off x="1221264" y="5088666"/>
              <a:ext cx="284911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ЗАКЛЮЧЕНИЕ СОГЛАШЕНИЯ И ВКЛЮЧЕНИЕ В РЕЕСТР РЕЗИДЕНТОВ</a:t>
              </a:r>
            </a:p>
          </p:txBody>
        </p:sp>
        <p:pic>
          <p:nvPicPr>
            <p:cNvPr id="47" name="Рисунок 4">
              <a:extLst>
                <a:ext uri="{FF2B5EF4-FFF2-40B4-BE49-F238E27FC236}">
                  <a16:creationId xmlns:a16="http://schemas.microsoft.com/office/drawing/2014/main" id="{AD9217F9-80B5-47DB-9568-5EDF249C9D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22620" y="5055642"/>
              <a:ext cx="435381" cy="435381"/>
            </a:xfrm>
            <a:prstGeom prst="rect">
              <a:avLst/>
            </a:prstGeom>
          </p:spPr>
        </p:pic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2D6B45E6-3C8F-4A72-881D-1CC4E2E1A3A1}"/>
              </a:ext>
            </a:extLst>
          </p:cNvPr>
          <p:cNvGrpSpPr/>
          <p:nvPr/>
        </p:nvGrpSpPr>
        <p:grpSpPr>
          <a:xfrm>
            <a:off x="4367963" y="4002296"/>
            <a:ext cx="7193190" cy="625657"/>
            <a:chOff x="4373563" y="2514483"/>
            <a:chExt cx="3449632" cy="625657"/>
          </a:xfrm>
        </p:grpSpPr>
        <p:sp>
          <p:nvSpPr>
            <p:cNvPr id="49" name="Rectangle: Rounded Corners 76">
              <a:extLst>
                <a:ext uri="{FF2B5EF4-FFF2-40B4-BE49-F238E27FC236}">
                  <a16:creationId xmlns:a16="http://schemas.microsoft.com/office/drawing/2014/main" id="{DBD5C4D9-FFB5-436A-98FE-C11A5C87C242}"/>
                </a:ext>
              </a:extLst>
            </p:cNvPr>
            <p:cNvSpPr/>
            <p:nvPr/>
          </p:nvSpPr>
          <p:spPr>
            <a:xfrm>
              <a:off x="4373563" y="2514483"/>
              <a:ext cx="3449632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66">
              <a:extLst>
                <a:ext uri="{FF2B5EF4-FFF2-40B4-BE49-F238E27FC236}">
                  <a16:creationId xmlns:a16="http://schemas.microsoft.com/office/drawing/2014/main" id="{350D47E4-1C2E-487A-BBC7-D641841DAEA5}"/>
                </a:ext>
              </a:extLst>
            </p:cNvPr>
            <p:cNvSpPr/>
            <p:nvPr/>
          </p:nvSpPr>
          <p:spPr>
            <a:xfrm>
              <a:off x="4762181" y="2656693"/>
              <a:ext cx="284911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РАБОЧИХ ДНЕЙ</a:t>
              </a: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1A042798-EE30-4B08-B79E-1D46F28B83A7}"/>
              </a:ext>
            </a:extLst>
          </p:cNvPr>
          <p:cNvGrpSpPr/>
          <p:nvPr/>
        </p:nvGrpSpPr>
        <p:grpSpPr>
          <a:xfrm>
            <a:off x="4367963" y="5141115"/>
            <a:ext cx="7193189" cy="625657"/>
            <a:chOff x="4387095" y="4153600"/>
            <a:chExt cx="7193189" cy="625657"/>
          </a:xfrm>
        </p:grpSpPr>
        <p:sp>
          <p:nvSpPr>
            <p:cNvPr id="52" name="Rectangle: Rounded Corners 76">
              <a:extLst>
                <a:ext uri="{FF2B5EF4-FFF2-40B4-BE49-F238E27FC236}">
                  <a16:creationId xmlns:a16="http://schemas.microsoft.com/office/drawing/2014/main" id="{8409504C-9A10-4A3E-9C8A-7B09D3F0943D}"/>
                </a:ext>
              </a:extLst>
            </p:cNvPr>
            <p:cNvSpPr/>
            <p:nvPr/>
          </p:nvSpPr>
          <p:spPr>
            <a:xfrm>
              <a:off x="4387095" y="4153600"/>
              <a:ext cx="7193189" cy="625657"/>
            </a:xfrm>
            <a:prstGeom prst="roundRect">
              <a:avLst>
                <a:gd name="adj" fmla="val 0"/>
              </a:avLst>
            </a:prstGeom>
            <a:solidFill>
              <a:srgbClr val="F0F4F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tangle 66">
              <a:extLst>
                <a:ext uri="{FF2B5EF4-FFF2-40B4-BE49-F238E27FC236}">
                  <a16:creationId xmlns:a16="http://schemas.microsoft.com/office/drawing/2014/main" id="{A76B9DD9-7F57-4667-BD1E-D61323070343}"/>
                </a:ext>
              </a:extLst>
            </p:cNvPr>
            <p:cNvSpPr/>
            <p:nvPr/>
          </p:nvSpPr>
          <p:spPr>
            <a:xfrm>
              <a:off x="5197445" y="4279080"/>
              <a:ext cx="284911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"/>
                  <a:cs typeface="Arial" pitchFamily="34" charset="0"/>
                </a:rPr>
                <a:t>КАЛЕНДАРНЫХ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ДНЕЙ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0A9650F7-184D-4761-975B-88F29AC6A160}"/>
              </a:ext>
            </a:extLst>
          </p:cNvPr>
          <p:cNvSpPr txBox="1"/>
          <p:nvPr/>
        </p:nvSpPr>
        <p:spPr>
          <a:xfrm>
            <a:off x="4475191" y="2906289"/>
            <a:ext cx="810350" cy="4924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2400" b="1" dirty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3-1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645BC76-B237-4704-9F26-FD93D83DF433}"/>
              </a:ext>
            </a:extLst>
          </p:cNvPr>
          <p:cNvSpPr txBox="1"/>
          <p:nvPr/>
        </p:nvSpPr>
        <p:spPr>
          <a:xfrm>
            <a:off x="4572320" y="4068904"/>
            <a:ext cx="577829" cy="4924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2400" b="1" dirty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15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494233F-27C3-4CEC-BAA0-A4788EADA7DF}"/>
              </a:ext>
            </a:extLst>
          </p:cNvPr>
          <p:cNvSpPr txBox="1"/>
          <p:nvPr/>
        </p:nvSpPr>
        <p:spPr>
          <a:xfrm>
            <a:off x="4572321" y="5205041"/>
            <a:ext cx="577829" cy="4924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ru-RU" sz="2400" b="1" dirty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30</a:t>
            </a:r>
          </a:p>
        </p:txBody>
      </p:sp>
      <p:pic>
        <p:nvPicPr>
          <p:cNvPr id="69" name="Рисунок 197">
            <a:extLst>
              <a:ext uri="{FF2B5EF4-FFF2-40B4-BE49-F238E27FC236}">
                <a16:creationId xmlns:a16="http://schemas.microsoft.com/office/drawing/2014/main" id="{D814E506-7E47-44E7-B294-FB58C8E9A25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5177" y="4099123"/>
            <a:ext cx="432000" cy="432000"/>
          </a:xfrm>
          <a:prstGeom prst="rect">
            <a:avLst/>
          </a:prstGeom>
        </p:spPr>
      </p:pic>
      <p:sp>
        <p:nvSpPr>
          <p:cNvPr id="11" name="Стрелка: вниз 10">
            <a:extLst>
              <a:ext uri="{FF2B5EF4-FFF2-40B4-BE49-F238E27FC236}">
                <a16:creationId xmlns:a16="http://schemas.microsoft.com/office/drawing/2014/main" id="{5BFB7F64-B78C-4108-84D1-C421CCE673EF}"/>
              </a:ext>
            </a:extLst>
          </p:cNvPr>
          <p:cNvSpPr/>
          <p:nvPr/>
        </p:nvSpPr>
        <p:spPr>
          <a:xfrm>
            <a:off x="2091447" y="2347817"/>
            <a:ext cx="466927" cy="510480"/>
          </a:xfrm>
          <a:prstGeom prst="down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chemeClr val="tx2"/>
              </a:solidFill>
            </a:endParaRPr>
          </a:p>
        </p:txBody>
      </p:sp>
      <p:sp>
        <p:nvSpPr>
          <p:cNvPr id="55" name="Стрелка: вниз 54">
            <a:extLst>
              <a:ext uri="{FF2B5EF4-FFF2-40B4-BE49-F238E27FC236}">
                <a16:creationId xmlns:a16="http://schemas.microsoft.com/office/drawing/2014/main" id="{7458356A-373A-4342-B82C-4764EB41AEEE}"/>
              </a:ext>
            </a:extLst>
          </p:cNvPr>
          <p:cNvSpPr/>
          <p:nvPr/>
        </p:nvSpPr>
        <p:spPr>
          <a:xfrm>
            <a:off x="2073029" y="3484921"/>
            <a:ext cx="466927" cy="510480"/>
          </a:xfrm>
          <a:prstGeom prst="down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chemeClr val="tx2"/>
              </a:solidFill>
            </a:endParaRPr>
          </a:p>
        </p:txBody>
      </p:sp>
      <p:sp>
        <p:nvSpPr>
          <p:cNvPr id="56" name="Стрелка: вниз 55">
            <a:extLst>
              <a:ext uri="{FF2B5EF4-FFF2-40B4-BE49-F238E27FC236}">
                <a16:creationId xmlns:a16="http://schemas.microsoft.com/office/drawing/2014/main" id="{07347FB8-6966-46D8-9846-DE1E6A377C07}"/>
              </a:ext>
            </a:extLst>
          </p:cNvPr>
          <p:cNvSpPr/>
          <p:nvPr/>
        </p:nvSpPr>
        <p:spPr>
          <a:xfrm>
            <a:off x="2091447" y="4649711"/>
            <a:ext cx="466927" cy="510480"/>
          </a:xfrm>
          <a:prstGeom prst="downArrow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54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STYLE_NAME" val="FEDF Far East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blue|Presentation¦Blank blue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Arial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Arial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Arial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MASTERWIZARD_MARGINS" val="0"/>
  <p:tag name="EE4P_STYLE_ID" val="gO2RZBf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wybSONHuWhbnmi9rm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rq7vVvqvI7Jjuy4Zvz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KwybSONHuWhbnmi9rm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 FEDF Far East Grid 16:9 - 13395">
  <a:themeElements>
    <a:clrScheme name="Custom 28">
      <a:dk1>
        <a:srgbClr val="000000"/>
      </a:dk1>
      <a:lt1>
        <a:srgbClr val="FFFFFF"/>
      </a:lt1>
      <a:dk2>
        <a:srgbClr val="1F497D"/>
      </a:dk2>
      <a:lt2>
        <a:srgbClr val="F2F2F2"/>
      </a:lt2>
      <a:accent1>
        <a:srgbClr val="005FA0"/>
      </a:accent1>
      <a:accent2>
        <a:srgbClr val="007BB4"/>
      </a:accent2>
      <a:accent3>
        <a:srgbClr val="00B0CA"/>
      </a:accent3>
      <a:accent4>
        <a:srgbClr val="87E3FD"/>
      </a:accent4>
      <a:accent5>
        <a:srgbClr val="DC0D15"/>
      </a:accent5>
      <a:accent6>
        <a:srgbClr val="92D050"/>
      </a:accent6>
      <a:hlink>
        <a:srgbClr val="154094"/>
      </a:hlink>
      <a:folHlink>
        <a:srgbClr val="00B9DC"/>
      </a:folHlink>
    </a:clrScheme>
    <a:fontScheme name="Custom 4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>
            <a:latin typeface="Arial" panose="020B0604020202020204" pitchFamily="34" charset="0"/>
            <a:sym typeface="Arial" panose="020B0604020202020204" pitchFamily="34" charset="0"/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72</TotalTime>
  <Words>2762</Words>
  <Application>Microsoft Office PowerPoint</Application>
  <PresentationFormat>Широкоэкранный</PresentationFormat>
  <Paragraphs>489</Paragraphs>
  <Slides>12</Slides>
  <Notes>5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  <vt:variant>
        <vt:lpstr>Произвольные показы</vt:lpstr>
      </vt:variant>
      <vt:variant>
        <vt:i4>1</vt:i4>
      </vt:variant>
    </vt:vector>
  </HeadingPairs>
  <TitlesOfParts>
    <vt:vector size="23" baseType="lpstr">
      <vt:lpstr>Arial</vt:lpstr>
      <vt:lpstr>Calibri</vt:lpstr>
      <vt:lpstr>Cambria</vt:lpstr>
      <vt:lpstr>Lato Light</vt:lpstr>
      <vt:lpstr>PT Sans Narrow</vt:lpstr>
      <vt:lpstr>Times</vt:lpstr>
      <vt:lpstr>Trebuchet MS</vt:lpstr>
      <vt:lpstr>Wingdings</vt:lpstr>
      <vt:lpstr>2_ FEDF Far East Grid 16:9 - 13395</vt:lpstr>
      <vt:lpstr>think-cell Slide</vt:lpstr>
      <vt:lpstr>Приморский край. Свободный порт Владивосток</vt:lpstr>
      <vt:lpstr>МЕРЫ ПОДДЕРЖКИ РЕЗИДЕНТОВ СПВ В ПРИМОРСКОМ КРАЕ</vt:lpstr>
      <vt:lpstr>Свободный порт Владивосток</vt:lpstr>
      <vt:lpstr>I. Динамика резидентов Свободный порт Владивосток</vt:lpstr>
      <vt:lpstr>Проекты резидентов  Свободный порт Владивосток в Ханкайском МР</vt:lpstr>
      <vt:lpstr>Резиденты СПВ Распределение проектов по муниципальным районам</vt:lpstr>
      <vt:lpstr>Презентация PowerPoint</vt:lpstr>
      <vt:lpstr>Как стать резидентом ТОР и СПВ</vt:lpstr>
      <vt:lpstr>Как стать резидентом ТОР и СПВ</vt:lpstr>
      <vt:lpstr>Карта использования товарного знака резидентами ТОР и СПВ   </vt:lpstr>
      <vt:lpstr>Ссылки на новые цифровые сервисы  </vt:lpstr>
      <vt:lpstr>ТОР «Большой Камень»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Караков Григорий Каренович</dc:creator>
  <cp:lastModifiedBy>Жаркова Наталья Игоревна</cp:lastModifiedBy>
  <cp:revision>1123</cp:revision>
  <cp:lastPrinted>2023-04-19T08:40:07Z</cp:lastPrinted>
  <dcterms:created xsi:type="dcterms:W3CDTF">2021-01-23T01:46:21Z</dcterms:created>
  <dcterms:modified xsi:type="dcterms:W3CDTF">2023-04-19T08:4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12014826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8.0.11</vt:lpwstr>
  </property>
  <property fmtid="{D5CDD505-2E9C-101B-9397-08002B2CF9AE}" pid="6" name="Template Name">
    <vt:lpwstr>16x9</vt:lpwstr>
  </property>
</Properties>
</file>